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48" r:id="rId5"/>
  </p:sldMasterIdLst>
  <p:notesMasterIdLst>
    <p:notesMasterId r:id="rId17"/>
  </p:notesMasterIdLst>
  <p:handoutMasterIdLst>
    <p:handoutMasterId r:id="rId18"/>
  </p:handoutMasterIdLst>
  <p:sldIdLst>
    <p:sldId id="365" r:id="rId6"/>
    <p:sldId id="366" r:id="rId7"/>
    <p:sldId id="361" r:id="rId8"/>
    <p:sldId id="1448942474" r:id="rId9"/>
    <p:sldId id="1448942475" r:id="rId10"/>
    <p:sldId id="1448942472" r:id="rId11"/>
    <p:sldId id="367" r:id="rId12"/>
    <p:sldId id="369" r:id="rId13"/>
    <p:sldId id="1448942473" r:id="rId14"/>
    <p:sldId id="371" r:id="rId15"/>
    <p:sldId id="1448942470" r:id="rId16"/>
  </p:sldIdLst>
  <p:sldSz cx="12192000" cy="6858000"/>
  <p:notesSz cx="7099300" cy="10234613"/>
  <p:custDataLst>
    <p:tags r:id="rId19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32" kern="1200">
        <a:solidFill>
          <a:schemeClr val="tx1"/>
        </a:solidFill>
        <a:latin typeface="Arial" charset="0"/>
        <a:ea typeface="+mn-ea"/>
        <a:cs typeface="+mn-cs"/>
      </a:defRPr>
    </a:lvl1pPr>
    <a:lvl2pPr marL="466454" algn="l" rtl="0" fontAlgn="base">
      <a:spcBef>
        <a:spcPct val="0"/>
      </a:spcBef>
      <a:spcAft>
        <a:spcPct val="0"/>
      </a:spcAft>
      <a:defRPr sz="1632" kern="1200">
        <a:solidFill>
          <a:schemeClr val="tx1"/>
        </a:solidFill>
        <a:latin typeface="Arial" charset="0"/>
        <a:ea typeface="+mn-ea"/>
        <a:cs typeface="+mn-cs"/>
      </a:defRPr>
    </a:lvl2pPr>
    <a:lvl3pPr marL="932909" algn="l" rtl="0" fontAlgn="base">
      <a:spcBef>
        <a:spcPct val="0"/>
      </a:spcBef>
      <a:spcAft>
        <a:spcPct val="0"/>
      </a:spcAft>
      <a:defRPr sz="1632" kern="1200">
        <a:solidFill>
          <a:schemeClr val="tx1"/>
        </a:solidFill>
        <a:latin typeface="Arial" charset="0"/>
        <a:ea typeface="+mn-ea"/>
        <a:cs typeface="+mn-cs"/>
      </a:defRPr>
    </a:lvl3pPr>
    <a:lvl4pPr marL="1399362" algn="l" rtl="0" fontAlgn="base">
      <a:spcBef>
        <a:spcPct val="0"/>
      </a:spcBef>
      <a:spcAft>
        <a:spcPct val="0"/>
      </a:spcAft>
      <a:defRPr sz="1632" kern="1200">
        <a:solidFill>
          <a:schemeClr val="tx1"/>
        </a:solidFill>
        <a:latin typeface="Arial" charset="0"/>
        <a:ea typeface="+mn-ea"/>
        <a:cs typeface="+mn-cs"/>
      </a:defRPr>
    </a:lvl4pPr>
    <a:lvl5pPr marL="1865817" algn="l" rtl="0" fontAlgn="base">
      <a:spcBef>
        <a:spcPct val="0"/>
      </a:spcBef>
      <a:spcAft>
        <a:spcPct val="0"/>
      </a:spcAft>
      <a:defRPr sz="1632" kern="1200">
        <a:solidFill>
          <a:schemeClr val="tx1"/>
        </a:solidFill>
        <a:latin typeface="Arial" charset="0"/>
        <a:ea typeface="+mn-ea"/>
        <a:cs typeface="+mn-cs"/>
      </a:defRPr>
    </a:lvl5pPr>
    <a:lvl6pPr marL="2332271" algn="l" defTabSz="932909" rtl="0" eaLnBrk="1" latinLnBrk="0" hangingPunct="1">
      <a:defRPr sz="1632" kern="1200">
        <a:solidFill>
          <a:schemeClr val="tx1"/>
        </a:solidFill>
        <a:latin typeface="Arial" charset="0"/>
        <a:ea typeface="+mn-ea"/>
        <a:cs typeface="+mn-cs"/>
      </a:defRPr>
    </a:lvl6pPr>
    <a:lvl7pPr marL="2798726" algn="l" defTabSz="932909" rtl="0" eaLnBrk="1" latinLnBrk="0" hangingPunct="1">
      <a:defRPr sz="1632" kern="1200">
        <a:solidFill>
          <a:schemeClr val="tx1"/>
        </a:solidFill>
        <a:latin typeface="Arial" charset="0"/>
        <a:ea typeface="+mn-ea"/>
        <a:cs typeface="+mn-cs"/>
      </a:defRPr>
    </a:lvl7pPr>
    <a:lvl8pPr marL="3265180" algn="l" defTabSz="932909" rtl="0" eaLnBrk="1" latinLnBrk="0" hangingPunct="1">
      <a:defRPr sz="1632" kern="1200">
        <a:solidFill>
          <a:schemeClr val="tx1"/>
        </a:solidFill>
        <a:latin typeface="Arial" charset="0"/>
        <a:ea typeface="+mn-ea"/>
        <a:cs typeface="+mn-cs"/>
      </a:defRPr>
    </a:lvl8pPr>
    <a:lvl9pPr marL="3731635" algn="l" defTabSz="932909" rtl="0" eaLnBrk="1" latinLnBrk="0" hangingPunct="1">
      <a:defRPr sz="1632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3" userDrawn="1">
          <p15:clr>
            <a:srgbClr val="A4A3A4"/>
          </p15:clr>
        </p15:guide>
        <p15:guide id="2" pos="50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 userDrawn="1">
          <p15:clr>
            <a:srgbClr val="A4A3A4"/>
          </p15:clr>
        </p15:guide>
        <p15:guide id="2" pos="2236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3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F9E"/>
    <a:srgbClr val="7C7C7C"/>
    <a:srgbClr val="A33134"/>
    <a:srgbClr val="0087E2"/>
    <a:srgbClr val="0B8CE3"/>
    <a:srgbClr val="725752"/>
    <a:srgbClr val="17264B"/>
    <a:srgbClr val="E8CAD2"/>
    <a:srgbClr val="ECD2D9"/>
    <a:srgbClr val="DFB3B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6814" autoAdjust="0"/>
  </p:normalViewPr>
  <p:slideViewPr>
    <p:cSldViewPr snapToGrid="0" snapToObjects="1">
      <p:cViewPr varScale="1">
        <p:scale>
          <a:sx n="115" d="100"/>
          <a:sy n="115" d="100"/>
        </p:scale>
        <p:origin x="432" y="108"/>
      </p:cViewPr>
      <p:guideLst>
        <p:guide orient="horz" pos="2183"/>
        <p:guide pos="50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85" d="100"/>
          <a:sy n="85" d="100"/>
        </p:scale>
        <p:origin x="2346" y="108"/>
      </p:cViewPr>
      <p:guideLst>
        <p:guide orient="horz" pos="3224"/>
        <p:guide pos="2236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tags" Target="tags/tag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50825" y="549275"/>
            <a:ext cx="6648450" cy="374015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50719" y="4530541"/>
            <a:ext cx="6647971" cy="1262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711139" y="9848208"/>
            <a:ext cx="187551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898625" y="117994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913473" rtl="0" eaLnBrk="0" fontAlgn="base" hangingPunct="0">
      <a:spcBef>
        <a:spcPct val="0"/>
      </a:spcBef>
      <a:spcAft>
        <a:spcPct val="0"/>
      </a:spcAft>
      <a:buClr>
        <a:schemeClr val="tx2"/>
      </a:buClr>
      <a:defRPr sz="1632" kern="1200">
        <a:solidFill>
          <a:schemeClr val="tx1"/>
        </a:solidFill>
        <a:latin typeface="Arial" charset="0"/>
        <a:ea typeface="+mn-ea"/>
        <a:cs typeface="+mn-cs"/>
      </a:defRPr>
    </a:lvl1pPr>
    <a:lvl2pPr marL="119853" indent="-118233" algn="l" defTabSz="913473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32" kern="1200">
        <a:solidFill>
          <a:schemeClr val="tx1"/>
        </a:solidFill>
        <a:latin typeface="Arial" charset="0"/>
        <a:ea typeface="+mn-ea"/>
        <a:cs typeface="+mn-cs"/>
      </a:defRPr>
    </a:lvl2pPr>
    <a:lvl3pPr marL="306111" indent="-184638" algn="l" defTabSz="913473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32" kern="1200">
        <a:solidFill>
          <a:schemeClr val="tx1"/>
        </a:solidFill>
        <a:latin typeface="Arial" charset="0"/>
        <a:ea typeface="+mn-ea"/>
        <a:cs typeface="+mn-cs"/>
      </a:defRPr>
    </a:lvl3pPr>
    <a:lvl4pPr marL="435681" indent="-127951" algn="l" defTabSz="913473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32" kern="1200">
        <a:solidFill>
          <a:schemeClr val="tx1"/>
        </a:solidFill>
        <a:latin typeface="Arial" charset="0"/>
        <a:ea typeface="+mn-ea"/>
        <a:cs typeface="+mn-cs"/>
      </a:defRPr>
    </a:lvl4pPr>
    <a:lvl5pPr marL="553914" indent="-116613" algn="l" defTabSz="913473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32" kern="1200">
        <a:solidFill>
          <a:schemeClr val="tx1"/>
        </a:solidFill>
        <a:latin typeface="Arial" charset="0"/>
        <a:ea typeface="+mn-ea"/>
        <a:cs typeface="+mn-cs"/>
      </a:defRPr>
    </a:lvl5pPr>
    <a:lvl6pPr marL="2332271" algn="l" defTabSz="932909" rtl="0" eaLnBrk="1" latinLnBrk="0" hangingPunct="1">
      <a:defRPr sz="1224" kern="1200">
        <a:solidFill>
          <a:schemeClr val="tx1"/>
        </a:solidFill>
        <a:latin typeface="+mn-lt"/>
        <a:ea typeface="+mn-ea"/>
        <a:cs typeface="+mn-cs"/>
      </a:defRPr>
    </a:lvl6pPr>
    <a:lvl7pPr marL="2798726" algn="l" defTabSz="932909" rtl="0" eaLnBrk="1" latinLnBrk="0" hangingPunct="1">
      <a:defRPr sz="1224" kern="1200">
        <a:solidFill>
          <a:schemeClr val="tx1"/>
        </a:solidFill>
        <a:latin typeface="+mn-lt"/>
        <a:ea typeface="+mn-ea"/>
        <a:cs typeface="+mn-cs"/>
      </a:defRPr>
    </a:lvl7pPr>
    <a:lvl8pPr marL="3265180" algn="l" defTabSz="932909" rtl="0" eaLnBrk="1" latinLnBrk="0" hangingPunct="1">
      <a:defRPr sz="1224" kern="1200">
        <a:solidFill>
          <a:schemeClr val="tx1"/>
        </a:solidFill>
        <a:latin typeface="+mn-lt"/>
        <a:ea typeface="+mn-ea"/>
        <a:cs typeface="+mn-cs"/>
      </a:defRPr>
    </a:lvl8pPr>
    <a:lvl9pPr marL="3731635" algn="l" defTabSz="932909" rtl="0" eaLnBrk="1" latinLnBrk="0" hangingPunct="1">
      <a:defRPr sz="1224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4.png"/><Relationship Id="rId2" Type="http://schemas.openxmlformats.org/officeDocument/2006/relationships/tags" Target="../tags/tag19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852935"/>
              </p:ext>
            </p:extLst>
          </p:nvPr>
        </p:nvGraphicFramePr>
        <p:xfrm>
          <a:off x="2162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65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2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95928BF-98CE-4D1E-949D-A87E23DB53E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1098202" y="1754887"/>
            <a:ext cx="10593057" cy="615553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defRPr lang="x-none" sz="4000" b="1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x-none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1098202" y="2546547"/>
            <a:ext cx="10593057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lang="x-none" sz="2000" b="1" cap="none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x-none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1098202" y="4561037"/>
            <a:ext cx="1059305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x-none" sz="16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E12BADF-74C7-4EDA-8AB0-8B70ABDEDCA9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1098202" y="2448468"/>
            <a:ext cx="10593057" cy="0"/>
          </a:xfrm>
          <a:prstGeom prst="line">
            <a:avLst/>
          </a:prstGeom>
          <a:solidFill>
            <a:srgbClr val="FFCC99"/>
          </a:solidFill>
          <a:ln w="12700" cap="flat" cmpd="sng" algn="ctr">
            <a:solidFill>
              <a:srgbClr val="8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1495DD89-B5A2-4644-8CD5-5CB33DEA0F53}"/>
              </a:ext>
            </a:extLst>
          </p:cNvPr>
          <p:cNvSpPr/>
          <p:nvPr userDrawn="1"/>
        </p:nvSpPr>
        <p:spPr bwMode="ltGray">
          <a:xfrm>
            <a:off x="1" y="0"/>
            <a:ext cx="543099" cy="6858006"/>
          </a:xfrm>
          <a:prstGeom prst="rect">
            <a:avLst/>
          </a:prstGeom>
          <a:solidFill>
            <a:srgbClr val="0F4D7B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lnSpc>
                <a:spcPts val="2500"/>
              </a:lnSpc>
              <a:spcBef>
                <a:spcPct val="0"/>
              </a:spcBef>
              <a:spcAft>
                <a:spcPts val="1000"/>
              </a:spcAft>
              <a:buClr>
                <a:srgbClr val="FDAA03"/>
              </a:buClr>
            </a:pPr>
            <a:endParaRPr lang="en-US" sz="1800" b="1" dirty="0">
              <a:solidFill>
                <a:srgbClr val="005F9E"/>
              </a:solidFill>
            </a:endParaRPr>
          </a:p>
        </p:txBody>
      </p:sp>
      <p:pic>
        <p:nvPicPr>
          <p:cNvPr id="14" name="Picture 5" title="Health Resources and Services Administration Logo">
            <a:extLst>
              <a:ext uri="{FF2B5EF4-FFF2-40B4-BE49-F238E27FC236}">
                <a16:creationId xmlns:a16="http://schemas.microsoft.com/office/drawing/2014/main" id="{BF8F8A99-6504-4907-A03C-BD18C27B301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202" y="325074"/>
            <a:ext cx="2313344" cy="75865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25377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297"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3" y="51835"/>
            <a:ext cx="123156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26"/>
            <a:endParaRPr lang="x-none" sz="61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89" userDrawn="1">
          <p15:clr>
            <a:srgbClr val="F26B43"/>
          </p15:clr>
        </p15:guide>
        <p15:guide id="2" pos="101" userDrawn="1">
          <p15:clr>
            <a:srgbClr val="F26B43"/>
          </p15:clr>
        </p15:guide>
        <p15:guide id="3" orient="horz" pos="701" userDrawn="1">
          <p15:clr>
            <a:srgbClr val="F26B43"/>
          </p15:clr>
        </p15:guide>
        <p15:guide id="4" orient="horz" pos="3991" userDrawn="1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DC9A23-7D54-4435-833E-2EFC97E6EE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1693C17-CA55-42B4-B73D-58C4D906185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657423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7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image" Target="../media/image1.emf"/><Relationship Id="rId5" Type="http://schemas.openxmlformats.org/officeDocument/2006/relationships/vmlDrawing" Target="../drawings/vmlDrawing1.vml"/><Relationship Id="rId15" Type="http://schemas.openxmlformats.org/officeDocument/2006/relationships/tags" Target="../tags/tag11.xml"/><Relationship Id="rId23" Type="http://schemas.openxmlformats.org/officeDocument/2006/relationships/oleObject" Target="../embeddings/oleObject1.bin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4" Type="http://schemas.openxmlformats.org/officeDocument/2006/relationships/theme" Target="../theme/theme1.x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tags" Target="../tags/tag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62547276"/>
              </p:ext>
            </p:extLst>
          </p:nvPr>
        </p:nvGraphicFramePr>
        <p:xfrm>
          <a:off x="0" y="1"/>
          <a:ext cx="215979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251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215979" cy="1619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1"/>
            <a:ext cx="215979" cy="161975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x-none" sz="2176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824412" y="511263"/>
            <a:ext cx="10961189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x-none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824412" y="77303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824412" y="886910"/>
            <a:ext cx="10961189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x-none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824413" y="6437248"/>
            <a:ext cx="9531411" cy="123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4138" indent="-84138">
              <a:defRPr lang="x-none"/>
            </a:pPr>
            <a:r>
              <a:rPr lang="x-none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824414" y="6642955"/>
            <a:ext cx="9531411" cy="123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/>
          <a:p>
            <a:pPr marL="519113" indent="-519113" defTabSz="1218026">
              <a:tabLst/>
            </a:pPr>
            <a:r>
              <a:rPr lang="x-none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 : Source</a:t>
            </a:r>
            <a:endParaRPr lang="en-US" sz="8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2371626" y="2615195"/>
            <a:ext cx="5801188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2371623" y="1915581"/>
            <a:ext cx="5801188" cy="510221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x-none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61" name="Slide Number"/>
          <p:cNvSpPr txBox="1">
            <a:spLocks/>
          </p:cNvSpPr>
          <p:nvPr userDrawn="1"/>
        </p:nvSpPr>
        <p:spPr bwMode="gray">
          <a:xfrm>
            <a:off x="11586536" y="649080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 algn="ctr"/>
            <a:fld id="{42C328C1-A84F-4A39-A664-DBA00541A8C6}" type="slidenum">
              <a:rPr lang="x-none" sz="800" baseline="0" smtClean="0">
                <a:solidFill>
                  <a:schemeClr val="accent6"/>
                </a:solidFill>
              </a:rPr>
              <a:pPr lvl="0" algn="ctr"/>
              <a:t>‹#›</a:t>
            </a:fld>
            <a:endParaRPr lang="x-none" sz="800" baseline="0" dirty="0">
              <a:solidFill>
                <a:schemeClr val="accent6"/>
              </a:solidFill>
            </a:endParaRPr>
          </a:p>
        </p:txBody>
      </p:sp>
      <p:grpSp>
        <p:nvGrpSpPr>
          <p:cNvPr id="59" name="LegendBoxes" hidden="1"/>
          <p:cNvGrpSpPr>
            <a:grpSpLocks/>
          </p:cNvGrpSpPr>
          <p:nvPr userDrawn="1"/>
        </p:nvGrpSpPr>
        <p:grpSpPr bwMode="auto">
          <a:xfrm>
            <a:off x="11022013" y="937919"/>
            <a:ext cx="763588" cy="996951"/>
            <a:chOff x="4936" y="176"/>
            <a:chExt cx="481" cy="628"/>
          </a:xfrm>
        </p:grpSpPr>
        <p:sp>
          <p:nvSpPr>
            <p:cNvPr id="102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03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dirty="0">
                <a:latin typeface="+mn-lt"/>
              </a:endParaRPr>
            </a:p>
          </p:txBody>
        </p:sp>
        <p:sp>
          <p:nvSpPr>
            <p:cNvPr id="104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05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dirty="0">
                <a:latin typeface="+mn-lt"/>
              </a:endParaRPr>
            </a:p>
          </p:txBody>
        </p:sp>
        <p:sp>
          <p:nvSpPr>
            <p:cNvPr id="106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07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dirty="0">
                <a:latin typeface="+mn-lt"/>
              </a:endParaRPr>
            </a:p>
          </p:txBody>
        </p:sp>
        <p:sp>
          <p:nvSpPr>
            <p:cNvPr id="108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09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dirty="0">
                <a:latin typeface="+mn-lt"/>
              </a:endParaRPr>
            </a:p>
          </p:txBody>
        </p:sp>
      </p:grpSp>
      <p:grpSp>
        <p:nvGrpSpPr>
          <p:cNvPr id="110" name="LegendLines" hidden="1"/>
          <p:cNvGrpSpPr>
            <a:grpSpLocks/>
          </p:cNvGrpSpPr>
          <p:nvPr userDrawn="1"/>
        </p:nvGrpSpPr>
        <p:grpSpPr bwMode="auto">
          <a:xfrm>
            <a:off x="10714038" y="937919"/>
            <a:ext cx="1071563" cy="730251"/>
            <a:chOff x="4750" y="176"/>
            <a:chExt cx="675" cy="460"/>
          </a:xfrm>
        </p:grpSpPr>
        <p:sp>
          <p:nvSpPr>
            <p:cNvPr id="111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 dirty="0">
                <a:latin typeface="+mn-lt"/>
              </a:endParaRPr>
            </a:p>
          </p:txBody>
        </p:sp>
        <p:sp>
          <p:nvSpPr>
            <p:cNvPr id="112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 dirty="0">
                <a:latin typeface="+mn-lt"/>
              </a:endParaRPr>
            </a:p>
          </p:txBody>
        </p:sp>
        <p:sp>
          <p:nvSpPr>
            <p:cNvPr id="113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 dirty="0">
                <a:latin typeface="+mn-lt"/>
              </a:endParaRPr>
            </a:p>
          </p:txBody>
        </p:sp>
        <p:sp>
          <p:nvSpPr>
            <p:cNvPr id="114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15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16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</p:grpSp>
      <p:grpSp>
        <p:nvGrpSpPr>
          <p:cNvPr id="117" name="Sticker" hidden="1"/>
          <p:cNvGrpSpPr/>
          <p:nvPr userDrawn="1"/>
        </p:nvGrpSpPr>
        <p:grpSpPr bwMode="auto">
          <a:xfrm>
            <a:off x="11060595" y="937919"/>
            <a:ext cx="725006" cy="150811"/>
            <a:chOff x="8015769" y="285750"/>
            <a:chExt cx="725006" cy="150811"/>
          </a:xfrm>
        </p:grpSpPr>
        <p:sp>
          <p:nvSpPr>
            <p:cNvPr id="118" name="StickerRectangle"/>
            <p:cNvSpPr>
              <a:spLocks noChangeArrowheads="1"/>
            </p:cNvSpPr>
            <p:nvPr/>
          </p:nvSpPr>
          <p:spPr bwMode="auto">
            <a:xfrm>
              <a:off x="8015769" y="285750"/>
              <a:ext cx="72500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800" baseline="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19" name="AutoShape 31"/>
            <p:cNvCxnSpPr>
              <a:cxnSpLocks noChangeShapeType="1"/>
              <a:stCxn id="118" idx="2"/>
              <a:endCxn id="118" idx="4"/>
            </p:cNvCxnSpPr>
            <p:nvPr/>
          </p:nvCxnSpPr>
          <p:spPr bwMode="auto">
            <a:xfrm>
              <a:off x="801576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0" name="AutoShape 32"/>
            <p:cNvCxnSpPr>
              <a:cxnSpLocks noChangeShapeType="1"/>
              <a:stCxn id="118" idx="4"/>
              <a:endCxn id="118" idx="6"/>
            </p:cNvCxnSpPr>
            <p:nvPr/>
          </p:nvCxnSpPr>
          <p:spPr bwMode="auto">
            <a:xfrm>
              <a:off x="8015769" y="436561"/>
              <a:ext cx="7250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21" name="LegendMoons" hidden="1"/>
          <p:cNvGrpSpPr/>
          <p:nvPr userDrawn="1"/>
        </p:nvGrpSpPr>
        <p:grpSpPr bwMode="auto">
          <a:xfrm>
            <a:off x="10955171" y="937919"/>
            <a:ext cx="830430" cy="1306516"/>
            <a:chOff x="6655594" y="273840"/>
            <a:chExt cx="830430" cy="1306516"/>
          </a:xfrm>
        </p:grpSpPr>
        <p:grpSp>
          <p:nvGrpSpPr>
            <p:cNvPr id="122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40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141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latin typeface="+mn-lt"/>
                </a:endParaRPr>
              </a:p>
            </p:txBody>
          </p:sp>
        </p:grpSp>
        <p:grpSp>
          <p:nvGrpSpPr>
            <p:cNvPr id="123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38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139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latin typeface="+mn-lt"/>
                </a:endParaRPr>
              </a:p>
            </p:txBody>
          </p:sp>
        </p:grpSp>
        <p:grpSp>
          <p:nvGrpSpPr>
            <p:cNvPr id="124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136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137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latin typeface="+mn-lt"/>
                </a:endParaRPr>
              </a:p>
            </p:txBody>
          </p:sp>
        </p:grpSp>
        <p:grpSp>
          <p:nvGrpSpPr>
            <p:cNvPr id="125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134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135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latin typeface="+mn-lt"/>
                </a:endParaRPr>
              </a:p>
            </p:txBody>
          </p:sp>
        </p:grpSp>
        <p:sp>
          <p:nvSpPr>
            <p:cNvPr id="126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27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28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29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30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131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132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133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latin typeface="+mn-lt"/>
                </a:endParaRPr>
              </a:p>
            </p:txBody>
          </p:sp>
        </p:grpSp>
      </p:grpSp>
      <p:sp>
        <p:nvSpPr>
          <p:cNvPr id="62" name="Rectangle 61">
            <a:extLst>
              <a:ext uri="{FF2B5EF4-FFF2-40B4-BE49-F238E27FC236}">
                <a16:creationId xmlns:a16="http://schemas.microsoft.com/office/drawing/2014/main" id="{A911D943-94FF-458B-90C3-510CC55FFAD8}"/>
              </a:ext>
            </a:extLst>
          </p:cNvPr>
          <p:cNvSpPr/>
          <p:nvPr userDrawn="1"/>
        </p:nvSpPr>
        <p:spPr bwMode="ltGray">
          <a:xfrm>
            <a:off x="2" y="0"/>
            <a:ext cx="91438" cy="6858006"/>
          </a:xfrm>
          <a:prstGeom prst="rect">
            <a:avLst/>
          </a:prstGeom>
          <a:solidFill>
            <a:srgbClr val="0F4D7B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lnSpc>
                <a:spcPts val="2500"/>
              </a:lnSpc>
              <a:spcBef>
                <a:spcPct val="0"/>
              </a:spcBef>
              <a:spcAft>
                <a:spcPts val="1000"/>
              </a:spcAft>
              <a:buClr>
                <a:srgbClr val="FDAA03"/>
              </a:buClr>
            </a:pPr>
            <a:endParaRPr lang="en-US" sz="1800" b="1" dirty="0">
              <a:solidFill>
                <a:srgbClr val="005F9E"/>
              </a:solidFill>
            </a:endParaRPr>
          </a:p>
        </p:txBody>
      </p:sp>
      <p:pic>
        <p:nvPicPr>
          <p:cNvPr id="69" name="Picture 5" title="Health Resources and Services Administration Logo">
            <a:extLst>
              <a:ext uri="{FF2B5EF4-FFF2-40B4-BE49-F238E27FC236}">
                <a16:creationId xmlns:a16="http://schemas.microsoft.com/office/drawing/2014/main" id="{A389C82C-C41D-48A2-8CC5-54BEBF086A1F}"/>
              </a:ext>
            </a:extLst>
          </p:cNvPr>
          <p:cNvPicPr>
            <a:picLocks noChangeAspect="1"/>
          </p:cNvPicPr>
          <p:nvPr userDrawn="1"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75603" y="6437248"/>
            <a:ext cx="701998" cy="230219"/>
          </a:xfrm>
          <a:prstGeom prst="rect">
            <a:avLst/>
          </a:prstGeom>
          <a:noFill/>
          <a:ln>
            <a:noFill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</p:sldLayoutIdLst>
  <p:hf hdr="0" ftr="0" dt="0"/>
  <p:txStyles>
    <p:titleStyle>
      <a:lvl1pPr algn="l" defTabSz="1218026" rtl="0" eaLnBrk="1" fontAlgn="base" hangingPunct="1">
        <a:spcBef>
          <a:spcPct val="0"/>
        </a:spcBef>
        <a:spcAft>
          <a:spcPct val="0"/>
        </a:spcAft>
        <a:tabLst>
          <a:tab pos="367135" algn="l"/>
        </a:tabLst>
        <a:defRPr lang="x-none" sz="20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2pPr>
      <a:lvl3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3pPr>
      <a:lvl4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4pPr>
      <a:lvl5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5pPr>
      <a:lvl6pPr marL="621970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6pPr>
      <a:lvl7pPr marL="1243941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7pPr>
      <a:lvl8pPr marL="1865909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8pPr>
      <a:lvl9pPr marL="2487880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9pPr>
    </p:titleStyle>
    <p:bodyStyle>
      <a:lvl1pPr marL="0" indent="0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2024" indent="-192024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600" baseline="0">
          <a:solidFill>
            <a:schemeClr val="tx1"/>
          </a:solidFill>
          <a:latin typeface="+mn-lt"/>
        </a:defRPr>
      </a:lvl2pPr>
      <a:lvl3pPr marL="457200" indent="-265176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600" baseline="0">
          <a:solidFill>
            <a:schemeClr val="tx1"/>
          </a:solidFill>
          <a:latin typeface="+mn-lt"/>
        </a:defRPr>
      </a:lvl3pPr>
      <a:lvl4pPr marL="612648" indent="-155448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600" baseline="0">
          <a:solidFill>
            <a:schemeClr val="tx1"/>
          </a:solidFill>
          <a:latin typeface="+mn-lt"/>
        </a:defRPr>
      </a:lvl4pPr>
      <a:lvl5pPr marL="749808" indent="-128016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5pPr>
      <a:lvl6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6pPr>
      <a:lvl7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7pPr>
      <a:lvl8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8pPr>
      <a:lvl9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1pPr>
      <a:lvl2pPr marL="62197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2pPr>
      <a:lvl3pPr marL="124394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3pPr>
      <a:lvl4pPr marL="1865909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4pPr>
      <a:lvl5pPr marL="248788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5pPr>
      <a:lvl6pPr marL="310985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6pPr>
      <a:lvl7pPr marL="373182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7pPr>
      <a:lvl8pPr marL="435379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8pPr>
      <a:lvl9pPr marL="497576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tags" Target="../tags/tag23.xml"/><Relationship Id="rId7" Type="http://schemas.openxmlformats.org/officeDocument/2006/relationships/image" Target="../media/image7.png"/><Relationship Id="rId2" Type="http://schemas.openxmlformats.org/officeDocument/2006/relationships/tags" Target="../tags/tag22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.bin"/><Relationship Id="rId13" Type="http://schemas.openxmlformats.org/officeDocument/2006/relationships/image" Target="../media/image16.svg"/><Relationship Id="rId3" Type="http://schemas.openxmlformats.org/officeDocument/2006/relationships/tags" Target="../tags/tag79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11.png"/><Relationship Id="rId2" Type="http://schemas.openxmlformats.org/officeDocument/2006/relationships/tags" Target="../tags/tag78.xml"/><Relationship Id="rId1" Type="http://schemas.openxmlformats.org/officeDocument/2006/relationships/vmlDrawing" Target="../drawings/vmlDrawing13.vml"/><Relationship Id="rId6" Type="http://schemas.openxmlformats.org/officeDocument/2006/relationships/tags" Target="../tags/tag82.xml"/><Relationship Id="rId11" Type="http://schemas.openxmlformats.org/officeDocument/2006/relationships/hyperlink" Target="https://www.hhs.gov/coronavirus/cares-act-provider-relief-fund/for-providers/index.html" TargetMode="External"/><Relationship Id="rId5" Type="http://schemas.openxmlformats.org/officeDocument/2006/relationships/tags" Target="../tags/tag81.xml"/><Relationship Id="rId10" Type="http://schemas.openxmlformats.org/officeDocument/2006/relationships/hyperlink" Target="https://www.hhs.gov/coronavirus/cares-act-provider-relief-fund/faqs/index.html" TargetMode="External"/><Relationship Id="rId4" Type="http://schemas.openxmlformats.org/officeDocument/2006/relationships/tags" Target="../tags/tag80.xml"/><Relationship Id="rId9" Type="http://schemas.openxmlformats.org/officeDocument/2006/relationships/image" Target="../media/image6.em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hyperlink" Target="https://cares.linkhealth.com/#/" TargetMode="External"/><Relationship Id="rId3" Type="http://schemas.openxmlformats.org/officeDocument/2006/relationships/tags" Target="../tags/tag84.xml"/><Relationship Id="rId7" Type="http://schemas.openxmlformats.org/officeDocument/2006/relationships/image" Target="../media/image15.emf"/><Relationship Id="rId2" Type="http://schemas.openxmlformats.org/officeDocument/2006/relationships/tags" Target="../tags/tag83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5.xml"/><Relationship Id="rId9" Type="http://schemas.openxmlformats.org/officeDocument/2006/relationships/hyperlink" Target="https://www.hhs.gov/coronavirus/cares-act-provider-relief-fund/for-providers/index.html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13" Type="http://schemas.openxmlformats.org/officeDocument/2006/relationships/hyperlink" Target="https://www.hhs.gov/coronavirus/cares-act-provider-relief-fund/for-providers/index.html" TargetMode="External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12" Type="http://schemas.openxmlformats.org/officeDocument/2006/relationships/hyperlink" Target="https://cares.linkhealth.com/#/" TargetMode="External"/><Relationship Id="rId2" Type="http://schemas.openxmlformats.org/officeDocument/2006/relationships/tags" Target="../tags/tag24.xml"/><Relationship Id="rId1" Type="http://schemas.openxmlformats.org/officeDocument/2006/relationships/vmlDrawing" Target="../drawings/vmlDrawing5.vml"/><Relationship Id="rId6" Type="http://schemas.openxmlformats.org/officeDocument/2006/relationships/tags" Target="../tags/tag28.xml"/><Relationship Id="rId11" Type="http://schemas.openxmlformats.org/officeDocument/2006/relationships/image" Target="../media/image6.emf"/><Relationship Id="rId5" Type="http://schemas.openxmlformats.org/officeDocument/2006/relationships/tags" Target="../tags/tag27.xml"/><Relationship Id="rId10" Type="http://schemas.openxmlformats.org/officeDocument/2006/relationships/oleObject" Target="../embeddings/oleObject5.bin"/><Relationship Id="rId4" Type="http://schemas.openxmlformats.org/officeDocument/2006/relationships/tags" Target="../tags/tag26.xml"/><Relationship Id="rId9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37.xml"/><Relationship Id="rId13" Type="http://schemas.openxmlformats.org/officeDocument/2006/relationships/image" Target="../media/image6.emf"/><Relationship Id="rId18" Type="http://schemas.openxmlformats.org/officeDocument/2006/relationships/image" Target="../media/image12.svg"/><Relationship Id="rId3" Type="http://schemas.openxmlformats.org/officeDocument/2006/relationships/tags" Target="../tags/tag32.xml"/><Relationship Id="rId21" Type="http://schemas.openxmlformats.org/officeDocument/2006/relationships/image" Target="../media/image11.png"/><Relationship Id="rId7" Type="http://schemas.openxmlformats.org/officeDocument/2006/relationships/tags" Target="../tags/tag36.xml"/><Relationship Id="rId12" Type="http://schemas.openxmlformats.org/officeDocument/2006/relationships/oleObject" Target="../embeddings/oleObject6.bin"/><Relationship Id="rId17" Type="http://schemas.openxmlformats.org/officeDocument/2006/relationships/image" Target="../media/image9.png"/><Relationship Id="rId2" Type="http://schemas.openxmlformats.org/officeDocument/2006/relationships/tags" Target="../tags/tag31.xml"/><Relationship Id="rId16" Type="http://schemas.openxmlformats.org/officeDocument/2006/relationships/image" Target="../media/image10.svg"/><Relationship Id="rId20" Type="http://schemas.openxmlformats.org/officeDocument/2006/relationships/image" Target="../media/image14.svg"/><Relationship Id="rId1" Type="http://schemas.openxmlformats.org/officeDocument/2006/relationships/vmlDrawing" Target="../drawings/vmlDrawing6.vml"/><Relationship Id="rId6" Type="http://schemas.openxmlformats.org/officeDocument/2006/relationships/tags" Target="../tags/tag35.xml"/><Relationship Id="rId11" Type="http://schemas.openxmlformats.org/officeDocument/2006/relationships/slideLayout" Target="../slideLayouts/slideLayout2.xml"/><Relationship Id="rId24" Type="http://schemas.openxmlformats.org/officeDocument/2006/relationships/image" Target="../media/image18.svg"/><Relationship Id="rId5" Type="http://schemas.openxmlformats.org/officeDocument/2006/relationships/tags" Target="../tags/tag34.xml"/><Relationship Id="rId15" Type="http://schemas.openxmlformats.org/officeDocument/2006/relationships/image" Target="../media/image8.png"/><Relationship Id="rId23" Type="http://schemas.openxmlformats.org/officeDocument/2006/relationships/image" Target="../media/image12.png"/><Relationship Id="rId10" Type="http://schemas.openxmlformats.org/officeDocument/2006/relationships/tags" Target="../tags/tag39.xml"/><Relationship Id="rId19" Type="http://schemas.openxmlformats.org/officeDocument/2006/relationships/image" Target="../media/image10.png"/><Relationship Id="rId4" Type="http://schemas.openxmlformats.org/officeDocument/2006/relationships/tags" Target="../tags/tag33.xml"/><Relationship Id="rId9" Type="http://schemas.openxmlformats.org/officeDocument/2006/relationships/tags" Target="../tags/tag38.xml"/><Relationship Id="rId14" Type="http://schemas.openxmlformats.org/officeDocument/2006/relationships/hyperlink" Target="https://www.hhs.gov/coronavirus/cares-act-provider-relief-fund/for-providers/index.html" TargetMode="External"/><Relationship Id="rId22" Type="http://schemas.openxmlformats.org/officeDocument/2006/relationships/image" Target="../media/image16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13" Type="http://schemas.openxmlformats.org/officeDocument/2006/relationships/image" Target="../media/image19.svg"/><Relationship Id="rId3" Type="http://schemas.openxmlformats.org/officeDocument/2006/relationships/tags" Target="../tags/tag41.xml"/><Relationship Id="rId7" Type="http://schemas.openxmlformats.org/officeDocument/2006/relationships/tags" Target="../tags/tag45.xml"/><Relationship Id="rId12" Type="http://schemas.openxmlformats.org/officeDocument/2006/relationships/image" Target="../media/image8.png"/><Relationship Id="rId2" Type="http://schemas.openxmlformats.org/officeDocument/2006/relationships/tags" Target="../tags/tag40.xml"/><Relationship Id="rId1" Type="http://schemas.openxmlformats.org/officeDocument/2006/relationships/vmlDrawing" Target="../drawings/vmlDrawing7.vml"/><Relationship Id="rId6" Type="http://schemas.openxmlformats.org/officeDocument/2006/relationships/tags" Target="../tags/tag44.xml"/><Relationship Id="rId11" Type="http://schemas.openxmlformats.org/officeDocument/2006/relationships/hyperlink" Target="https://www.hhs.gov/coronavirus/cares-act-provider-relief-fund/faqs/index.html" TargetMode="External"/><Relationship Id="rId5" Type="http://schemas.openxmlformats.org/officeDocument/2006/relationships/tags" Target="../tags/tag43.xml"/><Relationship Id="rId10" Type="http://schemas.openxmlformats.org/officeDocument/2006/relationships/image" Target="../media/image6.emf"/><Relationship Id="rId4" Type="http://schemas.openxmlformats.org/officeDocument/2006/relationships/tags" Target="../tags/tag42.xml"/><Relationship Id="rId9" Type="http://schemas.openxmlformats.org/officeDocument/2006/relationships/oleObject" Target="../embeddings/oleObject7.bin"/><Relationship Id="rId14" Type="http://schemas.openxmlformats.org/officeDocument/2006/relationships/hyperlink" Target="https://www.hhs.gov/coronavirus/cares-act-provider-relief-fund/for-providers/index.html" TargetMode="Externa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13" Type="http://schemas.openxmlformats.org/officeDocument/2006/relationships/image" Target="../media/image19.svg"/><Relationship Id="rId3" Type="http://schemas.openxmlformats.org/officeDocument/2006/relationships/tags" Target="../tags/tag47.xml"/><Relationship Id="rId7" Type="http://schemas.openxmlformats.org/officeDocument/2006/relationships/tags" Target="../tags/tag51.xml"/><Relationship Id="rId12" Type="http://schemas.openxmlformats.org/officeDocument/2006/relationships/image" Target="../media/image8.png"/><Relationship Id="rId2" Type="http://schemas.openxmlformats.org/officeDocument/2006/relationships/tags" Target="../tags/tag46.xml"/><Relationship Id="rId1" Type="http://schemas.openxmlformats.org/officeDocument/2006/relationships/vmlDrawing" Target="../drawings/vmlDrawing8.vml"/><Relationship Id="rId6" Type="http://schemas.openxmlformats.org/officeDocument/2006/relationships/tags" Target="../tags/tag50.xml"/><Relationship Id="rId11" Type="http://schemas.openxmlformats.org/officeDocument/2006/relationships/hyperlink" Target="https://www.hhs.gov/coronavirus/cares-act-provider-relief-fund/faqs/index.html" TargetMode="External"/><Relationship Id="rId5" Type="http://schemas.openxmlformats.org/officeDocument/2006/relationships/tags" Target="../tags/tag49.xml"/><Relationship Id="rId10" Type="http://schemas.openxmlformats.org/officeDocument/2006/relationships/image" Target="../media/image6.emf"/><Relationship Id="rId4" Type="http://schemas.openxmlformats.org/officeDocument/2006/relationships/tags" Target="../tags/tag48.xml"/><Relationship Id="rId9" Type="http://schemas.openxmlformats.org/officeDocument/2006/relationships/oleObject" Target="../embeddings/oleObject8.bin"/><Relationship Id="rId14" Type="http://schemas.openxmlformats.org/officeDocument/2006/relationships/hyperlink" Target="https://www.hhs.gov/coronavirus/cares-act-provider-relief-fund/for-providers/index.html" TargetMode="Externa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58.xml"/><Relationship Id="rId13" Type="http://schemas.openxmlformats.org/officeDocument/2006/relationships/image" Target="../media/image13.png"/><Relationship Id="rId18" Type="http://schemas.openxmlformats.org/officeDocument/2006/relationships/image" Target="../media/image18.svg"/><Relationship Id="rId3" Type="http://schemas.openxmlformats.org/officeDocument/2006/relationships/tags" Target="../tags/tag53.xml"/><Relationship Id="rId7" Type="http://schemas.openxmlformats.org/officeDocument/2006/relationships/tags" Target="../tags/tag57.xml"/><Relationship Id="rId12" Type="http://schemas.openxmlformats.org/officeDocument/2006/relationships/image" Target="../media/image6.emf"/><Relationship Id="rId17" Type="http://schemas.openxmlformats.org/officeDocument/2006/relationships/image" Target="../media/image12.png"/><Relationship Id="rId2" Type="http://schemas.openxmlformats.org/officeDocument/2006/relationships/tags" Target="../tags/tag52.xml"/><Relationship Id="rId16" Type="http://schemas.openxmlformats.org/officeDocument/2006/relationships/image" Target="../media/image23.svg"/><Relationship Id="rId1" Type="http://schemas.openxmlformats.org/officeDocument/2006/relationships/vmlDrawing" Target="../drawings/vmlDrawing9.vml"/><Relationship Id="rId6" Type="http://schemas.openxmlformats.org/officeDocument/2006/relationships/tags" Target="../tags/tag56.xml"/><Relationship Id="rId11" Type="http://schemas.openxmlformats.org/officeDocument/2006/relationships/oleObject" Target="../embeddings/oleObject9.bin"/><Relationship Id="rId5" Type="http://schemas.openxmlformats.org/officeDocument/2006/relationships/tags" Target="../tags/tag55.xml"/><Relationship Id="rId15" Type="http://schemas.openxmlformats.org/officeDocument/2006/relationships/image" Target="../media/image14.png"/><Relationship Id="rId10" Type="http://schemas.openxmlformats.org/officeDocument/2006/relationships/slideLayout" Target="../slideLayouts/slideLayout2.xml"/><Relationship Id="rId19" Type="http://schemas.openxmlformats.org/officeDocument/2006/relationships/hyperlink" Target="https://www.hhs.gov/coronavirus/cares-act-provider-relief-fund/for-providers/index.html" TargetMode="External"/><Relationship Id="rId4" Type="http://schemas.openxmlformats.org/officeDocument/2006/relationships/tags" Target="../tags/tag54.xml"/><Relationship Id="rId9" Type="http://schemas.openxmlformats.org/officeDocument/2006/relationships/tags" Target="../tags/tag59.xml"/><Relationship Id="rId14" Type="http://schemas.openxmlformats.org/officeDocument/2006/relationships/image" Target="../media/image21.sv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13" Type="http://schemas.openxmlformats.org/officeDocument/2006/relationships/hyperlink" Target="https://www.hhs.gov/coronavirus/cares-act-provider-relief-fund/for-providers/index.html" TargetMode="External"/><Relationship Id="rId3" Type="http://schemas.openxmlformats.org/officeDocument/2006/relationships/tags" Target="../tags/tag61.xml"/><Relationship Id="rId7" Type="http://schemas.openxmlformats.org/officeDocument/2006/relationships/slideLayout" Target="../slideLayouts/slideLayout2.xml"/><Relationship Id="rId12" Type="http://schemas.openxmlformats.org/officeDocument/2006/relationships/hyperlink" Target="https://www.hhs.gov/sites/default/files/medicaid-provider-distribution-instructions.pdf?language=es" TargetMode="External"/><Relationship Id="rId2" Type="http://schemas.openxmlformats.org/officeDocument/2006/relationships/tags" Target="../tags/tag60.xml"/><Relationship Id="rId1" Type="http://schemas.openxmlformats.org/officeDocument/2006/relationships/vmlDrawing" Target="../drawings/vmlDrawing10.vml"/><Relationship Id="rId6" Type="http://schemas.openxmlformats.org/officeDocument/2006/relationships/tags" Target="../tags/tag64.xml"/><Relationship Id="rId11" Type="http://schemas.openxmlformats.org/officeDocument/2006/relationships/hyperlink" Target="https://hhs.gov/sites/default/files/prf-gross-revenues-worksheet.xlsx" TargetMode="External"/><Relationship Id="rId5" Type="http://schemas.openxmlformats.org/officeDocument/2006/relationships/tags" Target="../tags/tag63.xml"/><Relationship Id="rId10" Type="http://schemas.openxmlformats.org/officeDocument/2006/relationships/hyperlink" Target="https://cares.linkhealth.com/#/" TargetMode="External"/><Relationship Id="rId4" Type="http://schemas.openxmlformats.org/officeDocument/2006/relationships/tags" Target="../tags/tag62.xml"/><Relationship Id="rId9" Type="http://schemas.openxmlformats.org/officeDocument/2006/relationships/image" Target="../media/image6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71.xml"/><Relationship Id="rId13" Type="http://schemas.openxmlformats.org/officeDocument/2006/relationships/image" Target="../media/image9.png"/><Relationship Id="rId3" Type="http://schemas.openxmlformats.org/officeDocument/2006/relationships/tags" Target="../tags/tag66.xml"/><Relationship Id="rId7" Type="http://schemas.openxmlformats.org/officeDocument/2006/relationships/tags" Target="../tags/tag70.xml"/><Relationship Id="rId12" Type="http://schemas.openxmlformats.org/officeDocument/2006/relationships/image" Target="../media/image6.emf"/><Relationship Id="rId2" Type="http://schemas.openxmlformats.org/officeDocument/2006/relationships/tags" Target="../tags/tag65.xml"/><Relationship Id="rId16" Type="http://schemas.openxmlformats.org/officeDocument/2006/relationships/hyperlink" Target="https://www.hhs.gov/coronavirus/cares-act-provider-relief-fund/for-providers/index.html" TargetMode="External"/><Relationship Id="rId1" Type="http://schemas.openxmlformats.org/officeDocument/2006/relationships/vmlDrawing" Target="../drawings/vmlDrawing11.vml"/><Relationship Id="rId6" Type="http://schemas.openxmlformats.org/officeDocument/2006/relationships/tags" Target="../tags/tag69.xml"/><Relationship Id="rId11" Type="http://schemas.openxmlformats.org/officeDocument/2006/relationships/oleObject" Target="../embeddings/oleObject11.bin"/><Relationship Id="rId5" Type="http://schemas.openxmlformats.org/officeDocument/2006/relationships/tags" Target="../tags/tag68.xml"/><Relationship Id="rId15" Type="http://schemas.openxmlformats.org/officeDocument/2006/relationships/hyperlink" Target="https://www.hhs.gov/coronavirus/cares-act-provider-relief-fund/faqs/index.html" TargetMode="Externa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67.xml"/><Relationship Id="rId9" Type="http://schemas.openxmlformats.org/officeDocument/2006/relationships/tags" Target="../tags/tag72.xml"/><Relationship Id="rId14" Type="http://schemas.openxmlformats.org/officeDocument/2006/relationships/image" Target="../media/image12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.bin"/><Relationship Id="rId13" Type="http://schemas.openxmlformats.org/officeDocument/2006/relationships/hyperlink" Target="https://www.hhs.gov/coronavirus/cares-act-provider-relief-fund/faqs/index.html" TargetMode="External"/><Relationship Id="rId3" Type="http://schemas.openxmlformats.org/officeDocument/2006/relationships/tags" Target="../tags/tag74.xml"/><Relationship Id="rId7" Type="http://schemas.openxmlformats.org/officeDocument/2006/relationships/slideLayout" Target="../slideLayouts/slideLayout2.xml"/><Relationship Id="rId12" Type="http://schemas.openxmlformats.org/officeDocument/2006/relationships/hyperlink" Target="https://www.hhs.gov/sites/default/files/terms-and-conditions-medicaid-relief-fund.pdf" TargetMode="External"/><Relationship Id="rId2" Type="http://schemas.openxmlformats.org/officeDocument/2006/relationships/tags" Target="../tags/tag73.xml"/><Relationship Id="rId1" Type="http://schemas.openxmlformats.org/officeDocument/2006/relationships/vmlDrawing" Target="../drawings/vmlDrawing12.vml"/><Relationship Id="rId6" Type="http://schemas.openxmlformats.org/officeDocument/2006/relationships/tags" Target="../tags/tag77.xml"/><Relationship Id="rId11" Type="http://schemas.openxmlformats.org/officeDocument/2006/relationships/image" Target="../media/image14.svg"/><Relationship Id="rId5" Type="http://schemas.openxmlformats.org/officeDocument/2006/relationships/tags" Target="../tags/tag76.xml"/><Relationship Id="rId15" Type="http://schemas.openxmlformats.org/officeDocument/2006/relationships/hyperlink" Target="https://cares.linkhealth.com/#/" TargetMode="External"/><Relationship Id="rId10" Type="http://schemas.openxmlformats.org/officeDocument/2006/relationships/image" Target="../media/image10.png"/><Relationship Id="rId4" Type="http://schemas.openxmlformats.org/officeDocument/2006/relationships/tags" Target="../tags/tag75.xml"/><Relationship Id="rId9" Type="http://schemas.openxmlformats.org/officeDocument/2006/relationships/image" Target="../media/image6.emf"/><Relationship Id="rId14" Type="http://schemas.openxmlformats.org/officeDocument/2006/relationships/hyperlink" Target="https://www.hhs.gov/coronavirus/cares-act-provider-relief-fund/for-providers/index.html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0AA44BD-FA2A-4537-850A-993041CACB1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36009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801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0AA44BD-FA2A-4537-850A-993041CACB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F275F3D2-FEE1-4D71-AAED-ACAB2C51BD3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7200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CECA3011-9F16-4319-8A3A-0C9DDD929713}"/>
              </a:ext>
            </a:extLst>
          </p:cNvPr>
          <p:cNvSpPr>
            <a:spLocks/>
          </p:cNvSpPr>
          <p:nvPr/>
        </p:nvSpPr>
        <p:spPr>
          <a:xfrm>
            <a:off x="0" y="3177"/>
            <a:ext cx="12192000" cy="685482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F6E6467-EF61-4D11-B520-A3ED4B0D6812}"/>
              </a:ext>
            </a:extLst>
          </p:cNvPr>
          <p:cNvSpPr/>
          <p:nvPr/>
        </p:nvSpPr>
        <p:spPr>
          <a:xfrm>
            <a:off x="0" y="0"/>
            <a:ext cx="12192000" cy="3428662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382E2CD-499D-42C0-BB45-B830DF005B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34340" y="1474858"/>
            <a:ext cx="10261979" cy="166891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>
              <a:lnSpc>
                <a:spcPts val="6500"/>
              </a:lnSpc>
              <a:buClr>
                <a:schemeClr val="bg1"/>
              </a:buClr>
            </a:pPr>
            <a:r>
              <a:rPr lang="en-US" sz="7200" b="0" spc="-150" dirty="0">
                <a:solidFill>
                  <a:schemeClr val="bg1"/>
                </a:solidFill>
              </a:rPr>
              <a:t>Learn about</a:t>
            </a:r>
            <a:br>
              <a:rPr lang="en-US" sz="7200" b="0" spc="-150" dirty="0">
                <a:solidFill>
                  <a:schemeClr val="bg1"/>
                </a:solidFill>
              </a:rPr>
            </a:br>
            <a:r>
              <a:rPr lang="en-US" sz="7200" b="0" spc="-150" dirty="0">
                <a:solidFill>
                  <a:schemeClr val="bg1"/>
                </a:solidFill>
              </a:rPr>
              <a:t>the </a:t>
            </a:r>
            <a:r>
              <a:rPr lang="en-US" sz="7200" spc="-150" dirty="0">
                <a:solidFill>
                  <a:schemeClr val="bg1"/>
                </a:solidFill>
              </a:rPr>
              <a:t>Provider Relief Fund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0E8C061-5C84-4386-A379-3802F01633A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271938" y="3708859"/>
            <a:ext cx="8184712" cy="615553"/>
          </a:xfrm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VID-19 financial assistance for providers of health care services and support in a medical setting, at home, or in the community</a:t>
            </a:r>
          </a:p>
        </p:txBody>
      </p:sp>
      <p:sp>
        <p:nvSpPr>
          <p:cNvPr id="4" name="Document type">
            <a:extLst>
              <a:ext uri="{FF2B5EF4-FFF2-40B4-BE49-F238E27FC236}">
                <a16:creationId xmlns:a16="http://schemas.microsoft.com/office/drawing/2014/main" id="{79A867A1-4A2A-4AFD-9D35-089CCF396F06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934341" y="4876699"/>
            <a:ext cx="5702455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>
            <a:defPPr>
              <a:defRPr lang="en-US"/>
            </a:defPPr>
            <a:lvl1pPr eaLnBrk="0" hangingPunct="1">
              <a:defRPr sz="1400" baseline="0">
                <a:solidFill>
                  <a:schemeClr val="accent6"/>
                </a:solidFill>
                <a:latin typeface="+mn-lt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en-US" sz="1800" b="1" dirty="0">
                <a:solidFill>
                  <a:schemeClr val="bg2">
                    <a:lumMod val="50000"/>
                  </a:schemeClr>
                </a:solidFill>
              </a:rPr>
              <a:t>July 2020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763EA3EC-5420-443B-B7F0-BA07A93BC718}"/>
              </a:ext>
            </a:extLst>
          </p:cNvPr>
          <p:cNvCxnSpPr>
            <a:cxnSpLocks/>
          </p:cNvCxnSpPr>
          <p:nvPr/>
        </p:nvCxnSpPr>
        <p:spPr>
          <a:xfrm>
            <a:off x="934341" y="4619540"/>
            <a:ext cx="10350283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8" name="Graphic 57">
            <a:extLst>
              <a:ext uri="{FF2B5EF4-FFF2-40B4-BE49-F238E27FC236}">
                <a16:creationId xmlns:a16="http://schemas.microsoft.com/office/drawing/2014/main" id="{BBC2A54E-9B6B-41CC-81DF-DF479DCB5B71}"/>
              </a:ext>
            </a:extLst>
          </p:cNvPr>
          <p:cNvPicPr>
            <a:picLocks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940481" y="3698996"/>
            <a:ext cx="1956737" cy="6352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063239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8" name="Object 47" hidden="1">
            <a:extLst>
              <a:ext uri="{FF2B5EF4-FFF2-40B4-BE49-F238E27FC236}">
                <a16:creationId xmlns:a16="http://schemas.microsoft.com/office/drawing/2014/main" id="{14BA6171-6AF2-4866-B9A0-B0D03AD6530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961" name="think-cell Slide" r:id="rId8" imgW="395" imgH="394" progId="TCLayout.ActiveDocument.1">
                  <p:embed/>
                </p:oleObj>
              </mc:Choice>
              <mc:Fallback>
                <p:oleObj name="think-cell Slide" r:id="rId8" imgW="395" imgH="394" progId="TCLayout.ActiveDocument.1">
                  <p:embed/>
                  <p:pic>
                    <p:nvPicPr>
                      <p:cNvPr id="48" name="Object 47" hidden="1">
                        <a:extLst>
                          <a:ext uri="{FF2B5EF4-FFF2-40B4-BE49-F238E27FC236}">
                            <a16:creationId xmlns:a16="http://schemas.microsoft.com/office/drawing/2014/main" id="{14BA6171-6AF2-4866-B9A0-B0D03AD653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Rectangle 46" hidden="1">
            <a:extLst>
              <a:ext uri="{FF2B5EF4-FFF2-40B4-BE49-F238E27FC236}">
                <a16:creationId xmlns:a16="http://schemas.microsoft.com/office/drawing/2014/main" id="{06E0B02D-CB87-4A54-9B04-DDB41854653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000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934297B-29BA-4450-BF14-2932B8965D85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4399280" y="1544190"/>
            <a:ext cx="7361798" cy="379103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 lvl="1">
              <a:spcBef>
                <a:spcPct val="110000"/>
              </a:spcBef>
            </a:pP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  <a:cs typeface="Helvetica" panose="020B0604020202020204" pitchFamily="34" charset="0"/>
              </a:rPr>
              <a:t>HHS will </a:t>
            </a:r>
            <a:r>
              <a:rPr lang="en-US" sz="1300" b="1" dirty="0">
                <a:solidFill>
                  <a:schemeClr val="tx1">
                    <a:lumMod val="75000"/>
                    <a:lumOff val="25000"/>
                  </a:schemeClr>
                </a:solidFill>
                <a:cs typeface="Helvetica" panose="020B0604020202020204" pitchFamily="34" charset="0"/>
              </a:rPr>
              <a:t>require recipients to submit future reports </a:t>
            </a: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  <a:cs typeface="Helvetica" panose="020B0604020202020204" pitchFamily="34" charset="0"/>
              </a:rPr>
              <a:t>relating to the recipient’s use of PRF payments</a:t>
            </a:r>
          </a:p>
          <a:p>
            <a:pPr lvl="1">
              <a:spcBef>
                <a:spcPct val="110000"/>
              </a:spcBef>
            </a:pP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  <a:cs typeface="Helvetica" panose="020B0604020202020204" pitchFamily="34" charset="0"/>
              </a:rPr>
              <a:t>PRF payments may be used to </a:t>
            </a:r>
            <a:r>
              <a:rPr lang="en-US" sz="1300" b="1" dirty="0">
                <a:solidFill>
                  <a:schemeClr val="tx1">
                    <a:lumMod val="75000"/>
                    <a:lumOff val="25000"/>
                  </a:schemeClr>
                </a:solidFill>
                <a:cs typeface="Helvetica" panose="020B0604020202020204" pitchFamily="34" charset="0"/>
              </a:rPr>
              <a:t>cover lost revenue attributable to COVID-19 or health-related expenses </a:t>
            </a: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  <a:cs typeface="Helvetica" panose="020B0604020202020204" pitchFamily="34" charset="0"/>
              </a:rPr>
              <a:t>purchased to prevent, prepare for, and respond to coronavirus, including but not limited to: </a:t>
            </a:r>
          </a:p>
          <a:p>
            <a:pPr lvl="2">
              <a:spcBef>
                <a:spcPct val="55000"/>
              </a:spcBef>
            </a:pPr>
            <a:r>
              <a:rPr lang="en-US" sz="1300" b="1" dirty="0">
                <a:solidFill>
                  <a:schemeClr val="tx1">
                    <a:lumMod val="75000"/>
                    <a:lumOff val="25000"/>
                  </a:schemeClr>
                </a:solidFill>
                <a:cs typeface="Helvetica" panose="020B0604020202020204" pitchFamily="34" charset="0"/>
              </a:rPr>
              <a:t>Supplies</a:t>
            </a:r>
            <a:endParaRPr lang="en-US" sz="1300" dirty="0">
              <a:solidFill>
                <a:schemeClr val="tx1">
                  <a:lumMod val="75000"/>
                  <a:lumOff val="25000"/>
                </a:schemeClr>
              </a:solidFill>
              <a:cs typeface="Helvetica" panose="020B0604020202020204" pitchFamily="34" charset="0"/>
            </a:endParaRPr>
          </a:p>
          <a:p>
            <a:pPr lvl="2">
              <a:spcBef>
                <a:spcPct val="55000"/>
              </a:spcBef>
            </a:pPr>
            <a:r>
              <a:rPr lang="en-US" sz="1300" b="1" dirty="0">
                <a:solidFill>
                  <a:schemeClr val="tx1">
                    <a:lumMod val="75000"/>
                    <a:lumOff val="25000"/>
                  </a:schemeClr>
                </a:solidFill>
                <a:cs typeface="Helvetica" panose="020B0604020202020204" pitchFamily="34" charset="0"/>
              </a:rPr>
              <a:t>Equipment</a:t>
            </a:r>
            <a:endParaRPr lang="en-US" sz="1300" dirty="0">
              <a:solidFill>
                <a:schemeClr val="tx1">
                  <a:lumMod val="75000"/>
                  <a:lumOff val="25000"/>
                </a:schemeClr>
              </a:solidFill>
              <a:cs typeface="Helvetica" panose="020B0604020202020204" pitchFamily="34" charset="0"/>
            </a:endParaRPr>
          </a:p>
          <a:p>
            <a:pPr lvl="2">
              <a:spcBef>
                <a:spcPct val="55000"/>
              </a:spcBef>
            </a:pPr>
            <a:r>
              <a:rPr lang="en-GB" sz="1300" b="1" dirty="0">
                <a:solidFill>
                  <a:schemeClr val="tx1">
                    <a:lumMod val="75000"/>
                    <a:lumOff val="25000"/>
                  </a:schemeClr>
                </a:solidFill>
                <a:cs typeface="Helvetica" panose="020B0604020202020204" pitchFamily="34" charset="0"/>
              </a:rPr>
              <a:t>Workforce training</a:t>
            </a:r>
          </a:p>
          <a:p>
            <a:pPr lvl="2">
              <a:spcBef>
                <a:spcPct val="55000"/>
              </a:spcBef>
            </a:pP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  <a:cs typeface="Helvetica" panose="020B0604020202020204" pitchFamily="34" charset="0"/>
              </a:rPr>
              <a:t>Reporting COVID-19 </a:t>
            </a:r>
            <a:r>
              <a:rPr lang="en-US" sz="1300" b="1" dirty="0">
                <a:solidFill>
                  <a:schemeClr val="tx1">
                    <a:lumMod val="75000"/>
                    <a:lumOff val="25000"/>
                  </a:schemeClr>
                </a:solidFill>
                <a:cs typeface="Helvetica" panose="020B0604020202020204" pitchFamily="34" charset="0"/>
              </a:rPr>
              <a:t>test results </a:t>
            </a: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  <a:cs typeface="Helvetica" panose="020B0604020202020204" pitchFamily="34" charset="0"/>
              </a:rPr>
              <a:t>to federal, state, or local governments</a:t>
            </a:r>
          </a:p>
          <a:p>
            <a:pPr lvl="2">
              <a:spcBef>
                <a:spcPct val="55000"/>
              </a:spcBef>
            </a:pPr>
            <a:r>
              <a:rPr lang="en-US" sz="1300" b="1" dirty="0">
                <a:solidFill>
                  <a:schemeClr val="tx1">
                    <a:lumMod val="75000"/>
                    <a:lumOff val="25000"/>
                  </a:schemeClr>
                </a:solidFill>
                <a:cs typeface="Helvetica" panose="020B0604020202020204" pitchFamily="34" charset="0"/>
              </a:rPr>
              <a:t>Building or constructing temporary structures </a:t>
            </a: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  <a:cs typeface="Helvetica" panose="020B0604020202020204" pitchFamily="34" charset="0"/>
              </a:rPr>
              <a:t>for COVID-19 patient care or non-COVID-19 patients in a separate area</a:t>
            </a:r>
          </a:p>
          <a:p>
            <a:pPr lvl="2">
              <a:spcBef>
                <a:spcPct val="55000"/>
              </a:spcBef>
            </a:pP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  <a:cs typeface="Helvetica" panose="020B0604020202020204" pitchFamily="34" charset="0"/>
              </a:rPr>
              <a:t>Acquiring </a:t>
            </a:r>
            <a:r>
              <a:rPr lang="en-US" sz="1300" b="1" dirty="0">
                <a:solidFill>
                  <a:schemeClr val="tx1">
                    <a:lumMod val="75000"/>
                    <a:lumOff val="25000"/>
                  </a:schemeClr>
                </a:solidFill>
                <a:cs typeface="Helvetica" panose="020B0604020202020204" pitchFamily="34" charset="0"/>
              </a:rPr>
              <a:t>additional resources</a:t>
            </a: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  <a:cs typeface="Helvetica" panose="020B0604020202020204" pitchFamily="34" charset="0"/>
              </a:rPr>
              <a:t>, including facilities, supplies, or staffing to expand or preserve care delivery</a:t>
            </a:r>
          </a:p>
          <a:p>
            <a:pPr lvl="2">
              <a:spcBef>
                <a:spcPct val="55000"/>
              </a:spcBef>
            </a:pP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  <a:cs typeface="Helvetica" panose="020B0604020202020204" pitchFamily="34" charset="0"/>
              </a:rPr>
              <a:t>Developing and staffing </a:t>
            </a:r>
            <a:r>
              <a:rPr lang="en-US" sz="1300" b="1" dirty="0">
                <a:solidFill>
                  <a:schemeClr val="tx1">
                    <a:lumMod val="75000"/>
                    <a:lumOff val="25000"/>
                  </a:schemeClr>
                </a:solidFill>
                <a:cs typeface="Helvetica" panose="020B0604020202020204" pitchFamily="34" charset="0"/>
              </a:rPr>
              <a:t>emergency operation centers</a:t>
            </a: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  <a:cs typeface="Helvetica" panose="020B0604020202020204" pitchFamily="34" charset="0"/>
              </a:rPr>
              <a:t> 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74C9BAE3-0072-41FC-814C-C5AD228E8B58}"/>
              </a:ext>
            </a:extLst>
          </p:cNvPr>
          <p:cNvSpPr>
            <a:spLocks/>
          </p:cNvSpPr>
          <p:nvPr/>
        </p:nvSpPr>
        <p:spPr>
          <a:xfrm>
            <a:off x="346892" y="1960553"/>
            <a:ext cx="2850758" cy="95410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r>
              <a:rPr lang="en-US" sz="2800" b="1" spc="-15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Report</a:t>
            </a:r>
            <a:br>
              <a:rPr lang="en-US" sz="2800" b="1" spc="-15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</a:br>
            <a:r>
              <a:rPr lang="en-US" sz="2800" b="1" spc="-15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on use of funds</a:t>
            </a:r>
          </a:p>
        </p:txBody>
      </p:sp>
      <p:sp>
        <p:nvSpPr>
          <p:cNvPr id="33" name="TitleTrackerNum 7">
            <a:extLst>
              <a:ext uri="{FF2B5EF4-FFF2-40B4-BE49-F238E27FC236}">
                <a16:creationId xmlns:a16="http://schemas.microsoft.com/office/drawing/2014/main" id="{D2BE1312-81BA-426F-801F-6D74FAB5C2B0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46892" y="1484823"/>
            <a:ext cx="340408" cy="340409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4800" b="1" dirty="0">
                <a:solidFill>
                  <a:srgbClr val="A33134"/>
                </a:solidFill>
                <a:latin typeface="+mj-lt"/>
              </a:rPr>
              <a:t>6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F36CE89F-5052-4B31-B464-8AFC84FDC9AE}"/>
              </a:ext>
            </a:extLst>
          </p:cNvPr>
          <p:cNvCxnSpPr>
            <a:cxnSpLocks/>
          </p:cNvCxnSpPr>
          <p:nvPr/>
        </p:nvCxnSpPr>
        <p:spPr>
          <a:xfrm>
            <a:off x="346892" y="3110489"/>
            <a:ext cx="3676468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itle 1">
            <a:extLst>
              <a:ext uri="{FF2B5EF4-FFF2-40B4-BE49-F238E27FC236}">
                <a16:creationId xmlns:a16="http://schemas.microsoft.com/office/drawing/2014/main" id="{BC32E725-4ECA-42F8-BB4A-35639C2FB8BD}"/>
              </a:ext>
            </a:extLst>
          </p:cNvPr>
          <p:cNvSpPr txBox="1">
            <a:spLocks/>
          </p:cNvSpPr>
          <p:nvPr/>
        </p:nvSpPr>
        <p:spPr bwMode="gray">
          <a:xfrm>
            <a:off x="11094720" y="379920"/>
            <a:ext cx="580788" cy="384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 defTabSz="12180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7135" algn="l"/>
              </a:tabLst>
              <a:defRPr lang="x-none" sz="20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2pPr>
            <a:lvl3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3pPr>
            <a:lvl4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4pPr>
            <a:lvl5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5pPr>
            <a:lvl6pPr marL="62197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6pPr>
            <a:lvl7pPr marL="1243941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7pPr>
            <a:lvl8pPr marL="1865909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8pPr>
            <a:lvl9pPr marL="248788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r">
              <a:lnSpc>
                <a:spcPts val="3000"/>
              </a:lnSpc>
            </a:pPr>
            <a:r>
              <a:rPr lang="en-US" sz="2800" b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6/6</a:t>
            </a:r>
            <a:endParaRPr lang="en-US" sz="2800" b="0" kern="0" spc="-15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01F4476-E4BC-4263-A4A3-2243A0537297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4399280" y="5796770"/>
            <a:ext cx="7361798" cy="64633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 marL="0" lvl="1" indent="0">
              <a:spcBef>
                <a:spcPct val="110000"/>
              </a:spcBef>
              <a:buNone/>
            </a:pPr>
            <a:r>
              <a:rPr lang="en-US" sz="1400" b="1" dirty="0">
                <a:solidFill>
                  <a:schemeClr val="tx2"/>
                </a:solidFill>
                <a:cs typeface="Helvetica" panose="020B0604020202020204" pitchFamily="34" charset="0"/>
              </a:rPr>
              <a:t>For additional information, please see auditing and reporting </a:t>
            </a:r>
            <a:r>
              <a:rPr lang="en-US" sz="1400" b="1" dirty="0">
                <a:solidFill>
                  <a:schemeClr val="tx2"/>
                </a:solidFill>
                <a:cs typeface="Helvetica" panose="020B0604020202020204" pitchFamily="34" charset="0"/>
                <a:hlinkClick r:id="rId10"/>
              </a:rPr>
              <a:t>FAQs</a:t>
            </a:r>
            <a:r>
              <a:rPr lang="en-US" sz="1400" b="1" dirty="0">
                <a:solidFill>
                  <a:schemeClr val="tx2"/>
                </a:solidFill>
                <a:cs typeface="Helvetica" panose="020B0604020202020204" pitchFamily="34" charset="0"/>
              </a:rPr>
              <a:t/>
            </a:r>
            <a:br>
              <a:rPr lang="en-US" sz="1400" b="1" dirty="0">
                <a:solidFill>
                  <a:schemeClr val="tx2"/>
                </a:solidFill>
                <a:cs typeface="Helvetica" panose="020B0604020202020204" pitchFamily="34" charset="0"/>
              </a:rPr>
            </a:br>
            <a:r>
              <a:rPr lang="en-US" sz="1400" b="1" dirty="0">
                <a:solidFill>
                  <a:schemeClr val="tx2"/>
                </a:solidFill>
                <a:cs typeface="Helvetica" panose="020B0604020202020204" pitchFamily="34" charset="0"/>
              </a:rPr>
              <a:t>HHS will provide further clarity on reporting requirements and timeline in August 2020; please return to </a:t>
            </a:r>
            <a:r>
              <a:rPr lang="en-US" sz="1400" b="1" dirty="0">
                <a:solidFill>
                  <a:schemeClr val="tx2"/>
                </a:solidFill>
                <a:cs typeface="Helvetica" panose="020B0604020202020204" pitchFamily="34" charset="0"/>
                <a:hlinkClick r:id="rId11"/>
              </a:rPr>
              <a:t>Provider Relief Fund website</a:t>
            </a:r>
            <a:r>
              <a:rPr lang="en-US" sz="1400" b="1" dirty="0">
                <a:solidFill>
                  <a:schemeClr val="tx2"/>
                </a:solidFill>
                <a:cs typeface="Helvetica" panose="020B0604020202020204" pitchFamily="34" charset="0"/>
              </a:rPr>
              <a:t> for updates</a:t>
            </a:r>
          </a:p>
        </p:txBody>
      </p:sp>
      <p:grpSp>
        <p:nvGrpSpPr>
          <p:cNvPr id="203" name="Group 202">
            <a:extLst>
              <a:ext uri="{FF2B5EF4-FFF2-40B4-BE49-F238E27FC236}">
                <a16:creationId xmlns:a16="http://schemas.microsoft.com/office/drawing/2014/main" id="{E67750DB-4A2F-46CB-A73C-4B6933DB8099}"/>
              </a:ext>
            </a:extLst>
          </p:cNvPr>
          <p:cNvGrpSpPr>
            <a:grpSpLocks/>
          </p:cNvGrpSpPr>
          <p:nvPr/>
        </p:nvGrpSpPr>
        <p:grpSpPr>
          <a:xfrm>
            <a:off x="555679" y="3301499"/>
            <a:ext cx="2641971" cy="3007272"/>
            <a:chOff x="10210195" y="2638010"/>
            <a:chExt cx="1618731" cy="1842550"/>
          </a:xfrm>
        </p:grpSpPr>
        <p:pic>
          <p:nvPicPr>
            <p:cNvPr id="204" name="Graphic 203">
              <a:extLst>
                <a:ext uri="{FF2B5EF4-FFF2-40B4-BE49-F238E27FC236}">
                  <a16:creationId xmlns:a16="http://schemas.microsoft.com/office/drawing/2014/main" id="{646056F0-9BDD-40C7-B635-C121FF9D8CC1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xmlns="" r:embed="rId13"/>
                </a:ext>
              </a:extLst>
            </a:blip>
            <a:stretch>
              <a:fillRect/>
            </a:stretch>
          </p:blipFill>
          <p:spPr>
            <a:xfrm>
              <a:off x="10256225" y="2983337"/>
              <a:ext cx="1572701" cy="1387103"/>
            </a:xfrm>
            <a:prstGeom prst="rect">
              <a:avLst/>
            </a:prstGeom>
          </p:spPr>
        </p:pic>
        <p:sp>
          <p:nvSpPr>
            <p:cNvPr id="205" name="Freeform: Shape 204">
              <a:extLst>
                <a:ext uri="{FF2B5EF4-FFF2-40B4-BE49-F238E27FC236}">
                  <a16:creationId xmlns:a16="http://schemas.microsoft.com/office/drawing/2014/main" id="{ECD7D813-5B5E-4032-A8E8-441BD5CE257C}"/>
                </a:ext>
              </a:extLst>
            </p:cNvPr>
            <p:cNvSpPr/>
            <p:nvPr/>
          </p:nvSpPr>
          <p:spPr>
            <a:xfrm>
              <a:off x="10655455" y="2638010"/>
              <a:ext cx="455006" cy="455006"/>
            </a:xfrm>
            <a:custGeom>
              <a:avLst/>
              <a:gdLst>
                <a:gd name="connsiteX0" fmla="*/ 664984 w 695325"/>
                <a:gd name="connsiteY0" fmla="*/ 204314 h 695325"/>
                <a:gd name="connsiteX1" fmla="*/ 491915 w 695325"/>
                <a:gd name="connsiteY1" fmla="*/ 665038 h 695325"/>
                <a:gd name="connsiteX2" fmla="*/ 31191 w 695325"/>
                <a:gd name="connsiteY2" fmla="*/ 491874 h 695325"/>
                <a:gd name="connsiteX3" fmla="*/ 204355 w 695325"/>
                <a:gd name="connsiteY3" fmla="*/ 31150 h 695325"/>
                <a:gd name="connsiteX4" fmla="*/ 664984 w 695325"/>
                <a:gd name="connsiteY4" fmla="*/ 204314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5325" h="695325">
                  <a:moveTo>
                    <a:pt x="664984" y="204314"/>
                  </a:moveTo>
                  <a:cubicBezTo>
                    <a:pt x="744423" y="379384"/>
                    <a:pt x="666889" y="585600"/>
                    <a:pt x="491915" y="665038"/>
                  </a:cubicBezTo>
                  <a:cubicBezTo>
                    <a:pt x="316845" y="744477"/>
                    <a:pt x="110629" y="666943"/>
                    <a:pt x="31191" y="491874"/>
                  </a:cubicBezTo>
                  <a:cubicBezTo>
                    <a:pt x="-48248" y="316804"/>
                    <a:pt x="29286" y="110588"/>
                    <a:pt x="204355" y="31150"/>
                  </a:cubicBezTo>
                  <a:cubicBezTo>
                    <a:pt x="379329" y="-48194"/>
                    <a:pt x="585641" y="29245"/>
                    <a:pt x="664984" y="204314"/>
                  </a:cubicBezTo>
                  <a:close/>
                </a:path>
              </a:pathLst>
            </a:custGeom>
            <a:solidFill>
              <a:schemeClr val="bg1">
                <a:lumMod val="85000"/>
                <a:alpha val="3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206" name="Graphic 2009">
              <a:extLst>
                <a:ext uri="{FF2B5EF4-FFF2-40B4-BE49-F238E27FC236}">
                  <a16:creationId xmlns:a16="http://schemas.microsoft.com/office/drawing/2014/main" id="{B5C52808-AD13-4319-93B4-9DA90B534DAA}"/>
                </a:ext>
              </a:extLst>
            </p:cNvPr>
            <p:cNvGrpSpPr/>
            <p:nvPr/>
          </p:nvGrpSpPr>
          <p:grpSpPr>
            <a:xfrm>
              <a:off x="10882439" y="2959170"/>
              <a:ext cx="715469" cy="1408617"/>
              <a:chOff x="-1614347" y="2380202"/>
              <a:chExt cx="1093357" cy="2152603"/>
            </a:xfrm>
            <a:solidFill>
              <a:schemeClr val="accent1"/>
            </a:solidFill>
          </p:grpSpPr>
          <p:grpSp>
            <p:nvGrpSpPr>
              <p:cNvPr id="270" name="Graphic 2009">
                <a:extLst>
                  <a:ext uri="{FF2B5EF4-FFF2-40B4-BE49-F238E27FC236}">
                    <a16:creationId xmlns:a16="http://schemas.microsoft.com/office/drawing/2014/main" id="{276374E1-A4B5-4F31-BEF7-0A1BF87CB702}"/>
                  </a:ext>
                </a:extLst>
              </p:cNvPr>
              <p:cNvGrpSpPr/>
              <p:nvPr/>
            </p:nvGrpSpPr>
            <p:grpSpPr>
              <a:xfrm>
                <a:off x="-1614347" y="2380202"/>
                <a:ext cx="1093357" cy="2152603"/>
                <a:chOff x="-1614347" y="2380202"/>
                <a:chExt cx="1093357" cy="2152603"/>
              </a:xfrm>
              <a:solidFill>
                <a:schemeClr val="accent1"/>
              </a:solidFill>
            </p:grpSpPr>
            <p:sp>
              <p:nvSpPr>
                <p:cNvPr id="279" name="Freeform: Shape 278">
                  <a:extLst>
                    <a:ext uri="{FF2B5EF4-FFF2-40B4-BE49-F238E27FC236}">
                      <a16:creationId xmlns:a16="http://schemas.microsoft.com/office/drawing/2014/main" id="{A4607C78-B2D9-4FF9-ADBC-EB7659809B96}"/>
                    </a:ext>
                  </a:extLst>
                </p:cNvPr>
                <p:cNvSpPr/>
                <p:nvPr/>
              </p:nvSpPr>
              <p:spPr>
                <a:xfrm>
                  <a:off x="-1614347" y="2428450"/>
                  <a:ext cx="190500" cy="457200"/>
                </a:xfrm>
                <a:custGeom>
                  <a:avLst/>
                  <a:gdLst>
                    <a:gd name="connsiteX0" fmla="*/ 162657 w 190500"/>
                    <a:gd name="connsiteY0" fmla="*/ 151681 h 457200"/>
                    <a:gd name="connsiteX1" fmla="*/ 6637 w 190500"/>
                    <a:gd name="connsiteY1" fmla="*/ 25666 h 457200"/>
                    <a:gd name="connsiteX2" fmla="*/ 192946 w 190500"/>
                    <a:gd name="connsiteY2" fmla="*/ 461530 h 457200"/>
                    <a:gd name="connsiteX3" fmla="*/ 162657 w 190500"/>
                    <a:gd name="connsiteY3" fmla="*/ 151681 h 4572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90500" h="457200">
                      <a:moveTo>
                        <a:pt x="162657" y="151681"/>
                      </a:moveTo>
                      <a:cubicBezTo>
                        <a:pt x="118461" y="41191"/>
                        <a:pt x="55310" y="-45010"/>
                        <a:pt x="6637" y="25666"/>
                      </a:cubicBezTo>
                      <a:cubicBezTo>
                        <a:pt x="-42035" y="96436"/>
                        <a:pt x="192946" y="461530"/>
                        <a:pt x="192946" y="461530"/>
                      </a:cubicBezTo>
                      <a:cubicBezTo>
                        <a:pt x="192946" y="461530"/>
                        <a:pt x="206948" y="262171"/>
                        <a:pt x="162657" y="151681"/>
                      </a:cubicBezTo>
                      <a:close/>
                    </a:path>
                  </a:pathLst>
                </a:custGeom>
                <a:solidFill>
                  <a:srgbClr val="F7CEBB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80" name="Freeform: Shape 279">
                  <a:extLst>
                    <a:ext uri="{FF2B5EF4-FFF2-40B4-BE49-F238E27FC236}">
                      <a16:creationId xmlns:a16="http://schemas.microsoft.com/office/drawing/2014/main" id="{0B4C285A-375D-47EE-8E04-2A36AE5F1068}"/>
                    </a:ext>
                  </a:extLst>
                </p:cNvPr>
                <p:cNvSpPr/>
                <p:nvPr/>
              </p:nvSpPr>
              <p:spPr>
                <a:xfrm>
                  <a:off x="-1438845" y="3404081"/>
                  <a:ext cx="742950" cy="1123950"/>
                </a:xfrm>
                <a:custGeom>
                  <a:avLst/>
                  <a:gdLst>
                    <a:gd name="connsiteX0" fmla="*/ 612757 w 742950"/>
                    <a:gd name="connsiteY0" fmla="*/ 1126009 h 1123950"/>
                    <a:gd name="connsiteX1" fmla="*/ 211659 w 742950"/>
                    <a:gd name="connsiteY1" fmla="*/ 1131914 h 1123950"/>
                    <a:gd name="connsiteX2" fmla="*/ 195276 w 742950"/>
                    <a:gd name="connsiteY2" fmla="*/ 875025 h 1123950"/>
                    <a:gd name="connsiteX3" fmla="*/ 181560 w 742950"/>
                    <a:gd name="connsiteY3" fmla="*/ 557271 h 1123950"/>
                    <a:gd name="connsiteX4" fmla="*/ 1252 w 742950"/>
                    <a:gd name="connsiteY4" fmla="*/ 187891 h 1123950"/>
                    <a:gd name="connsiteX5" fmla="*/ 739821 w 742950"/>
                    <a:gd name="connsiteY5" fmla="*/ 241898 h 1123950"/>
                    <a:gd name="connsiteX6" fmla="*/ 631807 w 742950"/>
                    <a:gd name="connsiteY6" fmla="*/ 930079 h 1123950"/>
                    <a:gd name="connsiteX7" fmla="*/ 612757 w 742950"/>
                    <a:gd name="connsiteY7" fmla="*/ 1126009 h 11239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742950" h="1123950">
                      <a:moveTo>
                        <a:pt x="612757" y="1126009"/>
                      </a:moveTo>
                      <a:lnTo>
                        <a:pt x="211659" y="1131914"/>
                      </a:lnTo>
                      <a:cubicBezTo>
                        <a:pt x="216422" y="1107149"/>
                        <a:pt x="209183" y="994087"/>
                        <a:pt x="195276" y="875025"/>
                      </a:cubicBezTo>
                      <a:cubicBezTo>
                        <a:pt x="185180" y="788824"/>
                        <a:pt x="196896" y="618612"/>
                        <a:pt x="181560" y="557271"/>
                      </a:cubicBezTo>
                      <a:cubicBezTo>
                        <a:pt x="155748" y="416586"/>
                        <a:pt x="36876" y="347054"/>
                        <a:pt x="1252" y="187891"/>
                      </a:cubicBezTo>
                      <a:cubicBezTo>
                        <a:pt x="-34371" y="28633"/>
                        <a:pt x="701625" y="-163772"/>
                        <a:pt x="739821" y="241898"/>
                      </a:cubicBezTo>
                      <a:cubicBezTo>
                        <a:pt x="778492" y="652521"/>
                        <a:pt x="631807" y="930079"/>
                        <a:pt x="631807" y="930079"/>
                      </a:cubicBezTo>
                      <a:lnTo>
                        <a:pt x="612757" y="1126009"/>
                      </a:lnTo>
                      <a:close/>
                    </a:path>
                  </a:pathLst>
                </a:custGeom>
                <a:solidFill>
                  <a:srgbClr val="F7CEBB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81" name="Freeform: Shape 280">
                  <a:extLst>
                    <a:ext uri="{FF2B5EF4-FFF2-40B4-BE49-F238E27FC236}">
                      <a16:creationId xmlns:a16="http://schemas.microsoft.com/office/drawing/2014/main" id="{EE8BF725-C643-4592-BED4-A7E5E5CC8938}"/>
                    </a:ext>
                  </a:extLst>
                </p:cNvPr>
                <p:cNvSpPr/>
                <p:nvPr/>
              </p:nvSpPr>
              <p:spPr>
                <a:xfrm>
                  <a:off x="-1478740" y="2380202"/>
                  <a:ext cx="828675" cy="1371599"/>
                </a:xfrm>
                <a:custGeom>
                  <a:avLst/>
                  <a:gdLst>
                    <a:gd name="connsiteX0" fmla="*/ 0 w 828675"/>
                    <a:gd name="connsiteY0" fmla="*/ 1349026 h 1371600"/>
                    <a:gd name="connsiteX1" fmla="*/ 26956 w 828675"/>
                    <a:gd name="connsiteY1" fmla="*/ 1376363 h 1371600"/>
                    <a:gd name="connsiteX2" fmla="*/ 810006 w 828675"/>
                    <a:gd name="connsiteY2" fmla="*/ 1376363 h 1371600"/>
                    <a:gd name="connsiteX3" fmla="*/ 837057 w 828675"/>
                    <a:gd name="connsiteY3" fmla="*/ 1349026 h 1371600"/>
                    <a:gd name="connsiteX4" fmla="*/ 837057 w 828675"/>
                    <a:gd name="connsiteY4" fmla="*/ 27337 h 1371600"/>
                    <a:gd name="connsiteX5" fmla="*/ 810006 w 828675"/>
                    <a:gd name="connsiteY5" fmla="*/ 0 h 1371600"/>
                    <a:gd name="connsiteX6" fmla="*/ 26956 w 828675"/>
                    <a:gd name="connsiteY6" fmla="*/ 0 h 1371600"/>
                    <a:gd name="connsiteX7" fmla="*/ 0 w 828675"/>
                    <a:gd name="connsiteY7" fmla="*/ 27337 h 1371600"/>
                    <a:gd name="connsiteX8" fmla="*/ 0 w 828675"/>
                    <a:gd name="connsiteY8" fmla="*/ 1349026 h 13716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828675" h="1371600">
                      <a:moveTo>
                        <a:pt x="0" y="1349026"/>
                      </a:moveTo>
                      <a:cubicBezTo>
                        <a:pt x="0" y="1364075"/>
                        <a:pt x="12097" y="1376363"/>
                        <a:pt x="26956" y="1376363"/>
                      </a:cubicBezTo>
                      <a:lnTo>
                        <a:pt x="810006" y="1376363"/>
                      </a:lnTo>
                      <a:cubicBezTo>
                        <a:pt x="824960" y="1376363"/>
                        <a:pt x="837057" y="1364075"/>
                        <a:pt x="837057" y="1349026"/>
                      </a:cubicBezTo>
                      <a:lnTo>
                        <a:pt x="837057" y="27337"/>
                      </a:lnTo>
                      <a:cubicBezTo>
                        <a:pt x="837057" y="12192"/>
                        <a:pt x="824960" y="0"/>
                        <a:pt x="810006" y="0"/>
                      </a:cubicBezTo>
                      <a:lnTo>
                        <a:pt x="26956" y="0"/>
                      </a:lnTo>
                      <a:cubicBezTo>
                        <a:pt x="12097" y="0"/>
                        <a:pt x="0" y="12287"/>
                        <a:pt x="0" y="27337"/>
                      </a:cubicBezTo>
                      <a:lnTo>
                        <a:pt x="0" y="1349026"/>
                      </a:lnTo>
                      <a:close/>
                    </a:path>
                  </a:pathLst>
                </a:custGeom>
                <a:solidFill>
                  <a:srgbClr val="17264B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82" name="Freeform: Shape 281">
                  <a:extLst>
                    <a:ext uri="{FF2B5EF4-FFF2-40B4-BE49-F238E27FC236}">
                      <a16:creationId xmlns:a16="http://schemas.microsoft.com/office/drawing/2014/main" id="{77248D47-02F9-4DD9-BD6A-A56826F30AF9}"/>
                    </a:ext>
                  </a:extLst>
                </p:cNvPr>
                <p:cNvSpPr/>
                <p:nvPr/>
              </p:nvSpPr>
              <p:spPr>
                <a:xfrm>
                  <a:off x="-1429211" y="2461545"/>
                  <a:ext cx="733425" cy="1095375"/>
                </a:xfrm>
                <a:custGeom>
                  <a:avLst/>
                  <a:gdLst>
                    <a:gd name="connsiteX0" fmla="*/ 0 w 733425"/>
                    <a:gd name="connsiteY0" fmla="*/ 1075658 h 1095375"/>
                    <a:gd name="connsiteX1" fmla="*/ 23812 w 733425"/>
                    <a:gd name="connsiteY1" fmla="*/ 1097471 h 1095375"/>
                    <a:gd name="connsiteX2" fmla="*/ 714280 w 733425"/>
                    <a:gd name="connsiteY2" fmla="*/ 1097471 h 1095375"/>
                    <a:gd name="connsiteX3" fmla="*/ 738092 w 733425"/>
                    <a:gd name="connsiteY3" fmla="*/ 1075658 h 1095375"/>
                    <a:gd name="connsiteX4" fmla="*/ 738092 w 733425"/>
                    <a:gd name="connsiteY4" fmla="*/ 21812 h 1095375"/>
                    <a:gd name="connsiteX5" fmla="*/ 714280 w 733425"/>
                    <a:gd name="connsiteY5" fmla="*/ 0 h 1095375"/>
                    <a:gd name="connsiteX6" fmla="*/ 23812 w 733425"/>
                    <a:gd name="connsiteY6" fmla="*/ 0 h 1095375"/>
                    <a:gd name="connsiteX7" fmla="*/ 0 w 733425"/>
                    <a:gd name="connsiteY7" fmla="*/ 21812 h 1095375"/>
                    <a:gd name="connsiteX8" fmla="*/ 0 w 733425"/>
                    <a:gd name="connsiteY8" fmla="*/ 1075658 h 10953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733425" h="1095375">
                      <a:moveTo>
                        <a:pt x="0" y="1075658"/>
                      </a:moveTo>
                      <a:cubicBezTo>
                        <a:pt x="0" y="1087660"/>
                        <a:pt x="10668" y="1097471"/>
                        <a:pt x="23812" y="1097471"/>
                      </a:cubicBezTo>
                      <a:lnTo>
                        <a:pt x="714280" y="1097471"/>
                      </a:lnTo>
                      <a:cubicBezTo>
                        <a:pt x="727424" y="1097471"/>
                        <a:pt x="738092" y="1087660"/>
                        <a:pt x="738092" y="1075658"/>
                      </a:cubicBezTo>
                      <a:lnTo>
                        <a:pt x="738092" y="21812"/>
                      </a:lnTo>
                      <a:cubicBezTo>
                        <a:pt x="738092" y="9811"/>
                        <a:pt x="727424" y="0"/>
                        <a:pt x="714280" y="0"/>
                      </a:cubicBezTo>
                      <a:lnTo>
                        <a:pt x="23812" y="0"/>
                      </a:lnTo>
                      <a:cubicBezTo>
                        <a:pt x="10668" y="0"/>
                        <a:pt x="0" y="9811"/>
                        <a:pt x="0" y="21812"/>
                      </a:cubicBezTo>
                      <a:lnTo>
                        <a:pt x="0" y="1075658"/>
                      </a:lnTo>
                      <a:close/>
                    </a:path>
                  </a:pathLst>
                </a:custGeom>
                <a:solidFill>
                  <a:srgbClr val="E6E6E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83" name="Freeform: Shape 282">
                  <a:extLst>
                    <a:ext uri="{FF2B5EF4-FFF2-40B4-BE49-F238E27FC236}">
                      <a16:creationId xmlns:a16="http://schemas.microsoft.com/office/drawing/2014/main" id="{BD42F20B-0220-4389-BFA3-AF14EA3C8E73}"/>
                    </a:ext>
                  </a:extLst>
                </p:cNvPr>
                <p:cNvSpPr/>
                <p:nvPr/>
              </p:nvSpPr>
              <p:spPr>
                <a:xfrm>
                  <a:off x="-1297760" y="2689623"/>
                  <a:ext cx="476250" cy="476250"/>
                </a:xfrm>
                <a:custGeom>
                  <a:avLst/>
                  <a:gdLst>
                    <a:gd name="connsiteX0" fmla="*/ 237167 w 476250"/>
                    <a:gd name="connsiteY0" fmla="*/ 476486 h 476250"/>
                    <a:gd name="connsiteX1" fmla="*/ 41714 w 476250"/>
                    <a:gd name="connsiteY1" fmla="*/ 40241 h 476250"/>
                    <a:gd name="connsiteX2" fmla="*/ 238977 w 476250"/>
                    <a:gd name="connsiteY2" fmla="*/ 140635 h 476250"/>
                    <a:gd name="connsiteX3" fmla="*/ 457385 w 476250"/>
                    <a:gd name="connsiteY3" fmla="*/ 27764 h 476250"/>
                    <a:gd name="connsiteX4" fmla="*/ 237167 w 476250"/>
                    <a:gd name="connsiteY4" fmla="*/ 476486 h 4762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76250" h="476250">
                      <a:moveTo>
                        <a:pt x="237167" y="476486"/>
                      </a:moveTo>
                      <a:cubicBezTo>
                        <a:pt x="237167" y="476486"/>
                        <a:pt x="-119163" y="144159"/>
                        <a:pt x="41714" y="40241"/>
                      </a:cubicBezTo>
                      <a:cubicBezTo>
                        <a:pt x="202591" y="-63676"/>
                        <a:pt x="238977" y="140635"/>
                        <a:pt x="238977" y="140635"/>
                      </a:cubicBezTo>
                      <a:cubicBezTo>
                        <a:pt x="238977" y="140635"/>
                        <a:pt x="343276" y="-75011"/>
                        <a:pt x="457385" y="27764"/>
                      </a:cubicBezTo>
                      <a:cubicBezTo>
                        <a:pt x="571590" y="130538"/>
                        <a:pt x="237167" y="476486"/>
                        <a:pt x="237167" y="476486"/>
                      </a:cubicBezTo>
                      <a:close/>
                    </a:path>
                  </a:pathLst>
                </a:custGeom>
                <a:solidFill>
                  <a:srgbClr val="C0000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84" name="Freeform: Shape 283">
                  <a:extLst>
                    <a:ext uri="{FF2B5EF4-FFF2-40B4-BE49-F238E27FC236}">
                      <a16:creationId xmlns:a16="http://schemas.microsoft.com/office/drawing/2014/main" id="{1C3A334A-17C8-4A40-AE07-C3CE06A30A0D}"/>
                    </a:ext>
                  </a:extLst>
                </p:cNvPr>
                <p:cNvSpPr/>
                <p:nvPr/>
              </p:nvSpPr>
              <p:spPr>
                <a:xfrm>
                  <a:off x="-1316238" y="2821380"/>
                  <a:ext cx="485775" cy="180975"/>
                </a:xfrm>
                <a:custGeom>
                  <a:avLst/>
                  <a:gdLst>
                    <a:gd name="connsiteX0" fmla="*/ 406616 w 485775"/>
                    <a:gd name="connsiteY0" fmla="*/ 182709 h 180975"/>
                    <a:gd name="connsiteX1" fmla="*/ 401949 w 485775"/>
                    <a:gd name="connsiteY1" fmla="*/ 178994 h 180975"/>
                    <a:gd name="connsiteX2" fmla="*/ 367564 w 485775"/>
                    <a:gd name="connsiteY2" fmla="*/ 20879 h 180975"/>
                    <a:gd name="connsiteX3" fmla="*/ 339465 w 485775"/>
                    <a:gd name="connsiteY3" fmla="*/ 89459 h 180975"/>
                    <a:gd name="connsiteX4" fmla="*/ 335941 w 485775"/>
                    <a:gd name="connsiteY4" fmla="*/ 92317 h 180975"/>
                    <a:gd name="connsiteX5" fmla="*/ 331560 w 485775"/>
                    <a:gd name="connsiteY5" fmla="*/ 90983 h 180975"/>
                    <a:gd name="connsiteX6" fmla="*/ 321653 w 485775"/>
                    <a:gd name="connsiteY6" fmla="*/ 80696 h 180975"/>
                    <a:gd name="connsiteX7" fmla="*/ 306223 w 485775"/>
                    <a:gd name="connsiteY7" fmla="*/ 91555 h 180975"/>
                    <a:gd name="connsiteX8" fmla="*/ 300603 w 485775"/>
                    <a:gd name="connsiteY8" fmla="*/ 91364 h 180975"/>
                    <a:gd name="connsiteX9" fmla="*/ 286792 w 485775"/>
                    <a:gd name="connsiteY9" fmla="*/ 80601 h 180975"/>
                    <a:gd name="connsiteX10" fmla="*/ 270981 w 485775"/>
                    <a:gd name="connsiteY10" fmla="*/ 94888 h 180975"/>
                    <a:gd name="connsiteX11" fmla="*/ 264789 w 485775"/>
                    <a:gd name="connsiteY11" fmla="*/ 95079 h 180975"/>
                    <a:gd name="connsiteX12" fmla="*/ 252978 w 485775"/>
                    <a:gd name="connsiteY12" fmla="*/ 85649 h 180975"/>
                    <a:gd name="connsiteX13" fmla="*/ 246215 w 485775"/>
                    <a:gd name="connsiteY13" fmla="*/ 178327 h 180975"/>
                    <a:gd name="connsiteX14" fmla="*/ 241834 w 485775"/>
                    <a:gd name="connsiteY14" fmla="*/ 182709 h 180975"/>
                    <a:gd name="connsiteX15" fmla="*/ 236881 w 485775"/>
                    <a:gd name="connsiteY15" fmla="*/ 178994 h 180975"/>
                    <a:gd name="connsiteX16" fmla="*/ 202496 w 485775"/>
                    <a:gd name="connsiteY16" fmla="*/ 20879 h 180975"/>
                    <a:gd name="connsiteX17" fmla="*/ 174397 w 485775"/>
                    <a:gd name="connsiteY17" fmla="*/ 89459 h 180975"/>
                    <a:gd name="connsiteX18" fmla="*/ 170873 w 485775"/>
                    <a:gd name="connsiteY18" fmla="*/ 92317 h 180975"/>
                    <a:gd name="connsiteX19" fmla="*/ 166586 w 485775"/>
                    <a:gd name="connsiteY19" fmla="*/ 90983 h 180975"/>
                    <a:gd name="connsiteX20" fmla="*/ 156681 w 485775"/>
                    <a:gd name="connsiteY20" fmla="*/ 80696 h 180975"/>
                    <a:gd name="connsiteX21" fmla="*/ 141155 w 485775"/>
                    <a:gd name="connsiteY21" fmla="*/ 91555 h 180975"/>
                    <a:gd name="connsiteX22" fmla="*/ 135535 w 485775"/>
                    <a:gd name="connsiteY22" fmla="*/ 91364 h 180975"/>
                    <a:gd name="connsiteX23" fmla="*/ 121724 w 485775"/>
                    <a:gd name="connsiteY23" fmla="*/ 80601 h 180975"/>
                    <a:gd name="connsiteX24" fmla="*/ 105817 w 485775"/>
                    <a:gd name="connsiteY24" fmla="*/ 94888 h 180975"/>
                    <a:gd name="connsiteX25" fmla="*/ 99626 w 485775"/>
                    <a:gd name="connsiteY25" fmla="*/ 95079 h 180975"/>
                    <a:gd name="connsiteX26" fmla="*/ 87815 w 485775"/>
                    <a:gd name="connsiteY26" fmla="*/ 85649 h 180975"/>
                    <a:gd name="connsiteX27" fmla="*/ 80957 w 485775"/>
                    <a:gd name="connsiteY27" fmla="*/ 178232 h 180975"/>
                    <a:gd name="connsiteX28" fmla="*/ 76575 w 485775"/>
                    <a:gd name="connsiteY28" fmla="*/ 182614 h 180975"/>
                    <a:gd name="connsiteX29" fmla="*/ 71622 w 485775"/>
                    <a:gd name="connsiteY29" fmla="*/ 178899 h 180975"/>
                    <a:gd name="connsiteX30" fmla="*/ 37237 w 485775"/>
                    <a:gd name="connsiteY30" fmla="*/ 20784 h 180975"/>
                    <a:gd name="connsiteX31" fmla="*/ 9138 w 485775"/>
                    <a:gd name="connsiteY31" fmla="*/ 89364 h 180975"/>
                    <a:gd name="connsiteX32" fmla="*/ 2947 w 485775"/>
                    <a:gd name="connsiteY32" fmla="*/ 91936 h 180975"/>
                    <a:gd name="connsiteX33" fmla="*/ 375 w 485775"/>
                    <a:gd name="connsiteY33" fmla="*/ 85744 h 180975"/>
                    <a:gd name="connsiteX34" fmla="*/ 34284 w 485775"/>
                    <a:gd name="connsiteY34" fmla="*/ 2972 h 180975"/>
                    <a:gd name="connsiteX35" fmla="*/ 39142 w 485775"/>
                    <a:gd name="connsiteY35" fmla="*/ 19 h 180975"/>
                    <a:gd name="connsiteX36" fmla="*/ 43428 w 485775"/>
                    <a:gd name="connsiteY36" fmla="*/ 3734 h 180975"/>
                    <a:gd name="connsiteX37" fmla="*/ 74099 w 485775"/>
                    <a:gd name="connsiteY37" fmla="*/ 144704 h 180975"/>
                    <a:gd name="connsiteX38" fmla="*/ 79242 w 485775"/>
                    <a:gd name="connsiteY38" fmla="*/ 75838 h 180975"/>
                    <a:gd name="connsiteX39" fmla="*/ 82100 w 485775"/>
                    <a:gd name="connsiteY39" fmla="*/ 71838 h 180975"/>
                    <a:gd name="connsiteX40" fmla="*/ 86957 w 485775"/>
                    <a:gd name="connsiteY40" fmla="*/ 72505 h 180975"/>
                    <a:gd name="connsiteX41" fmla="*/ 102578 w 485775"/>
                    <a:gd name="connsiteY41" fmla="*/ 85078 h 180975"/>
                    <a:gd name="connsiteX42" fmla="*/ 118390 w 485775"/>
                    <a:gd name="connsiteY42" fmla="*/ 70885 h 180975"/>
                    <a:gd name="connsiteX43" fmla="*/ 124486 w 485775"/>
                    <a:gd name="connsiteY43" fmla="*/ 70695 h 180975"/>
                    <a:gd name="connsiteX44" fmla="*/ 138678 w 485775"/>
                    <a:gd name="connsiteY44" fmla="*/ 81744 h 180975"/>
                    <a:gd name="connsiteX45" fmla="*/ 154585 w 485775"/>
                    <a:gd name="connsiteY45" fmla="*/ 70600 h 180975"/>
                    <a:gd name="connsiteX46" fmla="*/ 160776 w 485775"/>
                    <a:gd name="connsiteY46" fmla="*/ 71171 h 180975"/>
                    <a:gd name="connsiteX47" fmla="*/ 168396 w 485775"/>
                    <a:gd name="connsiteY47" fmla="*/ 79077 h 180975"/>
                    <a:gd name="connsiteX48" fmla="*/ 199448 w 485775"/>
                    <a:gd name="connsiteY48" fmla="*/ 3067 h 180975"/>
                    <a:gd name="connsiteX49" fmla="*/ 204306 w 485775"/>
                    <a:gd name="connsiteY49" fmla="*/ 115 h 180975"/>
                    <a:gd name="connsiteX50" fmla="*/ 208592 w 485775"/>
                    <a:gd name="connsiteY50" fmla="*/ 3829 h 180975"/>
                    <a:gd name="connsiteX51" fmla="*/ 239262 w 485775"/>
                    <a:gd name="connsiteY51" fmla="*/ 144799 h 180975"/>
                    <a:gd name="connsiteX52" fmla="*/ 244406 w 485775"/>
                    <a:gd name="connsiteY52" fmla="*/ 75934 h 180975"/>
                    <a:gd name="connsiteX53" fmla="*/ 247263 w 485775"/>
                    <a:gd name="connsiteY53" fmla="*/ 71933 h 180975"/>
                    <a:gd name="connsiteX54" fmla="*/ 252121 w 485775"/>
                    <a:gd name="connsiteY54" fmla="*/ 72600 h 180975"/>
                    <a:gd name="connsiteX55" fmla="*/ 267837 w 485775"/>
                    <a:gd name="connsiteY55" fmla="*/ 85173 h 180975"/>
                    <a:gd name="connsiteX56" fmla="*/ 283649 w 485775"/>
                    <a:gd name="connsiteY56" fmla="*/ 70981 h 180975"/>
                    <a:gd name="connsiteX57" fmla="*/ 289745 w 485775"/>
                    <a:gd name="connsiteY57" fmla="*/ 70790 h 180975"/>
                    <a:gd name="connsiteX58" fmla="*/ 303937 w 485775"/>
                    <a:gd name="connsiteY58" fmla="*/ 81839 h 180975"/>
                    <a:gd name="connsiteX59" fmla="*/ 319844 w 485775"/>
                    <a:gd name="connsiteY59" fmla="*/ 70695 h 180975"/>
                    <a:gd name="connsiteX60" fmla="*/ 326035 w 485775"/>
                    <a:gd name="connsiteY60" fmla="*/ 71266 h 180975"/>
                    <a:gd name="connsiteX61" fmla="*/ 333655 w 485775"/>
                    <a:gd name="connsiteY61" fmla="*/ 79172 h 180975"/>
                    <a:gd name="connsiteX62" fmla="*/ 364802 w 485775"/>
                    <a:gd name="connsiteY62" fmla="*/ 3163 h 180975"/>
                    <a:gd name="connsiteX63" fmla="*/ 369660 w 485775"/>
                    <a:gd name="connsiteY63" fmla="*/ 210 h 180975"/>
                    <a:gd name="connsiteX64" fmla="*/ 373946 w 485775"/>
                    <a:gd name="connsiteY64" fmla="*/ 3925 h 180975"/>
                    <a:gd name="connsiteX65" fmla="*/ 404616 w 485775"/>
                    <a:gd name="connsiteY65" fmla="*/ 144895 h 180975"/>
                    <a:gd name="connsiteX66" fmla="*/ 409760 w 485775"/>
                    <a:gd name="connsiteY66" fmla="*/ 76029 h 180975"/>
                    <a:gd name="connsiteX67" fmla="*/ 412617 w 485775"/>
                    <a:gd name="connsiteY67" fmla="*/ 72028 h 180975"/>
                    <a:gd name="connsiteX68" fmla="*/ 417475 w 485775"/>
                    <a:gd name="connsiteY68" fmla="*/ 72695 h 180975"/>
                    <a:gd name="connsiteX69" fmla="*/ 433096 w 485775"/>
                    <a:gd name="connsiteY69" fmla="*/ 85268 h 180975"/>
                    <a:gd name="connsiteX70" fmla="*/ 448907 w 485775"/>
                    <a:gd name="connsiteY70" fmla="*/ 71076 h 180975"/>
                    <a:gd name="connsiteX71" fmla="*/ 455003 w 485775"/>
                    <a:gd name="connsiteY71" fmla="*/ 70885 h 180975"/>
                    <a:gd name="connsiteX72" fmla="*/ 469196 w 485775"/>
                    <a:gd name="connsiteY72" fmla="*/ 81934 h 180975"/>
                    <a:gd name="connsiteX73" fmla="*/ 485103 w 485775"/>
                    <a:gd name="connsiteY73" fmla="*/ 70790 h 180975"/>
                    <a:gd name="connsiteX74" fmla="*/ 491770 w 485775"/>
                    <a:gd name="connsiteY74" fmla="*/ 71933 h 180975"/>
                    <a:gd name="connsiteX75" fmla="*/ 490627 w 485775"/>
                    <a:gd name="connsiteY75" fmla="*/ 78601 h 180975"/>
                    <a:gd name="connsiteX76" fmla="*/ 471863 w 485775"/>
                    <a:gd name="connsiteY76" fmla="*/ 91745 h 180975"/>
                    <a:gd name="connsiteX77" fmla="*/ 466243 w 485775"/>
                    <a:gd name="connsiteY77" fmla="*/ 91555 h 180975"/>
                    <a:gd name="connsiteX78" fmla="*/ 452432 w 485775"/>
                    <a:gd name="connsiteY78" fmla="*/ 80791 h 180975"/>
                    <a:gd name="connsiteX79" fmla="*/ 436620 w 485775"/>
                    <a:gd name="connsiteY79" fmla="*/ 95079 h 180975"/>
                    <a:gd name="connsiteX80" fmla="*/ 430429 w 485775"/>
                    <a:gd name="connsiteY80" fmla="*/ 95269 h 180975"/>
                    <a:gd name="connsiteX81" fmla="*/ 418618 w 485775"/>
                    <a:gd name="connsiteY81" fmla="*/ 85840 h 180975"/>
                    <a:gd name="connsiteX82" fmla="*/ 411760 w 485775"/>
                    <a:gd name="connsiteY82" fmla="*/ 178423 h 180975"/>
                    <a:gd name="connsiteX83" fmla="*/ 407378 w 485775"/>
                    <a:gd name="connsiteY83" fmla="*/ 182804 h 180975"/>
                    <a:gd name="connsiteX84" fmla="*/ 406616 w 485775"/>
                    <a:gd name="connsiteY84" fmla="*/ 182709 h 1809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</a:cxnLst>
                  <a:rect l="l" t="t" r="r" b="b"/>
                  <a:pathLst>
                    <a:path w="485775" h="180975">
                      <a:moveTo>
                        <a:pt x="406616" y="182709"/>
                      </a:moveTo>
                      <a:cubicBezTo>
                        <a:pt x="404426" y="182709"/>
                        <a:pt x="402425" y="181185"/>
                        <a:pt x="401949" y="178994"/>
                      </a:cubicBezTo>
                      <a:lnTo>
                        <a:pt x="367564" y="20879"/>
                      </a:lnTo>
                      <a:lnTo>
                        <a:pt x="339465" y="89459"/>
                      </a:lnTo>
                      <a:cubicBezTo>
                        <a:pt x="338894" y="90983"/>
                        <a:pt x="337560" y="92031"/>
                        <a:pt x="335941" y="92317"/>
                      </a:cubicBezTo>
                      <a:cubicBezTo>
                        <a:pt x="334322" y="92602"/>
                        <a:pt x="332703" y="92126"/>
                        <a:pt x="331560" y="90983"/>
                      </a:cubicBezTo>
                      <a:lnTo>
                        <a:pt x="321653" y="80696"/>
                      </a:lnTo>
                      <a:lnTo>
                        <a:pt x="306223" y="91555"/>
                      </a:lnTo>
                      <a:cubicBezTo>
                        <a:pt x="304508" y="92793"/>
                        <a:pt x="302223" y="92698"/>
                        <a:pt x="300603" y="91364"/>
                      </a:cubicBezTo>
                      <a:lnTo>
                        <a:pt x="286792" y="80601"/>
                      </a:lnTo>
                      <a:lnTo>
                        <a:pt x="270981" y="94888"/>
                      </a:lnTo>
                      <a:cubicBezTo>
                        <a:pt x="269266" y="96412"/>
                        <a:pt x="266599" y="96508"/>
                        <a:pt x="264789" y="95079"/>
                      </a:cubicBezTo>
                      <a:lnTo>
                        <a:pt x="252978" y="85649"/>
                      </a:lnTo>
                      <a:lnTo>
                        <a:pt x="246215" y="178327"/>
                      </a:lnTo>
                      <a:cubicBezTo>
                        <a:pt x="246025" y="180709"/>
                        <a:pt x="244215" y="182518"/>
                        <a:pt x="241834" y="182709"/>
                      </a:cubicBezTo>
                      <a:cubicBezTo>
                        <a:pt x="239453" y="182899"/>
                        <a:pt x="237357" y="181280"/>
                        <a:pt x="236881" y="178994"/>
                      </a:cubicBezTo>
                      <a:lnTo>
                        <a:pt x="202496" y="20879"/>
                      </a:lnTo>
                      <a:lnTo>
                        <a:pt x="174397" y="89459"/>
                      </a:lnTo>
                      <a:cubicBezTo>
                        <a:pt x="173825" y="90983"/>
                        <a:pt x="172492" y="92031"/>
                        <a:pt x="170873" y="92317"/>
                      </a:cubicBezTo>
                      <a:cubicBezTo>
                        <a:pt x="169253" y="92602"/>
                        <a:pt x="167634" y="92126"/>
                        <a:pt x="166586" y="90983"/>
                      </a:cubicBezTo>
                      <a:lnTo>
                        <a:pt x="156681" y="80696"/>
                      </a:lnTo>
                      <a:lnTo>
                        <a:pt x="141155" y="91555"/>
                      </a:lnTo>
                      <a:cubicBezTo>
                        <a:pt x="139440" y="92793"/>
                        <a:pt x="137154" y="92698"/>
                        <a:pt x="135535" y="91364"/>
                      </a:cubicBezTo>
                      <a:lnTo>
                        <a:pt x="121724" y="80601"/>
                      </a:lnTo>
                      <a:lnTo>
                        <a:pt x="105817" y="94888"/>
                      </a:lnTo>
                      <a:cubicBezTo>
                        <a:pt x="104103" y="96412"/>
                        <a:pt x="101436" y="96508"/>
                        <a:pt x="99626" y="95079"/>
                      </a:cubicBezTo>
                      <a:lnTo>
                        <a:pt x="87815" y="85649"/>
                      </a:lnTo>
                      <a:lnTo>
                        <a:pt x="80957" y="178232"/>
                      </a:lnTo>
                      <a:cubicBezTo>
                        <a:pt x="80766" y="180613"/>
                        <a:pt x="78861" y="182423"/>
                        <a:pt x="76575" y="182614"/>
                      </a:cubicBezTo>
                      <a:cubicBezTo>
                        <a:pt x="74099" y="182804"/>
                        <a:pt x="72098" y="181185"/>
                        <a:pt x="71622" y="178899"/>
                      </a:cubicBezTo>
                      <a:lnTo>
                        <a:pt x="37237" y="20784"/>
                      </a:lnTo>
                      <a:lnTo>
                        <a:pt x="9138" y="89364"/>
                      </a:lnTo>
                      <a:cubicBezTo>
                        <a:pt x="8186" y="91840"/>
                        <a:pt x="5328" y="92983"/>
                        <a:pt x="2947" y="91936"/>
                      </a:cubicBezTo>
                      <a:cubicBezTo>
                        <a:pt x="566" y="90983"/>
                        <a:pt x="-673" y="88126"/>
                        <a:pt x="375" y="85744"/>
                      </a:cubicBezTo>
                      <a:lnTo>
                        <a:pt x="34284" y="2972"/>
                      </a:lnTo>
                      <a:cubicBezTo>
                        <a:pt x="35046" y="1067"/>
                        <a:pt x="37046" y="-171"/>
                        <a:pt x="39142" y="19"/>
                      </a:cubicBezTo>
                      <a:cubicBezTo>
                        <a:pt x="41237" y="210"/>
                        <a:pt x="42952" y="1734"/>
                        <a:pt x="43428" y="3734"/>
                      </a:cubicBezTo>
                      <a:lnTo>
                        <a:pt x="74099" y="144704"/>
                      </a:lnTo>
                      <a:lnTo>
                        <a:pt x="79242" y="75838"/>
                      </a:lnTo>
                      <a:cubicBezTo>
                        <a:pt x="79337" y="74124"/>
                        <a:pt x="80481" y="72505"/>
                        <a:pt x="82100" y="71838"/>
                      </a:cubicBezTo>
                      <a:cubicBezTo>
                        <a:pt x="83719" y="71171"/>
                        <a:pt x="85624" y="71362"/>
                        <a:pt x="86957" y="72505"/>
                      </a:cubicBezTo>
                      <a:lnTo>
                        <a:pt x="102578" y="85078"/>
                      </a:lnTo>
                      <a:lnTo>
                        <a:pt x="118390" y="70885"/>
                      </a:lnTo>
                      <a:cubicBezTo>
                        <a:pt x="120104" y="69361"/>
                        <a:pt x="122676" y="69266"/>
                        <a:pt x="124486" y="70695"/>
                      </a:cubicBezTo>
                      <a:lnTo>
                        <a:pt x="138678" y="81744"/>
                      </a:lnTo>
                      <a:lnTo>
                        <a:pt x="154585" y="70600"/>
                      </a:lnTo>
                      <a:cubicBezTo>
                        <a:pt x="156490" y="69266"/>
                        <a:pt x="159157" y="69552"/>
                        <a:pt x="160776" y="71171"/>
                      </a:cubicBezTo>
                      <a:lnTo>
                        <a:pt x="168396" y="79077"/>
                      </a:lnTo>
                      <a:lnTo>
                        <a:pt x="199448" y="3067"/>
                      </a:lnTo>
                      <a:cubicBezTo>
                        <a:pt x="200210" y="1162"/>
                        <a:pt x="202210" y="-76"/>
                        <a:pt x="204306" y="115"/>
                      </a:cubicBezTo>
                      <a:cubicBezTo>
                        <a:pt x="206401" y="305"/>
                        <a:pt x="208115" y="1829"/>
                        <a:pt x="208592" y="3829"/>
                      </a:cubicBezTo>
                      <a:lnTo>
                        <a:pt x="239262" y="144799"/>
                      </a:lnTo>
                      <a:lnTo>
                        <a:pt x="244406" y="75934"/>
                      </a:lnTo>
                      <a:cubicBezTo>
                        <a:pt x="244501" y="74219"/>
                        <a:pt x="245644" y="72600"/>
                        <a:pt x="247263" y="71933"/>
                      </a:cubicBezTo>
                      <a:cubicBezTo>
                        <a:pt x="248882" y="71266"/>
                        <a:pt x="250787" y="71457"/>
                        <a:pt x="252121" y="72600"/>
                      </a:cubicBezTo>
                      <a:lnTo>
                        <a:pt x="267837" y="85173"/>
                      </a:lnTo>
                      <a:lnTo>
                        <a:pt x="283649" y="70981"/>
                      </a:lnTo>
                      <a:cubicBezTo>
                        <a:pt x="285363" y="69457"/>
                        <a:pt x="287935" y="69361"/>
                        <a:pt x="289745" y="70790"/>
                      </a:cubicBezTo>
                      <a:lnTo>
                        <a:pt x="303937" y="81839"/>
                      </a:lnTo>
                      <a:lnTo>
                        <a:pt x="319844" y="70695"/>
                      </a:lnTo>
                      <a:cubicBezTo>
                        <a:pt x="321749" y="69361"/>
                        <a:pt x="324416" y="69647"/>
                        <a:pt x="326035" y="71266"/>
                      </a:cubicBezTo>
                      <a:lnTo>
                        <a:pt x="333655" y="79172"/>
                      </a:lnTo>
                      <a:lnTo>
                        <a:pt x="364802" y="3163"/>
                      </a:lnTo>
                      <a:cubicBezTo>
                        <a:pt x="365564" y="1258"/>
                        <a:pt x="367564" y="19"/>
                        <a:pt x="369660" y="210"/>
                      </a:cubicBezTo>
                      <a:cubicBezTo>
                        <a:pt x="371755" y="400"/>
                        <a:pt x="373470" y="1924"/>
                        <a:pt x="373946" y="3925"/>
                      </a:cubicBezTo>
                      <a:lnTo>
                        <a:pt x="404616" y="144895"/>
                      </a:lnTo>
                      <a:lnTo>
                        <a:pt x="409760" y="76029"/>
                      </a:lnTo>
                      <a:cubicBezTo>
                        <a:pt x="409855" y="74314"/>
                        <a:pt x="410998" y="72695"/>
                        <a:pt x="412617" y="72028"/>
                      </a:cubicBezTo>
                      <a:cubicBezTo>
                        <a:pt x="414236" y="71362"/>
                        <a:pt x="416141" y="71552"/>
                        <a:pt x="417475" y="72695"/>
                      </a:cubicBezTo>
                      <a:lnTo>
                        <a:pt x="433096" y="85268"/>
                      </a:lnTo>
                      <a:lnTo>
                        <a:pt x="448907" y="71076"/>
                      </a:lnTo>
                      <a:cubicBezTo>
                        <a:pt x="450622" y="69552"/>
                        <a:pt x="453194" y="69457"/>
                        <a:pt x="455003" y="70885"/>
                      </a:cubicBezTo>
                      <a:lnTo>
                        <a:pt x="469196" y="81934"/>
                      </a:lnTo>
                      <a:lnTo>
                        <a:pt x="485103" y="70790"/>
                      </a:lnTo>
                      <a:cubicBezTo>
                        <a:pt x="487198" y="69266"/>
                        <a:pt x="490246" y="69838"/>
                        <a:pt x="491770" y="71933"/>
                      </a:cubicBezTo>
                      <a:cubicBezTo>
                        <a:pt x="493294" y="74124"/>
                        <a:pt x="492723" y="77077"/>
                        <a:pt x="490627" y="78601"/>
                      </a:cubicBezTo>
                      <a:lnTo>
                        <a:pt x="471863" y="91745"/>
                      </a:lnTo>
                      <a:cubicBezTo>
                        <a:pt x="470148" y="92983"/>
                        <a:pt x="467862" y="92888"/>
                        <a:pt x="466243" y="91555"/>
                      </a:cubicBezTo>
                      <a:lnTo>
                        <a:pt x="452432" y="80791"/>
                      </a:lnTo>
                      <a:lnTo>
                        <a:pt x="436620" y="95079"/>
                      </a:lnTo>
                      <a:cubicBezTo>
                        <a:pt x="434906" y="96603"/>
                        <a:pt x="432334" y="96698"/>
                        <a:pt x="430429" y="95269"/>
                      </a:cubicBezTo>
                      <a:lnTo>
                        <a:pt x="418618" y="85840"/>
                      </a:lnTo>
                      <a:lnTo>
                        <a:pt x="411760" y="178423"/>
                      </a:lnTo>
                      <a:cubicBezTo>
                        <a:pt x="411570" y="180804"/>
                        <a:pt x="409665" y="182614"/>
                        <a:pt x="407378" y="182804"/>
                      </a:cubicBezTo>
                      <a:cubicBezTo>
                        <a:pt x="406807" y="182709"/>
                        <a:pt x="406712" y="182709"/>
                        <a:pt x="406616" y="182709"/>
                      </a:cubicBezTo>
                      <a:close/>
                    </a:path>
                  </a:pathLst>
                </a:custGeom>
                <a:solidFill>
                  <a:srgbClr val="17264B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85" name="Freeform: Shape 284">
                  <a:extLst>
                    <a:ext uri="{FF2B5EF4-FFF2-40B4-BE49-F238E27FC236}">
                      <a16:creationId xmlns:a16="http://schemas.microsoft.com/office/drawing/2014/main" id="{E9BDCD2C-D4D6-4400-9C56-B4EA5B85E897}"/>
                    </a:ext>
                  </a:extLst>
                </p:cNvPr>
                <p:cNvSpPr/>
                <p:nvPr/>
              </p:nvSpPr>
              <p:spPr>
                <a:xfrm>
                  <a:off x="-854365" y="3056430"/>
                  <a:ext cx="333375" cy="1476375"/>
                </a:xfrm>
                <a:custGeom>
                  <a:avLst/>
                  <a:gdLst>
                    <a:gd name="connsiteX0" fmla="*/ 164675 w 333375"/>
                    <a:gd name="connsiteY0" fmla="*/ 1485661 h 1476375"/>
                    <a:gd name="connsiteX1" fmla="*/ 2655 w 333375"/>
                    <a:gd name="connsiteY1" fmla="*/ 1479660 h 1476375"/>
                    <a:gd name="connsiteX2" fmla="*/ 47232 w 333375"/>
                    <a:gd name="connsiteY2" fmla="*/ 1277730 h 1476375"/>
                    <a:gd name="connsiteX3" fmla="*/ 47232 w 333375"/>
                    <a:gd name="connsiteY3" fmla="*/ 861488 h 1476375"/>
                    <a:gd name="connsiteX4" fmla="*/ 115526 w 333375"/>
                    <a:gd name="connsiteY4" fmla="*/ 443912 h 1476375"/>
                    <a:gd name="connsiteX5" fmla="*/ 106858 w 333375"/>
                    <a:gd name="connsiteY5" fmla="*/ 140636 h 1476375"/>
                    <a:gd name="connsiteX6" fmla="*/ 180296 w 333375"/>
                    <a:gd name="connsiteY6" fmla="*/ 428 h 1476375"/>
                    <a:gd name="connsiteX7" fmla="*/ 225635 w 333375"/>
                    <a:gd name="connsiteY7" fmla="*/ 108441 h 1476375"/>
                    <a:gd name="connsiteX8" fmla="*/ 310598 w 333375"/>
                    <a:gd name="connsiteY8" fmla="*/ 379142 h 1476375"/>
                    <a:gd name="connsiteX9" fmla="*/ 276308 w 333375"/>
                    <a:gd name="connsiteY9" fmla="*/ 835103 h 1476375"/>
                    <a:gd name="connsiteX10" fmla="*/ 164675 w 333375"/>
                    <a:gd name="connsiteY10" fmla="*/ 1485661 h 14763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333375" h="1476375">
                      <a:moveTo>
                        <a:pt x="164675" y="1485661"/>
                      </a:moveTo>
                      <a:lnTo>
                        <a:pt x="2655" y="1479660"/>
                      </a:lnTo>
                      <a:lnTo>
                        <a:pt x="47232" y="1277730"/>
                      </a:lnTo>
                      <a:lnTo>
                        <a:pt x="47232" y="861488"/>
                      </a:lnTo>
                      <a:cubicBezTo>
                        <a:pt x="-80975" y="635269"/>
                        <a:pt x="89618" y="486488"/>
                        <a:pt x="115526" y="443912"/>
                      </a:cubicBezTo>
                      <a:cubicBezTo>
                        <a:pt x="141434" y="401240"/>
                        <a:pt x="117717" y="244934"/>
                        <a:pt x="106858" y="140636"/>
                      </a:cubicBezTo>
                      <a:cubicBezTo>
                        <a:pt x="97143" y="46529"/>
                        <a:pt x="125241" y="-5287"/>
                        <a:pt x="180296" y="428"/>
                      </a:cubicBezTo>
                      <a:cubicBezTo>
                        <a:pt x="180296" y="428"/>
                        <a:pt x="212681" y="-5287"/>
                        <a:pt x="225635" y="108441"/>
                      </a:cubicBezTo>
                      <a:cubicBezTo>
                        <a:pt x="238589" y="222170"/>
                        <a:pt x="270974" y="315038"/>
                        <a:pt x="310598" y="379142"/>
                      </a:cubicBezTo>
                      <a:cubicBezTo>
                        <a:pt x="335553" y="419528"/>
                        <a:pt x="365176" y="644603"/>
                        <a:pt x="276308" y="835103"/>
                      </a:cubicBezTo>
                      <a:cubicBezTo>
                        <a:pt x="143815" y="1119329"/>
                        <a:pt x="164675" y="1485661"/>
                        <a:pt x="164675" y="1485661"/>
                      </a:cubicBezTo>
                      <a:close/>
                    </a:path>
                  </a:pathLst>
                </a:custGeom>
                <a:solidFill>
                  <a:srgbClr val="F7CEBB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86" name="Freeform: Shape 285">
                  <a:extLst>
                    <a:ext uri="{FF2B5EF4-FFF2-40B4-BE49-F238E27FC236}">
                      <a16:creationId xmlns:a16="http://schemas.microsoft.com/office/drawing/2014/main" id="{89F2371A-065A-45A5-BBEE-3DC2DA31EF51}"/>
                    </a:ext>
                  </a:extLst>
                </p:cNvPr>
                <p:cNvSpPr/>
                <p:nvPr/>
              </p:nvSpPr>
              <p:spPr>
                <a:xfrm>
                  <a:off x="-1590846" y="2897695"/>
                  <a:ext cx="219075" cy="390525"/>
                </a:xfrm>
                <a:custGeom>
                  <a:avLst/>
                  <a:gdLst>
                    <a:gd name="connsiteX0" fmla="*/ 103151 w 219075"/>
                    <a:gd name="connsiteY0" fmla="*/ 0 h 390525"/>
                    <a:gd name="connsiteX1" fmla="*/ 6377 w 219075"/>
                    <a:gd name="connsiteY1" fmla="*/ 174974 h 390525"/>
                    <a:gd name="connsiteX2" fmla="*/ 196592 w 219075"/>
                    <a:gd name="connsiteY2" fmla="*/ 392049 h 390525"/>
                    <a:gd name="connsiteX3" fmla="*/ 185733 w 219075"/>
                    <a:gd name="connsiteY3" fmla="*/ 269367 h 390525"/>
                    <a:gd name="connsiteX4" fmla="*/ 116486 w 219075"/>
                    <a:gd name="connsiteY4" fmla="*/ 158877 h 390525"/>
                    <a:gd name="connsiteX5" fmla="*/ 103151 w 219075"/>
                    <a:gd name="connsiteY5" fmla="*/ 0 h 390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19075" h="390525">
                      <a:moveTo>
                        <a:pt x="103151" y="0"/>
                      </a:moveTo>
                      <a:cubicBezTo>
                        <a:pt x="103151" y="0"/>
                        <a:pt x="-30294" y="68008"/>
                        <a:pt x="6377" y="174974"/>
                      </a:cubicBezTo>
                      <a:cubicBezTo>
                        <a:pt x="43049" y="281845"/>
                        <a:pt x="146490" y="401765"/>
                        <a:pt x="196592" y="392049"/>
                      </a:cubicBezTo>
                      <a:cubicBezTo>
                        <a:pt x="246598" y="382334"/>
                        <a:pt x="215832" y="324421"/>
                        <a:pt x="185733" y="269367"/>
                      </a:cubicBezTo>
                      <a:cubicBezTo>
                        <a:pt x="155729" y="214313"/>
                        <a:pt x="116486" y="158877"/>
                        <a:pt x="116486" y="158877"/>
                      </a:cubicBezTo>
                      <a:lnTo>
                        <a:pt x="103151" y="0"/>
                      </a:lnTo>
                      <a:close/>
                    </a:path>
                  </a:pathLst>
                </a:custGeom>
                <a:solidFill>
                  <a:srgbClr val="F7CEBB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87" name="Freeform: Shape 286">
                  <a:extLst>
                    <a:ext uri="{FF2B5EF4-FFF2-40B4-BE49-F238E27FC236}">
                      <a16:creationId xmlns:a16="http://schemas.microsoft.com/office/drawing/2014/main" id="{E19EABF5-36E1-47AF-8B79-C8FB7FA72EDB}"/>
                    </a:ext>
                  </a:extLst>
                </p:cNvPr>
                <p:cNvSpPr/>
                <p:nvPr/>
              </p:nvSpPr>
              <p:spPr>
                <a:xfrm>
                  <a:off x="-1564371" y="2897695"/>
                  <a:ext cx="133350" cy="238125"/>
                </a:xfrm>
                <a:custGeom>
                  <a:avLst/>
                  <a:gdLst>
                    <a:gd name="connsiteX0" fmla="*/ 76676 w 133350"/>
                    <a:gd name="connsiteY0" fmla="*/ 0 h 238125"/>
                    <a:gd name="connsiteX1" fmla="*/ 90011 w 133350"/>
                    <a:gd name="connsiteY1" fmla="*/ 158782 h 238125"/>
                    <a:gd name="connsiteX2" fmla="*/ 142780 w 133350"/>
                    <a:gd name="connsiteY2" fmla="*/ 240411 h 238125"/>
                    <a:gd name="connsiteX3" fmla="*/ 0 w 133350"/>
                    <a:gd name="connsiteY3" fmla="*/ 64770 h 238125"/>
                    <a:gd name="connsiteX4" fmla="*/ 76676 w 133350"/>
                    <a:gd name="connsiteY4" fmla="*/ 0 h 2381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3350" h="238125">
                      <a:moveTo>
                        <a:pt x="76676" y="0"/>
                      </a:moveTo>
                      <a:lnTo>
                        <a:pt x="90011" y="158782"/>
                      </a:lnTo>
                      <a:cubicBezTo>
                        <a:pt x="90011" y="158782"/>
                        <a:pt x="116586" y="196405"/>
                        <a:pt x="142780" y="240411"/>
                      </a:cubicBezTo>
                      <a:cubicBezTo>
                        <a:pt x="99631" y="224885"/>
                        <a:pt x="36481" y="146304"/>
                        <a:pt x="0" y="64770"/>
                      </a:cubicBezTo>
                      <a:cubicBezTo>
                        <a:pt x="30575" y="23622"/>
                        <a:pt x="76676" y="0"/>
                        <a:pt x="76676" y="0"/>
                      </a:cubicBezTo>
                      <a:close/>
                    </a:path>
                  </a:pathLst>
                </a:custGeom>
                <a:solidFill>
                  <a:srgbClr val="DA905E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88" name="Freeform: Shape 287">
                  <a:extLst>
                    <a:ext uri="{FF2B5EF4-FFF2-40B4-BE49-F238E27FC236}">
                      <a16:creationId xmlns:a16="http://schemas.microsoft.com/office/drawing/2014/main" id="{14A3BFDB-D1C7-4708-8477-65495CE83171}"/>
                    </a:ext>
                  </a:extLst>
                </p:cNvPr>
                <p:cNvSpPr/>
                <p:nvPr/>
              </p:nvSpPr>
              <p:spPr>
                <a:xfrm>
                  <a:off x="-1584285" y="2733579"/>
                  <a:ext cx="209550" cy="390525"/>
                </a:xfrm>
                <a:custGeom>
                  <a:avLst/>
                  <a:gdLst>
                    <a:gd name="connsiteX0" fmla="*/ 100115 w 209550"/>
                    <a:gd name="connsiteY0" fmla="*/ 0 h 390525"/>
                    <a:gd name="connsiteX1" fmla="*/ 6199 w 209550"/>
                    <a:gd name="connsiteY1" fmla="*/ 174974 h 390525"/>
                    <a:gd name="connsiteX2" fmla="*/ 190889 w 209550"/>
                    <a:gd name="connsiteY2" fmla="*/ 392049 h 390525"/>
                    <a:gd name="connsiteX3" fmla="*/ 180411 w 209550"/>
                    <a:gd name="connsiteY3" fmla="*/ 269367 h 390525"/>
                    <a:gd name="connsiteX4" fmla="*/ 113165 w 209550"/>
                    <a:gd name="connsiteY4" fmla="*/ 158877 h 390525"/>
                    <a:gd name="connsiteX5" fmla="*/ 100115 w 209550"/>
                    <a:gd name="connsiteY5" fmla="*/ 0 h 390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09550" h="390525">
                      <a:moveTo>
                        <a:pt x="100115" y="0"/>
                      </a:moveTo>
                      <a:cubicBezTo>
                        <a:pt x="100115" y="0"/>
                        <a:pt x="-29425" y="68008"/>
                        <a:pt x="6199" y="174974"/>
                      </a:cubicBezTo>
                      <a:cubicBezTo>
                        <a:pt x="41822" y="281845"/>
                        <a:pt x="142216" y="401669"/>
                        <a:pt x="190889" y="392049"/>
                      </a:cubicBezTo>
                      <a:cubicBezTo>
                        <a:pt x="239466" y="382333"/>
                        <a:pt x="209558" y="324422"/>
                        <a:pt x="180411" y="269367"/>
                      </a:cubicBezTo>
                      <a:cubicBezTo>
                        <a:pt x="151265" y="214312"/>
                        <a:pt x="113165" y="158877"/>
                        <a:pt x="113165" y="158877"/>
                      </a:cubicBezTo>
                      <a:lnTo>
                        <a:pt x="100115" y="0"/>
                      </a:lnTo>
                      <a:close/>
                    </a:path>
                  </a:pathLst>
                </a:custGeom>
                <a:solidFill>
                  <a:srgbClr val="F7CEBB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89" name="Freeform: Shape 288">
                  <a:extLst>
                    <a:ext uri="{FF2B5EF4-FFF2-40B4-BE49-F238E27FC236}">
                      <a16:creationId xmlns:a16="http://schemas.microsoft.com/office/drawing/2014/main" id="{E5527ADA-C953-4266-9571-2DBCE05BBD52}"/>
                    </a:ext>
                  </a:extLst>
                </p:cNvPr>
                <p:cNvSpPr/>
                <p:nvPr/>
              </p:nvSpPr>
              <p:spPr>
                <a:xfrm>
                  <a:off x="-1126030" y="3591496"/>
                  <a:ext cx="123825" cy="123825"/>
                </a:xfrm>
                <a:custGeom>
                  <a:avLst/>
                  <a:gdLst>
                    <a:gd name="connsiteX0" fmla="*/ 0 w 123825"/>
                    <a:gd name="connsiteY0" fmla="*/ 65913 h 123825"/>
                    <a:gd name="connsiteX1" fmla="*/ 66008 w 123825"/>
                    <a:gd name="connsiteY1" fmla="*/ 131826 h 123825"/>
                    <a:gd name="connsiteX2" fmla="*/ 131921 w 123825"/>
                    <a:gd name="connsiteY2" fmla="*/ 65913 h 123825"/>
                    <a:gd name="connsiteX3" fmla="*/ 66008 w 123825"/>
                    <a:gd name="connsiteY3" fmla="*/ 0 h 123825"/>
                    <a:gd name="connsiteX4" fmla="*/ 0 w 123825"/>
                    <a:gd name="connsiteY4" fmla="*/ 65913 h 1238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23825" h="123825">
                      <a:moveTo>
                        <a:pt x="0" y="65913"/>
                      </a:moveTo>
                      <a:cubicBezTo>
                        <a:pt x="0" y="102394"/>
                        <a:pt x="29528" y="131826"/>
                        <a:pt x="66008" y="131826"/>
                      </a:cubicBezTo>
                      <a:cubicBezTo>
                        <a:pt x="102394" y="131826"/>
                        <a:pt x="131921" y="102299"/>
                        <a:pt x="131921" y="65913"/>
                      </a:cubicBezTo>
                      <a:cubicBezTo>
                        <a:pt x="131921" y="29528"/>
                        <a:pt x="102394" y="0"/>
                        <a:pt x="66008" y="0"/>
                      </a:cubicBezTo>
                      <a:cubicBezTo>
                        <a:pt x="29528" y="0"/>
                        <a:pt x="0" y="29528"/>
                        <a:pt x="0" y="65913"/>
                      </a:cubicBezTo>
                      <a:close/>
                    </a:path>
                  </a:pathLst>
                </a:custGeom>
                <a:solidFill>
                  <a:srgbClr val="596A83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90" name="Freeform: Shape 289">
                  <a:extLst>
                    <a:ext uri="{FF2B5EF4-FFF2-40B4-BE49-F238E27FC236}">
                      <a16:creationId xmlns:a16="http://schemas.microsoft.com/office/drawing/2014/main" id="{056DD8D4-7488-494C-8721-3ED8753A457D}"/>
                    </a:ext>
                  </a:extLst>
                </p:cNvPr>
                <p:cNvSpPr/>
                <p:nvPr/>
              </p:nvSpPr>
              <p:spPr>
                <a:xfrm>
                  <a:off x="-1110123" y="3607308"/>
                  <a:ext cx="95250" cy="95250"/>
                </a:xfrm>
                <a:custGeom>
                  <a:avLst/>
                  <a:gdLst>
                    <a:gd name="connsiteX0" fmla="*/ 0 w 95250"/>
                    <a:gd name="connsiteY0" fmla="*/ 50101 h 95250"/>
                    <a:gd name="connsiteX1" fmla="*/ 50102 w 95250"/>
                    <a:gd name="connsiteY1" fmla="*/ 100203 h 95250"/>
                    <a:gd name="connsiteX2" fmla="*/ 100203 w 95250"/>
                    <a:gd name="connsiteY2" fmla="*/ 50101 h 95250"/>
                    <a:gd name="connsiteX3" fmla="*/ 50102 w 95250"/>
                    <a:gd name="connsiteY3" fmla="*/ 0 h 95250"/>
                    <a:gd name="connsiteX4" fmla="*/ 0 w 95250"/>
                    <a:gd name="connsiteY4" fmla="*/ 50101 h 952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5250" h="95250">
                      <a:moveTo>
                        <a:pt x="0" y="50101"/>
                      </a:moveTo>
                      <a:cubicBezTo>
                        <a:pt x="0" y="77819"/>
                        <a:pt x="22479" y="100203"/>
                        <a:pt x="50102" y="100203"/>
                      </a:cubicBezTo>
                      <a:cubicBezTo>
                        <a:pt x="77819" y="100203"/>
                        <a:pt x="100203" y="77724"/>
                        <a:pt x="100203" y="50101"/>
                      </a:cubicBezTo>
                      <a:cubicBezTo>
                        <a:pt x="100203" y="22384"/>
                        <a:pt x="77724" y="0"/>
                        <a:pt x="50102" y="0"/>
                      </a:cubicBezTo>
                      <a:cubicBezTo>
                        <a:pt x="22384" y="0"/>
                        <a:pt x="0" y="22479"/>
                        <a:pt x="0" y="50101"/>
                      </a:cubicBezTo>
                      <a:close/>
                    </a:path>
                  </a:pathLst>
                </a:custGeom>
                <a:solidFill>
                  <a:srgbClr val="17264B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91" name="Freeform: Shape 290">
                  <a:extLst>
                    <a:ext uri="{FF2B5EF4-FFF2-40B4-BE49-F238E27FC236}">
                      <a16:creationId xmlns:a16="http://schemas.microsoft.com/office/drawing/2014/main" id="{DF8942C1-27BF-4762-AC5B-168C8460E189}"/>
                    </a:ext>
                  </a:extLst>
                </p:cNvPr>
                <p:cNvSpPr/>
                <p:nvPr/>
              </p:nvSpPr>
              <p:spPr>
                <a:xfrm>
                  <a:off x="-1429211" y="2461641"/>
                  <a:ext cx="733425" cy="123825"/>
                </a:xfrm>
                <a:custGeom>
                  <a:avLst/>
                  <a:gdLst>
                    <a:gd name="connsiteX0" fmla="*/ 23812 w 733425"/>
                    <a:gd name="connsiteY0" fmla="*/ 0 h 123825"/>
                    <a:gd name="connsiteX1" fmla="*/ 714280 w 733425"/>
                    <a:gd name="connsiteY1" fmla="*/ 0 h 123825"/>
                    <a:gd name="connsiteX2" fmla="*/ 738092 w 733425"/>
                    <a:gd name="connsiteY2" fmla="*/ 21812 h 123825"/>
                    <a:gd name="connsiteX3" fmla="*/ 738092 w 733425"/>
                    <a:gd name="connsiteY3" fmla="*/ 128587 h 123825"/>
                    <a:gd name="connsiteX4" fmla="*/ 0 w 733425"/>
                    <a:gd name="connsiteY4" fmla="*/ 128587 h 123825"/>
                    <a:gd name="connsiteX5" fmla="*/ 0 w 733425"/>
                    <a:gd name="connsiteY5" fmla="*/ 21717 h 123825"/>
                    <a:gd name="connsiteX6" fmla="*/ 23812 w 733425"/>
                    <a:gd name="connsiteY6" fmla="*/ 0 h 1238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33425" h="123825">
                      <a:moveTo>
                        <a:pt x="23812" y="0"/>
                      </a:moveTo>
                      <a:lnTo>
                        <a:pt x="714280" y="0"/>
                      </a:lnTo>
                      <a:cubicBezTo>
                        <a:pt x="727424" y="0"/>
                        <a:pt x="738092" y="9811"/>
                        <a:pt x="738092" y="21812"/>
                      </a:cubicBezTo>
                      <a:lnTo>
                        <a:pt x="738092" y="128587"/>
                      </a:lnTo>
                      <a:lnTo>
                        <a:pt x="0" y="128587"/>
                      </a:lnTo>
                      <a:lnTo>
                        <a:pt x="0" y="21717"/>
                      </a:lnTo>
                      <a:cubicBezTo>
                        <a:pt x="0" y="9715"/>
                        <a:pt x="10573" y="0"/>
                        <a:pt x="23812" y="0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271" name="Graphic 2009">
                <a:extLst>
                  <a:ext uri="{FF2B5EF4-FFF2-40B4-BE49-F238E27FC236}">
                    <a16:creationId xmlns:a16="http://schemas.microsoft.com/office/drawing/2014/main" id="{A8FF33CD-0994-448E-BB6A-688A608D09F5}"/>
                  </a:ext>
                </a:extLst>
              </p:cNvPr>
              <p:cNvGrpSpPr/>
              <p:nvPr/>
            </p:nvGrpSpPr>
            <p:grpSpPr>
              <a:xfrm>
                <a:off x="-827612" y="2490120"/>
                <a:ext cx="85725" cy="66675"/>
                <a:chOff x="-827612" y="2490120"/>
                <a:chExt cx="85725" cy="66675"/>
              </a:xfrm>
              <a:solidFill>
                <a:srgbClr val="FFFFFF">
                  <a:alpha val="50000"/>
                </a:srgbClr>
              </a:solidFill>
            </p:grpSpPr>
            <p:sp>
              <p:nvSpPr>
                <p:cNvPr id="276" name="Freeform: Shape 275">
                  <a:extLst>
                    <a:ext uri="{FF2B5EF4-FFF2-40B4-BE49-F238E27FC236}">
                      <a16:creationId xmlns:a16="http://schemas.microsoft.com/office/drawing/2014/main" id="{BAD1AC08-02A0-4509-9AD5-B60A8E68E1B5}"/>
                    </a:ext>
                  </a:extLst>
                </p:cNvPr>
                <p:cNvSpPr/>
                <p:nvPr/>
              </p:nvSpPr>
              <p:spPr>
                <a:xfrm>
                  <a:off x="-827612" y="2490120"/>
                  <a:ext cx="85725" cy="9525"/>
                </a:xfrm>
                <a:custGeom>
                  <a:avLst/>
                  <a:gdLst>
                    <a:gd name="connsiteX0" fmla="*/ 0 w 85725"/>
                    <a:gd name="connsiteY0" fmla="*/ 0 h 9525"/>
                    <a:gd name="connsiteX1" fmla="*/ 92012 w 85725"/>
                    <a:gd name="connsiteY1" fmla="*/ 0 h 9525"/>
                    <a:gd name="connsiteX2" fmla="*/ 92012 w 85725"/>
                    <a:gd name="connsiteY2" fmla="*/ 12668 h 9525"/>
                    <a:gd name="connsiteX3" fmla="*/ 0 w 85725"/>
                    <a:gd name="connsiteY3" fmla="*/ 12668 h 9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5725" h="9525">
                      <a:moveTo>
                        <a:pt x="0" y="0"/>
                      </a:moveTo>
                      <a:lnTo>
                        <a:pt x="92012" y="0"/>
                      </a:lnTo>
                      <a:lnTo>
                        <a:pt x="92012" y="12668"/>
                      </a:lnTo>
                      <a:lnTo>
                        <a:pt x="0" y="12668"/>
                      </a:lnTo>
                      <a:close/>
                    </a:path>
                  </a:pathLst>
                </a:custGeom>
                <a:solidFill>
                  <a:srgbClr val="FFFFFF">
                    <a:alpha val="50000"/>
                  </a:srgbClr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77" name="Freeform: Shape 276">
                  <a:extLst>
                    <a:ext uri="{FF2B5EF4-FFF2-40B4-BE49-F238E27FC236}">
                      <a16:creationId xmlns:a16="http://schemas.microsoft.com/office/drawing/2014/main" id="{529D81B9-01F6-4045-B1EE-77302D9725CF}"/>
                    </a:ext>
                  </a:extLst>
                </p:cNvPr>
                <p:cNvSpPr/>
                <p:nvPr/>
              </p:nvSpPr>
              <p:spPr>
                <a:xfrm>
                  <a:off x="-827612" y="2521743"/>
                  <a:ext cx="85725" cy="9525"/>
                </a:xfrm>
                <a:custGeom>
                  <a:avLst/>
                  <a:gdLst>
                    <a:gd name="connsiteX0" fmla="*/ 0 w 85725"/>
                    <a:gd name="connsiteY0" fmla="*/ 0 h 9525"/>
                    <a:gd name="connsiteX1" fmla="*/ 92012 w 85725"/>
                    <a:gd name="connsiteY1" fmla="*/ 0 h 9525"/>
                    <a:gd name="connsiteX2" fmla="*/ 92012 w 85725"/>
                    <a:gd name="connsiteY2" fmla="*/ 12668 h 9525"/>
                    <a:gd name="connsiteX3" fmla="*/ 0 w 85725"/>
                    <a:gd name="connsiteY3" fmla="*/ 12668 h 9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5725" h="9525">
                      <a:moveTo>
                        <a:pt x="0" y="0"/>
                      </a:moveTo>
                      <a:lnTo>
                        <a:pt x="92012" y="0"/>
                      </a:lnTo>
                      <a:lnTo>
                        <a:pt x="92012" y="12668"/>
                      </a:lnTo>
                      <a:lnTo>
                        <a:pt x="0" y="12668"/>
                      </a:lnTo>
                      <a:close/>
                    </a:path>
                  </a:pathLst>
                </a:custGeom>
                <a:solidFill>
                  <a:srgbClr val="FFFFFF">
                    <a:alpha val="50000"/>
                  </a:srgbClr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78" name="Freeform: Shape 277">
                  <a:extLst>
                    <a:ext uri="{FF2B5EF4-FFF2-40B4-BE49-F238E27FC236}">
                      <a16:creationId xmlns:a16="http://schemas.microsoft.com/office/drawing/2014/main" id="{460348B8-2B68-4D72-9545-7419AA2E8CF3}"/>
                    </a:ext>
                  </a:extLst>
                </p:cNvPr>
                <p:cNvSpPr/>
                <p:nvPr/>
              </p:nvSpPr>
              <p:spPr>
                <a:xfrm>
                  <a:off x="-827612" y="2553462"/>
                  <a:ext cx="85725" cy="9525"/>
                </a:xfrm>
                <a:custGeom>
                  <a:avLst/>
                  <a:gdLst>
                    <a:gd name="connsiteX0" fmla="*/ 0 w 85725"/>
                    <a:gd name="connsiteY0" fmla="*/ 0 h 9525"/>
                    <a:gd name="connsiteX1" fmla="*/ 92012 w 85725"/>
                    <a:gd name="connsiteY1" fmla="*/ 0 h 9525"/>
                    <a:gd name="connsiteX2" fmla="*/ 92012 w 85725"/>
                    <a:gd name="connsiteY2" fmla="*/ 12668 h 9525"/>
                    <a:gd name="connsiteX3" fmla="*/ 0 w 85725"/>
                    <a:gd name="connsiteY3" fmla="*/ 12668 h 9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5725" h="9525">
                      <a:moveTo>
                        <a:pt x="0" y="0"/>
                      </a:moveTo>
                      <a:lnTo>
                        <a:pt x="92012" y="0"/>
                      </a:lnTo>
                      <a:lnTo>
                        <a:pt x="92012" y="12668"/>
                      </a:lnTo>
                      <a:lnTo>
                        <a:pt x="0" y="12668"/>
                      </a:lnTo>
                      <a:close/>
                    </a:path>
                  </a:pathLst>
                </a:custGeom>
                <a:solidFill>
                  <a:srgbClr val="FFFFFF">
                    <a:alpha val="50000"/>
                  </a:srgbClr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272" name="Graphic 2009">
                <a:extLst>
                  <a:ext uri="{FF2B5EF4-FFF2-40B4-BE49-F238E27FC236}">
                    <a16:creationId xmlns:a16="http://schemas.microsoft.com/office/drawing/2014/main" id="{8C018435-E1E7-4D50-8772-6DFEEDCB84AF}"/>
                  </a:ext>
                </a:extLst>
              </p:cNvPr>
              <p:cNvGrpSpPr/>
              <p:nvPr/>
            </p:nvGrpSpPr>
            <p:grpSpPr>
              <a:xfrm>
                <a:off x="-1369680" y="2476118"/>
                <a:ext cx="19050" cy="85725"/>
                <a:chOff x="-1369680" y="2476118"/>
                <a:chExt cx="19050" cy="85725"/>
              </a:xfrm>
              <a:solidFill>
                <a:srgbClr val="FFFFFF">
                  <a:alpha val="50000"/>
                </a:srgbClr>
              </a:solidFill>
            </p:grpSpPr>
            <p:sp>
              <p:nvSpPr>
                <p:cNvPr id="273" name="Freeform: Shape 272">
                  <a:extLst>
                    <a:ext uri="{FF2B5EF4-FFF2-40B4-BE49-F238E27FC236}">
                      <a16:creationId xmlns:a16="http://schemas.microsoft.com/office/drawing/2014/main" id="{1CB90112-F522-443B-85F4-35B6FCA6E9B3}"/>
                    </a:ext>
                  </a:extLst>
                </p:cNvPr>
                <p:cNvSpPr/>
                <p:nvPr/>
              </p:nvSpPr>
              <p:spPr>
                <a:xfrm>
                  <a:off x="-1369680" y="2476118"/>
                  <a:ext cx="19050" cy="19050"/>
                </a:xfrm>
                <a:custGeom>
                  <a:avLst/>
                  <a:gdLst>
                    <a:gd name="connsiteX0" fmla="*/ 0 w 19050"/>
                    <a:gd name="connsiteY0" fmla="*/ 10001 h 19050"/>
                    <a:gd name="connsiteX1" fmla="*/ 10001 w 19050"/>
                    <a:gd name="connsiteY1" fmla="*/ 20003 h 19050"/>
                    <a:gd name="connsiteX2" fmla="*/ 20003 w 19050"/>
                    <a:gd name="connsiteY2" fmla="*/ 10001 h 19050"/>
                    <a:gd name="connsiteX3" fmla="*/ 10001 w 19050"/>
                    <a:gd name="connsiteY3" fmla="*/ 0 h 19050"/>
                    <a:gd name="connsiteX4" fmla="*/ 0 w 19050"/>
                    <a:gd name="connsiteY4" fmla="*/ 10001 h 190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9050" h="19050">
                      <a:moveTo>
                        <a:pt x="0" y="10001"/>
                      </a:moveTo>
                      <a:cubicBezTo>
                        <a:pt x="0" y="15526"/>
                        <a:pt x="4477" y="20003"/>
                        <a:pt x="10001" y="20003"/>
                      </a:cubicBezTo>
                      <a:cubicBezTo>
                        <a:pt x="15526" y="20003"/>
                        <a:pt x="20003" y="15526"/>
                        <a:pt x="20003" y="10001"/>
                      </a:cubicBezTo>
                      <a:cubicBezTo>
                        <a:pt x="20003" y="4477"/>
                        <a:pt x="15526" y="0"/>
                        <a:pt x="10001" y="0"/>
                      </a:cubicBezTo>
                      <a:cubicBezTo>
                        <a:pt x="4477" y="0"/>
                        <a:pt x="0" y="4477"/>
                        <a:pt x="0" y="10001"/>
                      </a:cubicBezTo>
                      <a:close/>
                    </a:path>
                  </a:pathLst>
                </a:custGeom>
                <a:solidFill>
                  <a:srgbClr val="FFFFFF">
                    <a:alpha val="50000"/>
                  </a:srgbClr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74" name="Freeform: Shape 273">
                  <a:extLst>
                    <a:ext uri="{FF2B5EF4-FFF2-40B4-BE49-F238E27FC236}">
                      <a16:creationId xmlns:a16="http://schemas.microsoft.com/office/drawing/2014/main" id="{6CE7CE34-91B5-4541-A7F2-C52AAAAC5B86}"/>
                    </a:ext>
                  </a:extLst>
                </p:cNvPr>
                <p:cNvSpPr/>
                <p:nvPr/>
              </p:nvSpPr>
              <p:spPr>
                <a:xfrm>
                  <a:off x="-1369680" y="2510123"/>
                  <a:ext cx="19050" cy="19050"/>
                </a:xfrm>
                <a:custGeom>
                  <a:avLst/>
                  <a:gdLst>
                    <a:gd name="connsiteX0" fmla="*/ 0 w 19050"/>
                    <a:gd name="connsiteY0" fmla="*/ 10001 h 19050"/>
                    <a:gd name="connsiteX1" fmla="*/ 10001 w 19050"/>
                    <a:gd name="connsiteY1" fmla="*/ 20002 h 19050"/>
                    <a:gd name="connsiteX2" fmla="*/ 20003 w 19050"/>
                    <a:gd name="connsiteY2" fmla="*/ 10001 h 19050"/>
                    <a:gd name="connsiteX3" fmla="*/ 10001 w 19050"/>
                    <a:gd name="connsiteY3" fmla="*/ 0 h 19050"/>
                    <a:gd name="connsiteX4" fmla="*/ 0 w 19050"/>
                    <a:gd name="connsiteY4" fmla="*/ 10001 h 190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9050" h="19050">
                      <a:moveTo>
                        <a:pt x="0" y="10001"/>
                      </a:moveTo>
                      <a:cubicBezTo>
                        <a:pt x="0" y="15526"/>
                        <a:pt x="4477" y="20002"/>
                        <a:pt x="10001" y="20002"/>
                      </a:cubicBezTo>
                      <a:cubicBezTo>
                        <a:pt x="15526" y="20002"/>
                        <a:pt x="20003" y="15526"/>
                        <a:pt x="20003" y="10001"/>
                      </a:cubicBezTo>
                      <a:cubicBezTo>
                        <a:pt x="20003" y="4477"/>
                        <a:pt x="15526" y="0"/>
                        <a:pt x="10001" y="0"/>
                      </a:cubicBezTo>
                      <a:cubicBezTo>
                        <a:pt x="4477" y="0"/>
                        <a:pt x="0" y="4477"/>
                        <a:pt x="0" y="10001"/>
                      </a:cubicBezTo>
                      <a:close/>
                    </a:path>
                  </a:pathLst>
                </a:custGeom>
                <a:solidFill>
                  <a:srgbClr val="FFFFFF">
                    <a:alpha val="50000"/>
                  </a:srgbClr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75" name="Freeform: Shape 274">
                  <a:extLst>
                    <a:ext uri="{FF2B5EF4-FFF2-40B4-BE49-F238E27FC236}">
                      <a16:creationId xmlns:a16="http://schemas.microsoft.com/office/drawing/2014/main" id="{0A03C4E8-9E34-4E47-A048-200730C8D113}"/>
                    </a:ext>
                  </a:extLst>
                </p:cNvPr>
                <p:cNvSpPr/>
                <p:nvPr/>
              </p:nvSpPr>
              <p:spPr>
                <a:xfrm>
                  <a:off x="-1369680" y="2544127"/>
                  <a:ext cx="19050" cy="19050"/>
                </a:xfrm>
                <a:custGeom>
                  <a:avLst/>
                  <a:gdLst>
                    <a:gd name="connsiteX0" fmla="*/ 0 w 19050"/>
                    <a:gd name="connsiteY0" fmla="*/ 10001 h 19050"/>
                    <a:gd name="connsiteX1" fmla="*/ 10001 w 19050"/>
                    <a:gd name="connsiteY1" fmla="*/ 20003 h 19050"/>
                    <a:gd name="connsiteX2" fmla="*/ 20003 w 19050"/>
                    <a:gd name="connsiteY2" fmla="*/ 10001 h 19050"/>
                    <a:gd name="connsiteX3" fmla="*/ 10001 w 19050"/>
                    <a:gd name="connsiteY3" fmla="*/ 0 h 19050"/>
                    <a:gd name="connsiteX4" fmla="*/ 0 w 19050"/>
                    <a:gd name="connsiteY4" fmla="*/ 10001 h 190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9050" h="19050">
                      <a:moveTo>
                        <a:pt x="0" y="10001"/>
                      </a:moveTo>
                      <a:cubicBezTo>
                        <a:pt x="0" y="15526"/>
                        <a:pt x="4477" y="20003"/>
                        <a:pt x="10001" y="20003"/>
                      </a:cubicBezTo>
                      <a:cubicBezTo>
                        <a:pt x="15526" y="20003"/>
                        <a:pt x="20003" y="15526"/>
                        <a:pt x="20003" y="10001"/>
                      </a:cubicBezTo>
                      <a:cubicBezTo>
                        <a:pt x="20003" y="4477"/>
                        <a:pt x="15526" y="0"/>
                        <a:pt x="10001" y="0"/>
                      </a:cubicBezTo>
                      <a:cubicBezTo>
                        <a:pt x="4477" y="0"/>
                        <a:pt x="0" y="4477"/>
                        <a:pt x="0" y="10001"/>
                      </a:cubicBezTo>
                      <a:close/>
                    </a:path>
                  </a:pathLst>
                </a:custGeom>
                <a:solidFill>
                  <a:srgbClr val="FFFFFF">
                    <a:alpha val="50000"/>
                  </a:srgbClr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  <p:grpSp>
          <p:nvGrpSpPr>
            <p:cNvPr id="207" name="Graphic 2009">
              <a:extLst>
                <a:ext uri="{FF2B5EF4-FFF2-40B4-BE49-F238E27FC236}">
                  <a16:creationId xmlns:a16="http://schemas.microsoft.com/office/drawing/2014/main" id="{03DC227E-775A-4A37-9A4F-A7AD22591AF2}"/>
                </a:ext>
              </a:extLst>
            </p:cNvPr>
            <p:cNvGrpSpPr/>
            <p:nvPr/>
          </p:nvGrpSpPr>
          <p:grpSpPr>
            <a:xfrm>
              <a:off x="10210195" y="3188781"/>
              <a:ext cx="928711" cy="1215426"/>
              <a:chOff x="-2641648" y="2731085"/>
              <a:chExt cx="1419225" cy="1857375"/>
            </a:xfrm>
            <a:solidFill>
              <a:srgbClr val="725752"/>
            </a:solidFill>
          </p:grpSpPr>
          <p:grpSp>
            <p:nvGrpSpPr>
              <p:cNvPr id="264" name="Graphic 2009">
                <a:extLst>
                  <a:ext uri="{FF2B5EF4-FFF2-40B4-BE49-F238E27FC236}">
                    <a16:creationId xmlns:a16="http://schemas.microsoft.com/office/drawing/2014/main" id="{59272621-E295-4B5D-9DBD-A424B954876C}"/>
                  </a:ext>
                </a:extLst>
              </p:cNvPr>
              <p:cNvGrpSpPr/>
              <p:nvPr/>
            </p:nvGrpSpPr>
            <p:grpSpPr>
              <a:xfrm>
                <a:off x="-2641648" y="2731085"/>
                <a:ext cx="1419225" cy="1857375"/>
                <a:chOff x="-2641648" y="2731085"/>
                <a:chExt cx="1419225" cy="1857375"/>
              </a:xfrm>
              <a:grpFill/>
            </p:grpSpPr>
            <p:sp>
              <p:nvSpPr>
                <p:cNvPr id="266" name="Freeform: Shape 265">
                  <a:extLst>
                    <a:ext uri="{FF2B5EF4-FFF2-40B4-BE49-F238E27FC236}">
                      <a16:creationId xmlns:a16="http://schemas.microsoft.com/office/drawing/2014/main" id="{A4333326-72D7-4384-8328-F5D8E3B1F444}"/>
                    </a:ext>
                  </a:extLst>
                </p:cNvPr>
                <p:cNvSpPr/>
                <p:nvPr/>
              </p:nvSpPr>
              <p:spPr>
                <a:xfrm>
                  <a:off x="-2004806" y="2905314"/>
                  <a:ext cx="361950" cy="342900"/>
                </a:xfrm>
                <a:custGeom>
                  <a:avLst/>
                  <a:gdLst>
                    <a:gd name="connsiteX0" fmla="*/ 367665 w 361950"/>
                    <a:gd name="connsiteY0" fmla="*/ 1 h 342900"/>
                    <a:gd name="connsiteX1" fmla="*/ 0 w 361950"/>
                    <a:gd name="connsiteY1" fmla="*/ 233935 h 342900"/>
                    <a:gd name="connsiteX2" fmla="*/ 36767 w 361950"/>
                    <a:gd name="connsiteY2" fmla="*/ 351855 h 342900"/>
                    <a:gd name="connsiteX3" fmla="*/ 367665 w 361950"/>
                    <a:gd name="connsiteY3" fmla="*/ 1 h 3429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61950" h="342900">
                      <a:moveTo>
                        <a:pt x="367665" y="1"/>
                      </a:moveTo>
                      <a:cubicBezTo>
                        <a:pt x="367665" y="1"/>
                        <a:pt x="105918" y="-2475"/>
                        <a:pt x="0" y="233935"/>
                      </a:cubicBezTo>
                      <a:lnTo>
                        <a:pt x="36767" y="351855"/>
                      </a:lnTo>
                      <a:cubicBezTo>
                        <a:pt x="36767" y="351855"/>
                        <a:pt x="310420" y="81249"/>
                        <a:pt x="367665" y="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67" name="Freeform: Shape 266">
                  <a:extLst>
                    <a:ext uri="{FF2B5EF4-FFF2-40B4-BE49-F238E27FC236}">
                      <a16:creationId xmlns:a16="http://schemas.microsoft.com/office/drawing/2014/main" id="{85FCDAC5-185C-4D89-BF1D-BF0DEE9292A5}"/>
                    </a:ext>
                  </a:extLst>
                </p:cNvPr>
                <p:cNvSpPr/>
                <p:nvPr/>
              </p:nvSpPr>
              <p:spPr>
                <a:xfrm>
                  <a:off x="-1908604" y="2876356"/>
                  <a:ext cx="400050" cy="352425"/>
                </a:xfrm>
                <a:custGeom>
                  <a:avLst/>
                  <a:gdLst>
                    <a:gd name="connsiteX0" fmla="*/ 401193 w 400050"/>
                    <a:gd name="connsiteY0" fmla="*/ 4861 h 352425"/>
                    <a:gd name="connsiteX1" fmla="*/ 0 w 400050"/>
                    <a:gd name="connsiteY1" fmla="*/ 277371 h 352425"/>
                    <a:gd name="connsiteX2" fmla="*/ 93536 w 400050"/>
                    <a:gd name="connsiteY2" fmla="*/ 355000 h 352425"/>
                    <a:gd name="connsiteX3" fmla="*/ 401193 w 400050"/>
                    <a:gd name="connsiteY3" fmla="*/ 4861 h 3524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00050" h="352425">
                      <a:moveTo>
                        <a:pt x="401193" y="4861"/>
                      </a:moveTo>
                      <a:cubicBezTo>
                        <a:pt x="401193" y="4861"/>
                        <a:pt x="205169" y="-59147"/>
                        <a:pt x="0" y="277371"/>
                      </a:cubicBezTo>
                      <a:lnTo>
                        <a:pt x="93536" y="355000"/>
                      </a:lnTo>
                      <a:cubicBezTo>
                        <a:pt x="93536" y="355000"/>
                        <a:pt x="343948" y="86205"/>
                        <a:pt x="401193" y="486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68" name="Freeform: Shape 267">
                  <a:extLst>
                    <a:ext uri="{FF2B5EF4-FFF2-40B4-BE49-F238E27FC236}">
                      <a16:creationId xmlns:a16="http://schemas.microsoft.com/office/drawing/2014/main" id="{AFC13BEC-420E-42F3-979C-655969DDF540}"/>
                    </a:ext>
                  </a:extLst>
                </p:cNvPr>
                <p:cNvSpPr/>
                <p:nvPr/>
              </p:nvSpPr>
              <p:spPr>
                <a:xfrm>
                  <a:off x="-1788113" y="2835736"/>
                  <a:ext cx="409575" cy="381000"/>
                </a:xfrm>
                <a:custGeom>
                  <a:avLst/>
                  <a:gdLst>
                    <a:gd name="connsiteX0" fmla="*/ 409956 w 409575"/>
                    <a:gd name="connsiteY0" fmla="*/ 808 h 381000"/>
                    <a:gd name="connsiteX1" fmla="*/ 0 w 409575"/>
                    <a:gd name="connsiteY1" fmla="*/ 330564 h 381000"/>
                    <a:gd name="connsiteX2" fmla="*/ 124206 w 409575"/>
                    <a:gd name="connsiteY2" fmla="*/ 382380 h 381000"/>
                    <a:gd name="connsiteX3" fmla="*/ 409956 w 409575"/>
                    <a:gd name="connsiteY3" fmla="*/ 808 h 381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09575" h="381000">
                      <a:moveTo>
                        <a:pt x="409956" y="808"/>
                      </a:moveTo>
                      <a:cubicBezTo>
                        <a:pt x="409956" y="808"/>
                        <a:pt x="214027" y="-32625"/>
                        <a:pt x="0" y="330564"/>
                      </a:cubicBezTo>
                      <a:lnTo>
                        <a:pt x="124206" y="382380"/>
                      </a:lnTo>
                      <a:cubicBezTo>
                        <a:pt x="124206" y="382380"/>
                        <a:pt x="350330" y="88629"/>
                        <a:pt x="409956" y="808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69" name="Freeform: Shape 268">
                  <a:extLst>
                    <a:ext uri="{FF2B5EF4-FFF2-40B4-BE49-F238E27FC236}">
                      <a16:creationId xmlns:a16="http://schemas.microsoft.com/office/drawing/2014/main" id="{4F22465D-BC84-4573-9448-8651D5B6EFA2}"/>
                    </a:ext>
                  </a:extLst>
                </p:cNvPr>
                <p:cNvSpPr/>
                <p:nvPr/>
              </p:nvSpPr>
              <p:spPr>
                <a:xfrm>
                  <a:off x="-2641648" y="2731085"/>
                  <a:ext cx="1419225" cy="1857375"/>
                </a:xfrm>
                <a:custGeom>
                  <a:avLst/>
                  <a:gdLst>
                    <a:gd name="connsiteX0" fmla="*/ 976694 w 1419225"/>
                    <a:gd name="connsiteY0" fmla="*/ 1232172 h 1857375"/>
                    <a:gd name="connsiteX1" fmla="*/ 718566 w 1419225"/>
                    <a:gd name="connsiteY1" fmla="*/ 1364379 h 1857375"/>
                    <a:gd name="connsiteX2" fmla="*/ 452438 w 1419225"/>
                    <a:gd name="connsiteY2" fmla="*/ 1866823 h 1857375"/>
                    <a:gd name="connsiteX3" fmla="*/ 223838 w 1419225"/>
                    <a:gd name="connsiteY3" fmla="*/ 1862060 h 1857375"/>
                    <a:gd name="connsiteX4" fmla="*/ 0 w 1419225"/>
                    <a:gd name="connsiteY4" fmla="*/ 1714423 h 1857375"/>
                    <a:gd name="connsiteX5" fmla="*/ 400431 w 1419225"/>
                    <a:gd name="connsiteY5" fmla="*/ 1022622 h 1857375"/>
                    <a:gd name="connsiteX6" fmla="*/ 636746 w 1419225"/>
                    <a:gd name="connsiteY6" fmla="*/ 408164 h 1857375"/>
                    <a:gd name="connsiteX7" fmla="*/ 973646 w 1419225"/>
                    <a:gd name="connsiteY7" fmla="*/ 487317 h 1857375"/>
                    <a:gd name="connsiteX8" fmla="*/ 1024700 w 1419225"/>
                    <a:gd name="connsiteY8" fmla="*/ 405973 h 1857375"/>
                    <a:gd name="connsiteX9" fmla="*/ 1269302 w 1419225"/>
                    <a:gd name="connsiteY9" fmla="*/ 95744 h 1857375"/>
                    <a:gd name="connsiteX10" fmla="*/ 1412843 w 1419225"/>
                    <a:gd name="connsiteY10" fmla="*/ 8781 h 1857375"/>
                    <a:gd name="connsiteX11" fmla="*/ 1362361 w 1419225"/>
                    <a:gd name="connsiteY11" fmla="*/ 189184 h 1857375"/>
                    <a:gd name="connsiteX12" fmla="*/ 1031938 w 1419225"/>
                    <a:gd name="connsiteY12" fmla="*/ 746873 h 1857375"/>
                    <a:gd name="connsiteX13" fmla="*/ 1033748 w 1419225"/>
                    <a:gd name="connsiteY13" fmla="*/ 913084 h 1857375"/>
                    <a:gd name="connsiteX14" fmla="*/ 1230059 w 1419225"/>
                    <a:gd name="connsiteY14" fmla="*/ 782592 h 1857375"/>
                    <a:gd name="connsiteX15" fmla="*/ 1399508 w 1419225"/>
                    <a:gd name="connsiteY15" fmla="*/ 729538 h 1857375"/>
                    <a:gd name="connsiteX16" fmla="*/ 976694 w 1419225"/>
                    <a:gd name="connsiteY16" fmla="*/ 1232172 h 18573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1419225" h="1857375">
                      <a:moveTo>
                        <a:pt x="976694" y="1232172"/>
                      </a:moveTo>
                      <a:cubicBezTo>
                        <a:pt x="929164" y="1249698"/>
                        <a:pt x="775145" y="1282750"/>
                        <a:pt x="718566" y="1364379"/>
                      </a:cubicBezTo>
                      <a:lnTo>
                        <a:pt x="452438" y="1866823"/>
                      </a:lnTo>
                      <a:cubicBezTo>
                        <a:pt x="452438" y="1866823"/>
                        <a:pt x="397764" y="1867299"/>
                        <a:pt x="223838" y="1862060"/>
                      </a:cubicBezTo>
                      <a:cubicBezTo>
                        <a:pt x="49911" y="1856821"/>
                        <a:pt x="0" y="1714423"/>
                        <a:pt x="0" y="1714423"/>
                      </a:cubicBezTo>
                      <a:lnTo>
                        <a:pt x="400431" y="1022622"/>
                      </a:lnTo>
                      <a:cubicBezTo>
                        <a:pt x="432530" y="743349"/>
                        <a:pt x="636746" y="408164"/>
                        <a:pt x="636746" y="408164"/>
                      </a:cubicBezTo>
                      <a:cubicBezTo>
                        <a:pt x="659130" y="358539"/>
                        <a:pt x="988790" y="440740"/>
                        <a:pt x="973646" y="487317"/>
                      </a:cubicBezTo>
                      <a:cubicBezTo>
                        <a:pt x="998125" y="446264"/>
                        <a:pt x="1000030" y="442645"/>
                        <a:pt x="1024700" y="405973"/>
                      </a:cubicBezTo>
                      <a:cubicBezTo>
                        <a:pt x="1098804" y="286149"/>
                        <a:pt x="1269302" y="95744"/>
                        <a:pt x="1269302" y="95744"/>
                      </a:cubicBezTo>
                      <a:cubicBezTo>
                        <a:pt x="1341977" y="5257"/>
                        <a:pt x="1373696" y="-14079"/>
                        <a:pt x="1412843" y="8781"/>
                      </a:cubicBezTo>
                      <a:cubicBezTo>
                        <a:pt x="1451991" y="31641"/>
                        <a:pt x="1405223" y="136797"/>
                        <a:pt x="1362361" y="189184"/>
                      </a:cubicBezTo>
                      <a:cubicBezTo>
                        <a:pt x="1362361" y="189184"/>
                        <a:pt x="1074611" y="512177"/>
                        <a:pt x="1031938" y="746873"/>
                      </a:cubicBezTo>
                      <a:cubicBezTo>
                        <a:pt x="1005173" y="894034"/>
                        <a:pt x="988505" y="906226"/>
                        <a:pt x="1033748" y="913084"/>
                      </a:cubicBezTo>
                      <a:cubicBezTo>
                        <a:pt x="1078992" y="920038"/>
                        <a:pt x="1125093" y="889939"/>
                        <a:pt x="1230059" y="782592"/>
                      </a:cubicBezTo>
                      <a:cubicBezTo>
                        <a:pt x="1354264" y="645337"/>
                        <a:pt x="1399508" y="729538"/>
                        <a:pt x="1399508" y="729538"/>
                      </a:cubicBezTo>
                      <a:cubicBezTo>
                        <a:pt x="1153382" y="1161401"/>
                        <a:pt x="1119283" y="1179499"/>
                        <a:pt x="976694" y="123217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265" name="Freeform: Shape 264">
                <a:extLst>
                  <a:ext uri="{FF2B5EF4-FFF2-40B4-BE49-F238E27FC236}">
                    <a16:creationId xmlns:a16="http://schemas.microsoft.com/office/drawing/2014/main" id="{E0A0D27A-F649-4CED-ABE5-D1BC589837B3}"/>
                  </a:ext>
                </a:extLst>
              </p:cNvPr>
              <p:cNvSpPr/>
              <p:nvPr/>
            </p:nvSpPr>
            <p:spPr>
              <a:xfrm>
                <a:off x="-1353106" y="3473100"/>
                <a:ext cx="95250" cy="95250"/>
              </a:xfrm>
              <a:custGeom>
                <a:avLst/>
                <a:gdLst>
                  <a:gd name="connsiteX0" fmla="*/ 103346 w 95250"/>
                  <a:gd name="connsiteY0" fmla="*/ 0 h 95250"/>
                  <a:gd name="connsiteX1" fmla="*/ 0 w 95250"/>
                  <a:gd name="connsiteY1" fmla="*/ 66865 h 95250"/>
                  <a:gd name="connsiteX2" fmla="*/ 44101 w 95250"/>
                  <a:gd name="connsiteY2" fmla="*/ 96012 h 95250"/>
                  <a:gd name="connsiteX3" fmla="*/ 103346 w 95250"/>
                  <a:gd name="connsiteY3" fmla="*/ 0 h 95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5250" h="95250">
                    <a:moveTo>
                      <a:pt x="103346" y="0"/>
                    </a:moveTo>
                    <a:cubicBezTo>
                      <a:pt x="103346" y="0"/>
                      <a:pt x="31528" y="3239"/>
                      <a:pt x="0" y="66865"/>
                    </a:cubicBezTo>
                    <a:lnTo>
                      <a:pt x="44101" y="96012"/>
                    </a:lnTo>
                    <a:lnTo>
                      <a:pt x="103346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08" name="Graphic 2009">
              <a:extLst>
                <a:ext uri="{FF2B5EF4-FFF2-40B4-BE49-F238E27FC236}">
                  <a16:creationId xmlns:a16="http://schemas.microsoft.com/office/drawing/2014/main" id="{4DB0DC1B-F225-46A3-9667-1208BB29E77C}"/>
                </a:ext>
              </a:extLst>
            </p:cNvPr>
            <p:cNvGrpSpPr/>
            <p:nvPr/>
          </p:nvGrpSpPr>
          <p:grpSpPr>
            <a:xfrm>
              <a:off x="10756157" y="2714847"/>
              <a:ext cx="241118" cy="240004"/>
              <a:chOff x="-2232019" y="2407390"/>
              <a:chExt cx="368468" cy="366766"/>
            </a:xfrm>
            <a:solidFill>
              <a:schemeClr val="accent1"/>
            </a:solidFill>
          </p:grpSpPr>
          <p:sp>
            <p:nvSpPr>
              <p:cNvPr id="238" name="Freeform: Shape 237">
                <a:extLst>
                  <a:ext uri="{FF2B5EF4-FFF2-40B4-BE49-F238E27FC236}">
                    <a16:creationId xmlns:a16="http://schemas.microsoft.com/office/drawing/2014/main" id="{CD656749-A51A-412A-9D82-B663223F0730}"/>
                  </a:ext>
                </a:extLst>
              </p:cNvPr>
              <p:cNvSpPr/>
              <p:nvPr/>
            </p:nvSpPr>
            <p:spPr>
              <a:xfrm>
                <a:off x="-2168351" y="2507456"/>
                <a:ext cx="304800" cy="266700"/>
              </a:xfrm>
              <a:custGeom>
                <a:avLst/>
                <a:gdLst>
                  <a:gd name="connsiteX0" fmla="*/ 0 w 304800"/>
                  <a:gd name="connsiteY0" fmla="*/ 215837 h 266700"/>
                  <a:gd name="connsiteX1" fmla="*/ 12192 w 304800"/>
                  <a:gd name="connsiteY1" fmla="*/ 254032 h 266700"/>
                  <a:gd name="connsiteX2" fmla="*/ 54293 w 304800"/>
                  <a:gd name="connsiteY2" fmla="*/ 275844 h 266700"/>
                  <a:gd name="connsiteX3" fmla="*/ 310610 w 304800"/>
                  <a:gd name="connsiteY3" fmla="*/ 194120 h 266700"/>
                  <a:gd name="connsiteX4" fmla="*/ 275749 w 304800"/>
                  <a:gd name="connsiteY4" fmla="*/ 84963 h 266700"/>
                  <a:gd name="connsiteX5" fmla="*/ 111538 w 304800"/>
                  <a:gd name="connsiteY5" fmla="*/ 0 h 266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04800" h="266700">
                    <a:moveTo>
                      <a:pt x="0" y="215837"/>
                    </a:moveTo>
                    <a:lnTo>
                      <a:pt x="12192" y="254032"/>
                    </a:lnTo>
                    <a:lnTo>
                      <a:pt x="54293" y="275844"/>
                    </a:lnTo>
                    <a:lnTo>
                      <a:pt x="310610" y="194120"/>
                    </a:lnTo>
                    <a:lnTo>
                      <a:pt x="275749" y="84963"/>
                    </a:lnTo>
                    <a:lnTo>
                      <a:pt x="111538" y="0"/>
                    </a:lnTo>
                    <a:close/>
                  </a:path>
                </a:pathLst>
              </a:custGeom>
              <a:solidFill>
                <a:srgbClr val="BFD4F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39" name="Freeform: Shape 238">
                <a:extLst>
                  <a:ext uri="{FF2B5EF4-FFF2-40B4-BE49-F238E27FC236}">
                    <a16:creationId xmlns:a16="http://schemas.microsoft.com/office/drawing/2014/main" id="{E8937FBC-01A8-43DA-AECB-4C8EB88EF819}"/>
                  </a:ext>
                </a:extLst>
              </p:cNvPr>
              <p:cNvSpPr/>
              <p:nvPr/>
            </p:nvSpPr>
            <p:spPr>
              <a:xfrm>
                <a:off x="-2231978" y="2431732"/>
                <a:ext cx="342900" cy="323850"/>
              </a:xfrm>
              <a:custGeom>
                <a:avLst/>
                <a:gdLst>
                  <a:gd name="connsiteX0" fmla="*/ 313277 w 342900"/>
                  <a:gd name="connsiteY0" fmla="*/ 253555 h 323850"/>
                  <a:gd name="connsiteX1" fmla="*/ 75629 w 342900"/>
                  <a:gd name="connsiteY1" fmla="*/ 329279 h 323850"/>
                  <a:gd name="connsiteX2" fmla="*/ 0 w 342900"/>
                  <a:gd name="connsiteY2" fmla="*/ 91821 h 323850"/>
                  <a:gd name="connsiteX3" fmla="*/ 288226 w 342900"/>
                  <a:gd name="connsiteY3" fmla="*/ 0 h 323850"/>
                  <a:gd name="connsiteX4" fmla="*/ 347758 w 342900"/>
                  <a:gd name="connsiteY4" fmla="*/ 186785 h 323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2900" h="323850">
                    <a:moveTo>
                      <a:pt x="313277" y="253555"/>
                    </a:moveTo>
                    <a:lnTo>
                      <a:pt x="75629" y="329279"/>
                    </a:lnTo>
                    <a:lnTo>
                      <a:pt x="0" y="91821"/>
                    </a:lnTo>
                    <a:lnTo>
                      <a:pt x="288226" y="0"/>
                    </a:lnTo>
                    <a:lnTo>
                      <a:pt x="347758" y="186785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0" name="Freeform: Shape 239">
                <a:extLst>
                  <a:ext uri="{FF2B5EF4-FFF2-40B4-BE49-F238E27FC236}">
                    <a16:creationId xmlns:a16="http://schemas.microsoft.com/office/drawing/2014/main" id="{82938C4B-1AEF-488D-88C6-4C276D7CAF6F}"/>
                  </a:ext>
                </a:extLst>
              </p:cNvPr>
              <p:cNvSpPr/>
              <p:nvPr/>
            </p:nvSpPr>
            <p:spPr>
              <a:xfrm>
                <a:off x="-1918129" y="2619089"/>
                <a:ext cx="47625" cy="57150"/>
              </a:xfrm>
              <a:custGeom>
                <a:avLst/>
                <a:gdLst>
                  <a:gd name="connsiteX0" fmla="*/ 50006 w 47625"/>
                  <a:gd name="connsiteY0" fmla="*/ 50006 h 57150"/>
                  <a:gd name="connsiteX1" fmla="*/ 34100 w 47625"/>
                  <a:gd name="connsiteY1" fmla="*/ 0 h 57150"/>
                  <a:gd name="connsiteX2" fmla="*/ 0 w 47625"/>
                  <a:gd name="connsiteY2" fmla="*/ 66008 h 5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7625" h="57150">
                    <a:moveTo>
                      <a:pt x="50006" y="50006"/>
                    </a:moveTo>
                    <a:lnTo>
                      <a:pt x="34100" y="0"/>
                    </a:lnTo>
                    <a:lnTo>
                      <a:pt x="0" y="66008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1" name="Freeform: Shape 240">
                <a:extLst>
                  <a:ext uri="{FF2B5EF4-FFF2-40B4-BE49-F238E27FC236}">
                    <a16:creationId xmlns:a16="http://schemas.microsoft.com/office/drawing/2014/main" id="{DC7B849A-C881-4C66-83E5-AB51D34401FD}"/>
                  </a:ext>
                </a:extLst>
              </p:cNvPr>
              <p:cNvSpPr/>
              <p:nvPr/>
            </p:nvSpPr>
            <p:spPr>
              <a:xfrm>
                <a:off x="-2232019" y="2431651"/>
                <a:ext cx="304800" cy="142875"/>
              </a:xfrm>
              <a:custGeom>
                <a:avLst/>
                <a:gdLst>
                  <a:gd name="connsiteX0" fmla="*/ 0 w 304800"/>
                  <a:gd name="connsiteY0" fmla="*/ 91873 h 142875"/>
                  <a:gd name="connsiteX1" fmla="*/ 288235 w 304800"/>
                  <a:gd name="connsiteY1" fmla="*/ 0 h 142875"/>
                  <a:gd name="connsiteX2" fmla="*/ 304898 w 304800"/>
                  <a:gd name="connsiteY2" fmla="*/ 52274 h 142875"/>
                  <a:gd name="connsiteX3" fmla="*/ 16662 w 304800"/>
                  <a:gd name="connsiteY3" fmla="*/ 144148 h 142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4800" h="142875">
                    <a:moveTo>
                      <a:pt x="0" y="91873"/>
                    </a:moveTo>
                    <a:lnTo>
                      <a:pt x="288235" y="0"/>
                    </a:lnTo>
                    <a:lnTo>
                      <a:pt x="304898" y="52274"/>
                    </a:lnTo>
                    <a:lnTo>
                      <a:pt x="16662" y="144148"/>
                    </a:lnTo>
                    <a:close/>
                  </a:path>
                </a:pathLst>
              </a:custGeom>
              <a:solidFill>
                <a:srgbClr val="FA70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grpSp>
            <p:nvGrpSpPr>
              <p:cNvPr id="242" name="Graphic 2009">
                <a:extLst>
                  <a:ext uri="{FF2B5EF4-FFF2-40B4-BE49-F238E27FC236}">
                    <a16:creationId xmlns:a16="http://schemas.microsoft.com/office/drawing/2014/main" id="{134F0A3F-989B-4A22-A341-D1815E7E6EA3}"/>
                  </a:ext>
                </a:extLst>
              </p:cNvPr>
              <p:cNvGrpSpPr/>
              <p:nvPr/>
            </p:nvGrpSpPr>
            <p:grpSpPr>
              <a:xfrm>
                <a:off x="-2220770" y="2407390"/>
                <a:ext cx="257175" cy="123825"/>
                <a:chOff x="-2220770" y="2407390"/>
                <a:chExt cx="257175" cy="123825"/>
              </a:xfrm>
              <a:solidFill>
                <a:srgbClr val="3D4166"/>
              </a:solidFill>
            </p:grpSpPr>
            <p:sp>
              <p:nvSpPr>
                <p:cNvPr id="258" name="Freeform: Shape 257">
                  <a:extLst>
                    <a:ext uri="{FF2B5EF4-FFF2-40B4-BE49-F238E27FC236}">
                      <a16:creationId xmlns:a16="http://schemas.microsoft.com/office/drawing/2014/main" id="{24C373B7-0A3C-47E4-891E-C1935A0D763D}"/>
                    </a:ext>
                  </a:extLst>
                </p:cNvPr>
                <p:cNvSpPr/>
                <p:nvPr/>
              </p:nvSpPr>
              <p:spPr>
                <a:xfrm>
                  <a:off x="-2220770" y="2479418"/>
                  <a:ext cx="28575" cy="57150"/>
                </a:xfrm>
                <a:custGeom>
                  <a:avLst/>
                  <a:gdLst>
                    <a:gd name="connsiteX0" fmla="*/ 0 w 28575"/>
                    <a:gd name="connsiteY0" fmla="*/ 6321 h 57150"/>
                    <a:gd name="connsiteX1" fmla="*/ 19780 w 28575"/>
                    <a:gd name="connsiteY1" fmla="*/ 0 h 57150"/>
                    <a:gd name="connsiteX2" fmla="*/ 36481 w 28575"/>
                    <a:gd name="connsiteY2" fmla="*/ 52263 h 57150"/>
                    <a:gd name="connsiteX3" fmla="*/ 16701 w 28575"/>
                    <a:gd name="connsiteY3" fmla="*/ 58584 h 57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8575" h="57150">
                      <a:moveTo>
                        <a:pt x="0" y="6321"/>
                      </a:moveTo>
                      <a:lnTo>
                        <a:pt x="19780" y="0"/>
                      </a:lnTo>
                      <a:lnTo>
                        <a:pt x="36481" y="52263"/>
                      </a:lnTo>
                      <a:lnTo>
                        <a:pt x="16701" y="58584"/>
                      </a:lnTo>
                      <a:close/>
                    </a:path>
                  </a:pathLst>
                </a:custGeom>
                <a:solidFill>
                  <a:srgbClr val="3D416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59" name="Freeform: Shape 258">
                  <a:extLst>
                    <a:ext uri="{FF2B5EF4-FFF2-40B4-BE49-F238E27FC236}">
                      <a16:creationId xmlns:a16="http://schemas.microsoft.com/office/drawing/2014/main" id="{8CCB97BA-4A3F-4D5B-A978-A44240FA1035}"/>
                    </a:ext>
                  </a:extLst>
                </p:cNvPr>
                <p:cNvSpPr/>
                <p:nvPr/>
              </p:nvSpPr>
              <p:spPr>
                <a:xfrm>
                  <a:off x="-2175556" y="2465039"/>
                  <a:ext cx="28575" cy="57150"/>
                </a:xfrm>
                <a:custGeom>
                  <a:avLst/>
                  <a:gdLst>
                    <a:gd name="connsiteX0" fmla="*/ 0 w 28575"/>
                    <a:gd name="connsiteY0" fmla="*/ 6300 h 57150"/>
                    <a:gd name="connsiteX1" fmla="*/ 19784 w 28575"/>
                    <a:gd name="connsiteY1" fmla="*/ 0 h 57150"/>
                    <a:gd name="connsiteX2" fmla="*/ 36430 w 28575"/>
                    <a:gd name="connsiteY2" fmla="*/ 52274 h 57150"/>
                    <a:gd name="connsiteX3" fmla="*/ 16646 w 28575"/>
                    <a:gd name="connsiteY3" fmla="*/ 58574 h 57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8575" h="57150">
                      <a:moveTo>
                        <a:pt x="0" y="6300"/>
                      </a:moveTo>
                      <a:lnTo>
                        <a:pt x="19784" y="0"/>
                      </a:lnTo>
                      <a:lnTo>
                        <a:pt x="36430" y="52274"/>
                      </a:lnTo>
                      <a:lnTo>
                        <a:pt x="16646" y="58574"/>
                      </a:lnTo>
                      <a:close/>
                    </a:path>
                  </a:pathLst>
                </a:custGeom>
                <a:solidFill>
                  <a:srgbClr val="3D416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60" name="Freeform: Shape 259">
                  <a:extLst>
                    <a:ext uri="{FF2B5EF4-FFF2-40B4-BE49-F238E27FC236}">
                      <a16:creationId xmlns:a16="http://schemas.microsoft.com/office/drawing/2014/main" id="{BC731169-5181-4D97-9400-3BD06C1FF577}"/>
                    </a:ext>
                  </a:extLst>
                </p:cNvPr>
                <p:cNvSpPr/>
                <p:nvPr/>
              </p:nvSpPr>
              <p:spPr>
                <a:xfrm>
                  <a:off x="-2130250" y="2450633"/>
                  <a:ext cx="28575" cy="57150"/>
                </a:xfrm>
                <a:custGeom>
                  <a:avLst/>
                  <a:gdLst>
                    <a:gd name="connsiteX0" fmla="*/ 0 w 28575"/>
                    <a:gd name="connsiteY0" fmla="*/ 6285 h 57150"/>
                    <a:gd name="connsiteX1" fmla="*/ 19791 w 28575"/>
                    <a:gd name="connsiteY1" fmla="*/ 0 h 57150"/>
                    <a:gd name="connsiteX2" fmla="*/ 36398 w 28575"/>
                    <a:gd name="connsiteY2" fmla="*/ 52291 h 57150"/>
                    <a:gd name="connsiteX3" fmla="*/ 16607 w 28575"/>
                    <a:gd name="connsiteY3" fmla="*/ 58576 h 57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8575" h="57150">
                      <a:moveTo>
                        <a:pt x="0" y="6285"/>
                      </a:moveTo>
                      <a:lnTo>
                        <a:pt x="19791" y="0"/>
                      </a:lnTo>
                      <a:lnTo>
                        <a:pt x="36398" y="52291"/>
                      </a:lnTo>
                      <a:lnTo>
                        <a:pt x="16607" y="58576"/>
                      </a:lnTo>
                      <a:close/>
                    </a:path>
                  </a:pathLst>
                </a:custGeom>
                <a:solidFill>
                  <a:srgbClr val="3D416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61" name="Freeform: Shape 260">
                  <a:extLst>
                    <a:ext uri="{FF2B5EF4-FFF2-40B4-BE49-F238E27FC236}">
                      <a16:creationId xmlns:a16="http://schemas.microsoft.com/office/drawing/2014/main" id="{0C2B122C-65D3-4F77-A39A-4591315CBA1C}"/>
                    </a:ext>
                  </a:extLst>
                </p:cNvPr>
                <p:cNvSpPr/>
                <p:nvPr/>
              </p:nvSpPr>
              <p:spPr>
                <a:xfrm>
                  <a:off x="-2084996" y="2436250"/>
                  <a:ext cx="28575" cy="57150"/>
                </a:xfrm>
                <a:custGeom>
                  <a:avLst/>
                  <a:gdLst>
                    <a:gd name="connsiteX0" fmla="*/ 0 w 28575"/>
                    <a:gd name="connsiteY0" fmla="*/ 6285 h 57150"/>
                    <a:gd name="connsiteX1" fmla="*/ 19791 w 28575"/>
                    <a:gd name="connsiteY1" fmla="*/ 0 h 57150"/>
                    <a:gd name="connsiteX2" fmla="*/ 36398 w 28575"/>
                    <a:gd name="connsiteY2" fmla="*/ 52291 h 57150"/>
                    <a:gd name="connsiteX3" fmla="*/ 16607 w 28575"/>
                    <a:gd name="connsiteY3" fmla="*/ 58576 h 57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8575" h="57150">
                      <a:moveTo>
                        <a:pt x="0" y="6285"/>
                      </a:moveTo>
                      <a:lnTo>
                        <a:pt x="19791" y="0"/>
                      </a:lnTo>
                      <a:lnTo>
                        <a:pt x="36398" y="52291"/>
                      </a:lnTo>
                      <a:lnTo>
                        <a:pt x="16607" y="58576"/>
                      </a:lnTo>
                      <a:close/>
                    </a:path>
                  </a:pathLst>
                </a:custGeom>
                <a:solidFill>
                  <a:srgbClr val="3D416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62" name="Freeform: Shape 261">
                  <a:extLst>
                    <a:ext uri="{FF2B5EF4-FFF2-40B4-BE49-F238E27FC236}">
                      <a16:creationId xmlns:a16="http://schemas.microsoft.com/office/drawing/2014/main" id="{89102826-7BE2-428B-B65D-FEC4550E685D}"/>
                    </a:ext>
                  </a:extLst>
                </p:cNvPr>
                <p:cNvSpPr/>
                <p:nvPr/>
              </p:nvSpPr>
              <p:spPr>
                <a:xfrm>
                  <a:off x="-2039909" y="2421809"/>
                  <a:ext cx="28575" cy="57150"/>
                </a:xfrm>
                <a:custGeom>
                  <a:avLst/>
                  <a:gdLst>
                    <a:gd name="connsiteX0" fmla="*/ 0 w 28575"/>
                    <a:gd name="connsiteY0" fmla="*/ 6302 h 57150"/>
                    <a:gd name="connsiteX1" fmla="*/ 19784 w 28575"/>
                    <a:gd name="connsiteY1" fmla="*/ 0 h 57150"/>
                    <a:gd name="connsiteX2" fmla="*/ 36436 w 28575"/>
                    <a:gd name="connsiteY2" fmla="*/ 52274 h 57150"/>
                    <a:gd name="connsiteX3" fmla="*/ 16651 w 28575"/>
                    <a:gd name="connsiteY3" fmla="*/ 58576 h 57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8575" h="57150">
                      <a:moveTo>
                        <a:pt x="0" y="6302"/>
                      </a:moveTo>
                      <a:lnTo>
                        <a:pt x="19784" y="0"/>
                      </a:lnTo>
                      <a:lnTo>
                        <a:pt x="36436" y="52274"/>
                      </a:lnTo>
                      <a:lnTo>
                        <a:pt x="16651" y="58576"/>
                      </a:lnTo>
                      <a:close/>
                    </a:path>
                  </a:pathLst>
                </a:custGeom>
                <a:solidFill>
                  <a:srgbClr val="3D416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63" name="Freeform: Shape 262">
                  <a:extLst>
                    <a:ext uri="{FF2B5EF4-FFF2-40B4-BE49-F238E27FC236}">
                      <a16:creationId xmlns:a16="http://schemas.microsoft.com/office/drawing/2014/main" id="{DEBFB44A-7487-4EEA-A6AD-2C0B6FFFBC75}"/>
                    </a:ext>
                  </a:extLst>
                </p:cNvPr>
                <p:cNvSpPr/>
                <p:nvPr/>
              </p:nvSpPr>
              <p:spPr>
                <a:xfrm>
                  <a:off x="-1994680" y="2407390"/>
                  <a:ext cx="28575" cy="57150"/>
                </a:xfrm>
                <a:custGeom>
                  <a:avLst/>
                  <a:gdLst>
                    <a:gd name="connsiteX0" fmla="*/ 0 w 28575"/>
                    <a:gd name="connsiteY0" fmla="*/ 6314 h 57150"/>
                    <a:gd name="connsiteX1" fmla="*/ 19780 w 28575"/>
                    <a:gd name="connsiteY1" fmla="*/ 0 h 57150"/>
                    <a:gd name="connsiteX2" fmla="*/ 36464 w 28575"/>
                    <a:gd name="connsiteY2" fmla="*/ 52263 h 57150"/>
                    <a:gd name="connsiteX3" fmla="*/ 16684 w 28575"/>
                    <a:gd name="connsiteY3" fmla="*/ 58578 h 57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8575" h="57150">
                      <a:moveTo>
                        <a:pt x="0" y="6314"/>
                      </a:moveTo>
                      <a:lnTo>
                        <a:pt x="19780" y="0"/>
                      </a:lnTo>
                      <a:lnTo>
                        <a:pt x="36464" y="52263"/>
                      </a:lnTo>
                      <a:lnTo>
                        <a:pt x="16684" y="58578"/>
                      </a:lnTo>
                      <a:close/>
                    </a:path>
                  </a:pathLst>
                </a:custGeom>
                <a:solidFill>
                  <a:srgbClr val="3D416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243" name="Graphic 2009">
                <a:extLst>
                  <a:ext uri="{FF2B5EF4-FFF2-40B4-BE49-F238E27FC236}">
                    <a16:creationId xmlns:a16="http://schemas.microsoft.com/office/drawing/2014/main" id="{3844EC7B-F317-42C7-BE4B-EDD32A288A7A}"/>
                  </a:ext>
                </a:extLst>
              </p:cNvPr>
              <p:cNvGrpSpPr/>
              <p:nvPr/>
            </p:nvGrpSpPr>
            <p:grpSpPr>
              <a:xfrm>
                <a:off x="-2181563" y="2508634"/>
                <a:ext cx="247650" cy="104775"/>
                <a:chOff x="-2181563" y="2508634"/>
                <a:chExt cx="247650" cy="104775"/>
              </a:xfrm>
              <a:solidFill>
                <a:srgbClr val="BFD4F8"/>
              </a:solidFill>
            </p:grpSpPr>
            <p:sp>
              <p:nvSpPr>
                <p:cNvPr id="254" name="Freeform: Shape 253">
                  <a:extLst>
                    <a:ext uri="{FF2B5EF4-FFF2-40B4-BE49-F238E27FC236}">
                      <a16:creationId xmlns:a16="http://schemas.microsoft.com/office/drawing/2014/main" id="{62EF111E-9CFE-4AA9-A31C-CAE4B698FCD3}"/>
                    </a:ext>
                  </a:extLst>
                </p:cNvPr>
                <p:cNvSpPr/>
                <p:nvPr/>
              </p:nvSpPr>
              <p:spPr>
                <a:xfrm>
                  <a:off x="-2181563" y="2571561"/>
                  <a:ext cx="47625" cy="38100"/>
                </a:xfrm>
                <a:custGeom>
                  <a:avLst/>
                  <a:gdLst>
                    <a:gd name="connsiteX0" fmla="*/ 0 w 47625"/>
                    <a:gd name="connsiteY0" fmla="*/ 13638 h 38100"/>
                    <a:gd name="connsiteX1" fmla="*/ 42741 w 47625"/>
                    <a:gd name="connsiteY1" fmla="*/ 0 h 38100"/>
                    <a:gd name="connsiteX2" fmla="*/ 53252 w 47625"/>
                    <a:gd name="connsiteY2" fmla="*/ 32940 h 38100"/>
                    <a:gd name="connsiteX3" fmla="*/ 10511 w 47625"/>
                    <a:gd name="connsiteY3" fmla="*/ 46579 h 38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7625" h="38100">
                      <a:moveTo>
                        <a:pt x="0" y="13638"/>
                      </a:moveTo>
                      <a:lnTo>
                        <a:pt x="42741" y="0"/>
                      </a:lnTo>
                      <a:lnTo>
                        <a:pt x="53252" y="32940"/>
                      </a:lnTo>
                      <a:lnTo>
                        <a:pt x="10511" y="46579"/>
                      </a:lnTo>
                      <a:close/>
                    </a:path>
                  </a:pathLst>
                </a:custGeom>
                <a:solidFill>
                  <a:srgbClr val="BFD4F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55" name="Freeform: Shape 254">
                  <a:extLst>
                    <a:ext uri="{FF2B5EF4-FFF2-40B4-BE49-F238E27FC236}">
                      <a16:creationId xmlns:a16="http://schemas.microsoft.com/office/drawing/2014/main" id="{8E76C114-54E5-49FE-8BD9-9E20E61B83AA}"/>
                    </a:ext>
                  </a:extLst>
                </p:cNvPr>
                <p:cNvSpPr/>
                <p:nvPr/>
              </p:nvSpPr>
              <p:spPr>
                <a:xfrm>
                  <a:off x="-2115849" y="2550509"/>
                  <a:ext cx="47625" cy="38100"/>
                </a:xfrm>
                <a:custGeom>
                  <a:avLst/>
                  <a:gdLst>
                    <a:gd name="connsiteX0" fmla="*/ 0 w 47625"/>
                    <a:gd name="connsiteY0" fmla="*/ 13643 h 38100"/>
                    <a:gd name="connsiteX1" fmla="*/ 42741 w 47625"/>
                    <a:gd name="connsiteY1" fmla="*/ 0 h 38100"/>
                    <a:gd name="connsiteX2" fmla="*/ 53255 w 47625"/>
                    <a:gd name="connsiteY2" fmla="*/ 32940 h 38100"/>
                    <a:gd name="connsiteX3" fmla="*/ 10514 w 47625"/>
                    <a:gd name="connsiteY3" fmla="*/ 46583 h 38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7625" h="38100">
                      <a:moveTo>
                        <a:pt x="0" y="13643"/>
                      </a:moveTo>
                      <a:lnTo>
                        <a:pt x="42741" y="0"/>
                      </a:lnTo>
                      <a:lnTo>
                        <a:pt x="53255" y="32940"/>
                      </a:lnTo>
                      <a:lnTo>
                        <a:pt x="10514" y="46583"/>
                      </a:lnTo>
                      <a:close/>
                    </a:path>
                  </a:pathLst>
                </a:custGeom>
                <a:solidFill>
                  <a:srgbClr val="BFD4F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56" name="Freeform: Shape 255">
                  <a:extLst>
                    <a:ext uri="{FF2B5EF4-FFF2-40B4-BE49-F238E27FC236}">
                      <a16:creationId xmlns:a16="http://schemas.microsoft.com/office/drawing/2014/main" id="{0B3306BB-A46B-4B9B-BE88-3F460E7402FB}"/>
                    </a:ext>
                  </a:extLst>
                </p:cNvPr>
                <p:cNvSpPr/>
                <p:nvPr/>
              </p:nvSpPr>
              <p:spPr>
                <a:xfrm>
                  <a:off x="-2050108" y="2529628"/>
                  <a:ext cx="47625" cy="38100"/>
                </a:xfrm>
                <a:custGeom>
                  <a:avLst/>
                  <a:gdLst>
                    <a:gd name="connsiteX0" fmla="*/ 0 w 47625"/>
                    <a:gd name="connsiteY0" fmla="*/ 13654 h 38100"/>
                    <a:gd name="connsiteX1" fmla="*/ 42836 w 47625"/>
                    <a:gd name="connsiteY1" fmla="*/ 0 h 38100"/>
                    <a:gd name="connsiteX2" fmla="*/ 53337 w 47625"/>
                    <a:gd name="connsiteY2" fmla="*/ 32944 h 38100"/>
                    <a:gd name="connsiteX3" fmla="*/ 10501 w 47625"/>
                    <a:gd name="connsiteY3" fmla="*/ 46598 h 38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7625" h="38100">
                      <a:moveTo>
                        <a:pt x="0" y="13654"/>
                      </a:moveTo>
                      <a:lnTo>
                        <a:pt x="42836" y="0"/>
                      </a:lnTo>
                      <a:lnTo>
                        <a:pt x="53337" y="32944"/>
                      </a:lnTo>
                      <a:lnTo>
                        <a:pt x="10501" y="46598"/>
                      </a:lnTo>
                      <a:close/>
                    </a:path>
                  </a:pathLst>
                </a:custGeom>
                <a:solidFill>
                  <a:srgbClr val="BFD4F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57" name="Freeform: Shape 256">
                  <a:extLst>
                    <a:ext uri="{FF2B5EF4-FFF2-40B4-BE49-F238E27FC236}">
                      <a16:creationId xmlns:a16="http://schemas.microsoft.com/office/drawing/2014/main" id="{03F60CD9-4539-4D3D-B6D0-28BDC251BA1F}"/>
                    </a:ext>
                  </a:extLst>
                </p:cNvPr>
                <p:cNvSpPr/>
                <p:nvPr/>
              </p:nvSpPr>
              <p:spPr>
                <a:xfrm>
                  <a:off x="-1984422" y="2508634"/>
                  <a:ext cx="47625" cy="38100"/>
                </a:xfrm>
                <a:custGeom>
                  <a:avLst/>
                  <a:gdLst>
                    <a:gd name="connsiteX0" fmla="*/ 0 w 47625"/>
                    <a:gd name="connsiteY0" fmla="*/ 13638 h 38100"/>
                    <a:gd name="connsiteX1" fmla="*/ 42741 w 47625"/>
                    <a:gd name="connsiteY1" fmla="*/ 0 h 38100"/>
                    <a:gd name="connsiteX2" fmla="*/ 53252 w 47625"/>
                    <a:gd name="connsiteY2" fmla="*/ 32940 h 38100"/>
                    <a:gd name="connsiteX3" fmla="*/ 10511 w 47625"/>
                    <a:gd name="connsiteY3" fmla="*/ 46579 h 38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7625" h="38100">
                      <a:moveTo>
                        <a:pt x="0" y="13638"/>
                      </a:moveTo>
                      <a:lnTo>
                        <a:pt x="42741" y="0"/>
                      </a:lnTo>
                      <a:lnTo>
                        <a:pt x="53252" y="32940"/>
                      </a:lnTo>
                      <a:lnTo>
                        <a:pt x="10511" y="46579"/>
                      </a:lnTo>
                      <a:close/>
                    </a:path>
                  </a:pathLst>
                </a:custGeom>
                <a:solidFill>
                  <a:srgbClr val="BFD4F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244" name="Graphic 2009">
                <a:extLst>
                  <a:ext uri="{FF2B5EF4-FFF2-40B4-BE49-F238E27FC236}">
                    <a16:creationId xmlns:a16="http://schemas.microsoft.com/office/drawing/2014/main" id="{84B76AED-6EFB-4023-B7D8-E4AFA4A1D367}"/>
                  </a:ext>
                </a:extLst>
              </p:cNvPr>
              <p:cNvGrpSpPr/>
              <p:nvPr/>
            </p:nvGrpSpPr>
            <p:grpSpPr>
              <a:xfrm>
                <a:off x="-2164076" y="2563541"/>
                <a:ext cx="247650" cy="104775"/>
                <a:chOff x="-2164076" y="2563541"/>
                <a:chExt cx="247650" cy="104775"/>
              </a:xfrm>
              <a:solidFill>
                <a:schemeClr val="accent1"/>
              </a:solidFill>
            </p:grpSpPr>
            <p:sp>
              <p:nvSpPr>
                <p:cNvPr id="250" name="Freeform: Shape 249">
                  <a:extLst>
                    <a:ext uri="{FF2B5EF4-FFF2-40B4-BE49-F238E27FC236}">
                      <a16:creationId xmlns:a16="http://schemas.microsoft.com/office/drawing/2014/main" id="{6EDCC377-CC04-454E-A9CF-2D3D25DF9C19}"/>
                    </a:ext>
                  </a:extLst>
                </p:cNvPr>
                <p:cNvSpPr/>
                <p:nvPr/>
              </p:nvSpPr>
              <p:spPr>
                <a:xfrm>
                  <a:off x="-2164076" y="2626415"/>
                  <a:ext cx="47625" cy="38100"/>
                </a:xfrm>
                <a:custGeom>
                  <a:avLst/>
                  <a:gdLst>
                    <a:gd name="connsiteX0" fmla="*/ 0 w 47625"/>
                    <a:gd name="connsiteY0" fmla="*/ 13616 h 38100"/>
                    <a:gd name="connsiteX1" fmla="*/ 42745 w 47625"/>
                    <a:gd name="connsiteY1" fmla="*/ 0 h 38100"/>
                    <a:gd name="connsiteX2" fmla="*/ 53239 w 47625"/>
                    <a:gd name="connsiteY2" fmla="*/ 32944 h 38100"/>
                    <a:gd name="connsiteX3" fmla="*/ 10494 w 47625"/>
                    <a:gd name="connsiteY3" fmla="*/ 46560 h 38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7625" h="38100">
                      <a:moveTo>
                        <a:pt x="0" y="13616"/>
                      </a:moveTo>
                      <a:lnTo>
                        <a:pt x="42745" y="0"/>
                      </a:lnTo>
                      <a:lnTo>
                        <a:pt x="53239" y="32944"/>
                      </a:lnTo>
                      <a:lnTo>
                        <a:pt x="10494" y="46560"/>
                      </a:lnTo>
                      <a:close/>
                    </a:path>
                  </a:pathLst>
                </a:custGeom>
                <a:solidFill>
                  <a:srgbClr val="BFD4F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51" name="Freeform: Shape 250">
                  <a:extLst>
                    <a:ext uri="{FF2B5EF4-FFF2-40B4-BE49-F238E27FC236}">
                      <a16:creationId xmlns:a16="http://schemas.microsoft.com/office/drawing/2014/main" id="{12F5C559-565A-43D7-9CEA-AF70C2AB7620}"/>
                    </a:ext>
                  </a:extLst>
                </p:cNvPr>
                <p:cNvSpPr/>
                <p:nvPr/>
              </p:nvSpPr>
              <p:spPr>
                <a:xfrm>
                  <a:off x="-2098331" y="2605426"/>
                  <a:ext cx="47625" cy="38100"/>
                </a:xfrm>
                <a:custGeom>
                  <a:avLst/>
                  <a:gdLst>
                    <a:gd name="connsiteX0" fmla="*/ 0 w 47625"/>
                    <a:gd name="connsiteY0" fmla="*/ 13649 h 38100"/>
                    <a:gd name="connsiteX1" fmla="*/ 42836 w 47625"/>
                    <a:gd name="connsiteY1" fmla="*/ 0 h 38100"/>
                    <a:gd name="connsiteX2" fmla="*/ 53333 w 47625"/>
                    <a:gd name="connsiteY2" fmla="*/ 32944 h 38100"/>
                    <a:gd name="connsiteX3" fmla="*/ 10497 w 47625"/>
                    <a:gd name="connsiteY3" fmla="*/ 46593 h 38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7625" h="38100">
                      <a:moveTo>
                        <a:pt x="0" y="13649"/>
                      </a:moveTo>
                      <a:lnTo>
                        <a:pt x="42836" y="0"/>
                      </a:lnTo>
                      <a:lnTo>
                        <a:pt x="53333" y="32944"/>
                      </a:lnTo>
                      <a:lnTo>
                        <a:pt x="10497" y="46593"/>
                      </a:lnTo>
                      <a:close/>
                    </a:path>
                  </a:pathLst>
                </a:custGeom>
                <a:solidFill>
                  <a:srgbClr val="FA7071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52" name="Freeform: Shape 251">
                  <a:extLst>
                    <a:ext uri="{FF2B5EF4-FFF2-40B4-BE49-F238E27FC236}">
                      <a16:creationId xmlns:a16="http://schemas.microsoft.com/office/drawing/2014/main" id="{D0333357-BDF0-44E0-89BF-8F4A90A93189}"/>
                    </a:ext>
                  </a:extLst>
                </p:cNvPr>
                <p:cNvSpPr/>
                <p:nvPr/>
              </p:nvSpPr>
              <p:spPr>
                <a:xfrm>
                  <a:off x="-2032638" y="2584488"/>
                  <a:ext cx="47625" cy="38100"/>
                </a:xfrm>
                <a:custGeom>
                  <a:avLst/>
                  <a:gdLst>
                    <a:gd name="connsiteX0" fmla="*/ 0 w 47625"/>
                    <a:gd name="connsiteY0" fmla="*/ 13629 h 38100"/>
                    <a:gd name="connsiteX1" fmla="*/ 42741 w 47625"/>
                    <a:gd name="connsiteY1" fmla="*/ 0 h 38100"/>
                    <a:gd name="connsiteX2" fmla="*/ 53245 w 47625"/>
                    <a:gd name="connsiteY2" fmla="*/ 32940 h 38100"/>
                    <a:gd name="connsiteX3" fmla="*/ 10504 w 47625"/>
                    <a:gd name="connsiteY3" fmla="*/ 46570 h 38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7625" h="38100">
                      <a:moveTo>
                        <a:pt x="0" y="13629"/>
                      </a:moveTo>
                      <a:lnTo>
                        <a:pt x="42741" y="0"/>
                      </a:lnTo>
                      <a:lnTo>
                        <a:pt x="53245" y="32940"/>
                      </a:lnTo>
                      <a:lnTo>
                        <a:pt x="10504" y="46570"/>
                      </a:lnTo>
                      <a:close/>
                    </a:path>
                  </a:pathLst>
                </a:custGeom>
                <a:solidFill>
                  <a:srgbClr val="FA7071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53" name="Freeform: Shape 252">
                  <a:extLst>
                    <a:ext uri="{FF2B5EF4-FFF2-40B4-BE49-F238E27FC236}">
                      <a16:creationId xmlns:a16="http://schemas.microsoft.com/office/drawing/2014/main" id="{6D4DA1B1-FE36-41A1-A7D3-508201A9E6E0}"/>
                    </a:ext>
                  </a:extLst>
                </p:cNvPr>
                <p:cNvSpPr/>
                <p:nvPr/>
              </p:nvSpPr>
              <p:spPr>
                <a:xfrm>
                  <a:off x="-1966907" y="2563541"/>
                  <a:ext cx="47625" cy="38100"/>
                </a:xfrm>
                <a:custGeom>
                  <a:avLst/>
                  <a:gdLst>
                    <a:gd name="connsiteX0" fmla="*/ 0 w 47625"/>
                    <a:gd name="connsiteY0" fmla="*/ 13647 h 38100"/>
                    <a:gd name="connsiteX1" fmla="*/ 42736 w 47625"/>
                    <a:gd name="connsiteY1" fmla="*/ 0 h 38100"/>
                    <a:gd name="connsiteX2" fmla="*/ 53254 w 47625"/>
                    <a:gd name="connsiteY2" fmla="*/ 32937 h 38100"/>
                    <a:gd name="connsiteX3" fmla="*/ 10518 w 47625"/>
                    <a:gd name="connsiteY3" fmla="*/ 46584 h 38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7625" h="38100">
                      <a:moveTo>
                        <a:pt x="0" y="13647"/>
                      </a:moveTo>
                      <a:lnTo>
                        <a:pt x="42736" y="0"/>
                      </a:lnTo>
                      <a:lnTo>
                        <a:pt x="53254" y="32937"/>
                      </a:lnTo>
                      <a:lnTo>
                        <a:pt x="10518" y="46584"/>
                      </a:lnTo>
                      <a:close/>
                    </a:path>
                  </a:pathLst>
                </a:custGeom>
                <a:solidFill>
                  <a:srgbClr val="BFD4F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245" name="Graphic 2009">
                <a:extLst>
                  <a:ext uri="{FF2B5EF4-FFF2-40B4-BE49-F238E27FC236}">
                    <a16:creationId xmlns:a16="http://schemas.microsoft.com/office/drawing/2014/main" id="{8AA266E0-F20F-4EE7-8945-2F46A3E218FA}"/>
                  </a:ext>
                </a:extLst>
              </p:cNvPr>
              <p:cNvGrpSpPr/>
              <p:nvPr/>
            </p:nvGrpSpPr>
            <p:grpSpPr>
              <a:xfrm>
                <a:off x="-2146609" y="2618532"/>
                <a:ext cx="247650" cy="104775"/>
                <a:chOff x="-2146609" y="2618532"/>
                <a:chExt cx="247650" cy="104775"/>
              </a:xfrm>
              <a:solidFill>
                <a:srgbClr val="BFD4F8"/>
              </a:solidFill>
            </p:grpSpPr>
            <p:sp>
              <p:nvSpPr>
                <p:cNvPr id="246" name="Freeform: Shape 245">
                  <a:extLst>
                    <a:ext uri="{FF2B5EF4-FFF2-40B4-BE49-F238E27FC236}">
                      <a16:creationId xmlns:a16="http://schemas.microsoft.com/office/drawing/2014/main" id="{B61D2672-5041-4AD7-817C-A9648BD001D3}"/>
                    </a:ext>
                  </a:extLst>
                </p:cNvPr>
                <p:cNvSpPr/>
                <p:nvPr/>
              </p:nvSpPr>
              <p:spPr>
                <a:xfrm>
                  <a:off x="-2146609" y="2681359"/>
                  <a:ext cx="47625" cy="38100"/>
                </a:xfrm>
                <a:custGeom>
                  <a:avLst/>
                  <a:gdLst>
                    <a:gd name="connsiteX0" fmla="*/ 0 w 47625"/>
                    <a:gd name="connsiteY0" fmla="*/ 13649 h 38100"/>
                    <a:gd name="connsiteX1" fmla="*/ 42836 w 47625"/>
                    <a:gd name="connsiteY1" fmla="*/ 0 h 38100"/>
                    <a:gd name="connsiteX2" fmla="*/ 53333 w 47625"/>
                    <a:gd name="connsiteY2" fmla="*/ 32944 h 38100"/>
                    <a:gd name="connsiteX3" fmla="*/ 10497 w 47625"/>
                    <a:gd name="connsiteY3" fmla="*/ 46593 h 38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7625" h="38100">
                      <a:moveTo>
                        <a:pt x="0" y="13649"/>
                      </a:moveTo>
                      <a:lnTo>
                        <a:pt x="42836" y="0"/>
                      </a:lnTo>
                      <a:lnTo>
                        <a:pt x="53333" y="32944"/>
                      </a:lnTo>
                      <a:lnTo>
                        <a:pt x="10497" y="46593"/>
                      </a:lnTo>
                      <a:close/>
                    </a:path>
                  </a:pathLst>
                </a:custGeom>
                <a:solidFill>
                  <a:srgbClr val="BFD4F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47" name="Freeform: Shape 246">
                  <a:extLst>
                    <a:ext uri="{FF2B5EF4-FFF2-40B4-BE49-F238E27FC236}">
                      <a16:creationId xmlns:a16="http://schemas.microsoft.com/office/drawing/2014/main" id="{8212395C-7D2F-454B-828D-34DE5C1226A5}"/>
                    </a:ext>
                  </a:extLst>
                </p:cNvPr>
                <p:cNvSpPr/>
                <p:nvPr/>
              </p:nvSpPr>
              <p:spPr>
                <a:xfrm>
                  <a:off x="-2080806" y="2660428"/>
                  <a:ext cx="47625" cy="38100"/>
                </a:xfrm>
                <a:custGeom>
                  <a:avLst/>
                  <a:gdLst>
                    <a:gd name="connsiteX0" fmla="*/ 0 w 47625"/>
                    <a:gd name="connsiteY0" fmla="*/ 13620 h 38100"/>
                    <a:gd name="connsiteX1" fmla="*/ 42745 w 47625"/>
                    <a:gd name="connsiteY1" fmla="*/ 0 h 38100"/>
                    <a:gd name="connsiteX2" fmla="*/ 53242 w 47625"/>
                    <a:gd name="connsiteY2" fmla="*/ 32944 h 38100"/>
                    <a:gd name="connsiteX3" fmla="*/ 10497 w 47625"/>
                    <a:gd name="connsiteY3" fmla="*/ 46564 h 38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7625" h="38100">
                      <a:moveTo>
                        <a:pt x="0" y="13620"/>
                      </a:moveTo>
                      <a:lnTo>
                        <a:pt x="42745" y="0"/>
                      </a:lnTo>
                      <a:lnTo>
                        <a:pt x="53242" y="32944"/>
                      </a:lnTo>
                      <a:lnTo>
                        <a:pt x="10497" y="46564"/>
                      </a:lnTo>
                      <a:close/>
                    </a:path>
                  </a:pathLst>
                </a:custGeom>
                <a:solidFill>
                  <a:srgbClr val="BFD4F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48" name="Freeform: Shape 247">
                  <a:extLst>
                    <a:ext uri="{FF2B5EF4-FFF2-40B4-BE49-F238E27FC236}">
                      <a16:creationId xmlns:a16="http://schemas.microsoft.com/office/drawing/2014/main" id="{CFD180AF-5525-47BD-96DE-FA03CB5FCBB9}"/>
                    </a:ext>
                  </a:extLst>
                </p:cNvPr>
                <p:cNvSpPr/>
                <p:nvPr/>
              </p:nvSpPr>
              <p:spPr>
                <a:xfrm>
                  <a:off x="-2015081" y="2639441"/>
                  <a:ext cx="47625" cy="38100"/>
                </a:xfrm>
                <a:custGeom>
                  <a:avLst/>
                  <a:gdLst>
                    <a:gd name="connsiteX0" fmla="*/ 0 w 47625"/>
                    <a:gd name="connsiteY0" fmla="*/ 13634 h 38100"/>
                    <a:gd name="connsiteX1" fmla="*/ 42741 w 47625"/>
                    <a:gd name="connsiteY1" fmla="*/ 0 h 38100"/>
                    <a:gd name="connsiteX2" fmla="*/ 53248 w 47625"/>
                    <a:gd name="connsiteY2" fmla="*/ 32940 h 38100"/>
                    <a:gd name="connsiteX3" fmla="*/ 10508 w 47625"/>
                    <a:gd name="connsiteY3" fmla="*/ 46574 h 38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7625" h="38100">
                      <a:moveTo>
                        <a:pt x="0" y="13634"/>
                      </a:moveTo>
                      <a:lnTo>
                        <a:pt x="42741" y="0"/>
                      </a:lnTo>
                      <a:lnTo>
                        <a:pt x="53248" y="32940"/>
                      </a:lnTo>
                      <a:lnTo>
                        <a:pt x="10508" y="46574"/>
                      </a:lnTo>
                      <a:close/>
                    </a:path>
                  </a:pathLst>
                </a:custGeom>
                <a:solidFill>
                  <a:srgbClr val="BFD4F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49" name="Freeform: Shape 248">
                  <a:extLst>
                    <a:ext uri="{FF2B5EF4-FFF2-40B4-BE49-F238E27FC236}">
                      <a16:creationId xmlns:a16="http://schemas.microsoft.com/office/drawing/2014/main" id="{ECBA2467-864F-417B-8723-5F0D93363280}"/>
                    </a:ext>
                  </a:extLst>
                </p:cNvPr>
                <p:cNvSpPr/>
                <p:nvPr/>
              </p:nvSpPr>
              <p:spPr>
                <a:xfrm>
                  <a:off x="-1949362" y="2618532"/>
                  <a:ext cx="47625" cy="38100"/>
                </a:xfrm>
                <a:custGeom>
                  <a:avLst/>
                  <a:gdLst>
                    <a:gd name="connsiteX0" fmla="*/ 0 w 47625"/>
                    <a:gd name="connsiteY0" fmla="*/ 13620 h 38100"/>
                    <a:gd name="connsiteX1" fmla="*/ 42745 w 47625"/>
                    <a:gd name="connsiteY1" fmla="*/ 0 h 38100"/>
                    <a:gd name="connsiteX2" fmla="*/ 53242 w 47625"/>
                    <a:gd name="connsiteY2" fmla="*/ 32944 h 38100"/>
                    <a:gd name="connsiteX3" fmla="*/ 10497 w 47625"/>
                    <a:gd name="connsiteY3" fmla="*/ 46564 h 38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7625" h="38100">
                      <a:moveTo>
                        <a:pt x="0" y="13620"/>
                      </a:moveTo>
                      <a:lnTo>
                        <a:pt x="42745" y="0"/>
                      </a:lnTo>
                      <a:lnTo>
                        <a:pt x="53242" y="32944"/>
                      </a:lnTo>
                      <a:lnTo>
                        <a:pt x="10497" y="46564"/>
                      </a:lnTo>
                      <a:close/>
                    </a:path>
                  </a:pathLst>
                </a:custGeom>
                <a:solidFill>
                  <a:srgbClr val="BFD4F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  <p:grpSp>
          <p:nvGrpSpPr>
            <p:cNvPr id="209" name="Graphic 2009">
              <a:extLst>
                <a:ext uri="{FF2B5EF4-FFF2-40B4-BE49-F238E27FC236}">
                  <a16:creationId xmlns:a16="http://schemas.microsoft.com/office/drawing/2014/main" id="{04235A3E-9638-4C89-BE2B-31D688F999FE}"/>
                </a:ext>
              </a:extLst>
            </p:cNvPr>
            <p:cNvGrpSpPr/>
            <p:nvPr/>
          </p:nvGrpSpPr>
          <p:grpSpPr>
            <a:xfrm>
              <a:off x="11589211" y="3370845"/>
              <a:ext cx="137125" cy="193222"/>
              <a:chOff x="-534281" y="3009309"/>
              <a:chExt cx="209550" cy="295275"/>
            </a:xfrm>
            <a:solidFill>
              <a:schemeClr val="accent1"/>
            </a:solidFill>
          </p:grpSpPr>
          <p:sp>
            <p:nvSpPr>
              <p:cNvPr id="234" name="Freeform: Shape 233">
                <a:extLst>
                  <a:ext uri="{FF2B5EF4-FFF2-40B4-BE49-F238E27FC236}">
                    <a16:creationId xmlns:a16="http://schemas.microsoft.com/office/drawing/2014/main" id="{086F8ED9-74D2-4976-8BAF-F8198B81F2D0}"/>
                  </a:ext>
                </a:extLst>
              </p:cNvPr>
              <p:cNvSpPr/>
              <p:nvPr/>
            </p:nvSpPr>
            <p:spPr>
              <a:xfrm>
                <a:off x="-518909" y="3027330"/>
                <a:ext cx="180975" cy="257175"/>
              </a:xfrm>
              <a:custGeom>
                <a:avLst/>
                <a:gdLst>
                  <a:gd name="connsiteX0" fmla="*/ 124113 w 180975"/>
                  <a:gd name="connsiteY0" fmla="*/ 0 h 257175"/>
                  <a:gd name="connsiteX1" fmla="*/ 126113 w 180975"/>
                  <a:gd name="connsiteY1" fmla="*/ 62103 h 257175"/>
                  <a:gd name="connsiteX2" fmla="*/ 92394 w 180975"/>
                  <a:gd name="connsiteY2" fmla="*/ 133159 h 257175"/>
                  <a:gd name="connsiteX3" fmla="*/ 90490 w 180975"/>
                  <a:gd name="connsiteY3" fmla="*/ 125444 h 257175"/>
                  <a:gd name="connsiteX4" fmla="*/ 153640 w 180975"/>
                  <a:gd name="connsiteY4" fmla="*/ 172307 h 257175"/>
                  <a:gd name="connsiteX5" fmla="*/ 180977 w 180975"/>
                  <a:gd name="connsiteY5" fmla="*/ 228124 h 257175"/>
                  <a:gd name="connsiteX6" fmla="*/ 56866 w 180975"/>
                  <a:gd name="connsiteY6" fmla="*/ 261747 h 257175"/>
                  <a:gd name="connsiteX7" fmla="*/ 54771 w 180975"/>
                  <a:gd name="connsiteY7" fmla="*/ 199644 h 257175"/>
                  <a:gd name="connsiteX8" fmla="*/ 88585 w 180975"/>
                  <a:gd name="connsiteY8" fmla="*/ 128588 h 257175"/>
                  <a:gd name="connsiteX9" fmla="*/ 90490 w 180975"/>
                  <a:gd name="connsiteY9" fmla="*/ 136303 h 257175"/>
                  <a:gd name="connsiteX10" fmla="*/ 27339 w 180975"/>
                  <a:gd name="connsiteY10" fmla="*/ 89440 h 257175"/>
                  <a:gd name="connsiteX11" fmla="*/ 2 w 180975"/>
                  <a:gd name="connsiteY11" fmla="*/ 33623 h 257175"/>
                  <a:gd name="connsiteX12" fmla="*/ 124113 w 180975"/>
                  <a:gd name="connsiteY12" fmla="*/ 0 h 257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0975" h="257175">
                    <a:moveTo>
                      <a:pt x="124113" y="0"/>
                    </a:moveTo>
                    <a:cubicBezTo>
                      <a:pt x="124113" y="0"/>
                      <a:pt x="140210" y="28670"/>
                      <a:pt x="126113" y="62103"/>
                    </a:cubicBezTo>
                    <a:cubicBezTo>
                      <a:pt x="112111" y="95536"/>
                      <a:pt x="88585" y="117729"/>
                      <a:pt x="92394" y="133159"/>
                    </a:cubicBezTo>
                    <a:lnTo>
                      <a:pt x="90490" y="125444"/>
                    </a:lnTo>
                    <a:cubicBezTo>
                      <a:pt x="94299" y="140875"/>
                      <a:pt x="125541" y="149352"/>
                      <a:pt x="153640" y="172307"/>
                    </a:cubicBezTo>
                    <a:cubicBezTo>
                      <a:pt x="181739" y="195263"/>
                      <a:pt x="180977" y="228124"/>
                      <a:pt x="180977" y="228124"/>
                    </a:cubicBezTo>
                    <a:lnTo>
                      <a:pt x="56866" y="261747"/>
                    </a:lnTo>
                    <a:cubicBezTo>
                      <a:pt x="56866" y="261747"/>
                      <a:pt x="40769" y="233077"/>
                      <a:pt x="54771" y="199644"/>
                    </a:cubicBezTo>
                    <a:cubicBezTo>
                      <a:pt x="68868" y="166211"/>
                      <a:pt x="92394" y="144018"/>
                      <a:pt x="88585" y="128588"/>
                    </a:cubicBezTo>
                    <a:lnTo>
                      <a:pt x="90490" y="136303"/>
                    </a:lnTo>
                    <a:cubicBezTo>
                      <a:pt x="86680" y="120872"/>
                      <a:pt x="55437" y="112395"/>
                      <a:pt x="27339" y="89440"/>
                    </a:cubicBezTo>
                    <a:cubicBezTo>
                      <a:pt x="-760" y="66484"/>
                      <a:pt x="2" y="33623"/>
                      <a:pt x="2" y="33623"/>
                    </a:cubicBezTo>
                    <a:lnTo>
                      <a:pt x="124113" y="0"/>
                    </a:lnTo>
                    <a:close/>
                  </a:path>
                </a:pathLst>
              </a:custGeom>
              <a:solidFill>
                <a:srgbClr val="7AB6F6">
                  <a:alpha val="60000"/>
                </a:srgb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grpSp>
            <p:nvGrpSpPr>
              <p:cNvPr id="235" name="Graphic 2009">
                <a:extLst>
                  <a:ext uri="{FF2B5EF4-FFF2-40B4-BE49-F238E27FC236}">
                    <a16:creationId xmlns:a16="http://schemas.microsoft.com/office/drawing/2014/main" id="{AB6B2149-330F-47DE-BA53-B64B0F7C4617}"/>
                  </a:ext>
                </a:extLst>
              </p:cNvPr>
              <p:cNvGrpSpPr/>
              <p:nvPr/>
            </p:nvGrpSpPr>
            <p:grpSpPr>
              <a:xfrm>
                <a:off x="-534281" y="3009309"/>
                <a:ext cx="209550" cy="295275"/>
                <a:chOff x="-534281" y="3009309"/>
                <a:chExt cx="209550" cy="295275"/>
              </a:xfrm>
              <a:solidFill>
                <a:srgbClr val="2A2B7C"/>
              </a:solidFill>
            </p:grpSpPr>
            <p:sp>
              <p:nvSpPr>
                <p:cNvPr id="236" name="Freeform: Shape 235">
                  <a:extLst>
                    <a:ext uri="{FF2B5EF4-FFF2-40B4-BE49-F238E27FC236}">
                      <a16:creationId xmlns:a16="http://schemas.microsoft.com/office/drawing/2014/main" id="{C8B3299C-96A8-4CB4-ABB7-0ECAE754BFA3}"/>
                    </a:ext>
                  </a:extLst>
                </p:cNvPr>
                <p:cNvSpPr/>
                <p:nvPr/>
              </p:nvSpPr>
              <p:spPr>
                <a:xfrm>
                  <a:off x="-534281" y="3009309"/>
                  <a:ext cx="142875" cy="57150"/>
                </a:xfrm>
                <a:custGeom>
                  <a:avLst/>
                  <a:gdLst>
                    <a:gd name="connsiteX0" fmla="*/ 0 w 142875"/>
                    <a:gd name="connsiteY0" fmla="*/ 35914 h 57150"/>
                    <a:gd name="connsiteX1" fmla="*/ 144192 w 142875"/>
                    <a:gd name="connsiteY1" fmla="*/ 0 h 57150"/>
                    <a:gd name="connsiteX2" fmla="*/ 151375 w 142875"/>
                    <a:gd name="connsiteY2" fmla="*/ 28838 h 57150"/>
                    <a:gd name="connsiteX3" fmla="*/ 7183 w 142875"/>
                    <a:gd name="connsiteY3" fmla="*/ 64753 h 57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42875" h="57150">
                      <a:moveTo>
                        <a:pt x="0" y="35914"/>
                      </a:moveTo>
                      <a:lnTo>
                        <a:pt x="144192" y="0"/>
                      </a:lnTo>
                      <a:lnTo>
                        <a:pt x="151375" y="28838"/>
                      </a:lnTo>
                      <a:lnTo>
                        <a:pt x="7183" y="64753"/>
                      </a:lnTo>
                      <a:close/>
                    </a:path>
                  </a:pathLst>
                </a:custGeom>
                <a:solidFill>
                  <a:srgbClr val="2A2B7C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37" name="Freeform: Shape 236">
                  <a:extLst>
                    <a:ext uri="{FF2B5EF4-FFF2-40B4-BE49-F238E27FC236}">
                      <a16:creationId xmlns:a16="http://schemas.microsoft.com/office/drawing/2014/main" id="{8F8C5F21-FA0D-4FF5-BBEB-4E01D62D1A1E}"/>
                    </a:ext>
                  </a:extLst>
                </p:cNvPr>
                <p:cNvSpPr/>
                <p:nvPr/>
              </p:nvSpPr>
              <p:spPr>
                <a:xfrm>
                  <a:off x="-476084" y="3242993"/>
                  <a:ext cx="142875" cy="57150"/>
                </a:xfrm>
                <a:custGeom>
                  <a:avLst/>
                  <a:gdLst>
                    <a:gd name="connsiteX0" fmla="*/ 0 w 142875"/>
                    <a:gd name="connsiteY0" fmla="*/ 35914 h 57150"/>
                    <a:gd name="connsiteX1" fmla="*/ 144192 w 142875"/>
                    <a:gd name="connsiteY1" fmla="*/ 0 h 57150"/>
                    <a:gd name="connsiteX2" fmla="*/ 151375 w 142875"/>
                    <a:gd name="connsiteY2" fmla="*/ 28838 h 57150"/>
                    <a:gd name="connsiteX3" fmla="*/ 7183 w 142875"/>
                    <a:gd name="connsiteY3" fmla="*/ 64753 h 57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42875" h="57150">
                      <a:moveTo>
                        <a:pt x="0" y="35914"/>
                      </a:moveTo>
                      <a:lnTo>
                        <a:pt x="144192" y="0"/>
                      </a:lnTo>
                      <a:lnTo>
                        <a:pt x="151375" y="28838"/>
                      </a:lnTo>
                      <a:lnTo>
                        <a:pt x="7183" y="64753"/>
                      </a:lnTo>
                      <a:close/>
                    </a:path>
                  </a:pathLst>
                </a:custGeom>
                <a:solidFill>
                  <a:srgbClr val="2A2B7C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  <p:grpSp>
          <p:nvGrpSpPr>
            <p:cNvPr id="210" name="Graphic 2009">
              <a:extLst>
                <a:ext uri="{FF2B5EF4-FFF2-40B4-BE49-F238E27FC236}">
                  <a16:creationId xmlns:a16="http://schemas.microsoft.com/office/drawing/2014/main" id="{6BDF42D6-B746-4EC0-A91C-99FBD31C4E1E}"/>
                </a:ext>
              </a:extLst>
            </p:cNvPr>
            <p:cNvGrpSpPr/>
            <p:nvPr/>
          </p:nvGrpSpPr>
          <p:grpSpPr>
            <a:xfrm>
              <a:off x="11641250" y="3244674"/>
              <a:ext cx="68563" cy="68563"/>
              <a:chOff x="-454756" y="2816499"/>
              <a:chExt cx="104775" cy="104775"/>
            </a:xfrm>
            <a:solidFill>
              <a:srgbClr val="C00000"/>
            </a:solidFill>
          </p:grpSpPr>
          <p:sp>
            <p:nvSpPr>
              <p:cNvPr id="232" name="Freeform: Shape 231">
                <a:extLst>
                  <a:ext uri="{FF2B5EF4-FFF2-40B4-BE49-F238E27FC236}">
                    <a16:creationId xmlns:a16="http://schemas.microsoft.com/office/drawing/2014/main" id="{0FD071A5-F34A-4BDD-8FF4-E1C92AD27C4C}"/>
                  </a:ext>
                </a:extLst>
              </p:cNvPr>
              <p:cNvSpPr/>
              <p:nvPr/>
            </p:nvSpPr>
            <p:spPr>
              <a:xfrm>
                <a:off x="-454756" y="2834215"/>
                <a:ext cx="85725" cy="85725"/>
              </a:xfrm>
              <a:custGeom>
                <a:avLst/>
                <a:gdLst>
                  <a:gd name="connsiteX0" fmla="*/ 47578 w 85725"/>
                  <a:gd name="connsiteY0" fmla="*/ 95198 h 85725"/>
                  <a:gd name="connsiteX1" fmla="*/ 37005 w 85725"/>
                  <a:gd name="connsiteY1" fmla="*/ 93960 h 85725"/>
                  <a:gd name="connsiteX2" fmla="*/ 1191 w 85725"/>
                  <a:gd name="connsiteY2" fmla="*/ 37001 h 85725"/>
                  <a:gd name="connsiteX3" fmla="*/ 58151 w 85725"/>
                  <a:gd name="connsiteY3" fmla="*/ 1187 h 85725"/>
                  <a:gd name="connsiteX4" fmla="*/ 60818 w 85725"/>
                  <a:gd name="connsiteY4" fmla="*/ 5473 h 85725"/>
                  <a:gd name="connsiteX5" fmla="*/ 56532 w 85725"/>
                  <a:gd name="connsiteY5" fmla="*/ 8140 h 85725"/>
                  <a:gd name="connsiteX6" fmla="*/ 8145 w 85725"/>
                  <a:gd name="connsiteY6" fmla="*/ 38525 h 85725"/>
                  <a:gd name="connsiteX7" fmla="*/ 38625 w 85725"/>
                  <a:gd name="connsiteY7" fmla="*/ 86912 h 85725"/>
                  <a:gd name="connsiteX8" fmla="*/ 87012 w 85725"/>
                  <a:gd name="connsiteY8" fmla="*/ 56432 h 85725"/>
                  <a:gd name="connsiteX9" fmla="*/ 86631 w 85725"/>
                  <a:gd name="connsiteY9" fmla="*/ 36905 h 85725"/>
                  <a:gd name="connsiteX10" fmla="*/ 89107 w 85725"/>
                  <a:gd name="connsiteY10" fmla="*/ 32524 h 85725"/>
                  <a:gd name="connsiteX11" fmla="*/ 93489 w 85725"/>
                  <a:gd name="connsiteY11" fmla="*/ 35096 h 85725"/>
                  <a:gd name="connsiteX12" fmla="*/ 93870 w 85725"/>
                  <a:gd name="connsiteY12" fmla="*/ 58051 h 85725"/>
                  <a:gd name="connsiteX13" fmla="*/ 47578 w 85725"/>
                  <a:gd name="connsiteY13" fmla="*/ 95198 h 85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85725" h="85725">
                    <a:moveTo>
                      <a:pt x="47578" y="95198"/>
                    </a:moveTo>
                    <a:cubicBezTo>
                      <a:pt x="44054" y="95198"/>
                      <a:pt x="40530" y="94817"/>
                      <a:pt x="37005" y="93960"/>
                    </a:cubicBezTo>
                    <a:cubicBezTo>
                      <a:pt x="11383" y="88150"/>
                      <a:pt x="-4619" y="62528"/>
                      <a:pt x="1191" y="37001"/>
                    </a:cubicBezTo>
                    <a:cubicBezTo>
                      <a:pt x="7002" y="11474"/>
                      <a:pt x="32624" y="-4624"/>
                      <a:pt x="58151" y="1187"/>
                    </a:cubicBezTo>
                    <a:cubicBezTo>
                      <a:pt x="60056" y="1663"/>
                      <a:pt x="61294" y="3568"/>
                      <a:pt x="60818" y="5473"/>
                    </a:cubicBezTo>
                    <a:cubicBezTo>
                      <a:pt x="60342" y="7378"/>
                      <a:pt x="58437" y="8616"/>
                      <a:pt x="56532" y="8140"/>
                    </a:cubicBezTo>
                    <a:cubicBezTo>
                      <a:pt x="34815" y="3187"/>
                      <a:pt x="13098" y="16808"/>
                      <a:pt x="8145" y="38525"/>
                    </a:cubicBezTo>
                    <a:cubicBezTo>
                      <a:pt x="3192" y="60242"/>
                      <a:pt x="16812" y="81959"/>
                      <a:pt x="38625" y="86912"/>
                    </a:cubicBezTo>
                    <a:cubicBezTo>
                      <a:pt x="60342" y="91865"/>
                      <a:pt x="82059" y="78244"/>
                      <a:pt x="87012" y="56432"/>
                    </a:cubicBezTo>
                    <a:cubicBezTo>
                      <a:pt x="88536" y="49955"/>
                      <a:pt x="88345" y="43287"/>
                      <a:pt x="86631" y="36905"/>
                    </a:cubicBezTo>
                    <a:cubicBezTo>
                      <a:pt x="86154" y="35000"/>
                      <a:pt x="87202" y="33000"/>
                      <a:pt x="89107" y="32524"/>
                    </a:cubicBezTo>
                    <a:cubicBezTo>
                      <a:pt x="91012" y="32048"/>
                      <a:pt x="93012" y="33095"/>
                      <a:pt x="93489" y="35096"/>
                    </a:cubicBezTo>
                    <a:cubicBezTo>
                      <a:pt x="95489" y="42525"/>
                      <a:pt x="95679" y="50526"/>
                      <a:pt x="93870" y="58051"/>
                    </a:cubicBezTo>
                    <a:cubicBezTo>
                      <a:pt x="88917" y="80244"/>
                      <a:pt x="69295" y="95198"/>
                      <a:pt x="47578" y="9519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33" name="Freeform: Shape 232">
                <a:extLst>
                  <a:ext uri="{FF2B5EF4-FFF2-40B4-BE49-F238E27FC236}">
                    <a16:creationId xmlns:a16="http://schemas.microsoft.com/office/drawing/2014/main" id="{DBEDEAEB-5E32-4675-A618-730C480E50A1}"/>
                  </a:ext>
                </a:extLst>
              </p:cNvPr>
              <p:cNvSpPr/>
              <p:nvPr/>
            </p:nvSpPr>
            <p:spPr>
              <a:xfrm>
                <a:off x="-437225" y="2816499"/>
                <a:ext cx="85725" cy="66675"/>
              </a:xfrm>
              <a:custGeom>
                <a:avLst/>
                <a:gdLst>
                  <a:gd name="connsiteX0" fmla="*/ 29476 w 85725"/>
                  <a:gd name="connsiteY0" fmla="*/ 75577 h 66675"/>
                  <a:gd name="connsiteX1" fmla="*/ 27094 w 85725"/>
                  <a:gd name="connsiteY1" fmla="*/ 74624 h 66675"/>
                  <a:gd name="connsiteX2" fmla="*/ 1186 w 85725"/>
                  <a:gd name="connsiteY2" fmla="*/ 51193 h 66675"/>
                  <a:gd name="connsiteX3" fmla="*/ 901 w 85725"/>
                  <a:gd name="connsiteY3" fmla="*/ 46144 h 66675"/>
                  <a:gd name="connsiteX4" fmla="*/ 5949 w 85725"/>
                  <a:gd name="connsiteY4" fmla="*/ 45859 h 66675"/>
                  <a:gd name="connsiteX5" fmla="*/ 29285 w 85725"/>
                  <a:gd name="connsiteY5" fmla="*/ 66909 h 66675"/>
                  <a:gd name="connsiteX6" fmla="*/ 88150 w 85725"/>
                  <a:gd name="connsiteY6" fmla="*/ 1186 h 66675"/>
                  <a:gd name="connsiteX7" fmla="*/ 93198 w 85725"/>
                  <a:gd name="connsiteY7" fmla="*/ 901 h 66675"/>
                  <a:gd name="connsiteX8" fmla="*/ 93484 w 85725"/>
                  <a:gd name="connsiteY8" fmla="*/ 5949 h 66675"/>
                  <a:gd name="connsiteX9" fmla="*/ 32143 w 85725"/>
                  <a:gd name="connsiteY9" fmla="*/ 74338 h 66675"/>
                  <a:gd name="connsiteX10" fmla="*/ 29666 w 85725"/>
                  <a:gd name="connsiteY10" fmla="*/ 75577 h 66675"/>
                  <a:gd name="connsiteX11" fmla="*/ 29476 w 85725"/>
                  <a:gd name="connsiteY11" fmla="*/ 75577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85725" h="66675">
                    <a:moveTo>
                      <a:pt x="29476" y="75577"/>
                    </a:moveTo>
                    <a:cubicBezTo>
                      <a:pt x="28618" y="75577"/>
                      <a:pt x="27761" y="75196"/>
                      <a:pt x="27094" y="74624"/>
                    </a:cubicBezTo>
                    <a:lnTo>
                      <a:pt x="1186" y="51193"/>
                    </a:lnTo>
                    <a:cubicBezTo>
                      <a:pt x="-242" y="49859"/>
                      <a:pt x="-433" y="47573"/>
                      <a:pt x="901" y="46144"/>
                    </a:cubicBezTo>
                    <a:cubicBezTo>
                      <a:pt x="2234" y="44716"/>
                      <a:pt x="4520" y="44525"/>
                      <a:pt x="5949" y="45859"/>
                    </a:cubicBezTo>
                    <a:lnTo>
                      <a:pt x="29285" y="66909"/>
                    </a:lnTo>
                    <a:lnTo>
                      <a:pt x="88150" y="1186"/>
                    </a:lnTo>
                    <a:cubicBezTo>
                      <a:pt x="89483" y="-242"/>
                      <a:pt x="91769" y="-433"/>
                      <a:pt x="93198" y="901"/>
                    </a:cubicBezTo>
                    <a:cubicBezTo>
                      <a:pt x="94627" y="2234"/>
                      <a:pt x="94817" y="4520"/>
                      <a:pt x="93484" y="5949"/>
                    </a:cubicBezTo>
                    <a:lnTo>
                      <a:pt x="32143" y="74338"/>
                    </a:lnTo>
                    <a:cubicBezTo>
                      <a:pt x="31476" y="75005"/>
                      <a:pt x="30619" y="75481"/>
                      <a:pt x="29666" y="75577"/>
                    </a:cubicBezTo>
                    <a:cubicBezTo>
                      <a:pt x="29571" y="75577"/>
                      <a:pt x="29476" y="75577"/>
                      <a:pt x="29476" y="7557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11" name="Freeform: Shape 210">
              <a:extLst>
                <a:ext uri="{FF2B5EF4-FFF2-40B4-BE49-F238E27FC236}">
                  <a16:creationId xmlns:a16="http://schemas.microsoft.com/office/drawing/2014/main" id="{221F126B-4CC6-4AA6-A27C-D0463EEE63B3}"/>
                </a:ext>
              </a:extLst>
            </p:cNvPr>
            <p:cNvSpPr/>
            <p:nvPr/>
          </p:nvSpPr>
          <p:spPr>
            <a:xfrm>
              <a:off x="11550860" y="2921312"/>
              <a:ext cx="174523" cy="174523"/>
            </a:xfrm>
            <a:custGeom>
              <a:avLst/>
              <a:gdLst>
                <a:gd name="connsiteX0" fmla="*/ 263243 w 266700"/>
                <a:gd name="connsiteY0" fmla="*/ 164438 h 266700"/>
                <a:gd name="connsiteX1" fmla="*/ 102556 w 266700"/>
                <a:gd name="connsiteY1" fmla="*/ 263308 h 266700"/>
                <a:gd name="connsiteX2" fmla="*/ 3687 w 266700"/>
                <a:gd name="connsiteY2" fmla="*/ 102526 h 266700"/>
                <a:gd name="connsiteX3" fmla="*/ 164469 w 266700"/>
                <a:gd name="connsiteY3" fmla="*/ 3656 h 266700"/>
                <a:gd name="connsiteX4" fmla="*/ 263243 w 266700"/>
                <a:gd name="connsiteY4" fmla="*/ 164438 h 266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6700" h="266700">
                  <a:moveTo>
                    <a:pt x="263243" y="164438"/>
                  </a:moveTo>
                  <a:cubicBezTo>
                    <a:pt x="246193" y="236162"/>
                    <a:pt x="174184" y="280358"/>
                    <a:pt x="102556" y="263308"/>
                  </a:cubicBezTo>
                  <a:cubicBezTo>
                    <a:pt x="30833" y="246258"/>
                    <a:pt x="-13458" y="174249"/>
                    <a:pt x="3687" y="102526"/>
                  </a:cubicBezTo>
                  <a:cubicBezTo>
                    <a:pt x="20737" y="30803"/>
                    <a:pt x="92745" y="-13393"/>
                    <a:pt x="164469" y="3656"/>
                  </a:cubicBezTo>
                  <a:cubicBezTo>
                    <a:pt x="236097" y="20801"/>
                    <a:pt x="280293" y="92810"/>
                    <a:pt x="263243" y="164438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212" name="Graphic 2009">
              <a:extLst>
                <a:ext uri="{FF2B5EF4-FFF2-40B4-BE49-F238E27FC236}">
                  <a16:creationId xmlns:a16="http://schemas.microsoft.com/office/drawing/2014/main" id="{72E3B836-20CB-4CA3-BBE2-375D28440EC6}"/>
                </a:ext>
              </a:extLst>
            </p:cNvPr>
            <p:cNvGrpSpPr/>
            <p:nvPr/>
          </p:nvGrpSpPr>
          <p:grpSpPr>
            <a:xfrm>
              <a:off x="11597829" y="2941095"/>
              <a:ext cx="99727" cy="130892"/>
              <a:chOff x="-521111" y="2352579"/>
              <a:chExt cx="152400" cy="200025"/>
            </a:xfrm>
            <a:solidFill>
              <a:schemeClr val="accent4"/>
            </a:solidFill>
          </p:grpSpPr>
          <p:sp>
            <p:nvSpPr>
              <p:cNvPr id="224" name="Freeform: Shape 223">
                <a:extLst>
                  <a:ext uri="{FF2B5EF4-FFF2-40B4-BE49-F238E27FC236}">
                    <a16:creationId xmlns:a16="http://schemas.microsoft.com/office/drawing/2014/main" id="{4E5ABBBF-5F7E-4A60-A5B9-BED2C5C2B407}"/>
                  </a:ext>
                </a:extLst>
              </p:cNvPr>
              <p:cNvSpPr/>
              <p:nvPr/>
            </p:nvSpPr>
            <p:spPr>
              <a:xfrm>
                <a:off x="-521111" y="2384394"/>
                <a:ext cx="133350" cy="171450"/>
              </a:xfrm>
              <a:custGeom>
                <a:avLst/>
                <a:gdLst>
                  <a:gd name="connsiteX0" fmla="*/ 40876 w 133350"/>
                  <a:gd name="connsiteY0" fmla="*/ 173639 h 171450"/>
                  <a:gd name="connsiteX1" fmla="*/ 39828 w 133350"/>
                  <a:gd name="connsiteY1" fmla="*/ 173353 h 171450"/>
                  <a:gd name="connsiteX2" fmla="*/ 16111 w 133350"/>
                  <a:gd name="connsiteY2" fmla="*/ 146112 h 171450"/>
                  <a:gd name="connsiteX3" fmla="*/ 4586 w 133350"/>
                  <a:gd name="connsiteY3" fmla="*/ 51433 h 171450"/>
                  <a:gd name="connsiteX4" fmla="*/ 44877 w 133350"/>
                  <a:gd name="connsiteY4" fmla="*/ 5809 h 171450"/>
                  <a:gd name="connsiteX5" fmla="*/ 98407 w 133350"/>
                  <a:gd name="connsiteY5" fmla="*/ 4189 h 171450"/>
                  <a:gd name="connsiteX6" fmla="*/ 123172 w 133350"/>
                  <a:gd name="connsiteY6" fmla="*/ 20001 h 171450"/>
                  <a:gd name="connsiteX7" fmla="*/ 118314 w 133350"/>
                  <a:gd name="connsiteY7" fmla="*/ 24382 h 171450"/>
                  <a:gd name="connsiteX8" fmla="*/ 96216 w 133350"/>
                  <a:gd name="connsiteY8" fmla="*/ 10285 h 171450"/>
                  <a:gd name="connsiteX9" fmla="*/ 47353 w 133350"/>
                  <a:gd name="connsiteY9" fmla="*/ 11714 h 171450"/>
                  <a:gd name="connsiteX10" fmla="*/ 10587 w 133350"/>
                  <a:gd name="connsiteY10" fmla="*/ 53529 h 171450"/>
                  <a:gd name="connsiteX11" fmla="*/ 21731 w 133350"/>
                  <a:gd name="connsiteY11" fmla="*/ 143159 h 171450"/>
                  <a:gd name="connsiteX12" fmla="*/ 41543 w 133350"/>
                  <a:gd name="connsiteY12" fmla="*/ 167162 h 171450"/>
                  <a:gd name="connsiteX13" fmla="*/ 123363 w 133350"/>
                  <a:gd name="connsiteY13" fmla="*/ 92867 h 171450"/>
                  <a:gd name="connsiteX14" fmla="*/ 129173 w 133350"/>
                  <a:gd name="connsiteY14" fmla="*/ 48481 h 171450"/>
                  <a:gd name="connsiteX15" fmla="*/ 135555 w 133350"/>
                  <a:gd name="connsiteY15" fmla="*/ 47433 h 171450"/>
                  <a:gd name="connsiteX16" fmla="*/ 129459 w 133350"/>
                  <a:gd name="connsiteY16" fmla="*/ 94963 h 171450"/>
                  <a:gd name="connsiteX17" fmla="*/ 40876 w 133350"/>
                  <a:gd name="connsiteY17" fmla="*/ 173639 h 171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33350" h="171450">
                    <a:moveTo>
                      <a:pt x="40876" y="173639"/>
                    </a:moveTo>
                    <a:cubicBezTo>
                      <a:pt x="40495" y="173544"/>
                      <a:pt x="40209" y="173449"/>
                      <a:pt x="39828" y="173353"/>
                    </a:cubicBezTo>
                    <a:cubicBezTo>
                      <a:pt x="32304" y="170972"/>
                      <a:pt x="23731" y="161066"/>
                      <a:pt x="16111" y="146112"/>
                    </a:cubicBezTo>
                    <a:cubicBezTo>
                      <a:pt x="4014" y="122109"/>
                      <a:pt x="-6273" y="82866"/>
                      <a:pt x="4586" y="51433"/>
                    </a:cubicBezTo>
                    <a:cubicBezTo>
                      <a:pt x="12110" y="29716"/>
                      <a:pt x="26112" y="13905"/>
                      <a:pt x="44877" y="5809"/>
                    </a:cubicBezTo>
                    <a:cubicBezTo>
                      <a:pt x="61355" y="-1335"/>
                      <a:pt x="80881" y="-1907"/>
                      <a:pt x="98407" y="4189"/>
                    </a:cubicBezTo>
                    <a:cubicBezTo>
                      <a:pt x="108599" y="7714"/>
                      <a:pt x="116981" y="13048"/>
                      <a:pt x="123172" y="20001"/>
                    </a:cubicBezTo>
                    <a:lnTo>
                      <a:pt x="118314" y="24382"/>
                    </a:lnTo>
                    <a:cubicBezTo>
                      <a:pt x="112790" y="18286"/>
                      <a:pt x="105360" y="13524"/>
                      <a:pt x="96216" y="10285"/>
                    </a:cubicBezTo>
                    <a:cubicBezTo>
                      <a:pt x="80214" y="4761"/>
                      <a:pt x="62307" y="5237"/>
                      <a:pt x="47353" y="11714"/>
                    </a:cubicBezTo>
                    <a:cubicBezTo>
                      <a:pt x="30208" y="19144"/>
                      <a:pt x="17540" y="33526"/>
                      <a:pt x="10587" y="53529"/>
                    </a:cubicBezTo>
                    <a:cubicBezTo>
                      <a:pt x="966" y="81151"/>
                      <a:pt x="9253" y="118394"/>
                      <a:pt x="21731" y="143159"/>
                    </a:cubicBezTo>
                    <a:cubicBezTo>
                      <a:pt x="28303" y="156208"/>
                      <a:pt x="35923" y="165352"/>
                      <a:pt x="41543" y="167162"/>
                    </a:cubicBezTo>
                    <a:cubicBezTo>
                      <a:pt x="58688" y="171258"/>
                      <a:pt x="108027" y="137158"/>
                      <a:pt x="123363" y="92867"/>
                    </a:cubicBezTo>
                    <a:cubicBezTo>
                      <a:pt x="129173" y="76008"/>
                      <a:pt x="131173" y="61054"/>
                      <a:pt x="129173" y="48481"/>
                    </a:cubicBezTo>
                    <a:lnTo>
                      <a:pt x="135555" y="47433"/>
                    </a:lnTo>
                    <a:cubicBezTo>
                      <a:pt x="137650" y="61149"/>
                      <a:pt x="135650" y="77151"/>
                      <a:pt x="129459" y="94963"/>
                    </a:cubicBezTo>
                    <a:cubicBezTo>
                      <a:pt x="114600" y="138873"/>
                      <a:pt x="63736" y="179068"/>
                      <a:pt x="40876" y="17363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25" name="Freeform: Shape 224">
                <a:extLst>
                  <a:ext uri="{FF2B5EF4-FFF2-40B4-BE49-F238E27FC236}">
                    <a16:creationId xmlns:a16="http://schemas.microsoft.com/office/drawing/2014/main" id="{F2500C01-917B-487F-A399-E2875889E4D2}"/>
                  </a:ext>
                </a:extLst>
              </p:cNvPr>
              <p:cNvSpPr/>
              <p:nvPr/>
            </p:nvSpPr>
            <p:spPr>
              <a:xfrm>
                <a:off x="-417751" y="2393537"/>
                <a:ext cx="38100" cy="28575"/>
              </a:xfrm>
              <a:custGeom>
                <a:avLst/>
                <a:gdLst>
                  <a:gd name="connsiteX0" fmla="*/ 4667 w 38100"/>
                  <a:gd name="connsiteY0" fmla="*/ 28956 h 28575"/>
                  <a:gd name="connsiteX1" fmla="*/ 0 w 38100"/>
                  <a:gd name="connsiteY1" fmla="*/ 24384 h 28575"/>
                  <a:gd name="connsiteX2" fmla="*/ 38005 w 38100"/>
                  <a:gd name="connsiteY2" fmla="*/ 0 h 28575"/>
                  <a:gd name="connsiteX3" fmla="*/ 39529 w 38100"/>
                  <a:gd name="connsiteY3" fmla="*/ 6286 h 28575"/>
                  <a:gd name="connsiteX4" fmla="*/ 4667 w 38100"/>
                  <a:gd name="connsiteY4" fmla="*/ 28956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8100" h="28575">
                    <a:moveTo>
                      <a:pt x="4667" y="28956"/>
                    </a:moveTo>
                    <a:lnTo>
                      <a:pt x="0" y="24384"/>
                    </a:lnTo>
                    <a:cubicBezTo>
                      <a:pt x="762" y="23527"/>
                      <a:pt x="20003" y="4286"/>
                      <a:pt x="38005" y="0"/>
                    </a:cubicBezTo>
                    <a:lnTo>
                      <a:pt x="39529" y="6286"/>
                    </a:lnTo>
                    <a:cubicBezTo>
                      <a:pt x="23336" y="10192"/>
                      <a:pt x="4858" y="28765"/>
                      <a:pt x="4667" y="2895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26" name="Freeform: Shape 225">
                <a:extLst>
                  <a:ext uri="{FF2B5EF4-FFF2-40B4-BE49-F238E27FC236}">
                    <a16:creationId xmlns:a16="http://schemas.microsoft.com/office/drawing/2014/main" id="{1DF205E3-1827-40CE-9D9D-9D73BE0F8313}"/>
                  </a:ext>
                </a:extLst>
              </p:cNvPr>
              <p:cNvSpPr/>
              <p:nvPr/>
            </p:nvSpPr>
            <p:spPr>
              <a:xfrm>
                <a:off x="-399273" y="2410682"/>
                <a:ext cx="19050" cy="28575"/>
              </a:xfrm>
              <a:custGeom>
                <a:avLst/>
                <a:gdLst>
                  <a:gd name="connsiteX0" fmla="*/ 5715 w 19050"/>
                  <a:gd name="connsiteY0" fmla="*/ 34576 h 28575"/>
                  <a:gd name="connsiteX1" fmla="*/ 0 w 19050"/>
                  <a:gd name="connsiteY1" fmla="*/ 31528 h 28575"/>
                  <a:gd name="connsiteX2" fmla="*/ 25527 w 19050"/>
                  <a:gd name="connsiteY2" fmla="*/ 0 h 28575"/>
                  <a:gd name="connsiteX3" fmla="*/ 28384 w 19050"/>
                  <a:gd name="connsiteY3" fmla="*/ 5905 h 28575"/>
                  <a:gd name="connsiteX4" fmla="*/ 5715 w 19050"/>
                  <a:gd name="connsiteY4" fmla="*/ 34576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28575">
                    <a:moveTo>
                      <a:pt x="5715" y="34576"/>
                    </a:moveTo>
                    <a:lnTo>
                      <a:pt x="0" y="31528"/>
                    </a:lnTo>
                    <a:cubicBezTo>
                      <a:pt x="1429" y="28861"/>
                      <a:pt x="14002" y="5620"/>
                      <a:pt x="25527" y="0"/>
                    </a:cubicBezTo>
                    <a:lnTo>
                      <a:pt x="28384" y="5905"/>
                    </a:lnTo>
                    <a:cubicBezTo>
                      <a:pt x="20098" y="9811"/>
                      <a:pt x="9239" y="27908"/>
                      <a:pt x="5715" y="3457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27" name="Freeform: Shape 226">
                <a:extLst>
                  <a:ext uri="{FF2B5EF4-FFF2-40B4-BE49-F238E27FC236}">
                    <a16:creationId xmlns:a16="http://schemas.microsoft.com/office/drawing/2014/main" id="{F2B86E09-5C05-42B5-A12A-933AAB229EBD}"/>
                  </a:ext>
                </a:extLst>
              </p:cNvPr>
              <p:cNvSpPr/>
              <p:nvPr/>
            </p:nvSpPr>
            <p:spPr>
              <a:xfrm>
                <a:off x="-387262" y="2393112"/>
                <a:ext cx="19050" cy="19050"/>
              </a:xfrm>
              <a:custGeom>
                <a:avLst/>
                <a:gdLst>
                  <a:gd name="connsiteX0" fmla="*/ 9897 w 19050"/>
                  <a:gd name="connsiteY0" fmla="*/ 24142 h 19050"/>
                  <a:gd name="connsiteX1" fmla="*/ 1134 w 19050"/>
                  <a:gd name="connsiteY1" fmla="*/ 16141 h 19050"/>
                  <a:gd name="connsiteX2" fmla="*/ 943 w 19050"/>
                  <a:gd name="connsiteY2" fmla="*/ 5854 h 19050"/>
                  <a:gd name="connsiteX3" fmla="*/ 6087 w 19050"/>
                  <a:gd name="connsiteY3" fmla="*/ 616 h 19050"/>
                  <a:gd name="connsiteX4" fmla="*/ 20565 w 19050"/>
                  <a:gd name="connsiteY4" fmla="*/ 8236 h 19050"/>
                  <a:gd name="connsiteX5" fmla="*/ 21232 w 19050"/>
                  <a:gd name="connsiteY5" fmla="*/ 17189 h 19050"/>
                  <a:gd name="connsiteX6" fmla="*/ 15612 w 19050"/>
                  <a:gd name="connsiteY6" fmla="*/ 23761 h 19050"/>
                  <a:gd name="connsiteX7" fmla="*/ 9897 w 19050"/>
                  <a:gd name="connsiteY7" fmla="*/ 24142 h 19050"/>
                  <a:gd name="connsiteX8" fmla="*/ 10278 w 19050"/>
                  <a:gd name="connsiteY8" fmla="*/ 6426 h 19050"/>
                  <a:gd name="connsiteX9" fmla="*/ 8563 w 19050"/>
                  <a:gd name="connsiteY9" fmla="*/ 6521 h 19050"/>
                  <a:gd name="connsiteX10" fmla="*/ 6944 w 19050"/>
                  <a:gd name="connsiteY10" fmla="*/ 8236 h 19050"/>
                  <a:gd name="connsiteX11" fmla="*/ 7135 w 19050"/>
                  <a:gd name="connsiteY11" fmla="*/ 13570 h 19050"/>
                  <a:gd name="connsiteX12" fmla="*/ 13135 w 19050"/>
                  <a:gd name="connsiteY12" fmla="*/ 17665 h 19050"/>
                  <a:gd name="connsiteX13" fmla="*/ 14945 w 19050"/>
                  <a:gd name="connsiteY13" fmla="*/ 15284 h 19050"/>
                  <a:gd name="connsiteX14" fmla="*/ 14564 w 19050"/>
                  <a:gd name="connsiteY14" fmla="*/ 10522 h 19050"/>
                  <a:gd name="connsiteX15" fmla="*/ 10278 w 19050"/>
                  <a:gd name="connsiteY15" fmla="*/ 6426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9050" h="19050">
                    <a:moveTo>
                      <a:pt x="9897" y="24142"/>
                    </a:moveTo>
                    <a:cubicBezTo>
                      <a:pt x="6087" y="23285"/>
                      <a:pt x="2848" y="20237"/>
                      <a:pt x="1134" y="16141"/>
                    </a:cubicBezTo>
                    <a:cubicBezTo>
                      <a:pt x="-295" y="12712"/>
                      <a:pt x="-390" y="8998"/>
                      <a:pt x="943" y="5854"/>
                    </a:cubicBezTo>
                    <a:cubicBezTo>
                      <a:pt x="1991" y="3378"/>
                      <a:pt x="3801" y="1473"/>
                      <a:pt x="6087" y="616"/>
                    </a:cubicBezTo>
                    <a:cubicBezTo>
                      <a:pt x="11326" y="-1480"/>
                      <a:pt x="17993" y="1949"/>
                      <a:pt x="20565" y="8236"/>
                    </a:cubicBezTo>
                    <a:cubicBezTo>
                      <a:pt x="21803" y="11188"/>
                      <a:pt x="21994" y="14427"/>
                      <a:pt x="21232" y="17189"/>
                    </a:cubicBezTo>
                    <a:cubicBezTo>
                      <a:pt x="20374" y="20237"/>
                      <a:pt x="18279" y="22714"/>
                      <a:pt x="15612" y="23761"/>
                    </a:cubicBezTo>
                    <a:cubicBezTo>
                      <a:pt x="13802" y="24428"/>
                      <a:pt x="11802" y="24619"/>
                      <a:pt x="9897" y="24142"/>
                    </a:cubicBezTo>
                    <a:close/>
                    <a:moveTo>
                      <a:pt x="10278" y="6426"/>
                    </a:moveTo>
                    <a:cubicBezTo>
                      <a:pt x="9611" y="6235"/>
                      <a:pt x="9040" y="6331"/>
                      <a:pt x="8563" y="6521"/>
                    </a:cubicBezTo>
                    <a:cubicBezTo>
                      <a:pt x="7706" y="6902"/>
                      <a:pt x="7230" y="7664"/>
                      <a:pt x="6944" y="8236"/>
                    </a:cubicBezTo>
                    <a:cubicBezTo>
                      <a:pt x="6277" y="9760"/>
                      <a:pt x="6373" y="11760"/>
                      <a:pt x="7135" y="13570"/>
                    </a:cubicBezTo>
                    <a:cubicBezTo>
                      <a:pt x="8373" y="16522"/>
                      <a:pt x="11135" y="18427"/>
                      <a:pt x="13135" y="17665"/>
                    </a:cubicBezTo>
                    <a:cubicBezTo>
                      <a:pt x="14278" y="17189"/>
                      <a:pt x="14755" y="16046"/>
                      <a:pt x="14945" y="15284"/>
                    </a:cubicBezTo>
                    <a:cubicBezTo>
                      <a:pt x="15326" y="13855"/>
                      <a:pt x="15231" y="12141"/>
                      <a:pt x="14564" y="10522"/>
                    </a:cubicBezTo>
                    <a:cubicBezTo>
                      <a:pt x="13707" y="8521"/>
                      <a:pt x="11992" y="6902"/>
                      <a:pt x="10278" y="642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28" name="Freeform: Shape 227">
                <a:extLst>
                  <a:ext uri="{FF2B5EF4-FFF2-40B4-BE49-F238E27FC236}">
                    <a16:creationId xmlns:a16="http://schemas.microsoft.com/office/drawing/2014/main" id="{CD5C8BA0-F7EF-4D5F-AE2B-52DAACC4EFD4}"/>
                  </a:ext>
                </a:extLst>
              </p:cNvPr>
              <p:cNvSpPr/>
              <p:nvPr/>
            </p:nvSpPr>
            <p:spPr>
              <a:xfrm>
                <a:off x="-482235" y="2360485"/>
                <a:ext cx="19050" cy="28575"/>
              </a:xfrm>
              <a:custGeom>
                <a:avLst/>
                <a:gdLst>
                  <a:gd name="connsiteX0" fmla="*/ 13525 w 19050"/>
                  <a:gd name="connsiteY0" fmla="*/ 29147 h 28575"/>
                  <a:gd name="connsiteX1" fmla="*/ 0 w 19050"/>
                  <a:gd name="connsiteY1" fmla="*/ 4572 h 28575"/>
                  <a:gd name="connsiteX2" fmla="*/ 4667 w 19050"/>
                  <a:gd name="connsiteY2" fmla="*/ 0 h 28575"/>
                  <a:gd name="connsiteX3" fmla="*/ 19526 w 19050"/>
                  <a:gd name="connsiteY3" fmla="*/ 26670 h 28575"/>
                  <a:gd name="connsiteX4" fmla="*/ 13525 w 19050"/>
                  <a:gd name="connsiteY4" fmla="*/ 29147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28575">
                    <a:moveTo>
                      <a:pt x="13525" y="29147"/>
                    </a:moveTo>
                    <a:cubicBezTo>
                      <a:pt x="9715" y="20003"/>
                      <a:pt x="4096" y="8668"/>
                      <a:pt x="0" y="4572"/>
                    </a:cubicBezTo>
                    <a:lnTo>
                      <a:pt x="4667" y="0"/>
                    </a:lnTo>
                    <a:cubicBezTo>
                      <a:pt x="10668" y="6096"/>
                      <a:pt x="17526" y="21908"/>
                      <a:pt x="19526" y="26670"/>
                    </a:cubicBezTo>
                    <a:lnTo>
                      <a:pt x="13525" y="29147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29" name="Freeform: Shape 228">
                <a:extLst>
                  <a:ext uri="{FF2B5EF4-FFF2-40B4-BE49-F238E27FC236}">
                    <a16:creationId xmlns:a16="http://schemas.microsoft.com/office/drawing/2014/main" id="{484C4186-B882-4341-B8B8-8B1319C4F6C4}"/>
                  </a:ext>
                </a:extLst>
              </p:cNvPr>
              <p:cNvSpPr/>
              <p:nvPr/>
            </p:nvSpPr>
            <p:spPr>
              <a:xfrm>
                <a:off x="-497190" y="2371915"/>
                <a:ext cx="9525" cy="19050"/>
              </a:xfrm>
              <a:custGeom>
                <a:avLst/>
                <a:gdLst>
                  <a:gd name="connsiteX0" fmla="*/ 4191 w 9525"/>
                  <a:gd name="connsiteY0" fmla="*/ 28384 h 19050"/>
                  <a:gd name="connsiteX1" fmla="*/ 0 w 9525"/>
                  <a:gd name="connsiteY1" fmla="*/ 3429 h 19050"/>
                  <a:gd name="connsiteX2" fmla="*/ 5525 w 9525"/>
                  <a:gd name="connsiteY2" fmla="*/ 0 h 19050"/>
                  <a:gd name="connsiteX3" fmla="*/ 10668 w 9525"/>
                  <a:gd name="connsiteY3" fmla="*/ 28289 h 19050"/>
                  <a:gd name="connsiteX4" fmla="*/ 4191 w 9525"/>
                  <a:gd name="connsiteY4" fmla="*/ 28384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525" h="19050">
                    <a:moveTo>
                      <a:pt x="4191" y="28384"/>
                    </a:moveTo>
                    <a:cubicBezTo>
                      <a:pt x="4096" y="16383"/>
                      <a:pt x="2572" y="7525"/>
                      <a:pt x="0" y="3429"/>
                    </a:cubicBezTo>
                    <a:lnTo>
                      <a:pt x="5525" y="0"/>
                    </a:lnTo>
                    <a:cubicBezTo>
                      <a:pt x="8858" y="5239"/>
                      <a:pt x="10573" y="14764"/>
                      <a:pt x="10668" y="28289"/>
                    </a:cubicBezTo>
                    <a:lnTo>
                      <a:pt x="4191" y="28384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30" name="Freeform: Shape 229">
                <a:extLst>
                  <a:ext uri="{FF2B5EF4-FFF2-40B4-BE49-F238E27FC236}">
                    <a16:creationId xmlns:a16="http://schemas.microsoft.com/office/drawing/2014/main" id="{C9FC2E1B-44A7-4AC4-891B-14FD158AA0C5}"/>
                  </a:ext>
                </a:extLst>
              </p:cNvPr>
              <p:cNvSpPr/>
              <p:nvPr/>
            </p:nvSpPr>
            <p:spPr>
              <a:xfrm>
                <a:off x="-498497" y="2357437"/>
                <a:ext cx="19050" cy="9525"/>
              </a:xfrm>
              <a:custGeom>
                <a:avLst/>
                <a:gdLst>
                  <a:gd name="connsiteX0" fmla="*/ 1689 w 19050"/>
                  <a:gd name="connsiteY0" fmla="*/ 18573 h 9525"/>
                  <a:gd name="connsiteX1" fmla="*/ 165 w 19050"/>
                  <a:gd name="connsiteY1" fmla="*/ 11334 h 9525"/>
                  <a:gd name="connsiteX2" fmla="*/ 5784 w 19050"/>
                  <a:gd name="connsiteY2" fmla="*/ 2667 h 9525"/>
                  <a:gd name="connsiteX3" fmla="*/ 22072 w 19050"/>
                  <a:gd name="connsiteY3" fmla="*/ 3905 h 9525"/>
                  <a:gd name="connsiteX4" fmla="*/ 16833 w 19050"/>
                  <a:gd name="connsiteY4" fmla="*/ 7715 h 9525"/>
                  <a:gd name="connsiteX5" fmla="*/ 9594 w 19050"/>
                  <a:gd name="connsiteY5" fmla="*/ 8001 h 9525"/>
                  <a:gd name="connsiteX6" fmla="*/ 6642 w 19050"/>
                  <a:gd name="connsiteY6" fmla="*/ 12382 h 9525"/>
                  <a:gd name="connsiteX7" fmla="*/ 7118 w 19050"/>
                  <a:gd name="connsiteY7" fmla="*/ 14763 h 9525"/>
                  <a:gd name="connsiteX8" fmla="*/ 1689 w 19050"/>
                  <a:gd name="connsiteY8" fmla="*/ 18573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9050" h="9525">
                    <a:moveTo>
                      <a:pt x="1689" y="18573"/>
                    </a:moveTo>
                    <a:cubicBezTo>
                      <a:pt x="260" y="16573"/>
                      <a:pt x="-312" y="14001"/>
                      <a:pt x="165" y="11334"/>
                    </a:cubicBezTo>
                    <a:cubicBezTo>
                      <a:pt x="736" y="8001"/>
                      <a:pt x="2736" y="4857"/>
                      <a:pt x="5784" y="2667"/>
                    </a:cubicBezTo>
                    <a:cubicBezTo>
                      <a:pt x="11309" y="-1334"/>
                      <a:pt x="18643" y="-762"/>
                      <a:pt x="22072" y="3905"/>
                    </a:cubicBezTo>
                    <a:lnTo>
                      <a:pt x="16833" y="7715"/>
                    </a:lnTo>
                    <a:cubicBezTo>
                      <a:pt x="15595" y="6000"/>
                      <a:pt x="12261" y="6096"/>
                      <a:pt x="9594" y="8001"/>
                    </a:cubicBezTo>
                    <a:cubicBezTo>
                      <a:pt x="7975" y="9144"/>
                      <a:pt x="6832" y="10763"/>
                      <a:pt x="6642" y="12382"/>
                    </a:cubicBezTo>
                    <a:cubicBezTo>
                      <a:pt x="6546" y="13049"/>
                      <a:pt x="6546" y="13906"/>
                      <a:pt x="7118" y="14763"/>
                    </a:cubicBezTo>
                    <a:lnTo>
                      <a:pt x="1689" y="1857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31" name="Freeform: Shape 230">
                <a:extLst>
                  <a:ext uri="{FF2B5EF4-FFF2-40B4-BE49-F238E27FC236}">
                    <a16:creationId xmlns:a16="http://schemas.microsoft.com/office/drawing/2014/main" id="{F05D0093-706A-4A68-BC72-90246E0D8F13}"/>
                  </a:ext>
                </a:extLst>
              </p:cNvPr>
              <p:cNvSpPr/>
              <p:nvPr/>
            </p:nvSpPr>
            <p:spPr>
              <a:xfrm>
                <a:off x="-461661" y="2352579"/>
                <a:ext cx="66675" cy="57150"/>
              </a:xfrm>
              <a:custGeom>
                <a:avLst/>
                <a:gdLst>
                  <a:gd name="connsiteX0" fmla="*/ 61150 w 66675"/>
                  <a:gd name="connsiteY0" fmla="*/ 58103 h 57150"/>
                  <a:gd name="connsiteX1" fmla="*/ 54959 w 66675"/>
                  <a:gd name="connsiteY1" fmla="*/ 56007 h 57150"/>
                  <a:gd name="connsiteX2" fmla="*/ 51721 w 66675"/>
                  <a:gd name="connsiteY2" fmla="*/ 46673 h 57150"/>
                  <a:gd name="connsiteX3" fmla="*/ 49054 w 66675"/>
                  <a:gd name="connsiteY3" fmla="*/ 43625 h 57150"/>
                  <a:gd name="connsiteX4" fmla="*/ 52578 w 66675"/>
                  <a:gd name="connsiteY4" fmla="*/ 41720 h 57150"/>
                  <a:gd name="connsiteX5" fmla="*/ 65627 w 66675"/>
                  <a:gd name="connsiteY5" fmla="*/ 32385 h 57150"/>
                  <a:gd name="connsiteX6" fmla="*/ 63913 w 66675"/>
                  <a:gd name="connsiteY6" fmla="*/ 30194 h 57150"/>
                  <a:gd name="connsiteX7" fmla="*/ 60389 w 66675"/>
                  <a:gd name="connsiteY7" fmla="*/ 31337 h 57150"/>
                  <a:gd name="connsiteX8" fmla="*/ 52959 w 66675"/>
                  <a:gd name="connsiteY8" fmla="*/ 34100 h 57150"/>
                  <a:gd name="connsiteX9" fmla="*/ 42482 w 66675"/>
                  <a:gd name="connsiteY9" fmla="*/ 37529 h 57150"/>
                  <a:gd name="connsiteX10" fmla="*/ 45339 w 66675"/>
                  <a:gd name="connsiteY10" fmla="*/ 30861 h 57150"/>
                  <a:gd name="connsiteX11" fmla="*/ 49625 w 66675"/>
                  <a:gd name="connsiteY11" fmla="*/ 17431 h 57150"/>
                  <a:gd name="connsiteX12" fmla="*/ 46958 w 66675"/>
                  <a:gd name="connsiteY12" fmla="*/ 15907 h 57150"/>
                  <a:gd name="connsiteX13" fmla="*/ 36481 w 66675"/>
                  <a:gd name="connsiteY13" fmla="*/ 26289 h 57150"/>
                  <a:gd name="connsiteX14" fmla="*/ 35147 w 66675"/>
                  <a:gd name="connsiteY14" fmla="*/ 27908 h 57150"/>
                  <a:gd name="connsiteX15" fmla="*/ 33052 w 66675"/>
                  <a:gd name="connsiteY15" fmla="*/ 27337 h 57150"/>
                  <a:gd name="connsiteX16" fmla="*/ 27908 w 66675"/>
                  <a:gd name="connsiteY16" fmla="*/ 20098 h 57150"/>
                  <a:gd name="connsiteX17" fmla="*/ 29051 w 66675"/>
                  <a:gd name="connsiteY17" fmla="*/ 8858 h 57150"/>
                  <a:gd name="connsiteX18" fmla="*/ 25051 w 66675"/>
                  <a:gd name="connsiteY18" fmla="*/ 6953 h 57150"/>
                  <a:gd name="connsiteX19" fmla="*/ 18098 w 66675"/>
                  <a:gd name="connsiteY19" fmla="*/ 16955 h 57150"/>
                  <a:gd name="connsiteX20" fmla="*/ 16002 w 66675"/>
                  <a:gd name="connsiteY20" fmla="*/ 20384 h 57150"/>
                  <a:gd name="connsiteX21" fmla="*/ 5525 w 66675"/>
                  <a:gd name="connsiteY21" fmla="*/ 36862 h 57150"/>
                  <a:gd name="connsiteX22" fmla="*/ 0 w 66675"/>
                  <a:gd name="connsiteY22" fmla="*/ 33433 h 57150"/>
                  <a:gd name="connsiteX23" fmla="*/ 10573 w 66675"/>
                  <a:gd name="connsiteY23" fmla="*/ 16859 h 57150"/>
                  <a:gd name="connsiteX24" fmla="*/ 12573 w 66675"/>
                  <a:gd name="connsiteY24" fmla="*/ 13621 h 57150"/>
                  <a:gd name="connsiteX25" fmla="*/ 24575 w 66675"/>
                  <a:gd name="connsiteY25" fmla="*/ 191 h 57150"/>
                  <a:gd name="connsiteX26" fmla="*/ 25527 w 66675"/>
                  <a:gd name="connsiteY26" fmla="*/ 0 h 57150"/>
                  <a:gd name="connsiteX27" fmla="*/ 39338 w 66675"/>
                  <a:gd name="connsiteY27" fmla="*/ 6382 h 57150"/>
                  <a:gd name="connsiteX28" fmla="*/ 36386 w 66675"/>
                  <a:gd name="connsiteY28" fmla="*/ 9620 h 57150"/>
                  <a:gd name="connsiteX29" fmla="*/ 34385 w 66675"/>
                  <a:gd name="connsiteY29" fmla="*/ 18764 h 57150"/>
                  <a:gd name="connsiteX30" fmla="*/ 44577 w 66675"/>
                  <a:gd name="connsiteY30" fmla="*/ 9239 h 57150"/>
                  <a:gd name="connsiteX31" fmla="*/ 46387 w 66675"/>
                  <a:gd name="connsiteY31" fmla="*/ 7715 h 57150"/>
                  <a:gd name="connsiteX32" fmla="*/ 56579 w 66675"/>
                  <a:gd name="connsiteY32" fmla="*/ 13811 h 57150"/>
                  <a:gd name="connsiteX33" fmla="*/ 56388 w 66675"/>
                  <a:gd name="connsiteY33" fmla="*/ 15811 h 57150"/>
                  <a:gd name="connsiteX34" fmla="*/ 53912 w 66675"/>
                  <a:gd name="connsiteY34" fmla="*/ 26765 h 57150"/>
                  <a:gd name="connsiteX35" fmla="*/ 56007 w 66675"/>
                  <a:gd name="connsiteY35" fmla="*/ 26098 h 57150"/>
                  <a:gd name="connsiteX36" fmla="*/ 64199 w 66675"/>
                  <a:gd name="connsiteY36" fmla="*/ 23051 h 57150"/>
                  <a:gd name="connsiteX37" fmla="*/ 66294 w 66675"/>
                  <a:gd name="connsiteY37" fmla="*/ 22384 h 57150"/>
                  <a:gd name="connsiteX38" fmla="*/ 74771 w 66675"/>
                  <a:gd name="connsiteY38" fmla="*/ 33147 h 57150"/>
                  <a:gd name="connsiteX39" fmla="*/ 72295 w 66675"/>
                  <a:gd name="connsiteY39" fmla="*/ 35147 h 57150"/>
                  <a:gd name="connsiteX40" fmla="*/ 58960 w 66675"/>
                  <a:gd name="connsiteY40" fmla="*/ 45148 h 57150"/>
                  <a:gd name="connsiteX41" fmla="*/ 61150 w 66675"/>
                  <a:gd name="connsiteY41" fmla="*/ 58103 h 5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66675" h="57150">
                    <a:moveTo>
                      <a:pt x="61150" y="58103"/>
                    </a:moveTo>
                    <a:lnTo>
                      <a:pt x="54959" y="56007"/>
                    </a:lnTo>
                    <a:cubicBezTo>
                      <a:pt x="56198" y="52578"/>
                      <a:pt x="53435" y="48673"/>
                      <a:pt x="51721" y="46673"/>
                    </a:cubicBezTo>
                    <a:lnTo>
                      <a:pt x="49054" y="43625"/>
                    </a:lnTo>
                    <a:lnTo>
                      <a:pt x="52578" y="41720"/>
                    </a:lnTo>
                    <a:cubicBezTo>
                      <a:pt x="56102" y="39719"/>
                      <a:pt x="62198" y="35052"/>
                      <a:pt x="65627" y="32385"/>
                    </a:cubicBezTo>
                    <a:lnTo>
                      <a:pt x="63913" y="30194"/>
                    </a:lnTo>
                    <a:cubicBezTo>
                      <a:pt x="62675" y="30575"/>
                      <a:pt x="61246" y="31052"/>
                      <a:pt x="60389" y="31337"/>
                    </a:cubicBezTo>
                    <a:cubicBezTo>
                      <a:pt x="59246" y="32099"/>
                      <a:pt x="57055" y="32861"/>
                      <a:pt x="52959" y="34100"/>
                    </a:cubicBezTo>
                    <a:lnTo>
                      <a:pt x="42482" y="37529"/>
                    </a:lnTo>
                    <a:lnTo>
                      <a:pt x="45339" y="30861"/>
                    </a:lnTo>
                    <a:cubicBezTo>
                      <a:pt x="47625" y="25622"/>
                      <a:pt x="49054" y="21146"/>
                      <a:pt x="49625" y="17431"/>
                    </a:cubicBezTo>
                    <a:lnTo>
                      <a:pt x="46958" y="15907"/>
                    </a:lnTo>
                    <a:cubicBezTo>
                      <a:pt x="44291" y="18288"/>
                      <a:pt x="39243" y="22955"/>
                      <a:pt x="36481" y="26289"/>
                    </a:cubicBezTo>
                    <a:lnTo>
                      <a:pt x="35147" y="27908"/>
                    </a:lnTo>
                    <a:lnTo>
                      <a:pt x="33052" y="27337"/>
                    </a:lnTo>
                    <a:cubicBezTo>
                      <a:pt x="30575" y="26670"/>
                      <a:pt x="28575" y="22574"/>
                      <a:pt x="27908" y="20098"/>
                    </a:cubicBezTo>
                    <a:cubicBezTo>
                      <a:pt x="26765" y="16288"/>
                      <a:pt x="27242" y="12383"/>
                      <a:pt x="29051" y="8858"/>
                    </a:cubicBezTo>
                    <a:lnTo>
                      <a:pt x="25051" y="6953"/>
                    </a:lnTo>
                    <a:cubicBezTo>
                      <a:pt x="23146" y="8573"/>
                      <a:pt x="19621" y="14288"/>
                      <a:pt x="18098" y="16955"/>
                    </a:cubicBezTo>
                    <a:cubicBezTo>
                      <a:pt x="17336" y="18193"/>
                      <a:pt x="16574" y="19431"/>
                      <a:pt x="16002" y="20384"/>
                    </a:cubicBezTo>
                    <a:cubicBezTo>
                      <a:pt x="13716" y="23908"/>
                      <a:pt x="8096" y="32861"/>
                      <a:pt x="5525" y="36862"/>
                    </a:cubicBezTo>
                    <a:lnTo>
                      <a:pt x="0" y="33433"/>
                    </a:lnTo>
                    <a:cubicBezTo>
                      <a:pt x="2572" y="29337"/>
                      <a:pt x="8192" y="20479"/>
                      <a:pt x="10573" y="16859"/>
                    </a:cubicBezTo>
                    <a:cubicBezTo>
                      <a:pt x="11144" y="15907"/>
                      <a:pt x="11811" y="14764"/>
                      <a:pt x="12573" y="13621"/>
                    </a:cubicBezTo>
                    <a:cubicBezTo>
                      <a:pt x="17050" y="6191"/>
                      <a:pt x="20479" y="953"/>
                      <a:pt x="24575" y="191"/>
                    </a:cubicBezTo>
                    <a:lnTo>
                      <a:pt x="25527" y="0"/>
                    </a:lnTo>
                    <a:lnTo>
                      <a:pt x="39338" y="6382"/>
                    </a:lnTo>
                    <a:lnTo>
                      <a:pt x="36386" y="9620"/>
                    </a:lnTo>
                    <a:cubicBezTo>
                      <a:pt x="33242" y="13145"/>
                      <a:pt x="33528" y="16478"/>
                      <a:pt x="34385" y="18764"/>
                    </a:cubicBezTo>
                    <a:cubicBezTo>
                      <a:pt x="38671" y="14288"/>
                      <a:pt x="44291" y="9525"/>
                      <a:pt x="44577" y="9239"/>
                    </a:cubicBezTo>
                    <a:lnTo>
                      <a:pt x="46387" y="7715"/>
                    </a:lnTo>
                    <a:lnTo>
                      <a:pt x="56579" y="13811"/>
                    </a:lnTo>
                    <a:lnTo>
                      <a:pt x="56388" y="15811"/>
                    </a:lnTo>
                    <a:cubicBezTo>
                      <a:pt x="56102" y="18955"/>
                      <a:pt x="55340" y="22574"/>
                      <a:pt x="53912" y="26765"/>
                    </a:cubicBezTo>
                    <a:cubicBezTo>
                      <a:pt x="54769" y="26480"/>
                      <a:pt x="55436" y="26289"/>
                      <a:pt x="56007" y="26098"/>
                    </a:cubicBezTo>
                    <a:cubicBezTo>
                      <a:pt x="57245" y="25241"/>
                      <a:pt x="59627" y="24479"/>
                      <a:pt x="64199" y="23051"/>
                    </a:cubicBezTo>
                    <a:lnTo>
                      <a:pt x="66294" y="22384"/>
                    </a:lnTo>
                    <a:lnTo>
                      <a:pt x="74771" y="33147"/>
                    </a:lnTo>
                    <a:lnTo>
                      <a:pt x="72295" y="35147"/>
                    </a:lnTo>
                    <a:cubicBezTo>
                      <a:pt x="71914" y="35433"/>
                      <a:pt x="64579" y="41434"/>
                      <a:pt x="58960" y="45148"/>
                    </a:cubicBezTo>
                    <a:cubicBezTo>
                      <a:pt x="61722" y="49721"/>
                      <a:pt x="62484" y="54197"/>
                      <a:pt x="61150" y="5810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213" name="Group 212">
              <a:extLst>
                <a:ext uri="{FF2B5EF4-FFF2-40B4-BE49-F238E27FC236}">
                  <a16:creationId xmlns:a16="http://schemas.microsoft.com/office/drawing/2014/main" id="{4E195CD0-83FE-466F-BC86-FCB51E4F3206}"/>
                </a:ext>
              </a:extLst>
            </p:cNvPr>
            <p:cNvGrpSpPr/>
            <p:nvPr/>
          </p:nvGrpSpPr>
          <p:grpSpPr>
            <a:xfrm>
              <a:off x="10622571" y="3059995"/>
              <a:ext cx="218153" cy="218153"/>
              <a:chOff x="-2011468" y="2534279"/>
              <a:chExt cx="333375" cy="333375"/>
            </a:xfrm>
          </p:grpSpPr>
          <p:sp>
            <p:nvSpPr>
              <p:cNvPr id="215" name="Freeform: Shape 214">
                <a:extLst>
                  <a:ext uri="{FF2B5EF4-FFF2-40B4-BE49-F238E27FC236}">
                    <a16:creationId xmlns:a16="http://schemas.microsoft.com/office/drawing/2014/main" id="{75F52354-B16A-4245-A8FB-F12F6EEB9CC4}"/>
                  </a:ext>
                </a:extLst>
              </p:cNvPr>
              <p:cNvSpPr/>
              <p:nvPr/>
            </p:nvSpPr>
            <p:spPr>
              <a:xfrm>
                <a:off x="-2011468" y="2534279"/>
                <a:ext cx="333375" cy="333375"/>
              </a:xfrm>
              <a:custGeom>
                <a:avLst/>
                <a:gdLst>
                  <a:gd name="connsiteX0" fmla="*/ 342329 w 333375"/>
                  <a:gd name="connsiteY0" fmla="*/ 171164 h 333375"/>
                  <a:gd name="connsiteX1" fmla="*/ 171164 w 333375"/>
                  <a:gd name="connsiteY1" fmla="*/ 342329 h 333375"/>
                  <a:gd name="connsiteX2" fmla="*/ 0 w 333375"/>
                  <a:gd name="connsiteY2" fmla="*/ 171164 h 333375"/>
                  <a:gd name="connsiteX3" fmla="*/ 171164 w 333375"/>
                  <a:gd name="connsiteY3" fmla="*/ 0 h 333375"/>
                  <a:gd name="connsiteX4" fmla="*/ 342329 w 333375"/>
                  <a:gd name="connsiteY4" fmla="*/ 171164 h 3333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33375" h="333375">
                    <a:moveTo>
                      <a:pt x="342329" y="171164"/>
                    </a:moveTo>
                    <a:cubicBezTo>
                      <a:pt x="342329" y="265748"/>
                      <a:pt x="265652" y="342329"/>
                      <a:pt x="171164" y="342329"/>
                    </a:cubicBezTo>
                    <a:cubicBezTo>
                      <a:pt x="76581" y="342329"/>
                      <a:pt x="0" y="265652"/>
                      <a:pt x="0" y="171164"/>
                    </a:cubicBezTo>
                    <a:cubicBezTo>
                      <a:pt x="0" y="76676"/>
                      <a:pt x="76676" y="0"/>
                      <a:pt x="171164" y="0"/>
                    </a:cubicBezTo>
                    <a:cubicBezTo>
                      <a:pt x="265652" y="0"/>
                      <a:pt x="342329" y="76581"/>
                      <a:pt x="342329" y="171164"/>
                    </a:cubicBezTo>
                    <a:close/>
                  </a:path>
                </a:pathLst>
              </a:custGeom>
              <a:solidFill>
                <a:schemeClr val="bg2">
                  <a:lumMod val="8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grpSp>
            <p:nvGrpSpPr>
              <p:cNvPr id="216" name="Graphic 2009">
                <a:extLst>
                  <a:ext uri="{FF2B5EF4-FFF2-40B4-BE49-F238E27FC236}">
                    <a16:creationId xmlns:a16="http://schemas.microsoft.com/office/drawing/2014/main" id="{120D4980-A444-46D3-99A3-C7DA52F3C818}"/>
                  </a:ext>
                </a:extLst>
              </p:cNvPr>
              <p:cNvGrpSpPr/>
              <p:nvPr/>
            </p:nvGrpSpPr>
            <p:grpSpPr>
              <a:xfrm>
                <a:off x="-1937173" y="2593905"/>
                <a:ext cx="123825" cy="120301"/>
                <a:chOff x="-2433527" y="3068478"/>
                <a:chExt cx="123825" cy="120301"/>
              </a:xfrm>
              <a:solidFill>
                <a:srgbClr val="FFFFFF"/>
              </a:solidFill>
            </p:grpSpPr>
            <p:sp>
              <p:nvSpPr>
                <p:cNvPr id="217" name="Freeform: Shape 216">
                  <a:extLst>
                    <a:ext uri="{FF2B5EF4-FFF2-40B4-BE49-F238E27FC236}">
                      <a16:creationId xmlns:a16="http://schemas.microsoft.com/office/drawing/2014/main" id="{1FAD67FD-3DB4-469F-9174-E82C0D647B36}"/>
                    </a:ext>
                  </a:extLst>
                </p:cNvPr>
                <p:cNvSpPr/>
                <p:nvPr/>
              </p:nvSpPr>
              <p:spPr>
                <a:xfrm>
                  <a:off x="-2422192" y="3103054"/>
                  <a:ext cx="95250" cy="85725"/>
                </a:xfrm>
                <a:custGeom>
                  <a:avLst/>
                  <a:gdLst>
                    <a:gd name="connsiteX0" fmla="*/ 51911 w 95250"/>
                    <a:gd name="connsiteY0" fmla="*/ 85725 h 85725"/>
                    <a:gd name="connsiteX1" fmla="*/ 0 w 95250"/>
                    <a:gd name="connsiteY1" fmla="*/ 14097 h 85725"/>
                    <a:gd name="connsiteX2" fmla="*/ 7620 w 95250"/>
                    <a:gd name="connsiteY2" fmla="*/ 13525 h 85725"/>
                    <a:gd name="connsiteX3" fmla="*/ 51911 w 95250"/>
                    <a:gd name="connsiteY3" fmla="*/ 78200 h 85725"/>
                    <a:gd name="connsiteX4" fmla="*/ 96202 w 95250"/>
                    <a:gd name="connsiteY4" fmla="*/ 13621 h 85725"/>
                    <a:gd name="connsiteX5" fmla="*/ 98869 w 95250"/>
                    <a:gd name="connsiteY5" fmla="*/ 13811 h 85725"/>
                    <a:gd name="connsiteX6" fmla="*/ 96488 w 95250"/>
                    <a:gd name="connsiteY6" fmla="*/ 12192 h 85725"/>
                    <a:gd name="connsiteX7" fmla="*/ 104680 w 95250"/>
                    <a:gd name="connsiteY7" fmla="*/ 0 h 85725"/>
                    <a:gd name="connsiteX8" fmla="*/ 103727 w 95250"/>
                    <a:gd name="connsiteY8" fmla="*/ 14192 h 85725"/>
                    <a:gd name="connsiteX9" fmla="*/ 51911 w 95250"/>
                    <a:gd name="connsiteY9" fmla="*/ 85725 h 857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95250" h="85725">
                      <a:moveTo>
                        <a:pt x="51911" y="85725"/>
                      </a:moveTo>
                      <a:cubicBezTo>
                        <a:pt x="25527" y="85725"/>
                        <a:pt x="3238" y="54959"/>
                        <a:pt x="0" y="14097"/>
                      </a:cubicBezTo>
                      <a:lnTo>
                        <a:pt x="7620" y="13525"/>
                      </a:lnTo>
                      <a:cubicBezTo>
                        <a:pt x="10573" y="50387"/>
                        <a:pt x="29623" y="78200"/>
                        <a:pt x="51911" y="78200"/>
                      </a:cubicBezTo>
                      <a:cubicBezTo>
                        <a:pt x="74200" y="78200"/>
                        <a:pt x="93250" y="50483"/>
                        <a:pt x="96202" y="13621"/>
                      </a:cubicBezTo>
                      <a:lnTo>
                        <a:pt x="98869" y="13811"/>
                      </a:lnTo>
                      <a:lnTo>
                        <a:pt x="96488" y="12192"/>
                      </a:lnTo>
                      <a:lnTo>
                        <a:pt x="104680" y="0"/>
                      </a:lnTo>
                      <a:lnTo>
                        <a:pt x="103727" y="14192"/>
                      </a:lnTo>
                      <a:cubicBezTo>
                        <a:pt x="100489" y="54959"/>
                        <a:pt x="78200" y="85725"/>
                        <a:pt x="51911" y="85725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grpSp>
              <p:nvGrpSpPr>
                <p:cNvPr id="218" name="Graphic 2009">
                  <a:extLst>
                    <a:ext uri="{FF2B5EF4-FFF2-40B4-BE49-F238E27FC236}">
                      <a16:creationId xmlns:a16="http://schemas.microsoft.com/office/drawing/2014/main" id="{7F362DB1-73D5-4CCE-B4D0-7A9933FD933E}"/>
                    </a:ext>
                  </a:extLst>
                </p:cNvPr>
                <p:cNvGrpSpPr/>
                <p:nvPr/>
              </p:nvGrpSpPr>
              <p:grpSpPr>
                <a:xfrm>
                  <a:off x="-2433527" y="3068478"/>
                  <a:ext cx="123825" cy="47625"/>
                  <a:chOff x="-2433527" y="3068478"/>
                  <a:chExt cx="123825" cy="47625"/>
                </a:xfrm>
                <a:solidFill>
                  <a:srgbClr val="FFFFFF"/>
                </a:solidFill>
              </p:grpSpPr>
              <p:sp>
                <p:nvSpPr>
                  <p:cNvPr id="222" name="Freeform: Shape 221">
                    <a:extLst>
                      <a:ext uri="{FF2B5EF4-FFF2-40B4-BE49-F238E27FC236}">
                        <a16:creationId xmlns:a16="http://schemas.microsoft.com/office/drawing/2014/main" id="{1F51AE95-5306-4542-9142-08FA344E061F}"/>
                      </a:ext>
                    </a:extLst>
                  </p:cNvPr>
                  <p:cNvSpPr/>
                  <p:nvPr/>
                </p:nvSpPr>
                <p:spPr>
                  <a:xfrm>
                    <a:off x="-2433527" y="3068478"/>
                    <a:ext cx="38100" cy="47625"/>
                  </a:xfrm>
                  <a:custGeom>
                    <a:avLst/>
                    <a:gdLst>
                      <a:gd name="connsiteX0" fmla="*/ 20098 w 38100"/>
                      <a:gd name="connsiteY0" fmla="*/ 51054 h 47625"/>
                      <a:gd name="connsiteX1" fmla="*/ 0 w 38100"/>
                      <a:gd name="connsiteY1" fmla="*/ 25527 h 47625"/>
                      <a:gd name="connsiteX2" fmla="*/ 20098 w 38100"/>
                      <a:gd name="connsiteY2" fmla="*/ 0 h 47625"/>
                      <a:gd name="connsiteX3" fmla="*/ 40195 w 38100"/>
                      <a:gd name="connsiteY3" fmla="*/ 25527 h 47625"/>
                      <a:gd name="connsiteX4" fmla="*/ 20098 w 38100"/>
                      <a:gd name="connsiteY4" fmla="*/ 51054 h 47625"/>
                      <a:gd name="connsiteX5" fmla="*/ 20098 w 38100"/>
                      <a:gd name="connsiteY5" fmla="*/ 7620 h 47625"/>
                      <a:gd name="connsiteX6" fmla="*/ 7620 w 38100"/>
                      <a:gd name="connsiteY6" fmla="*/ 25527 h 47625"/>
                      <a:gd name="connsiteX7" fmla="*/ 20098 w 38100"/>
                      <a:gd name="connsiteY7" fmla="*/ 43434 h 47625"/>
                      <a:gd name="connsiteX8" fmla="*/ 32576 w 38100"/>
                      <a:gd name="connsiteY8" fmla="*/ 25527 h 47625"/>
                      <a:gd name="connsiteX9" fmla="*/ 20098 w 38100"/>
                      <a:gd name="connsiteY9" fmla="*/ 7620 h 476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38100" h="47625">
                        <a:moveTo>
                          <a:pt x="20098" y="51054"/>
                        </a:moveTo>
                        <a:cubicBezTo>
                          <a:pt x="9049" y="51054"/>
                          <a:pt x="0" y="39624"/>
                          <a:pt x="0" y="25527"/>
                        </a:cubicBezTo>
                        <a:cubicBezTo>
                          <a:pt x="0" y="11430"/>
                          <a:pt x="9049" y="0"/>
                          <a:pt x="20098" y="0"/>
                        </a:cubicBezTo>
                        <a:cubicBezTo>
                          <a:pt x="31147" y="0"/>
                          <a:pt x="40195" y="11430"/>
                          <a:pt x="40195" y="25527"/>
                        </a:cubicBezTo>
                        <a:cubicBezTo>
                          <a:pt x="40195" y="39624"/>
                          <a:pt x="31242" y="51054"/>
                          <a:pt x="20098" y="51054"/>
                        </a:cubicBezTo>
                        <a:close/>
                        <a:moveTo>
                          <a:pt x="20098" y="7620"/>
                        </a:moveTo>
                        <a:cubicBezTo>
                          <a:pt x="13335" y="7620"/>
                          <a:pt x="7620" y="15811"/>
                          <a:pt x="7620" y="25527"/>
                        </a:cubicBezTo>
                        <a:cubicBezTo>
                          <a:pt x="7620" y="35242"/>
                          <a:pt x="13335" y="43434"/>
                          <a:pt x="20098" y="43434"/>
                        </a:cubicBezTo>
                        <a:cubicBezTo>
                          <a:pt x="26860" y="43434"/>
                          <a:pt x="32576" y="35242"/>
                          <a:pt x="32576" y="25527"/>
                        </a:cubicBezTo>
                        <a:cubicBezTo>
                          <a:pt x="32576" y="15811"/>
                          <a:pt x="26860" y="7620"/>
                          <a:pt x="20098" y="762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23" name="Freeform: Shape 222">
                    <a:extLst>
                      <a:ext uri="{FF2B5EF4-FFF2-40B4-BE49-F238E27FC236}">
                        <a16:creationId xmlns:a16="http://schemas.microsoft.com/office/drawing/2014/main" id="{3B3E349B-4C9D-4B02-9EA3-1A256ED739D5}"/>
                      </a:ext>
                    </a:extLst>
                  </p:cNvPr>
                  <p:cNvSpPr/>
                  <p:nvPr/>
                </p:nvSpPr>
                <p:spPr>
                  <a:xfrm>
                    <a:off x="-2343896" y="3068478"/>
                    <a:ext cx="38100" cy="47625"/>
                  </a:xfrm>
                  <a:custGeom>
                    <a:avLst/>
                    <a:gdLst>
                      <a:gd name="connsiteX0" fmla="*/ 20098 w 38100"/>
                      <a:gd name="connsiteY0" fmla="*/ 51054 h 47625"/>
                      <a:gd name="connsiteX1" fmla="*/ 0 w 38100"/>
                      <a:gd name="connsiteY1" fmla="*/ 25527 h 47625"/>
                      <a:gd name="connsiteX2" fmla="*/ 20098 w 38100"/>
                      <a:gd name="connsiteY2" fmla="*/ 0 h 47625"/>
                      <a:gd name="connsiteX3" fmla="*/ 40195 w 38100"/>
                      <a:gd name="connsiteY3" fmla="*/ 25527 h 47625"/>
                      <a:gd name="connsiteX4" fmla="*/ 20098 w 38100"/>
                      <a:gd name="connsiteY4" fmla="*/ 51054 h 47625"/>
                      <a:gd name="connsiteX5" fmla="*/ 20098 w 38100"/>
                      <a:gd name="connsiteY5" fmla="*/ 7620 h 47625"/>
                      <a:gd name="connsiteX6" fmla="*/ 7620 w 38100"/>
                      <a:gd name="connsiteY6" fmla="*/ 25527 h 47625"/>
                      <a:gd name="connsiteX7" fmla="*/ 20098 w 38100"/>
                      <a:gd name="connsiteY7" fmla="*/ 43434 h 47625"/>
                      <a:gd name="connsiteX8" fmla="*/ 32576 w 38100"/>
                      <a:gd name="connsiteY8" fmla="*/ 25527 h 47625"/>
                      <a:gd name="connsiteX9" fmla="*/ 20098 w 38100"/>
                      <a:gd name="connsiteY9" fmla="*/ 7620 h 476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38100" h="47625">
                        <a:moveTo>
                          <a:pt x="20098" y="51054"/>
                        </a:moveTo>
                        <a:cubicBezTo>
                          <a:pt x="9049" y="51054"/>
                          <a:pt x="0" y="39624"/>
                          <a:pt x="0" y="25527"/>
                        </a:cubicBezTo>
                        <a:cubicBezTo>
                          <a:pt x="0" y="11430"/>
                          <a:pt x="9049" y="0"/>
                          <a:pt x="20098" y="0"/>
                        </a:cubicBezTo>
                        <a:cubicBezTo>
                          <a:pt x="31147" y="0"/>
                          <a:pt x="40195" y="11430"/>
                          <a:pt x="40195" y="25527"/>
                        </a:cubicBezTo>
                        <a:cubicBezTo>
                          <a:pt x="40195" y="39624"/>
                          <a:pt x="31242" y="51054"/>
                          <a:pt x="20098" y="51054"/>
                        </a:cubicBezTo>
                        <a:close/>
                        <a:moveTo>
                          <a:pt x="20098" y="7620"/>
                        </a:moveTo>
                        <a:cubicBezTo>
                          <a:pt x="13335" y="7620"/>
                          <a:pt x="7620" y="15811"/>
                          <a:pt x="7620" y="25527"/>
                        </a:cubicBezTo>
                        <a:cubicBezTo>
                          <a:pt x="7620" y="35242"/>
                          <a:pt x="13335" y="43434"/>
                          <a:pt x="20098" y="43434"/>
                        </a:cubicBezTo>
                        <a:cubicBezTo>
                          <a:pt x="26861" y="43434"/>
                          <a:pt x="32576" y="35242"/>
                          <a:pt x="32576" y="25527"/>
                        </a:cubicBezTo>
                        <a:cubicBezTo>
                          <a:pt x="32576" y="15811"/>
                          <a:pt x="26861" y="7620"/>
                          <a:pt x="20098" y="762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sp>
              <p:nvSpPr>
                <p:cNvPr id="219" name="Freeform: Shape 218">
                  <a:extLst>
                    <a:ext uri="{FF2B5EF4-FFF2-40B4-BE49-F238E27FC236}">
                      <a16:creationId xmlns:a16="http://schemas.microsoft.com/office/drawing/2014/main" id="{0AAC24B8-391F-4BE1-95E1-BA7AD7436B3A}"/>
                    </a:ext>
                  </a:extLst>
                </p:cNvPr>
                <p:cNvSpPr/>
                <p:nvPr/>
              </p:nvSpPr>
              <p:spPr>
                <a:xfrm>
                  <a:off x="-2373519" y="3186398"/>
                  <a:ext cx="104775" cy="76200"/>
                </a:xfrm>
                <a:custGeom>
                  <a:avLst/>
                  <a:gdLst>
                    <a:gd name="connsiteX0" fmla="*/ 46768 w 104775"/>
                    <a:gd name="connsiteY0" fmla="*/ 81820 h 76200"/>
                    <a:gd name="connsiteX1" fmla="*/ 0 w 104775"/>
                    <a:gd name="connsiteY1" fmla="*/ 286 h 76200"/>
                    <a:gd name="connsiteX2" fmla="*/ 7620 w 104775"/>
                    <a:gd name="connsiteY2" fmla="*/ 0 h 76200"/>
                    <a:gd name="connsiteX3" fmla="*/ 46768 w 104775"/>
                    <a:gd name="connsiteY3" fmla="*/ 74200 h 76200"/>
                    <a:gd name="connsiteX4" fmla="*/ 77343 w 104775"/>
                    <a:gd name="connsiteY4" fmla="*/ 40481 h 76200"/>
                    <a:gd name="connsiteX5" fmla="*/ 108776 w 104775"/>
                    <a:gd name="connsiteY5" fmla="*/ 9620 h 76200"/>
                    <a:gd name="connsiteX6" fmla="*/ 107633 w 104775"/>
                    <a:gd name="connsiteY6" fmla="*/ 17145 h 76200"/>
                    <a:gd name="connsiteX7" fmla="*/ 84487 w 104775"/>
                    <a:gd name="connsiteY7" fmla="*/ 43053 h 76200"/>
                    <a:gd name="connsiteX8" fmla="*/ 47339 w 104775"/>
                    <a:gd name="connsiteY8" fmla="*/ 81820 h 76200"/>
                    <a:gd name="connsiteX9" fmla="*/ 46768 w 104775"/>
                    <a:gd name="connsiteY9" fmla="*/ 81820 h 762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04775" h="76200">
                      <a:moveTo>
                        <a:pt x="46768" y="81820"/>
                      </a:moveTo>
                      <a:cubicBezTo>
                        <a:pt x="3143" y="81820"/>
                        <a:pt x="191" y="3620"/>
                        <a:pt x="0" y="286"/>
                      </a:cubicBezTo>
                      <a:lnTo>
                        <a:pt x="7620" y="0"/>
                      </a:lnTo>
                      <a:cubicBezTo>
                        <a:pt x="7620" y="762"/>
                        <a:pt x="10478" y="74200"/>
                        <a:pt x="46768" y="74200"/>
                      </a:cubicBezTo>
                      <a:cubicBezTo>
                        <a:pt x="65341" y="73819"/>
                        <a:pt x="71438" y="56864"/>
                        <a:pt x="77343" y="40481"/>
                      </a:cubicBezTo>
                      <a:cubicBezTo>
                        <a:pt x="83630" y="23146"/>
                        <a:pt x="89535" y="6668"/>
                        <a:pt x="108776" y="9620"/>
                      </a:cubicBezTo>
                      <a:lnTo>
                        <a:pt x="107633" y="17145"/>
                      </a:lnTo>
                      <a:cubicBezTo>
                        <a:pt x="95726" y="15335"/>
                        <a:pt x="91726" y="23241"/>
                        <a:pt x="84487" y="43053"/>
                      </a:cubicBezTo>
                      <a:cubicBezTo>
                        <a:pt x="78295" y="60103"/>
                        <a:pt x="70676" y="81344"/>
                        <a:pt x="47339" y="81820"/>
                      </a:cubicBezTo>
                      <a:cubicBezTo>
                        <a:pt x="47244" y="81820"/>
                        <a:pt x="47054" y="81820"/>
                        <a:pt x="46768" y="8182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20" name="Freeform: Shape 219">
                  <a:extLst>
                    <a:ext uri="{FF2B5EF4-FFF2-40B4-BE49-F238E27FC236}">
                      <a16:creationId xmlns:a16="http://schemas.microsoft.com/office/drawing/2014/main" id="{57DADFDD-78AE-4761-9496-9177E2140A23}"/>
                    </a:ext>
                  </a:extLst>
                </p:cNvPr>
                <p:cNvSpPr/>
                <p:nvPr/>
              </p:nvSpPr>
              <p:spPr>
                <a:xfrm>
                  <a:off x="-2270554" y="3155251"/>
                  <a:ext cx="57150" cy="57150"/>
                </a:xfrm>
                <a:custGeom>
                  <a:avLst/>
                  <a:gdLst>
                    <a:gd name="connsiteX0" fmla="*/ 32671 w 57150"/>
                    <a:gd name="connsiteY0" fmla="*/ 65342 h 57150"/>
                    <a:gd name="connsiteX1" fmla="*/ 0 w 57150"/>
                    <a:gd name="connsiteY1" fmla="*/ 32671 h 57150"/>
                    <a:gd name="connsiteX2" fmla="*/ 32671 w 57150"/>
                    <a:gd name="connsiteY2" fmla="*/ 0 h 57150"/>
                    <a:gd name="connsiteX3" fmla="*/ 65342 w 57150"/>
                    <a:gd name="connsiteY3" fmla="*/ 32671 h 57150"/>
                    <a:gd name="connsiteX4" fmla="*/ 32671 w 57150"/>
                    <a:gd name="connsiteY4" fmla="*/ 65342 h 57150"/>
                    <a:gd name="connsiteX5" fmla="*/ 32671 w 57150"/>
                    <a:gd name="connsiteY5" fmla="*/ 7620 h 57150"/>
                    <a:gd name="connsiteX6" fmla="*/ 7620 w 57150"/>
                    <a:gd name="connsiteY6" fmla="*/ 32671 h 57150"/>
                    <a:gd name="connsiteX7" fmla="*/ 32671 w 57150"/>
                    <a:gd name="connsiteY7" fmla="*/ 57721 h 57150"/>
                    <a:gd name="connsiteX8" fmla="*/ 57722 w 57150"/>
                    <a:gd name="connsiteY8" fmla="*/ 32671 h 57150"/>
                    <a:gd name="connsiteX9" fmla="*/ 32671 w 57150"/>
                    <a:gd name="connsiteY9" fmla="*/ 7620 h 57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57150" h="57150">
                      <a:moveTo>
                        <a:pt x="32671" y="65342"/>
                      </a:moveTo>
                      <a:cubicBezTo>
                        <a:pt x="14669" y="65342"/>
                        <a:pt x="0" y="50673"/>
                        <a:pt x="0" y="32671"/>
                      </a:cubicBezTo>
                      <a:cubicBezTo>
                        <a:pt x="0" y="14669"/>
                        <a:pt x="14669" y="0"/>
                        <a:pt x="32671" y="0"/>
                      </a:cubicBezTo>
                      <a:cubicBezTo>
                        <a:pt x="50673" y="0"/>
                        <a:pt x="65342" y="14669"/>
                        <a:pt x="65342" y="32671"/>
                      </a:cubicBezTo>
                      <a:cubicBezTo>
                        <a:pt x="65342" y="50673"/>
                        <a:pt x="50673" y="65342"/>
                        <a:pt x="32671" y="65342"/>
                      </a:cubicBezTo>
                      <a:close/>
                      <a:moveTo>
                        <a:pt x="32671" y="7620"/>
                      </a:moveTo>
                      <a:cubicBezTo>
                        <a:pt x="18859" y="7620"/>
                        <a:pt x="7620" y="18859"/>
                        <a:pt x="7620" y="32671"/>
                      </a:cubicBezTo>
                      <a:cubicBezTo>
                        <a:pt x="7620" y="46482"/>
                        <a:pt x="18859" y="57721"/>
                        <a:pt x="32671" y="57721"/>
                      </a:cubicBezTo>
                      <a:cubicBezTo>
                        <a:pt x="46482" y="57721"/>
                        <a:pt x="57722" y="46482"/>
                        <a:pt x="57722" y="32671"/>
                      </a:cubicBezTo>
                      <a:cubicBezTo>
                        <a:pt x="57722" y="18859"/>
                        <a:pt x="46482" y="7620"/>
                        <a:pt x="32671" y="762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221" name="Freeform: Shape 220">
                  <a:extLst>
                    <a:ext uri="{FF2B5EF4-FFF2-40B4-BE49-F238E27FC236}">
                      <a16:creationId xmlns:a16="http://schemas.microsoft.com/office/drawing/2014/main" id="{E0A3F3AB-CCF0-4BA5-9FD3-040CFF7E4670}"/>
                    </a:ext>
                  </a:extLst>
                </p:cNvPr>
                <p:cNvSpPr/>
                <p:nvPr/>
              </p:nvSpPr>
              <p:spPr>
                <a:xfrm>
                  <a:off x="-2250551" y="3174872"/>
                  <a:ext cx="19050" cy="19050"/>
                </a:xfrm>
                <a:custGeom>
                  <a:avLst/>
                  <a:gdLst>
                    <a:gd name="connsiteX0" fmla="*/ 12954 w 19050"/>
                    <a:gd name="connsiteY0" fmla="*/ 25908 h 19050"/>
                    <a:gd name="connsiteX1" fmla="*/ 0 w 19050"/>
                    <a:gd name="connsiteY1" fmla="*/ 12954 h 19050"/>
                    <a:gd name="connsiteX2" fmla="*/ 12954 w 19050"/>
                    <a:gd name="connsiteY2" fmla="*/ 0 h 19050"/>
                    <a:gd name="connsiteX3" fmla="*/ 25908 w 19050"/>
                    <a:gd name="connsiteY3" fmla="*/ 12954 h 19050"/>
                    <a:gd name="connsiteX4" fmla="*/ 12954 w 19050"/>
                    <a:gd name="connsiteY4" fmla="*/ 25908 h 19050"/>
                    <a:gd name="connsiteX5" fmla="*/ 12954 w 19050"/>
                    <a:gd name="connsiteY5" fmla="*/ 7620 h 19050"/>
                    <a:gd name="connsiteX6" fmla="*/ 7620 w 19050"/>
                    <a:gd name="connsiteY6" fmla="*/ 12954 h 19050"/>
                    <a:gd name="connsiteX7" fmla="*/ 12954 w 19050"/>
                    <a:gd name="connsiteY7" fmla="*/ 18288 h 19050"/>
                    <a:gd name="connsiteX8" fmla="*/ 18288 w 19050"/>
                    <a:gd name="connsiteY8" fmla="*/ 12954 h 19050"/>
                    <a:gd name="connsiteX9" fmla="*/ 12954 w 19050"/>
                    <a:gd name="connsiteY9" fmla="*/ 7620 h 190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9050" h="19050">
                      <a:moveTo>
                        <a:pt x="12954" y="25908"/>
                      </a:moveTo>
                      <a:cubicBezTo>
                        <a:pt x="5810" y="25908"/>
                        <a:pt x="0" y="20098"/>
                        <a:pt x="0" y="12954"/>
                      </a:cubicBezTo>
                      <a:cubicBezTo>
                        <a:pt x="0" y="5810"/>
                        <a:pt x="5810" y="0"/>
                        <a:pt x="12954" y="0"/>
                      </a:cubicBezTo>
                      <a:cubicBezTo>
                        <a:pt x="20098" y="0"/>
                        <a:pt x="25908" y="5810"/>
                        <a:pt x="25908" y="12954"/>
                      </a:cubicBezTo>
                      <a:cubicBezTo>
                        <a:pt x="25813" y="20098"/>
                        <a:pt x="20002" y="25908"/>
                        <a:pt x="12954" y="25908"/>
                      </a:cubicBezTo>
                      <a:close/>
                      <a:moveTo>
                        <a:pt x="12954" y="7620"/>
                      </a:moveTo>
                      <a:cubicBezTo>
                        <a:pt x="10001" y="7620"/>
                        <a:pt x="7620" y="10001"/>
                        <a:pt x="7620" y="12954"/>
                      </a:cubicBezTo>
                      <a:cubicBezTo>
                        <a:pt x="7620" y="15907"/>
                        <a:pt x="10001" y="18288"/>
                        <a:pt x="12954" y="18288"/>
                      </a:cubicBezTo>
                      <a:cubicBezTo>
                        <a:pt x="15907" y="18288"/>
                        <a:pt x="18288" y="15907"/>
                        <a:pt x="18288" y="12954"/>
                      </a:cubicBezTo>
                      <a:cubicBezTo>
                        <a:pt x="18193" y="10001"/>
                        <a:pt x="15811" y="7620"/>
                        <a:pt x="12954" y="762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  <p:sp>
          <p:nvSpPr>
            <p:cNvPr id="214" name="Freeform: Shape 213">
              <a:extLst>
                <a:ext uri="{FF2B5EF4-FFF2-40B4-BE49-F238E27FC236}">
                  <a16:creationId xmlns:a16="http://schemas.microsoft.com/office/drawing/2014/main" id="{2D1A3AFD-557E-4B0B-B05A-5FAE45F13CA7}"/>
                </a:ext>
              </a:extLst>
            </p:cNvPr>
            <p:cNvSpPr/>
            <p:nvPr/>
          </p:nvSpPr>
          <p:spPr>
            <a:xfrm>
              <a:off x="11076940" y="4147820"/>
              <a:ext cx="510540" cy="332740"/>
            </a:xfrm>
            <a:custGeom>
              <a:avLst/>
              <a:gdLst>
                <a:gd name="connsiteX0" fmla="*/ 490220 w 510540"/>
                <a:gd name="connsiteY0" fmla="*/ 0 h 332740"/>
                <a:gd name="connsiteX1" fmla="*/ 0 w 510540"/>
                <a:gd name="connsiteY1" fmla="*/ 165100 h 332740"/>
                <a:gd name="connsiteX2" fmla="*/ 91440 w 510540"/>
                <a:gd name="connsiteY2" fmla="*/ 332740 h 332740"/>
                <a:gd name="connsiteX3" fmla="*/ 510540 w 510540"/>
                <a:gd name="connsiteY3" fmla="*/ 327660 h 332740"/>
                <a:gd name="connsiteX4" fmla="*/ 508000 w 510540"/>
                <a:gd name="connsiteY4" fmla="*/ 299720 h 332740"/>
                <a:gd name="connsiteX5" fmla="*/ 490220 w 510540"/>
                <a:gd name="connsiteY5" fmla="*/ 0 h 332740"/>
                <a:gd name="connsiteX0" fmla="*/ 490220 w 510540"/>
                <a:gd name="connsiteY0" fmla="*/ 0 h 332740"/>
                <a:gd name="connsiteX1" fmla="*/ 0 w 510540"/>
                <a:gd name="connsiteY1" fmla="*/ 170815 h 332740"/>
                <a:gd name="connsiteX2" fmla="*/ 91440 w 510540"/>
                <a:gd name="connsiteY2" fmla="*/ 332740 h 332740"/>
                <a:gd name="connsiteX3" fmla="*/ 510540 w 510540"/>
                <a:gd name="connsiteY3" fmla="*/ 327660 h 332740"/>
                <a:gd name="connsiteX4" fmla="*/ 508000 w 510540"/>
                <a:gd name="connsiteY4" fmla="*/ 299720 h 332740"/>
                <a:gd name="connsiteX5" fmla="*/ 490220 w 510540"/>
                <a:gd name="connsiteY5" fmla="*/ 0 h 332740"/>
                <a:gd name="connsiteX0" fmla="*/ 490220 w 510540"/>
                <a:gd name="connsiteY0" fmla="*/ 0 h 332740"/>
                <a:gd name="connsiteX1" fmla="*/ 0 w 510540"/>
                <a:gd name="connsiteY1" fmla="*/ 170815 h 332740"/>
                <a:gd name="connsiteX2" fmla="*/ 91440 w 510540"/>
                <a:gd name="connsiteY2" fmla="*/ 332740 h 332740"/>
                <a:gd name="connsiteX3" fmla="*/ 510540 w 510540"/>
                <a:gd name="connsiteY3" fmla="*/ 327660 h 332740"/>
                <a:gd name="connsiteX4" fmla="*/ 508000 w 510540"/>
                <a:gd name="connsiteY4" fmla="*/ 299720 h 332740"/>
                <a:gd name="connsiteX5" fmla="*/ 490220 w 510540"/>
                <a:gd name="connsiteY5" fmla="*/ 0 h 332740"/>
                <a:gd name="connsiteX0" fmla="*/ 490220 w 510540"/>
                <a:gd name="connsiteY0" fmla="*/ 0 h 332740"/>
                <a:gd name="connsiteX1" fmla="*/ 0 w 510540"/>
                <a:gd name="connsiteY1" fmla="*/ 170815 h 332740"/>
                <a:gd name="connsiteX2" fmla="*/ 91440 w 510540"/>
                <a:gd name="connsiteY2" fmla="*/ 332740 h 332740"/>
                <a:gd name="connsiteX3" fmla="*/ 510540 w 510540"/>
                <a:gd name="connsiteY3" fmla="*/ 327660 h 332740"/>
                <a:gd name="connsiteX4" fmla="*/ 508000 w 510540"/>
                <a:gd name="connsiteY4" fmla="*/ 299720 h 332740"/>
                <a:gd name="connsiteX5" fmla="*/ 490220 w 510540"/>
                <a:gd name="connsiteY5" fmla="*/ 0 h 332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0540" h="332740">
                  <a:moveTo>
                    <a:pt x="490220" y="0"/>
                  </a:moveTo>
                  <a:cubicBezTo>
                    <a:pt x="321098" y="75988"/>
                    <a:pt x="199602" y="117687"/>
                    <a:pt x="0" y="170815"/>
                  </a:cubicBezTo>
                  <a:lnTo>
                    <a:pt x="91440" y="332740"/>
                  </a:lnTo>
                  <a:lnTo>
                    <a:pt x="510540" y="327660"/>
                  </a:lnTo>
                  <a:lnTo>
                    <a:pt x="508000" y="299720"/>
                  </a:lnTo>
                  <a:lnTo>
                    <a:pt x="49022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schemeClr val="tx1"/>
                </a:solidFill>
              </a:endParaRPr>
            </a:p>
          </p:txBody>
        </p:sp>
      </p:grpSp>
      <p:sp>
        <p:nvSpPr>
          <p:cNvPr id="101" name="5. Source">
            <a:extLst>
              <a:ext uri="{FF2B5EF4-FFF2-40B4-BE49-F238E27FC236}">
                <a16:creationId xmlns:a16="http://schemas.microsoft.com/office/drawing/2014/main" id="{8B158833-1728-4A51-928D-62073812060B}"/>
              </a:ext>
            </a:extLst>
          </p:cNvPr>
          <p:cNvSpPr>
            <a:spLocks noChangeArrowheads="1"/>
          </p:cNvSpPr>
          <p:nvPr/>
        </p:nvSpPr>
        <p:spPr bwMode="gray">
          <a:xfrm>
            <a:off x="346893" y="6642955"/>
            <a:ext cx="9531411" cy="123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519113" indent="-519113" defTabSz="1218026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  <a:hlinkClick r:id="rId11"/>
              </a:rPr>
              <a:t>Provider Relief Fund website</a:t>
            </a:r>
            <a:endParaRPr lang="en-US" sz="8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2" name="Title 1">
            <a:extLst>
              <a:ext uri="{FF2B5EF4-FFF2-40B4-BE49-F238E27FC236}">
                <a16:creationId xmlns:a16="http://schemas.microsoft.com/office/drawing/2014/main" id="{13D657AD-F72C-47E5-A33F-76464F225512}"/>
              </a:ext>
            </a:extLst>
          </p:cNvPr>
          <p:cNvSpPr txBox="1">
            <a:spLocks/>
          </p:cNvSpPr>
          <p:nvPr/>
        </p:nvSpPr>
        <p:spPr bwMode="gray">
          <a:xfrm>
            <a:off x="346891" y="278741"/>
            <a:ext cx="9741325" cy="8617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algn="l" defTabSz="12180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7135" algn="l"/>
              </a:tabLst>
              <a:defRPr lang="x-none" sz="20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2pPr>
            <a:lvl3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3pPr>
            <a:lvl4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4pPr>
            <a:lvl5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5pPr>
            <a:lvl6pPr marL="62197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6pPr>
            <a:lvl7pPr marL="1243941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7pPr>
            <a:lvl8pPr marL="1865909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8pPr>
            <a:lvl9pPr marL="248788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3000"/>
              </a:lnSpc>
            </a:pPr>
            <a:r>
              <a:rPr lang="en-US" sz="2800" spc="-150" dirty="0">
                <a:solidFill>
                  <a:srgbClr val="A33134"/>
                </a:solidFill>
              </a:rPr>
              <a:t>Actions for providers</a:t>
            </a:r>
            <a:r>
              <a:rPr lang="en-US" sz="2800" kern="0" spc="-150" dirty="0"/>
              <a:t/>
            </a:r>
            <a:br>
              <a:rPr lang="en-US" sz="2800" kern="0" spc="-150" dirty="0"/>
            </a:br>
            <a:r>
              <a:rPr lang="en-US" sz="2800" kern="0" spc="-150" dirty="0"/>
              <a:t>Phase 2 General </a:t>
            </a:r>
            <a:r>
              <a:rPr lang="en-US" sz="2800" spc="-150" dirty="0"/>
              <a:t>Distribution</a:t>
            </a:r>
            <a:endParaRPr lang="en-US" sz="2800" strike="sngStrike" spc="-150" dirty="0"/>
          </a:p>
        </p:txBody>
      </p:sp>
    </p:spTree>
    <p:extLst>
      <p:ext uri="{BB962C8B-B14F-4D97-AF65-F5344CB8AC3E}">
        <p14:creationId xmlns:p14="http://schemas.microsoft.com/office/powerpoint/2010/main" val="189317174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D651B08-56EC-4E77-9FA1-D3D1590B161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1863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983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991793D-4168-4C43-8DCA-9D0090C5EFB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6600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433B1453-E181-4A1A-82F1-BE27B203949B}"/>
              </a:ext>
            </a:extLst>
          </p:cNvPr>
          <p:cNvSpPr>
            <a:spLocks/>
          </p:cNvSpPr>
          <p:nvPr/>
        </p:nvSpPr>
        <p:spPr>
          <a:xfrm>
            <a:off x="6864475" y="4097018"/>
            <a:ext cx="3134218" cy="586741"/>
          </a:xfrm>
          <a:prstGeom prst="roundRect">
            <a:avLst>
              <a:gd name="adj" fmla="val 0"/>
            </a:avLst>
          </a:prstGeom>
          <a:solidFill>
            <a:srgbClr val="A3313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91440" rtlCol="0" anchor="ctr">
            <a:noAutofit/>
          </a:bodyPr>
          <a:lstStyle/>
          <a:p>
            <a:pPr algn="ctr">
              <a:buClr>
                <a:schemeClr val="bg1"/>
              </a:buClr>
            </a:pPr>
            <a:r>
              <a:rPr lang="en-US" sz="2400" b="1" spc="-5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Click her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F0FFFBDA-0D69-410C-AEEF-CDB09DDF8F59}"/>
              </a:ext>
            </a:extLst>
          </p:cNvPr>
          <p:cNvSpPr txBox="1">
            <a:spLocks/>
          </p:cNvSpPr>
          <p:nvPr/>
        </p:nvSpPr>
        <p:spPr bwMode="gray">
          <a:xfrm>
            <a:off x="6864475" y="2094255"/>
            <a:ext cx="4687791" cy="16689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algn="l" defTabSz="12180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7135" algn="l"/>
              </a:tabLst>
              <a:defRPr lang="x-none" sz="20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2pPr>
            <a:lvl3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3pPr>
            <a:lvl4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4pPr>
            <a:lvl5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5pPr>
            <a:lvl6pPr marL="62197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6pPr>
            <a:lvl7pPr marL="1243941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7pPr>
            <a:lvl8pPr marL="1865909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8pPr>
            <a:lvl9pPr marL="248788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6000"/>
              </a:lnSpc>
              <a:buClr>
                <a:schemeClr val="bg1"/>
              </a:buClr>
            </a:pPr>
            <a:r>
              <a:rPr lang="en-US" sz="6000" b="0" kern="0" spc="-150" dirty="0"/>
              <a:t>Are you ready</a:t>
            </a:r>
            <a:br>
              <a:rPr lang="en-US" sz="6000" b="0" kern="0" spc="-150" dirty="0"/>
            </a:br>
            <a:r>
              <a:rPr lang="en-US" sz="6000" kern="0" spc="-150" dirty="0"/>
              <a:t>to apply?</a:t>
            </a:r>
          </a:p>
        </p:txBody>
      </p:sp>
      <p:grpSp>
        <p:nvGrpSpPr>
          <p:cNvPr id="220" name="Group 219">
            <a:extLst>
              <a:ext uri="{FF2B5EF4-FFF2-40B4-BE49-F238E27FC236}">
                <a16:creationId xmlns:a16="http://schemas.microsoft.com/office/drawing/2014/main" id="{9C971636-B281-4297-B0F9-DF6813154756}"/>
              </a:ext>
            </a:extLst>
          </p:cNvPr>
          <p:cNvGrpSpPr/>
          <p:nvPr/>
        </p:nvGrpSpPr>
        <p:grpSpPr>
          <a:xfrm>
            <a:off x="357317" y="533598"/>
            <a:ext cx="6008605" cy="5790804"/>
            <a:chOff x="357317" y="533598"/>
            <a:chExt cx="6008605" cy="5790804"/>
          </a:xfrm>
        </p:grpSpPr>
        <p:grpSp>
          <p:nvGrpSpPr>
            <p:cNvPr id="116" name="Graphic 33">
              <a:extLst>
                <a:ext uri="{FF2B5EF4-FFF2-40B4-BE49-F238E27FC236}">
                  <a16:creationId xmlns:a16="http://schemas.microsoft.com/office/drawing/2014/main" id="{440B22D8-60B6-4E87-B963-BFBF5C170E8A}"/>
                </a:ext>
              </a:extLst>
            </p:cNvPr>
            <p:cNvGrpSpPr/>
            <p:nvPr/>
          </p:nvGrpSpPr>
          <p:grpSpPr>
            <a:xfrm>
              <a:off x="440286" y="533598"/>
              <a:ext cx="3408493" cy="3147026"/>
              <a:chOff x="505937" y="415569"/>
              <a:chExt cx="3408493" cy="3147026"/>
            </a:xfrm>
          </p:grpSpPr>
          <p:grpSp>
            <p:nvGrpSpPr>
              <p:cNvPr id="117" name="Graphic 33">
                <a:extLst>
                  <a:ext uri="{FF2B5EF4-FFF2-40B4-BE49-F238E27FC236}">
                    <a16:creationId xmlns:a16="http://schemas.microsoft.com/office/drawing/2014/main" id="{440B22D8-60B6-4E87-B963-BFBF5C170E8A}"/>
                  </a:ext>
                </a:extLst>
              </p:cNvPr>
              <p:cNvGrpSpPr/>
              <p:nvPr/>
            </p:nvGrpSpPr>
            <p:grpSpPr>
              <a:xfrm>
                <a:off x="505937" y="906424"/>
                <a:ext cx="3408493" cy="2651050"/>
                <a:chOff x="505937" y="906424"/>
                <a:chExt cx="3408493" cy="2651050"/>
              </a:xfrm>
              <a:solidFill>
                <a:srgbClr val="E6E6E6"/>
              </a:solidFill>
            </p:grpSpPr>
            <p:sp>
              <p:nvSpPr>
                <p:cNvPr id="118" name="Freeform: Shape 117">
                  <a:extLst>
                    <a:ext uri="{FF2B5EF4-FFF2-40B4-BE49-F238E27FC236}">
                      <a16:creationId xmlns:a16="http://schemas.microsoft.com/office/drawing/2014/main" id="{CA63C80E-861C-4F05-A456-17EEFB0D567E}"/>
                    </a:ext>
                  </a:extLst>
                </p:cNvPr>
                <p:cNvSpPr/>
                <p:nvPr/>
              </p:nvSpPr>
              <p:spPr>
                <a:xfrm>
                  <a:off x="505937" y="996405"/>
                  <a:ext cx="3044338" cy="2563653"/>
                </a:xfrm>
                <a:custGeom>
                  <a:avLst/>
                  <a:gdLst>
                    <a:gd name="connsiteX0" fmla="*/ 2582122 w 3044337"/>
                    <a:gd name="connsiteY0" fmla="*/ 2491177 h 2563652"/>
                    <a:gd name="connsiteX1" fmla="*/ 1668821 w 3044337"/>
                    <a:gd name="connsiteY1" fmla="*/ 2531671 h 2563652"/>
                    <a:gd name="connsiteX2" fmla="*/ 592669 w 3044337"/>
                    <a:gd name="connsiteY2" fmla="*/ 2152659 h 2563652"/>
                    <a:gd name="connsiteX3" fmla="*/ 109653 w 3044337"/>
                    <a:gd name="connsiteY3" fmla="*/ 1565640 h 2563652"/>
                    <a:gd name="connsiteX4" fmla="*/ 69305 w 3044337"/>
                    <a:gd name="connsiteY4" fmla="*/ 735367 h 2563652"/>
                    <a:gd name="connsiteX5" fmla="*/ 704246 w 3044337"/>
                    <a:gd name="connsiteY5" fmla="*/ 156505 h 2563652"/>
                    <a:gd name="connsiteX6" fmla="*/ 1556952 w 3044337"/>
                    <a:gd name="connsiteY6" fmla="*/ 29051 h 2563652"/>
                    <a:gd name="connsiteX7" fmla="*/ 2216801 w 3044337"/>
                    <a:gd name="connsiteY7" fmla="*/ 516145 h 2563652"/>
                    <a:gd name="connsiteX8" fmla="*/ 2680298 w 3044337"/>
                    <a:gd name="connsiteY8" fmla="*/ 1225956 h 2563652"/>
                    <a:gd name="connsiteX9" fmla="*/ 3042705 w 3044337"/>
                    <a:gd name="connsiteY9" fmla="*/ 1842981 h 2563652"/>
                    <a:gd name="connsiteX10" fmla="*/ 2582122 w 3044337"/>
                    <a:gd name="connsiteY10" fmla="*/ 2491177 h 2563652"/>
                    <a:gd name="connsiteX11" fmla="*/ 2582122 w 3044337"/>
                    <a:gd name="connsiteY11" fmla="*/ 2491177 h 25636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3044337" h="2563652">
                      <a:moveTo>
                        <a:pt x="2582122" y="2491177"/>
                      </a:moveTo>
                      <a:cubicBezTo>
                        <a:pt x="2291526" y="2597656"/>
                        <a:pt x="1975002" y="2570272"/>
                        <a:pt x="1668821" y="2531671"/>
                      </a:cubicBezTo>
                      <a:cubicBezTo>
                        <a:pt x="1048883" y="2453451"/>
                        <a:pt x="593980" y="2153678"/>
                        <a:pt x="592669" y="2152659"/>
                      </a:cubicBezTo>
                      <a:cubicBezTo>
                        <a:pt x="380731" y="2003646"/>
                        <a:pt x="210160" y="1796369"/>
                        <a:pt x="109653" y="1565640"/>
                      </a:cubicBezTo>
                      <a:cubicBezTo>
                        <a:pt x="-1924" y="1309421"/>
                        <a:pt x="-49555" y="994645"/>
                        <a:pt x="69305" y="735367"/>
                      </a:cubicBezTo>
                      <a:cubicBezTo>
                        <a:pt x="187146" y="478127"/>
                        <a:pt x="450648" y="287310"/>
                        <a:pt x="704246" y="156505"/>
                      </a:cubicBezTo>
                      <a:cubicBezTo>
                        <a:pt x="963525" y="22642"/>
                        <a:pt x="1264900" y="-41595"/>
                        <a:pt x="1556952" y="29051"/>
                      </a:cubicBezTo>
                      <a:cubicBezTo>
                        <a:pt x="1835604" y="96493"/>
                        <a:pt x="2056427" y="297652"/>
                        <a:pt x="2216801" y="516145"/>
                      </a:cubicBezTo>
                      <a:cubicBezTo>
                        <a:pt x="2387809" y="749350"/>
                        <a:pt x="2502299" y="1007900"/>
                        <a:pt x="2680298" y="1225956"/>
                      </a:cubicBezTo>
                      <a:cubicBezTo>
                        <a:pt x="2835137" y="1415463"/>
                        <a:pt x="3016195" y="1591131"/>
                        <a:pt x="3042705" y="1842981"/>
                      </a:cubicBezTo>
                      <a:cubicBezTo>
                        <a:pt x="3074314" y="2147415"/>
                        <a:pt x="2861647" y="2388777"/>
                        <a:pt x="2582122" y="2491177"/>
                      </a:cubicBezTo>
                      <a:lnTo>
                        <a:pt x="2582122" y="2491177"/>
                      </a:lnTo>
                      <a:close/>
                    </a:path>
                  </a:pathLst>
                </a:custGeom>
                <a:solidFill>
                  <a:srgbClr val="E6E6E6"/>
                </a:solidFill>
                <a:ln w="145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19" name="Freeform: Shape 118">
                  <a:extLst>
                    <a:ext uri="{FF2B5EF4-FFF2-40B4-BE49-F238E27FC236}">
                      <a16:creationId xmlns:a16="http://schemas.microsoft.com/office/drawing/2014/main" id="{7E05441A-9928-4D75-8E80-3C39E30375BF}"/>
                    </a:ext>
                  </a:extLst>
                </p:cNvPr>
                <p:cNvSpPr/>
                <p:nvPr/>
              </p:nvSpPr>
              <p:spPr>
                <a:xfrm>
                  <a:off x="3124470" y="1064245"/>
                  <a:ext cx="393288" cy="859406"/>
                </a:xfrm>
                <a:custGeom>
                  <a:avLst/>
                  <a:gdLst>
                    <a:gd name="connsiteX0" fmla="*/ 238015 w 393287"/>
                    <a:gd name="connsiteY0" fmla="*/ 731327 h 859406"/>
                    <a:gd name="connsiteX1" fmla="*/ 381493 w 393287"/>
                    <a:gd name="connsiteY1" fmla="*/ 109350 h 859406"/>
                    <a:gd name="connsiteX2" fmla="*/ 196210 w 393287"/>
                    <a:gd name="connsiteY2" fmla="*/ 7241 h 859406"/>
                    <a:gd name="connsiteX3" fmla="*/ 23455 w 393287"/>
                    <a:gd name="connsiteY3" fmla="*/ 191212 h 859406"/>
                    <a:gd name="connsiteX4" fmla="*/ 3354 w 393287"/>
                    <a:gd name="connsiteY4" fmla="*/ 373144 h 859406"/>
                    <a:gd name="connsiteX5" fmla="*/ 21853 w 393287"/>
                    <a:gd name="connsiteY5" fmla="*/ 609990 h 859406"/>
                    <a:gd name="connsiteX6" fmla="*/ 140422 w 393287"/>
                    <a:gd name="connsiteY6" fmla="*/ 857033 h 859406"/>
                    <a:gd name="connsiteX7" fmla="*/ 209903 w 393287"/>
                    <a:gd name="connsiteY7" fmla="*/ 860529 h 859406"/>
                    <a:gd name="connsiteX8" fmla="*/ 238015 w 393287"/>
                    <a:gd name="connsiteY8" fmla="*/ 731327 h 859406"/>
                    <a:gd name="connsiteX9" fmla="*/ 238015 w 393287"/>
                    <a:gd name="connsiteY9" fmla="*/ 731327 h 8594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93287" h="859406">
                      <a:moveTo>
                        <a:pt x="238015" y="731327"/>
                      </a:moveTo>
                      <a:cubicBezTo>
                        <a:pt x="266420" y="515164"/>
                        <a:pt x="473260" y="339496"/>
                        <a:pt x="381493" y="109350"/>
                      </a:cubicBezTo>
                      <a:cubicBezTo>
                        <a:pt x="349301" y="28507"/>
                        <a:pt x="283462" y="-18978"/>
                        <a:pt x="196210" y="7241"/>
                      </a:cubicBezTo>
                      <a:cubicBezTo>
                        <a:pt x="100948" y="35790"/>
                        <a:pt x="45305" y="94929"/>
                        <a:pt x="23455" y="191212"/>
                      </a:cubicBezTo>
                      <a:cubicBezTo>
                        <a:pt x="10054" y="250351"/>
                        <a:pt x="3500" y="311529"/>
                        <a:pt x="3354" y="373144"/>
                      </a:cubicBezTo>
                      <a:cubicBezTo>
                        <a:pt x="-4657" y="452384"/>
                        <a:pt x="1751" y="532644"/>
                        <a:pt x="21853" y="609990"/>
                      </a:cubicBezTo>
                      <a:cubicBezTo>
                        <a:pt x="42246" y="688357"/>
                        <a:pt x="77787" y="801245"/>
                        <a:pt x="140422" y="857033"/>
                      </a:cubicBezTo>
                      <a:cubicBezTo>
                        <a:pt x="160378" y="874804"/>
                        <a:pt x="188199" y="878737"/>
                        <a:pt x="209903" y="860529"/>
                      </a:cubicBezTo>
                      <a:cubicBezTo>
                        <a:pt x="242240" y="833436"/>
                        <a:pt x="233209" y="768034"/>
                        <a:pt x="238015" y="731327"/>
                      </a:cubicBezTo>
                      <a:lnTo>
                        <a:pt x="238015" y="731327"/>
                      </a:lnTo>
                      <a:close/>
                    </a:path>
                  </a:pathLst>
                </a:custGeom>
                <a:solidFill>
                  <a:srgbClr val="E6E6E6"/>
                </a:solidFill>
                <a:ln w="145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20" name="Freeform: Shape 119">
                  <a:extLst>
                    <a:ext uri="{FF2B5EF4-FFF2-40B4-BE49-F238E27FC236}">
                      <a16:creationId xmlns:a16="http://schemas.microsoft.com/office/drawing/2014/main" id="{8802CCF8-0CCB-4671-84E2-02287AEF6D30}"/>
                    </a:ext>
                  </a:extLst>
                </p:cNvPr>
                <p:cNvSpPr/>
                <p:nvPr/>
              </p:nvSpPr>
              <p:spPr>
                <a:xfrm>
                  <a:off x="3604177" y="1753764"/>
                  <a:ext cx="305890" cy="189361"/>
                </a:xfrm>
                <a:custGeom>
                  <a:avLst/>
                  <a:gdLst>
                    <a:gd name="connsiteX0" fmla="*/ 8702 w 305890"/>
                    <a:gd name="connsiteY0" fmla="*/ 165329 h 189360"/>
                    <a:gd name="connsiteX1" fmla="*/ 195732 w 305890"/>
                    <a:gd name="connsiteY1" fmla="*/ 192859 h 189360"/>
                    <a:gd name="connsiteX2" fmla="*/ 310222 w 305890"/>
                    <a:gd name="connsiteY2" fmla="*/ 74290 h 189360"/>
                    <a:gd name="connsiteX3" fmla="*/ 206511 w 305890"/>
                    <a:gd name="connsiteY3" fmla="*/ 6703 h 189360"/>
                    <a:gd name="connsiteX4" fmla="*/ 104402 w 305890"/>
                    <a:gd name="connsiteY4" fmla="*/ 57976 h 189360"/>
                    <a:gd name="connsiteX5" fmla="*/ 13946 w 305890"/>
                    <a:gd name="connsiteY5" fmla="*/ 99635 h 189360"/>
                    <a:gd name="connsiteX6" fmla="*/ 8702 w 305890"/>
                    <a:gd name="connsiteY6" fmla="*/ 165329 h 189360"/>
                    <a:gd name="connsiteX7" fmla="*/ 8702 w 305890"/>
                    <a:gd name="connsiteY7" fmla="*/ 165329 h 1893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05890" h="189360">
                      <a:moveTo>
                        <a:pt x="8702" y="165329"/>
                      </a:moveTo>
                      <a:cubicBezTo>
                        <a:pt x="37689" y="212815"/>
                        <a:pt x="168056" y="199414"/>
                        <a:pt x="195732" y="192859"/>
                      </a:cubicBezTo>
                      <a:cubicBezTo>
                        <a:pt x="252540" y="179604"/>
                        <a:pt x="312116" y="138819"/>
                        <a:pt x="310222" y="74290"/>
                      </a:cubicBezTo>
                      <a:cubicBezTo>
                        <a:pt x="308766" y="22726"/>
                        <a:pt x="255016" y="-16166"/>
                        <a:pt x="206511" y="6703"/>
                      </a:cubicBezTo>
                      <a:cubicBezTo>
                        <a:pt x="171843" y="23017"/>
                        <a:pt x="140526" y="43992"/>
                        <a:pt x="104402" y="57976"/>
                      </a:cubicBezTo>
                      <a:cubicBezTo>
                        <a:pt x="74541" y="69483"/>
                        <a:pt x="36523" y="74873"/>
                        <a:pt x="13946" y="99635"/>
                      </a:cubicBezTo>
                      <a:cubicBezTo>
                        <a:pt x="-2368" y="117697"/>
                        <a:pt x="-4699" y="143334"/>
                        <a:pt x="8702" y="165329"/>
                      </a:cubicBezTo>
                      <a:lnTo>
                        <a:pt x="8702" y="165329"/>
                      </a:lnTo>
                      <a:close/>
                    </a:path>
                  </a:pathLst>
                </a:custGeom>
                <a:solidFill>
                  <a:srgbClr val="E6E6E6"/>
                </a:solidFill>
                <a:ln w="145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21" name="Freeform: Shape 120">
                  <a:extLst>
                    <a:ext uri="{FF2B5EF4-FFF2-40B4-BE49-F238E27FC236}">
                      <a16:creationId xmlns:a16="http://schemas.microsoft.com/office/drawing/2014/main" id="{A1CCB39A-D6AE-46A0-9FA8-B5F3E068B119}"/>
                    </a:ext>
                  </a:extLst>
                </p:cNvPr>
                <p:cNvSpPr/>
                <p:nvPr/>
              </p:nvSpPr>
              <p:spPr>
                <a:xfrm>
                  <a:off x="637715" y="906424"/>
                  <a:ext cx="873973" cy="538950"/>
                </a:xfrm>
                <a:custGeom>
                  <a:avLst/>
                  <a:gdLst>
                    <a:gd name="connsiteX0" fmla="*/ 862190 w 873972"/>
                    <a:gd name="connsiteY0" fmla="*/ 27 h 538949"/>
                    <a:gd name="connsiteX1" fmla="*/ 608592 w 873972"/>
                    <a:gd name="connsiteY1" fmla="*/ 64846 h 538949"/>
                    <a:gd name="connsiteX2" fmla="*/ 373347 w 873972"/>
                    <a:gd name="connsiteY2" fmla="*/ 180065 h 538949"/>
                    <a:gd name="connsiteX3" fmla="*/ 598 w 873972"/>
                    <a:gd name="connsiteY3" fmla="*/ 536791 h 538949"/>
                    <a:gd name="connsiteX4" fmla="*/ 6862 w 873972"/>
                    <a:gd name="connsiteY4" fmla="*/ 541598 h 538949"/>
                    <a:gd name="connsiteX5" fmla="*/ 390827 w 873972"/>
                    <a:gd name="connsiteY5" fmla="*/ 209780 h 538949"/>
                    <a:gd name="connsiteX6" fmla="*/ 618351 w 873972"/>
                    <a:gd name="connsiteY6" fmla="*/ 100096 h 538949"/>
                    <a:gd name="connsiteX7" fmla="*/ 741144 w 873972"/>
                    <a:gd name="connsiteY7" fmla="*/ 61205 h 538949"/>
                    <a:gd name="connsiteX8" fmla="*/ 866559 w 873972"/>
                    <a:gd name="connsiteY8" fmla="*/ 32218 h 538949"/>
                    <a:gd name="connsiteX9" fmla="*/ 862190 w 873972"/>
                    <a:gd name="connsiteY9" fmla="*/ 27 h 538949"/>
                    <a:gd name="connsiteX10" fmla="*/ 862190 w 873972"/>
                    <a:gd name="connsiteY10" fmla="*/ 27 h 5389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873972" h="538949">
                      <a:moveTo>
                        <a:pt x="862190" y="27"/>
                      </a:moveTo>
                      <a:cubicBezTo>
                        <a:pt x="779599" y="-1139"/>
                        <a:pt x="684919" y="36151"/>
                        <a:pt x="608592" y="64846"/>
                      </a:cubicBezTo>
                      <a:cubicBezTo>
                        <a:pt x="526584" y="95581"/>
                        <a:pt x="447781" y="134181"/>
                        <a:pt x="373347" y="180065"/>
                      </a:cubicBezTo>
                      <a:cubicBezTo>
                        <a:pt x="223024" y="272415"/>
                        <a:pt x="99503" y="391712"/>
                        <a:pt x="598" y="536791"/>
                      </a:cubicBezTo>
                      <a:cubicBezTo>
                        <a:pt x="-1878" y="540433"/>
                        <a:pt x="3948" y="545094"/>
                        <a:pt x="6862" y="541598"/>
                      </a:cubicBezTo>
                      <a:cubicBezTo>
                        <a:pt x="113195" y="411231"/>
                        <a:pt x="246476" y="296595"/>
                        <a:pt x="390827" y="209780"/>
                      </a:cubicBezTo>
                      <a:cubicBezTo>
                        <a:pt x="462930" y="166373"/>
                        <a:pt x="539257" y="129375"/>
                        <a:pt x="618351" y="100096"/>
                      </a:cubicBezTo>
                      <a:cubicBezTo>
                        <a:pt x="658554" y="85239"/>
                        <a:pt x="699631" y="72275"/>
                        <a:pt x="741144" y="61205"/>
                      </a:cubicBezTo>
                      <a:cubicBezTo>
                        <a:pt x="782221" y="50426"/>
                        <a:pt x="826939" y="46347"/>
                        <a:pt x="866559" y="32218"/>
                      </a:cubicBezTo>
                      <a:cubicBezTo>
                        <a:pt x="883602" y="26246"/>
                        <a:pt x="881708" y="318"/>
                        <a:pt x="862190" y="27"/>
                      </a:cubicBezTo>
                      <a:lnTo>
                        <a:pt x="862190" y="27"/>
                      </a:lnTo>
                      <a:close/>
                    </a:path>
                  </a:pathLst>
                </a:custGeom>
                <a:solidFill>
                  <a:srgbClr val="E6E6E6"/>
                </a:solidFill>
                <a:ln w="145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22" name="Freeform: Shape 121">
                  <a:extLst>
                    <a:ext uri="{FF2B5EF4-FFF2-40B4-BE49-F238E27FC236}">
                      <a16:creationId xmlns:a16="http://schemas.microsoft.com/office/drawing/2014/main" id="{397FAEEF-C487-4A2A-AE4D-D5ED79A2AE63}"/>
                    </a:ext>
                  </a:extLst>
                </p:cNvPr>
                <p:cNvSpPr/>
                <p:nvPr/>
              </p:nvSpPr>
              <p:spPr>
                <a:xfrm>
                  <a:off x="3545718" y="2387586"/>
                  <a:ext cx="131096" cy="699178"/>
                </a:xfrm>
                <a:custGeom>
                  <a:avLst/>
                  <a:gdLst>
                    <a:gd name="connsiteX0" fmla="*/ 134312 w 131095"/>
                    <a:gd name="connsiteY0" fmla="*/ 333086 h 699178"/>
                    <a:gd name="connsiteX1" fmla="*/ 20695 w 131095"/>
                    <a:gd name="connsiteY1" fmla="*/ 3744 h 699178"/>
                    <a:gd name="connsiteX2" fmla="*/ 594 w 131095"/>
                    <a:gd name="connsiteY2" fmla="*/ 15397 h 699178"/>
                    <a:gd name="connsiteX3" fmla="*/ 63083 w 131095"/>
                    <a:gd name="connsiteY3" fmla="*/ 175771 h 699178"/>
                    <a:gd name="connsiteX4" fmla="*/ 96148 w 131095"/>
                    <a:gd name="connsiteY4" fmla="*/ 347507 h 699178"/>
                    <a:gd name="connsiteX5" fmla="*/ 56528 w 131095"/>
                    <a:gd name="connsiteY5" fmla="*/ 690978 h 699178"/>
                    <a:gd name="connsiteX6" fmla="*/ 91487 w 131095"/>
                    <a:gd name="connsiteY6" fmla="*/ 700591 h 699178"/>
                    <a:gd name="connsiteX7" fmla="*/ 134312 w 131095"/>
                    <a:gd name="connsiteY7" fmla="*/ 333086 h 699178"/>
                    <a:gd name="connsiteX8" fmla="*/ 134312 w 131095"/>
                    <a:gd name="connsiteY8" fmla="*/ 333086 h 6991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31095" h="699178">
                      <a:moveTo>
                        <a:pt x="134312" y="333086"/>
                      </a:moveTo>
                      <a:cubicBezTo>
                        <a:pt x="122076" y="222528"/>
                        <a:pt x="91050" y="93035"/>
                        <a:pt x="20695" y="3744"/>
                      </a:cubicBezTo>
                      <a:cubicBezTo>
                        <a:pt x="13267" y="-5724"/>
                        <a:pt x="-3339" y="4472"/>
                        <a:pt x="594" y="15397"/>
                      </a:cubicBezTo>
                      <a:cubicBezTo>
                        <a:pt x="19967" y="69583"/>
                        <a:pt x="46478" y="120419"/>
                        <a:pt x="63083" y="175771"/>
                      </a:cubicBezTo>
                      <a:cubicBezTo>
                        <a:pt x="79980" y="231705"/>
                        <a:pt x="91196" y="289387"/>
                        <a:pt x="96148" y="347507"/>
                      </a:cubicBezTo>
                      <a:cubicBezTo>
                        <a:pt x="106490" y="465347"/>
                        <a:pt x="87846" y="577798"/>
                        <a:pt x="56528" y="690978"/>
                      </a:cubicBezTo>
                      <a:cubicBezTo>
                        <a:pt x="50119" y="713847"/>
                        <a:pt x="83039" y="721567"/>
                        <a:pt x="91487" y="700591"/>
                      </a:cubicBezTo>
                      <a:cubicBezTo>
                        <a:pt x="137808" y="586101"/>
                        <a:pt x="147858" y="454859"/>
                        <a:pt x="134312" y="333086"/>
                      </a:cubicBezTo>
                      <a:lnTo>
                        <a:pt x="134312" y="333086"/>
                      </a:lnTo>
                      <a:close/>
                    </a:path>
                  </a:pathLst>
                </a:custGeom>
                <a:solidFill>
                  <a:srgbClr val="E6E6E6"/>
                </a:solidFill>
                <a:ln w="145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123" name="Graphic 33">
                <a:extLst>
                  <a:ext uri="{FF2B5EF4-FFF2-40B4-BE49-F238E27FC236}">
                    <a16:creationId xmlns:a16="http://schemas.microsoft.com/office/drawing/2014/main" id="{440B22D8-60B6-4E87-B963-BFBF5C170E8A}"/>
                  </a:ext>
                </a:extLst>
              </p:cNvPr>
              <p:cNvGrpSpPr/>
              <p:nvPr/>
            </p:nvGrpSpPr>
            <p:grpSpPr>
              <a:xfrm>
                <a:off x="805971" y="415569"/>
                <a:ext cx="1903803" cy="2712082"/>
                <a:chOff x="805971" y="415569"/>
                <a:chExt cx="1903803" cy="2712082"/>
              </a:xfrm>
              <a:solidFill>
                <a:schemeClr val="accent1"/>
              </a:solidFill>
            </p:grpSpPr>
            <p:sp>
              <p:nvSpPr>
                <p:cNvPr id="124" name="Freeform: Shape 123">
                  <a:extLst>
                    <a:ext uri="{FF2B5EF4-FFF2-40B4-BE49-F238E27FC236}">
                      <a16:creationId xmlns:a16="http://schemas.microsoft.com/office/drawing/2014/main" id="{919812B1-185D-4B3E-A773-B9E9FC73CD38}"/>
                    </a:ext>
                  </a:extLst>
                </p:cNvPr>
                <p:cNvSpPr/>
                <p:nvPr/>
              </p:nvSpPr>
              <p:spPr>
                <a:xfrm>
                  <a:off x="1377403" y="415569"/>
                  <a:ext cx="174795" cy="422420"/>
                </a:xfrm>
                <a:custGeom>
                  <a:avLst/>
                  <a:gdLst>
                    <a:gd name="connsiteX0" fmla="*/ 101089 w 174794"/>
                    <a:gd name="connsiteY0" fmla="*/ 432179 h 422420"/>
                    <a:gd name="connsiteX1" fmla="*/ 187613 w 174794"/>
                    <a:gd name="connsiteY1" fmla="*/ 432179 h 422420"/>
                    <a:gd name="connsiteX2" fmla="*/ 187613 w 174794"/>
                    <a:gd name="connsiteY2" fmla="*/ 0 h 422420"/>
                    <a:gd name="connsiteX3" fmla="*/ 142749 w 174794"/>
                    <a:gd name="connsiteY3" fmla="*/ 0 h 422420"/>
                    <a:gd name="connsiteX4" fmla="*/ 0 w 174794"/>
                    <a:gd name="connsiteY4" fmla="*/ 143623 h 422420"/>
                    <a:gd name="connsiteX5" fmla="*/ 0 w 174794"/>
                    <a:gd name="connsiteY5" fmla="*/ 330507 h 422420"/>
                    <a:gd name="connsiteX6" fmla="*/ 101089 w 174794"/>
                    <a:gd name="connsiteY6" fmla="*/ 432179 h 422420"/>
                    <a:gd name="connsiteX7" fmla="*/ 101089 w 174794"/>
                    <a:gd name="connsiteY7" fmla="*/ 432179 h 4224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74794" h="422420">
                      <a:moveTo>
                        <a:pt x="101089" y="432179"/>
                      </a:moveTo>
                      <a:lnTo>
                        <a:pt x="187613" y="432179"/>
                      </a:lnTo>
                      <a:lnTo>
                        <a:pt x="187613" y="0"/>
                      </a:lnTo>
                      <a:lnTo>
                        <a:pt x="142749" y="0"/>
                      </a:lnTo>
                      <a:cubicBezTo>
                        <a:pt x="63946" y="0"/>
                        <a:pt x="0" y="64383"/>
                        <a:pt x="0" y="143623"/>
                      </a:cubicBezTo>
                      <a:lnTo>
                        <a:pt x="0" y="330507"/>
                      </a:lnTo>
                      <a:cubicBezTo>
                        <a:pt x="146" y="386733"/>
                        <a:pt x="45301" y="432179"/>
                        <a:pt x="101089" y="432179"/>
                      </a:cubicBezTo>
                      <a:lnTo>
                        <a:pt x="101089" y="432179"/>
                      </a:lnTo>
                      <a:close/>
                    </a:path>
                  </a:pathLst>
                </a:custGeom>
                <a:solidFill>
                  <a:srgbClr val="17264B"/>
                </a:solidFill>
                <a:ln w="145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grpSp>
              <p:nvGrpSpPr>
                <p:cNvPr id="125" name="Graphic 33">
                  <a:extLst>
                    <a:ext uri="{FF2B5EF4-FFF2-40B4-BE49-F238E27FC236}">
                      <a16:creationId xmlns:a16="http://schemas.microsoft.com/office/drawing/2014/main" id="{440B22D8-60B6-4E87-B963-BFBF5C170E8A}"/>
                    </a:ext>
                  </a:extLst>
                </p:cNvPr>
                <p:cNvGrpSpPr/>
                <p:nvPr/>
              </p:nvGrpSpPr>
              <p:grpSpPr>
                <a:xfrm>
                  <a:off x="805971" y="415569"/>
                  <a:ext cx="1903803" cy="2712082"/>
                  <a:chOff x="805971" y="415569"/>
                  <a:chExt cx="1903803" cy="2712082"/>
                </a:xfrm>
                <a:solidFill>
                  <a:schemeClr val="accent1"/>
                </a:solidFill>
              </p:grpSpPr>
              <p:sp>
                <p:nvSpPr>
                  <p:cNvPr id="126" name="Freeform: Shape 125">
                    <a:extLst>
                      <a:ext uri="{FF2B5EF4-FFF2-40B4-BE49-F238E27FC236}">
                        <a16:creationId xmlns:a16="http://schemas.microsoft.com/office/drawing/2014/main" id="{85A50C74-8877-4E21-87B8-63FBA5550BCB}"/>
                      </a:ext>
                    </a:extLst>
                  </p:cNvPr>
                  <p:cNvSpPr/>
                  <p:nvPr/>
                </p:nvSpPr>
                <p:spPr>
                  <a:xfrm>
                    <a:off x="2520413" y="2836327"/>
                    <a:ext cx="189361" cy="291324"/>
                  </a:xfrm>
                  <a:custGeom>
                    <a:avLst/>
                    <a:gdLst>
                      <a:gd name="connsiteX0" fmla="*/ 109392 w 189360"/>
                      <a:gd name="connsiteY0" fmla="*/ 0 h 291324"/>
                      <a:gd name="connsiteX1" fmla="*/ 180038 w 189360"/>
                      <a:gd name="connsiteY1" fmla="*/ 106333 h 291324"/>
                      <a:gd name="connsiteX2" fmla="*/ 195770 w 189360"/>
                      <a:gd name="connsiteY2" fmla="*/ 199848 h 291324"/>
                      <a:gd name="connsiteX3" fmla="*/ 169114 w 189360"/>
                      <a:gd name="connsiteY3" fmla="*/ 299773 h 291324"/>
                      <a:gd name="connsiteX4" fmla="*/ 155858 w 189360"/>
                      <a:gd name="connsiteY4" fmla="*/ 300064 h 291324"/>
                      <a:gd name="connsiteX5" fmla="*/ 116530 w 189360"/>
                      <a:gd name="connsiteY5" fmla="*/ 181204 h 291324"/>
                      <a:gd name="connsiteX6" fmla="*/ 88271 w 189360"/>
                      <a:gd name="connsiteY6" fmla="*/ 157606 h 291324"/>
                      <a:gd name="connsiteX7" fmla="*/ 20538 w 189360"/>
                      <a:gd name="connsiteY7" fmla="*/ 107790 h 291324"/>
                      <a:gd name="connsiteX8" fmla="*/ 0 w 189360"/>
                      <a:gd name="connsiteY8" fmla="*/ 64820 h 291324"/>
                      <a:gd name="connsiteX9" fmla="*/ 109392 w 189360"/>
                      <a:gd name="connsiteY9" fmla="*/ 0 h 291324"/>
                      <a:gd name="connsiteX10" fmla="*/ 109392 w 189360"/>
                      <a:gd name="connsiteY10" fmla="*/ 0 h 291324"/>
                      <a:gd name="connsiteX11" fmla="*/ 109392 w 189360"/>
                      <a:gd name="connsiteY11" fmla="*/ 0 h 29132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</a:cxnLst>
                    <a:rect l="l" t="t" r="r" b="b"/>
                    <a:pathLst>
                      <a:path w="189360" h="291324">
                        <a:moveTo>
                          <a:pt x="109392" y="0"/>
                        </a:moveTo>
                        <a:lnTo>
                          <a:pt x="180038" y="106333"/>
                        </a:lnTo>
                        <a:cubicBezTo>
                          <a:pt x="198538" y="134009"/>
                          <a:pt x="204364" y="167803"/>
                          <a:pt x="195770" y="199848"/>
                        </a:cubicBezTo>
                        <a:lnTo>
                          <a:pt x="169114" y="299773"/>
                        </a:lnTo>
                        <a:cubicBezTo>
                          <a:pt x="167366" y="306327"/>
                          <a:pt x="158043" y="306473"/>
                          <a:pt x="155858" y="300064"/>
                        </a:cubicBezTo>
                        <a:lnTo>
                          <a:pt x="116530" y="181204"/>
                        </a:lnTo>
                        <a:cubicBezTo>
                          <a:pt x="112451" y="168822"/>
                          <a:pt x="101527" y="159791"/>
                          <a:pt x="88271" y="157606"/>
                        </a:cubicBezTo>
                        <a:cubicBezTo>
                          <a:pt x="58556" y="152945"/>
                          <a:pt x="33065" y="134300"/>
                          <a:pt x="20538" y="107790"/>
                        </a:cubicBezTo>
                        <a:lnTo>
                          <a:pt x="0" y="64820"/>
                        </a:lnTo>
                        <a:lnTo>
                          <a:pt x="109392" y="0"/>
                        </a:lnTo>
                        <a:lnTo>
                          <a:pt x="109392" y="0"/>
                        </a:lnTo>
                        <a:lnTo>
                          <a:pt x="109392" y="0"/>
                        </a:lnTo>
                        <a:close/>
                      </a:path>
                    </a:pathLst>
                  </a:custGeom>
                  <a:solidFill>
                    <a:srgbClr val="F7CEBB"/>
                  </a:solidFill>
                  <a:ln w="1453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grpSp>
                <p:nvGrpSpPr>
                  <p:cNvPr id="127" name="Graphic 33">
                    <a:extLst>
                      <a:ext uri="{FF2B5EF4-FFF2-40B4-BE49-F238E27FC236}">
                        <a16:creationId xmlns:a16="http://schemas.microsoft.com/office/drawing/2014/main" id="{440B22D8-60B6-4E87-B963-BFBF5C170E8A}"/>
                      </a:ext>
                    </a:extLst>
                  </p:cNvPr>
                  <p:cNvGrpSpPr/>
                  <p:nvPr/>
                </p:nvGrpSpPr>
                <p:grpSpPr>
                  <a:xfrm>
                    <a:off x="805971" y="415569"/>
                    <a:ext cx="1834031" cy="2614634"/>
                    <a:chOff x="805971" y="415569"/>
                    <a:chExt cx="1834031" cy="2614634"/>
                  </a:xfrm>
                  <a:solidFill>
                    <a:schemeClr val="accent1"/>
                  </a:solidFill>
                </p:grpSpPr>
                <p:sp>
                  <p:nvSpPr>
                    <p:cNvPr id="128" name="Freeform: Shape 127">
                      <a:extLst>
                        <a:ext uri="{FF2B5EF4-FFF2-40B4-BE49-F238E27FC236}">
                          <a16:creationId xmlns:a16="http://schemas.microsoft.com/office/drawing/2014/main" id="{690BB897-511D-4E1F-A07D-1B81CABDEF5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45515" y="1136596"/>
                      <a:ext cx="1208995" cy="1893607"/>
                    </a:xfrm>
                    <a:custGeom>
                      <a:avLst/>
                      <a:gdLst>
                        <a:gd name="connsiteX0" fmla="*/ 0 w 1208995"/>
                        <a:gd name="connsiteY0" fmla="*/ 1901182 h 1893607"/>
                        <a:gd name="connsiteX1" fmla="*/ 1161364 w 1208995"/>
                        <a:gd name="connsiteY1" fmla="*/ 1901182 h 1893607"/>
                        <a:gd name="connsiteX2" fmla="*/ 1220211 w 1208995"/>
                        <a:gd name="connsiteY2" fmla="*/ 228689 h 1893607"/>
                        <a:gd name="connsiteX3" fmla="*/ 990502 w 1208995"/>
                        <a:gd name="connsiteY3" fmla="*/ 0 h 1893607"/>
                        <a:gd name="connsiteX4" fmla="*/ 260590 w 1208995"/>
                        <a:gd name="connsiteY4" fmla="*/ 0 h 1893607"/>
                        <a:gd name="connsiteX5" fmla="*/ 30880 w 1208995"/>
                        <a:gd name="connsiteY5" fmla="*/ 228689 h 1893607"/>
                        <a:gd name="connsiteX6" fmla="*/ 113908 w 1208995"/>
                        <a:gd name="connsiteY6" fmla="*/ 1176804 h 1893607"/>
                        <a:gd name="connsiteX7" fmla="*/ 0 w 1208995"/>
                        <a:gd name="connsiteY7" fmla="*/ 1901182 h 1893607"/>
                        <a:gd name="connsiteX8" fmla="*/ 0 w 1208995"/>
                        <a:gd name="connsiteY8" fmla="*/ 1901182 h 1893607"/>
                        <a:gd name="connsiteX9" fmla="*/ 0 w 1208995"/>
                        <a:gd name="connsiteY9" fmla="*/ 1901182 h 189360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</a:cxnLst>
                      <a:rect l="l" t="t" r="r" b="b"/>
                      <a:pathLst>
                        <a:path w="1208995" h="1893607">
                          <a:moveTo>
                            <a:pt x="0" y="1901182"/>
                          </a:moveTo>
                          <a:lnTo>
                            <a:pt x="1161364" y="1901182"/>
                          </a:lnTo>
                          <a:lnTo>
                            <a:pt x="1220211" y="228689"/>
                          </a:lnTo>
                          <a:cubicBezTo>
                            <a:pt x="1220211" y="102400"/>
                            <a:pt x="1117374" y="0"/>
                            <a:pt x="990502" y="0"/>
                          </a:cubicBezTo>
                          <a:lnTo>
                            <a:pt x="260590" y="0"/>
                          </a:lnTo>
                          <a:cubicBezTo>
                            <a:pt x="133718" y="0"/>
                            <a:pt x="30880" y="102400"/>
                            <a:pt x="30880" y="228689"/>
                          </a:cubicBezTo>
                          <a:lnTo>
                            <a:pt x="113908" y="1176804"/>
                          </a:lnTo>
                          <a:lnTo>
                            <a:pt x="0" y="1901182"/>
                          </a:lnTo>
                          <a:lnTo>
                            <a:pt x="0" y="1901182"/>
                          </a:lnTo>
                          <a:lnTo>
                            <a:pt x="0" y="1901182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14532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grpSp>
                  <p:nvGrpSpPr>
                    <p:cNvPr id="129" name="Graphic 33">
                      <a:extLst>
                        <a:ext uri="{FF2B5EF4-FFF2-40B4-BE49-F238E27FC236}">
                          <a16:creationId xmlns:a16="http://schemas.microsoft.com/office/drawing/2014/main" id="{440B22D8-60B6-4E87-B963-BFBF5C170E8A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805971" y="415569"/>
                      <a:ext cx="1834031" cy="2150992"/>
                      <a:chOff x="805971" y="415569"/>
                      <a:chExt cx="1834031" cy="2150992"/>
                    </a:xfrm>
                    <a:solidFill>
                      <a:schemeClr val="accent1"/>
                    </a:solidFill>
                  </p:grpSpPr>
                  <p:sp>
                    <p:nvSpPr>
                      <p:cNvPr id="130" name="Freeform: Shape 129">
                        <a:extLst>
                          <a:ext uri="{FF2B5EF4-FFF2-40B4-BE49-F238E27FC236}">
                            <a16:creationId xmlns:a16="http://schemas.microsoft.com/office/drawing/2014/main" id="{C4702806-2679-45CA-AF3A-FDED26B58AC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63781" y="554531"/>
                        <a:ext cx="335023" cy="378721"/>
                      </a:xfrm>
                      <a:custGeom>
                        <a:avLst/>
                        <a:gdLst>
                          <a:gd name="connsiteX0" fmla="*/ 212521 w 335022"/>
                          <a:gd name="connsiteY0" fmla="*/ 388044 h 378721"/>
                          <a:gd name="connsiteX1" fmla="*/ 72977 w 335022"/>
                          <a:gd name="connsiteY1" fmla="*/ 388044 h 378721"/>
                          <a:gd name="connsiteX2" fmla="*/ 0 w 335022"/>
                          <a:gd name="connsiteY2" fmla="*/ 316524 h 378721"/>
                          <a:gd name="connsiteX3" fmla="*/ 0 w 335022"/>
                          <a:gd name="connsiteY3" fmla="*/ 0 h 378721"/>
                          <a:gd name="connsiteX4" fmla="*/ 342743 w 335022"/>
                          <a:gd name="connsiteY4" fmla="*/ 0 h 378721"/>
                          <a:gd name="connsiteX5" fmla="*/ 342743 w 335022"/>
                          <a:gd name="connsiteY5" fmla="*/ 260152 h 378721"/>
                          <a:gd name="connsiteX6" fmla="*/ 212521 w 335022"/>
                          <a:gd name="connsiteY6" fmla="*/ 388044 h 378721"/>
                          <a:gd name="connsiteX7" fmla="*/ 212521 w 335022"/>
                          <a:gd name="connsiteY7" fmla="*/ 388044 h 3787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</a:cxnLst>
                        <a:rect l="l" t="t" r="r" b="b"/>
                        <a:pathLst>
                          <a:path w="335022" h="378721">
                            <a:moveTo>
                              <a:pt x="212521" y="388044"/>
                            </a:moveTo>
                            <a:lnTo>
                              <a:pt x="72977" y="388044"/>
                            </a:lnTo>
                            <a:cubicBezTo>
                              <a:pt x="32774" y="388044"/>
                              <a:pt x="0" y="355998"/>
                              <a:pt x="0" y="316524"/>
                            </a:cubicBezTo>
                            <a:lnTo>
                              <a:pt x="0" y="0"/>
                            </a:lnTo>
                            <a:lnTo>
                              <a:pt x="342743" y="0"/>
                            </a:lnTo>
                            <a:lnTo>
                              <a:pt x="342743" y="260152"/>
                            </a:lnTo>
                            <a:cubicBezTo>
                              <a:pt x="342743" y="330799"/>
                              <a:pt x="284478" y="388044"/>
                              <a:pt x="212521" y="388044"/>
                            </a:cubicBezTo>
                            <a:lnTo>
                              <a:pt x="212521" y="388044"/>
                            </a:lnTo>
                            <a:close/>
                          </a:path>
                        </a:pathLst>
                      </a:custGeom>
                      <a:solidFill>
                        <a:srgbClr val="F7CEBB"/>
                      </a:solidFill>
                      <a:ln w="14532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grpSp>
                    <p:nvGrpSpPr>
                      <p:cNvPr id="131" name="Graphic 33">
                        <a:extLst>
                          <a:ext uri="{FF2B5EF4-FFF2-40B4-BE49-F238E27FC236}">
                            <a16:creationId xmlns:a16="http://schemas.microsoft.com/office/drawing/2014/main" id="{440B22D8-60B6-4E87-B963-BFBF5C170E8A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805971" y="415569"/>
                        <a:ext cx="1834031" cy="2150992"/>
                        <a:chOff x="805971" y="415569"/>
                        <a:chExt cx="1834031" cy="2150992"/>
                      </a:xfrm>
                      <a:solidFill>
                        <a:schemeClr val="accent1"/>
                      </a:solidFill>
                    </p:grpSpPr>
                    <p:sp>
                      <p:nvSpPr>
                        <p:cNvPr id="132" name="Freeform: Shape 131">
                          <a:extLst>
                            <a:ext uri="{FF2B5EF4-FFF2-40B4-BE49-F238E27FC236}">
                              <a16:creationId xmlns:a16="http://schemas.microsoft.com/office/drawing/2014/main" id="{306481C3-1418-4207-8AB9-0D941778DB7A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1882559" y="1255602"/>
                          <a:ext cx="757443" cy="1310959"/>
                        </a:xfrm>
                        <a:custGeom>
                          <a:avLst/>
                          <a:gdLst>
                            <a:gd name="connsiteX0" fmla="*/ 771135 w 757442"/>
                            <a:gd name="connsiteY0" fmla="*/ 212521 h 1310958"/>
                            <a:gd name="connsiteX1" fmla="*/ 619647 w 757442"/>
                            <a:gd name="connsiteY1" fmla="*/ 117112 h 1310958"/>
                            <a:gd name="connsiteX2" fmla="*/ 356872 w 757442"/>
                            <a:gd name="connsiteY2" fmla="*/ 680242 h 1310958"/>
                            <a:gd name="connsiteX3" fmla="*/ 277923 w 757442"/>
                            <a:gd name="connsiteY3" fmla="*/ 62343 h 1310958"/>
                            <a:gd name="connsiteX4" fmla="*/ 57682 w 757442"/>
                            <a:gd name="connsiteY4" fmla="*/ 0 h 1310958"/>
                            <a:gd name="connsiteX5" fmla="*/ 0 w 757442"/>
                            <a:gd name="connsiteY5" fmla="*/ 1023568 h 1310958"/>
                            <a:gd name="connsiteX6" fmla="*/ 410330 w 757442"/>
                            <a:gd name="connsiteY6" fmla="*/ 1321447 h 1310958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</a:cxnLst>
                          <a:rect l="l" t="t" r="r" b="b"/>
                          <a:pathLst>
                            <a:path w="757442" h="1310958">
                              <a:moveTo>
                                <a:pt x="771135" y="212521"/>
                              </a:moveTo>
                              <a:lnTo>
                                <a:pt x="619647" y="117112"/>
                              </a:lnTo>
                              <a:lnTo>
                                <a:pt x="356872" y="680242"/>
                              </a:lnTo>
                              <a:lnTo>
                                <a:pt x="277923" y="62343"/>
                              </a:lnTo>
                              <a:lnTo>
                                <a:pt x="57682" y="0"/>
                              </a:lnTo>
                              <a:lnTo>
                                <a:pt x="0" y="1023568"/>
                              </a:lnTo>
                              <a:lnTo>
                                <a:pt x="410330" y="1321447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FFFFFF"/>
                        </a:solidFill>
                        <a:ln w="14532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grpSp>
                      <p:nvGrpSpPr>
                        <p:cNvPr id="133" name="Graphic 33">
                          <a:extLst>
                            <a:ext uri="{FF2B5EF4-FFF2-40B4-BE49-F238E27FC236}">
                              <a16:creationId xmlns:a16="http://schemas.microsoft.com/office/drawing/2014/main" id="{440B22D8-60B6-4E87-B963-BFBF5C170E8A}"/>
                            </a:ext>
                          </a:extLst>
                        </p:cNvPr>
                        <p:cNvGrpSpPr/>
                        <p:nvPr/>
                      </p:nvGrpSpPr>
                      <p:grpSpPr>
                        <a:xfrm>
                          <a:off x="805971" y="415569"/>
                          <a:ext cx="1367912" cy="2103215"/>
                          <a:chOff x="805971" y="415569"/>
                          <a:chExt cx="1367912" cy="2103215"/>
                        </a:xfrm>
                        <a:solidFill>
                          <a:schemeClr val="accent1"/>
                        </a:solidFill>
                      </p:grpSpPr>
                      <p:sp>
                        <p:nvSpPr>
                          <p:cNvPr id="134" name="Freeform: Shape 133">
                            <a:extLst>
                              <a:ext uri="{FF2B5EF4-FFF2-40B4-BE49-F238E27FC236}">
                                <a16:creationId xmlns:a16="http://schemas.microsoft.com/office/drawing/2014/main" id="{E7B868FE-3B04-4ACC-855E-5389B3A94AE8}"/>
                              </a:ext>
                            </a:extLst>
                          </p:cNvPr>
                          <p:cNvSpPr/>
                          <p:nvPr/>
                        </p:nvSpPr>
                        <p:spPr>
                          <a:xfrm>
                            <a:off x="1457226" y="415569"/>
                            <a:ext cx="422420" cy="203927"/>
                          </a:xfrm>
                          <a:custGeom>
                            <a:avLst/>
                            <a:gdLst>
                              <a:gd name="connsiteX0" fmla="*/ 0 w 422420"/>
                              <a:gd name="connsiteY0" fmla="*/ 205966 h 203926"/>
                              <a:gd name="connsiteX1" fmla="*/ 226213 w 422420"/>
                              <a:gd name="connsiteY1" fmla="*/ 205966 h 203926"/>
                              <a:gd name="connsiteX2" fmla="*/ 433345 w 422420"/>
                              <a:gd name="connsiteY2" fmla="*/ 0 h 203926"/>
                              <a:gd name="connsiteX3" fmla="*/ 137214 w 422420"/>
                              <a:gd name="connsiteY3" fmla="*/ 0 h 203926"/>
                              <a:gd name="connsiteX4" fmla="*/ 0 w 422420"/>
                              <a:gd name="connsiteY4" fmla="*/ 136340 h 203926"/>
                              <a:gd name="connsiteX5" fmla="*/ 0 w 422420"/>
                              <a:gd name="connsiteY5" fmla="*/ 205966 h 203926"/>
                              <a:gd name="connsiteX6" fmla="*/ 0 w 422420"/>
                              <a:gd name="connsiteY6" fmla="*/ 205966 h 203926"/>
                              <a:gd name="connsiteX7" fmla="*/ 0 w 422420"/>
                              <a:gd name="connsiteY7" fmla="*/ 205966 h 203926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  <a:cxn ang="0">
                                <a:pos x="connsiteX2" y="connsiteY2"/>
                              </a:cxn>
                              <a:cxn ang="0">
                                <a:pos x="connsiteX3" y="connsiteY3"/>
                              </a:cxn>
                              <a:cxn ang="0">
                                <a:pos x="connsiteX4" y="connsiteY4"/>
                              </a:cxn>
                              <a:cxn ang="0">
                                <a:pos x="connsiteX5" y="connsiteY5"/>
                              </a:cxn>
                              <a:cxn ang="0">
                                <a:pos x="connsiteX6" y="connsiteY6"/>
                              </a:cxn>
                              <a:cxn ang="0">
                                <a:pos x="connsiteX7" y="connsiteY7"/>
                              </a:cxn>
                            </a:cxnLst>
                            <a:rect l="l" t="t" r="r" b="b"/>
                            <a:pathLst>
                              <a:path w="422420" h="203926">
                                <a:moveTo>
                                  <a:pt x="0" y="205966"/>
                                </a:moveTo>
                                <a:lnTo>
                                  <a:pt x="226213" y="205966"/>
                                </a:lnTo>
                                <a:cubicBezTo>
                                  <a:pt x="340704" y="205966"/>
                                  <a:pt x="433345" y="113762"/>
                                  <a:pt x="433345" y="0"/>
                                </a:cubicBezTo>
                                <a:lnTo>
                                  <a:pt x="137214" y="0"/>
                                </a:lnTo>
                                <a:cubicBezTo>
                                  <a:pt x="61469" y="0"/>
                                  <a:pt x="0" y="61032"/>
                                  <a:pt x="0" y="136340"/>
                                </a:cubicBezTo>
                                <a:lnTo>
                                  <a:pt x="0" y="205966"/>
                                </a:lnTo>
                                <a:lnTo>
                                  <a:pt x="0" y="205966"/>
                                </a:lnTo>
                                <a:lnTo>
                                  <a:pt x="0" y="205966"/>
                                </a:lnTo>
                                <a:close/>
                              </a:path>
                            </a:pathLst>
                          </a:custGeom>
                          <a:solidFill>
                            <a:srgbClr val="17264B"/>
                          </a:solidFill>
                          <a:ln w="14532" cap="flat">
                            <a:noFill/>
                            <a:prstDash val="solid"/>
                            <a:miter/>
                          </a:ln>
                        </p:spPr>
                        <p:txBody>
                          <a:bodyPr rtlCol="0" anchor="ctr"/>
                          <a:lstStyle/>
                          <a:p>
                            <a:endParaRPr lang="en-US"/>
                          </a:p>
                        </p:txBody>
                      </p:sp>
                      <p:grpSp>
                        <p:nvGrpSpPr>
                          <p:cNvPr id="135" name="Graphic 33">
                            <a:extLst>
                              <a:ext uri="{FF2B5EF4-FFF2-40B4-BE49-F238E27FC236}">
                                <a16:creationId xmlns:a16="http://schemas.microsoft.com/office/drawing/2014/main" id="{440B22D8-60B6-4E87-B963-BFBF5C170E8A}"/>
                              </a:ext>
                            </a:extLst>
                          </p:cNvPr>
                          <p:cNvGrpSpPr/>
                          <p:nvPr/>
                        </p:nvGrpSpPr>
                        <p:grpSpPr>
                          <a:xfrm>
                            <a:off x="805971" y="673537"/>
                            <a:ext cx="1367912" cy="1845247"/>
                            <a:chOff x="805971" y="673537"/>
                            <a:chExt cx="1367912" cy="1845247"/>
                          </a:xfrm>
                          <a:solidFill>
                            <a:schemeClr val="accent1"/>
                          </a:solidFill>
                        </p:grpSpPr>
                        <p:sp>
                          <p:nvSpPr>
                            <p:cNvPr id="136" name="Freeform: Shape 135">
                              <a:extLst>
                                <a:ext uri="{FF2B5EF4-FFF2-40B4-BE49-F238E27FC236}">
                                  <a16:creationId xmlns:a16="http://schemas.microsoft.com/office/drawing/2014/main" id="{09A737FA-1612-4340-B56C-BAAFCB7A12E3}"/>
                                </a:ext>
                              </a:extLst>
                            </p:cNvPr>
                            <p:cNvSpPr/>
                            <p:nvPr/>
                          </p:nvSpPr>
                          <p:spPr>
                            <a:xfrm>
                              <a:off x="1424015" y="673537"/>
                              <a:ext cx="72831" cy="72831"/>
                            </a:xfrm>
                            <a:custGeom>
                              <a:avLst/>
                              <a:gdLst>
                                <a:gd name="connsiteX0" fmla="*/ 0 w 72831"/>
                                <a:gd name="connsiteY0" fmla="*/ 37435 h 72831"/>
                                <a:gd name="connsiteX1" fmla="*/ 37581 w 72831"/>
                                <a:gd name="connsiteY1" fmla="*/ 74870 h 72831"/>
                                <a:gd name="connsiteX2" fmla="*/ 75162 w 72831"/>
                                <a:gd name="connsiteY2" fmla="*/ 37435 h 72831"/>
                                <a:gd name="connsiteX3" fmla="*/ 37581 w 72831"/>
                                <a:gd name="connsiteY3" fmla="*/ 0 h 72831"/>
                                <a:gd name="connsiteX4" fmla="*/ 0 w 72831"/>
                                <a:gd name="connsiteY4" fmla="*/ 37435 h 72831"/>
                                <a:gd name="connsiteX5" fmla="*/ 0 w 72831"/>
                                <a:gd name="connsiteY5" fmla="*/ 37435 h 72831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  <a:cxn ang="0">
                                  <a:pos x="connsiteX5" y="connsiteY5"/>
                                </a:cxn>
                              </a:cxnLst>
                              <a:rect l="l" t="t" r="r" b="b"/>
                              <a:pathLst>
                                <a:path w="72831" h="72831">
                                  <a:moveTo>
                                    <a:pt x="0" y="37435"/>
                                  </a:moveTo>
                                  <a:cubicBezTo>
                                    <a:pt x="0" y="58119"/>
                                    <a:pt x="16751" y="74870"/>
                                    <a:pt x="37581" y="74870"/>
                                  </a:cubicBezTo>
                                  <a:cubicBezTo>
                                    <a:pt x="58265" y="74870"/>
                                    <a:pt x="75162" y="58119"/>
                                    <a:pt x="75162" y="37435"/>
                                  </a:cubicBezTo>
                                  <a:cubicBezTo>
                                    <a:pt x="75162" y="16751"/>
                                    <a:pt x="58411" y="0"/>
                                    <a:pt x="37581" y="0"/>
                                  </a:cubicBezTo>
                                  <a:cubicBezTo>
                                    <a:pt x="16751" y="0"/>
                                    <a:pt x="0" y="16751"/>
                                    <a:pt x="0" y="37435"/>
                                  </a:cubicBezTo>
                                  <a:lnTo>
                                    <a:pt x="0" y="37435"/>
                                  </a:lnTo>
                                  <a:close/>
                                </a:path>
                              </a:pathLst>
                            </a:custGeom>
                            <a:solidFill>
                              <a:srgbClr val="F7CEBB"/>
                            </a:solidFill>
                            <a:ln w="14532" cap="flat">
                              <a:noFill/>
                              <a:prstDash val="solid"/>
                              <a:miter/>
                            </a:ln>
                          </p:spPr>
                          <p:txBody>
                            <a:bodyPr rtlCol="0" anchor="ctr"/>
                            <a:lstStyle/>
                            <a:p>
                              <a:endParaRPr lang="en-US"/>
                            </a:p>
                          </p:txBody>
                        </p:sp>
                        <p:grpSp>
                          <p:nvGrpSpPr>
                            <p:cNvPr id="137" name="Graphic 33">
                              <a:extLst>
                                <a:ext uri="{FF2B5EF4-FFF2-40B4-BE49-F238E27FC236}">
                                  <a16:creationId xmlns:a16="http://schemas.microsoft.com/office/drawing/2014/main" id="{440B22D8-60B6-4E87-B963-BFBF5C170E8A}"/>
                                </a:ext>
                              </a:extLst>
                            </p:cNvPr>
                            <p:cNvGrpSpPr/>
                            <p:nvPr/>
                          </p:nvGrpSpPr>
                          <p:grpSpPr>
                            <a:xfrm>
                              <a:off x="805971" y="819053"/>
                              <a:ext cx="1367912" cy="1699731"/>
                              <a:chOff x="805971" y="819053"/>
                              <a:chExt cx="1367912" cy="1699731"/>
                            </a:xfrm>
                            <a:solidFill>
                              <a:schemeClr val="accent1"/>
                            </a:solidFill>
                          </p:grpSpPr>
                          <p:sp>
                            <p:nvSpPr>
                              <p:cNvPr id="138" name="Freeform: Shape 137">
                                <a:extLst>
                                  <a:ext uri="{FF2B5EF4-FFF2-40B4-BE49-F238E27FC236}">
                                    <a16:creationId xmlns:a16="http://schemas.microsoft.com/office/drawing/2014/main" id="{2022B2B3-5EF7-478E-B5B8-4220740AE33A}"/>
                                  </a:ext>
                                </a:extLst>
                              </p:cNvPr>
                              <p:cNvSpPr/>
                              <p:nvPr/>
                            </p:nvSpPr>
                            <p:spPr>
                              <a:xfrm>
                                <a:off x="1882559" y="2307298"/>
                                <a:ext cx="291324" cy="131096"/>
                              </a:xfrm>
                              <a:custGeom>
                                <a:avLst/>
                                <a:gdLst>
                                  <a:gd name="connsiteX0" fmla="*/ 0 w 291324"/>
                                  <a:gd name="connsiteY0" fmla="*/ 129769 h 131095"/>
                                  <a:gd name="connsiteX1" fmla="*/ 128037 w 291324"/>
                                  <a:gd name="connsiteY1" fmla="*/ 140549 h 131095"/>
                                  <a:gd name="connsiteX2" fmla="*/ 219367 w 291324"/>
                                  <a:gd name="connsiteY2" fmla="*/ 109377 h 131095"/>
                                  <a:gd name="connsiteX3" fmla="*/ 297005 w 291324"/>
                                  <a:gd name="connsiteY3" fmla="*/ 38002 h 131095"/>
                                  <a:gd name="connsiteX4" fmla="*/ 291179 w 291324"/>
                                  <a:gd name="connsiteY4" fmla="*/ 26204 h 131095"/>
                                  <a:gd name="connsiteX5" fmla="*/ 166346 w 291324"/>
                                  <a:gd name="connsiteY5" fmla="*/ 48927 h 131095"/>
                                  <a:gd name="connsiteX6" fmla="*/ 132116 w 291324"/>
                                  <a:gd name="connsiteY6" fmla="*/ 35526 h 131095"/>
                                  <a:gd name="connsiteX7" fmla="*/ 56226 w 291324"/>
                                  <a:gd name="connsiteY7" fmla="*/ 130 h 131095"/>
                                  <a:gd name="connsiteX8" fmla="*/ 8157 w 291324"/>
                                  <a:gd name="connsiteY8" fmla="*/ 2752 h 131095"/>
                                  <a:gd name="connsiteX9" fmla="*/ 0 w 291324"/>
                                  <a:gd name="connsiteY9" fmla="*/ 129769 h 131095"/>
                                  <a:gd name="connsiteX10" fmla="*/ 0 w 291324"/>
                                  <a:gd name="connsiteY10" fmla="*/ 129769 h 131095"/>
                                  <a:gd name="connsiteX11" fmla="*/ 0 w 291324"/>
                                  <a:gd name="connsiteY11" fmla="*/ 129769 h 131095"/>
                                </a:gdLst>
                                <a:ahLst/>
                                <a:cxnLst>
                                  <a:cxn ang="0">
                                    <a:pos x="connsiteX0" y="connsiteY0"/>
                                  </a:cxn>
                                  <a:cxn ang="0">
                                    <a:pos x="connsiteX1" y="connsiteY1"/>
                                  </a:cxn>
                                  <a:cxn ang="0">
                                    <a:pos x="connsiteX2" y="connsiteY2"/>
                                  </a:cxn>
                                  <a:cxn ang="0">
                                    <a:pos x="connsiteX3" y="connsiteY3"/>
                                  </a:cxn>
                                  <a:cxn ang="0">
                                    <a:pos x="connsiteX4" y="connsiteY4"/>
                                  </a:cxn>
                                  <a:cxn ang="0">
                                    <a:pos x="connsiteX5" y="connsiteY5"/>
                                  </a:cxn>
                                  <a:cxn ang="0">
                                    <a:pos x="connsiteX6" y="connsiteY6"/>
                                  </a:cxn>
                                  <a:cxn ang="0">
                                    <a:pos x="connsiteX7" y="connsiteY7"/>
                                  </a:cxn>
                                  <a:cxn ang="0">
                                    <a:pos x="connsiteX8" y="connsiteY8"/>
                                  </a:cxn>
                                  <a:cxn ang="0">
                                    <a:pos x="connsiteX9" y="connsiteY9"/>
                                  </a:cxn>
                                  <a:cxn ang="0">
                                    <a:pos x="connsiteX10" y="connsiteY10"/>
                                  </a:cxn>
                                  <a:cxn ang="0">
                                    <a:pos x="connsiteX11" y="connsiteY11"/>
                                  </a:cxn>
                                </a:cxnLst>
                                <a:rect l="l" t="t" r="r" b="b"/>
                                <a:pathLst>
                                  <a:path w="291324" h="131095">
                                    <a:moveTo>
                                      <a:pt x="0" y="129769"/>
                                    </a:moveTo>
                                    <a:lnTo>
                                      <a:pt x="128037" y="140549"/>
                                    </a:lnTo>
                                    <a:cubicBezTo>
                                      <a:pt x="161394" y="143462"/>
                                      <a:pt x="194459" y="132100"/>
                                      <a:pt x="219367" y="109377"/>
                                    </a:cubicBezTo>
                                    <a:lnTo>
                                      <a:pt x="297005" y="38002"/>
                                    </a:lnTo>
                                    <a:cubicBezTo>
                                      <a:pt x="301958" y="33341"/>
                                      <a:pt x="297879" y="25038"/>
                                      <a:pt x="291179" y="26204"/>
                                    </a:cubicBezTo>
                                    <a:lnTo>
                                      <a:pt x="166346" y="48927"/>
                                    </a:lnTo>
                                    <a:cubicBezTo>
                                      <a:pt x="153382" y="51258"/>
                                      <a:pt x="140127" y="46014"/>
                                      <a:pt x="132116" y="35526"/>
                                    </a:cubicBezTo>
                                    <a:cubicBezTo>
                                      <a:pt x="114199" y="11783"/>
                                      <a:pt x="85795" y="-1472"/>
                                      <a:pt x="56226" y="130"/>
                                    </a:cubicBezTo>
                                    <a:lnTo>
                                      <a:pt x="8157" y="2752"/>
                                    </a:lnTo>
                                    <a:lnTo>
                                      <a:pt x="0" y="129769"/>
                                    </a:lnTo>
                                    <a:lnTo>
                                      <a:pt x="0" y="129769"/>
                                    </a:lnTo>
                                    <a:lnTo>
                                      <a:pt x="0" y="129769"/>
                                    </a:lnTo>
                                    <a:close/>
                                  </a:path>
                                </a:pathLst>
                              </a:custGeom>
                              <a:solidFill>
                                <a:srgbClr val="F7CEBB"/>
                              </a:solidFill>
                              <a:ln w="14532" cap="flat">
                                <a:noFill/>
                                <a:prstDash val="solid"/>
                                <a:miter/>
                              </a:ln>
                            </p:spPr>
                            <p:txBody>
                              <a:bodyPr rtlCol="0" anchor="ctr"/>
                              <a:lstStyle/>
                              <a:p>
                                <a:endParaRPr lang="en-US"/>
                              </a:p>
                            </p:txBody>
                          </p:sp>
                          <p:grpSp>
                            <p:nvGrpSpPr>
                              <p:cNvPr id="139" name="Graphic 33">
                                <a:extLst>
                                  <a:ext uri="{FF2B5EF4-FFF2-40B4-BE49-F238E27FC236}">
                                    <a16:creationId xmlns:a16="http://schemas.microsoft.com/office/drawing/2014/main" id="{440B22D8-60B6-4E87-B963-BFBF5C170E8A}"/>
                                  </a:ext>
                                </a:extLst>
                              </p:cNvPr>
                              <p:cNvGrpSpPr/>
                              <p:nvPr/>
                            </p:nvGrpSpPr>
                            <p:grpSpPr>
                              <a:xfrm>
                                <a:off x="805971" y="819053"/>
                                <a:ext cx="1249197" cy="1699731"/>
                                <a:chOff x="805971" y="819053"/>
                                <a:chExt cx="1249197" cy="1699731"/>
                              </a:xfrm>
                              <a:solidFill>
                                <a:schemeClr val="accent1"/>
                              </a:solidFill>
                            </p:grpSpPr>
                            <p:sp>
                              <p:nvSpPr>
                                <p:cNvPr id="140" name="Freeform: Shape 139">
                                  <a:extLst>
                                    <a:ext uri="{FF2B5EF4-FFF2-40B4-BE49-F238E27FC236}">
                                      <a16:creationId xmlns:a16="http://schemas.microsoft.com/office/drawing/2014/main" id="{4B1065B0-1A2A-4E94-9372-120051C941C0}"/>
                                    </a:ext>
                                  </a:extLst>
                                </p:cNvPr>
                                <p:cNvSpPr/>
                                <p:nvPr/>
                              </p:nvSpPr>
                              <p:spPr>
                                <a:xfrm>
                                  <a:off x="805971" y="1295222"/>
                                  <a:ext cx="1136164" cy="1223562"/>
                                </a:xfrm>
                                <a:custGeom>
                                  <a:avLst/>
                                  <a:gdLst>
                                    <a:gd name="connsiteX0" fmla="*/ 1080813 w 1136164"/>
                                    <a:gd name="connsiteY0" fmla="*/ 1147963 h 1223561"/>
                                    <a:gd name="connsiteX1" fmla="*/ 1141991 w 1136164"/>
                                    <a:gd name="connsiteY1" fmla="*/ 1001427 h 1223561"/>
                                    <a:gd name="connsiteX2" fmla="*/ 328905 w 1136164"/>
                                    <a:gd name="connsiteY2" fmla="*/ 980306 h 1223561"/>
                                    <a:gd name="connsiteX3" fmla="*/ 559342 w 1136164"/>
                                    <a:gd name="connsiteY3" fmla="*/ 39329 h 1223561"/>
                                    <a:gd name="connsiteX4" fmla="*/ 184991 w 1136164"/>
                                    <a:gd name="connsiteY4" fmla="*/ 0 h 1223561"/>
                                    <a:gd name="connsiteX5" fmla="*/ 0 w 1136164"/>
                                    <a:gd name="connsiteY5" fmla="*/ 1098438 h 1223561"/>
                                    <a:gd name="connsiteX6" fmla="*/ 147993 w 1136164"/>
                                    <a:gd name="connsiteY6" fmla="*/ 1224290 h 1223561"/>
                                    <a:gd name="connsiteX7" fmla="*/ 1080813 w 1136164"/>
                                    <a:gd name="connsiteY7" fmla="*/ 1147963 h 1223561"/>
                                    <a:gd name="connsiteX8" fmla="*/ 1080813 w 1136164"/>
                                    <a:gd name="connsiteY8" fmla="*/ 1147963 h 1223561"/>
                                  </a:gdLst>
                                  <a:ahLst/>
                                  <a:cxnLst>
                                    <a:cxn ang="0">
                                      <a:pos x="connsiteX0" y="connsiteY0"/>
                                    </a:cxn>
                                    <a:cxn ang="0">
                                      <a:pos x="connsiteX1" y="connsiteY1"/>
                                    </a:cxn>
                                    <a:cxn ang="0">
                                      <a:pos x="connsiteX2" y="connsiteY2"/>
                                    </a:cxn>
                                    <a:cxn ang="0">
                                      <a:pos x="connsiteX3" y="connsiteY3"/>
                                    </a:cxn>
                                    <a:cxn ang="0">
                                      <a:pos x="connsiteX4" y="connsiteY4"/>
                                    </a:cxn>
                                    <a:cxn ang="0">
                                      <a:pos x="connsiteX5" y="connsiteY5"/>
                                    </a:cxn>
                                    <a:cxn ang="0">
                                      <a:pos x="connsiteX6" y="connsiteY6"/>
                                    </a:cxn>
                                    <a:cxn ang="0">
                                      <a:pos x="connsiteX7" y="connsiteY7"/>
                                    </a:cxn>
                                    <a:cxn ang="0">
                                      <a:pos x="connsiteX8" y="connsiteY8"/>
                                    </a:cxn>
                                  </a:cxnLst>
                                  <a:rect l="l" t="t" r="r" b="b"/>
                                  <a:pathLst>
                                    <a:path w="1136164" h="1223561">
                                      <a:moveTo>
                                        <a:pt x="1080813" y="1147963"/>
                                      </a:moveTo>
                                      <a:lnTo>
                                        <a:pt x="1141991" y="1001427"/>
                                      </a:lnTo>
                                      <a:lnTo>
                                        <a:pt x="328905" y="980306"/>
                                      </a:lnTo>
                                      <a:lnTo>
                                        <a:pt x="559342" y="39329"/>
                                      </a:lnTo>
                                      <a:lnTo>
                                        <a:pt x="184991" y="0"/>
                                      </a:lnTo>
                                      <a:lnTo>
                                        <a:pt x="0" y="1098438"/>
                                      </a:lnTo>
                                      <a:cubicBezTo>
                                        <a:pt x="4807" y="1145050"/>
                                        <a:pt x="69772" y="1218609"/>
                                        <a:pt x="147993" y="1224290"/>
                                      </a:cubicBezTo>
                                      <a:cubicBezTo>
                                        <a:pt x="226213" y="1229971"/>
                                        <a:pt x="1080813" y="1147963"/>
                                        <a:pt x="1080813" y="1147963"/>
                                      </a:cubicBezTo>
                                      <a:lnTo>
                                        <a:pt x="1080813" y="1147963"/>
                                      </a:lnTo>
                                      <a:close/>
                                    </a:path>
                                  </a:pathLst>
                                </a:custGeom>
                                <a:solidFill>
                                  <a:srgbClr val="FFFFFF"/>
                                </a:solidFill>
                                <a:ln w="14532" cap="flat">
                                  <a:noFill/>
                                  <a:prstDash val="solid"/>
                                  <a:miter/>
                                </a:ln>
                              </p:spPr>
                              <p:txBody>
                                <a:bodyPr rtlCol="0" anchor="ctr"/>
                                <a:lstStyle/>
                                <a:p>
                                  <a:endParaRPr lang="en-US"/>
                                </a:p>
                              </p:txBody>
                            </p:sp>
                            <p:grpSp>
                              <p:nvGrpSpPr>
                                <p:cNvPr id="141" name="Graphic 33">
                                  <a:extLst>
                                    <a:ext uri="{FF2B5EF4-FFF2-40B4-BE49-F238E27FC236}">
                                      <a16:creationId xmlns:a16="http://schemas.microsoft.com/office/drawing/2014/main" id="{440B22D8-60B6-4E87-B963-BFBF5C170E8A}"/>
                                    </a:ext>
                                  </a:extLst>
                                </p:cNvPr>
                                <p:cNvGrpSpPr/>
                                <p:nvPr/>
                              </p:nvGrpSpPr>
                              <p:grpSpPr>
                                <a:xfrm>
                                  <a:off x="1251114" y="819053"/>
                                  <a:ext cx="804054" cy="1054302"/>
                                  <a:chOff x="1251114" y="819053"/>
                                  <a:chExt cx="804054" cy="1054302"/>
                                </a:xfrm>
                                <a:solidFill>
                                  <a:schemeClr val="accent1"/>
                                </a:solidFill>
                              </p:grpSpPr>
                              <p:sp>
                                <p:nvSpPr>
                                  <p:cNvPr id="142" name="Freeform: Shape 141">
                                    <a:extLst>
                                      <a:ext uri="{FF2B5EF4-FFF2-40B4-BE49-F238E27FC236}">
                                        <a16:creationId xmlns:a16="http://schemas.microsoft.com/office/drawing/2014/main" id="{A0B03021-F9F9-4980-AABC-6207A4DB882F}"/>
                                      </a:ext>
                                    </a:extLst>
                                  </p:cNvPr>
                                  <p:cNvSpPr/>
                                  <p:nvPr/>
                                </p:nvSpPr>
                                <p:spPr>
                                  <a:xfrm>
                                    <a:off x="1330937" y="1096831"/>
                                    <a:ext cx="131096" cy="480685"/>
                                  </a:xfrm>
                                  <a:custGeom>
                                    <a:avLst/>
                                    <a:gdLst>
                                      <a:gd name="connsiteX0" fmla="*/ 138233 w 131095"/>
                                      <a:gd name="connsiteY0" fmla="*/ 0 h 480684"/>
                                      <a:gd name="connsiteX1" fmla="*/ 100653 w 131095"/>
                                      <a:gd name="connsiteY1" fmla="*/ 0 h 480684"/>
                                      <a:gd name="connsiteX2" fmla="*/ 0 w 131095"/>
                                      <a:gd name="connsiteY2" fmla="*/ 104877 h 480684"/>
                                      <a:gd name="connsiteX3" fmla="*/ 0 w 131095"/>
                                      <a:gd name="connsiteY3" fmla="*/ 481704 h 480684"/>
                                    </a:gdLst>
                                    <a:ahLst/>
                                    <a:cxnLst>
                                      <a:cxn ang="0">
                                        <a:pos x="connsiteX0" y="connsiteY0"/>
                                      </a:cxn>
                                      <a:cxn ang="0">
                                        <a:pos x="connsiteX1" y="connsiteY1"/>
                                      </a:cxn>
                                      <a:cxn ang="0">
                                        <a:pos x="connsiteX2" y="connsiteY2"/>
                                      </a:cxn>
                                      <a:cxn ang="0">
                                        <a:pos x="connsiteX3" y="connsiteY3"/>
                                      </a:cxn>
                                    </a:cxnLst>
                                    <a:rect l="l" t="t" r="r" b="b"/>
                                    <a:pathLst>
                                      <a:path w="131095" h="480684">
                                        <a:moveTo>
                                          <a:pt x="138233" y="0"/>
                                        </a:moveTo>
                                        <a:lnTo>
                                          <a:pt x="100653" y="0"/>
                                        </a:lnTo>
                                        <a:cubicBezTo>
                                          <a:pt x="45155" y="0"/>
                                          <a:pt x="0" y="47049"/>
                                          <a:pt x="0" y="104877"/>
                                        </a:cubicBezTo>
                                        <a:lnTo>
                                          <a:pt x="0" y="481704"/>
                                        </a:lnTo>
                                      </a:path>
                                    </a:pathLst>
                                  </a:custGeom>
                                  <a:noFill/>
                                  <a:ln w="26394" cap="rnd">
                                    <a:solidFill>
                                      <a:srgbClr val="B7B7B7"/>
                                    </a:solidFill>
                                    <a:prstDash val="solid"/>
                                    <a:round/>
                                  </a:ln>
                                </p:spPr>
                                <p:txBody>
                                  <a:bodyPr rtlCol="0" anchor="ctr"/>
                                  <a:lstStyle/>
                                  <a:p>
                                    <a:endParaRPr lang="en-US"/>
                                  </a:p>
                                </p:txBody>
                              </p:sp>
                              <p:grpSp>
                                <p:nvGrpSpPr>
                                  <p:cNvPr id="143" name="Graphic 33">
                                    <a:extLst>
                                      <a:ext uri="{FF2B5EF4-FFF2-40B4-BE49-F238E27FC236}">
                                        <a16:creationId xmlns:a16="http://schemas.microsoft.com/office/drawing/2014/main" id="{440B22D8-60B6-4E87-B963-BFBF5C170E8A}"/>
                                      </a:ext>
                                    </a:extLst>
                                  </p:cNvPr>
                                  <p:cNvGrpSpPr/>
                                  <p:nvPr/>
                                </p:nvGrpSpPr>
                                <p:grpSpPr>
                                  <a:xfrm>
                                    <a:off x="1251114" y="819053"/>
                                    <a:ext cx="804054" cy="1054302"/>
                                    <a:chOff x="1251114" y="819053"/>
                                    <a:chExt cx="804054" cy="1054302"/>
                                  </a:xfrm>
                                  <a:solidFill>
                                    <a:schemeClr val="accent1"/>
                                  </a:solidFill>
                                </p:grpSpPr>
                                <p:sp>
                                  <p:nvSpPr>
                                    <p:cNvPr id="144" name="Freeform: Shape 143">
                                      <a:extLst>
                                        <a:ext uri="{FF2B5EF4-FFF2-40B4-BE49-F238E27FC236}">
                                          <a16:creationId xmlns:a16="http://schemas.microsoft.com/office/drawing/2014/main" id="{F840CC64-1ECA-48A7-AF05-D71ADBBA4B78}"/>
                                        </a:ext>
                                      </a:extLst>
                                    </p:cNvPr>
                                    <p:cNvSpPr/>
                                    <p:nvPr/>
                                  </p:nvSpPr>
                                  <p:spPr>
                                    <a:xfrm>
                                      <a:off x="1251114" y="1546635"/>
                                      <a:ext cx="145662" cy="145662"/>
                                    </a:xfrm>
                                    <a:custGeom>
                                      <a:avLst/>
                                      <a:gdLst>
                                        <a:gd name="connsiteX0" fmla="*/ 153819 w 145662"/>
                                        <a:gd name="connsiteY0" fmla="*/ 76473 h 145662"/>
                                        <a:gd name="connsiteX1" fmla="*/ 76910 w 145662"/>
                                        <a:gd name="connsiteY1" fmla="*/ 152945 h 145662"/>
                                        <a:gd name="connsiteX2" fmla="*/ 0 w 145662"/>
                                        <a:gd name="connsiteY2" fmla="*/ 76473 h 145662"/>
                                        <a:gd name="connsiteX3" fmla="*/ 76910 w 145662"/>
                                        <a:gd name="connsiteY3" fmla="*/ 0 h 145662"/>
                                        <a:gd name="connsiteX4" fmla="*/ 153819 w 145662"/>
                                        <a:gd name="connsiteY4" fmla="*/ 76473 h 145662"/>
                                        <a:gd name="connsiteX5" fmla="*/ 153819 w 145662"/>
                                        <a:gd name="connsiteY5" fmla="*/ 76473 h 145662"/>
                                      </a:gdLst>
                                      <a:ahLst/>
                                      <a:cxnLst>
                                        <a:cxn ang="0">
                                          <a:pos x="connsiteX0" y="connsiteY0"/>
                                        </a:cxn>
                                        <a:cxn ang="0">
                                          <a:pos x="connsiteX1" y="connsiteY1"/>
                                        </a:cxn>
                                        <a:cxn ang="0">
                                          <a:pos x="connsiteX2" y="connsiteY2"/>
                                        </a:cxn>
                                        <a:cxn ang="0">
                                          <a:pos x="connsiteX3" y="connsiteY3"/>
                                        </a:cxn>
                                        <a:cxn ang="0">
                                          <a:pos x="connsiteX4" y="connsiteY4"/>
                                        </a:cxn>
                                        <a:cxn ang="0">
                                          <a:pos x="connsiteX5" y="connsiteY5"/>
                                        </a:cxn>
                                      </a:cxnLst>
                                      <a:rect l="l" t="t" r="r" b="b"/>
                                      <a:pathLst>
                                        <a:path w="145662" h="145662">
                                          <a:moveTo>
                                            <a:pt x="153819" y="76473"/>
                                          </a:moveTo>
                                          <a:cubicBezTo>
                                            <a:pt x="153819" y="118715"/>
                                            <a:pt x="119443" y="152945"/>
                                            <a:pt x="76910" y="152945"/>
                                          </a:cubicBezTo>
                                          <a:cubicBezTo>
                                            <a:pt x="34522" y="152945"/>
                                            <a:pt x="0" y="118715"/>
                                            <a:pt x="0" y="76473"/>
                                          </a:cubicBezTo>
                                          <a:cubicBezTo>
                                            <a:pt x="0" y="34231"/>
                                            <a:pt x="34376" y="0"/>
                                            <a:pt x="76910" y="0"/>
                                          </a:cubicBezTo>
                                          <a:cubicBezTo>
                                            <a:pt x="119443" y="0"/>
                                            <a:pt x="153819" y="34231"/>
                                            <a:pt x="153819" y="76473"/>
                                          </a:cubicBezTo>
                                          <a:lnTo>
                                            <a:pt x="153819" y="76473"/>
                                          </a:lnTo>
                                          <a:close/>
                                        </a:path>
                                      </a:pathLst>
                                    </a:custGeom>
                                    <a:solidFill>
                                      <a:srgbClr val="B7B7B7"/>
                                    </a:solidFill>
                                    <a:ln w="14532" cap="flat">
                                      <a:noFill/>
                                      <a:prstDash val="solid"/>
                                      <a:miter/>
                                    </a:ln>
                                  </p:spPr>
                                  <p:txBody>
                                    <a:bodyPr rtlCol="0" anchor="ctr"/>
                                    <a:lstStyle/>
                                    <a:p>
                                      <a:endParaRPr lang="en-US"/>
                                    </a:p>
                                  </p:txBody>
                                </p:sp>
                                <p:grpSp>
                                  <p:nvGrpSpPr>
                                    <p:cNvPr id="145" name="Graphic 33">
                                      <a:extLst>
                                        <a:ext uri="{FF2B5EF4-FFF2-40B4-BE49-F238E27FC236}">
                                          <a16:creationId xmlns:a16="http://schemas.microsoft.com/office/drawing/2014/main" id="{440B22D8-60B6-4E87-B963-BFBF5C170E8A}"/>
                                        </a:ext>
                                      </a:extLst>
                                    </p:cNvPr>
                                    <p:cNvGrpSpPr/>
                                    <p:nvPr/>
                                  </p:nvGrpSpPr>
                                  <p:grpSpPr>
                                    <a:xfrm>
                                      <a:off x="1284471" y="819053"/>
                                      <a:ext cx="770697" cy="1054302"/>
                                      <a:chOff x="1284471" y="819053"/>
                                      <a:chExt cx="770697" cy="1054302"/>
                                    </a:xfrm>
                                    <a:solidFill>
                                      <a:schemeClr val="accent1"/>
                                    </a:solidFill>
                                  </p:grpSpPr>
                                  <p:sp>
                                    <p:nvSpPr>
                                      <p:cNvPr id="146" name="Freeform: Shape 145">
                                        <a:extLst>
                                          <a:ext uri="{FF2B5EF4-FFF2-40B4-BE49-F238E27FC236}">
                                            <a16:creationId xmlns:a16="http://schemas.microsoft.com/office/drawing/2014/main" id="{D47D1D1A-76F2-4B32-89CC-3C6FEEB84609}"/>
                                          </a:ext>
                                        </a:extLst>
                                      </p:cNvPr>
                                      <p:cNvSpPr/>
                                      <p:nvPr/>
                                    </p:nvSpPr>
                                    <p:spPr>
                                      <a:xfrm>
                                        <a:off x="1284471" y="1573145"/>
                                        <a:ext cx="87397" cy="87397"/>
                                      </a:xfrm>
                                      <a:custGeom>
                                        <a:avLst/>
                                        <a:gdLst>
                                          <a:gd name="connsiteX0" fmla="*/ 93515 w 87397"/>
                                          <a:gd name="connsiteY0" fmla="*/ 49817 h 87397"/>
                                          <a:gd name="connsiteX1" fmla="*/ 46758 w 87397"/>
                                          <a:gd name="connsiteY1" fmla="*/ 99634 h 87397"/>
                                          <a:gd name="connsiteX2" fmla="*/ 0 w 87397"/>
                                          <a:gd name="connsiteY2" fmla="*/ 49817 h 87397"/>
                                          <a:gd name="connsiteX3" fmla="*/ 46758 w 87397"/>
                                          <a:gd name="connsiteY3" fmla="*/ 1 h 87397"/>
                                          <a:gd name="connsiteX4" fmla="*/ 93515 w 87397"/>
                                          <a:gd name="connsiteY4" fmla="*/ 49817 h 87397"/>
                                          <a:gd name="connsiteX5" fmla="*/ 93515 w 87397"/>
                                          <a:gd name="connsiteY5" fmla="*/ 49817 h 87397"/>
                                        </a:gdLst>
                                        <a:ahLst/>
                                        <a:cxnLst>
                                          <a:cxn ang="0">
                                            <a:pos x="connsiteX0" y="connsiteY0"/>
                                          </a:cxn>
                                          <a:cxn ang="0">
                                            <a:pos x="connsiteX1" y="connsiteY1"/>
                                          </a:cxn>
                                          <a:cxn ang="0">
                                            <a:pos x="connsiteX2" y="connsiteY2"/>
                                          </a:cxn>
                                          <a:cxn ang="0">
                                            <a:pos x="connsiteX3" y="connsiteY3"/>
                                          </a:cxn>
                                          <a:cxn ang="0">
                                            <a:pos x="connsiteX4" y="connsiteY4"/>
                                          </a:cxn>
                                          <a:cxn ang="0">
                                            <a:pos x="connsiteX5" y="connsiteY5"/>
                                          </a:cxn>
                                        </a:cxnLst>
                                        <a:rect l="l" t="t" r="r" b="b"/>
                                        <a:pathLst>
                                          <a:path w="87397" h="87397">
                                            <a:moveTo>
                                              <a:pt x="93515" y="49817"/>
                                            </a:moveTo>
                                            <a:cubicBezTo>
                                              <a:pt x="93515" y="77347"/>
                                              <a:pt x="72540" y="99634"/>
                                              <a:pt x="46758" y="99634"/>
                                            </a:cubicBezTo>
                                            <a:cubicBezTo>
                                              <a:pt x="20975" y="99634"/>
                                              <a:pt x="0" y="77347"/>
                                              <a:pt x="0" y="49817"/>
                                            </a:cubicBezTo>
                                            <a:cubicBezTo>
                                              <a:pt x="0" y="22287"/>
                                              <a:pt x="20975" y="1"/>
                                              <a:pt x="46758" y="1"/>
                                            </a:cubicBezTo>
                                            <a:cubicBezTo>
                                              <a:pt x="72540" y="-145"/>
                                              <a:pt x="93515" y="22141"/>
                                              <a:pt x="93515" y="49817"/>
                                            </a:cubicBezTo>
                                            <a:lnTo>
                                              <a:pt x="93515" y="49817"/>
                                            </a:lnTo>
                                            <a:close/>
                                          </a:path>
                                        </a:pathLst>
                                      </a:custGeom>
                                      <a:solidFill>
                                        <a:srgbClr val="17264B"/>
                                      </a:solidFill>
                                      <a:ln w="14532" cap="flat">
                                        <a:noFill/>
                                        <a:prstDash val="solid"/>
                                        <a:miter/>
                                      </a:ln>
                                    </p:spPr>
                                    <p:txBody>
                                      <a:bodyPr rtlCol="0" anchor="ctr"/>
                                      <a:lstStyle/>
                                      <a:p>
                                        <a:endParaRPr lang="en-US"/>
                                      </a:p>
                                    </p:txBody>
                                  </p:sp>
                                  <p:grpSp>
                                    <p:nvGrpSpPr>
                                      <p:cNvPr id="147" name="Graphic 33">
                                        <a:extLst>
                                          <a:ext uri="{FF2B5EF4-FFF2-40B4-BE49-F238E27FC236}">
                                            <a16:creationId xmlns:a16="http://schemas.microsoft.com/office/drawing/2014/main" id="{440B22D8-60B6-4E87-B963-BFBF5C170E8A}"/>
                                          </a:ext>
                                        </a:extLst>
                                      </p:cNvPr>
                                      <p:cNvGrpSpPr/>
                                      <p:nvPr/>
                                    </p:nvGrpSpPr>
                                    <p:grpSpPr>
                                      <a:xfrm>
                                        <a:off x="1450525" y="819053"/>
                                        <a:ext cx="604643" cy="1054302"/>
                                        <a:chOff x="1450525" y="819053"/>
                                        <a:chExt cx="604643" cy="1054302"/>
                                      </a:xfrm>
                                      <a:solidFill>
                                        <a:schemeClr val="accent1"/>
                                      </a:solidFill>
                                    </p:grpSpPr>
                                    <p:sp>
                                      <p:nvSpPr>
                                        <p:cNvPr id="148" name="Freeform: Shape 147">
                                          <a:extLst>
                                            <a:ext uri="{FF2B5EF4-FFF2-40B4-BE49-F238E27FC236}">
                                              <a16:creationId xmlns:a16="http://schemas.microsoft.com/office/drawing/2014/main" id="{1A2D25F4-914C-4091-92B3-AD0EAE9C4CEA}"/>
                                            </a:ext>
                                          </a:extLst>
                                        </p:cNvPr>
                                        <p:cNvSpPr/>
                                        <p:nvPr/>
                                      </p:nvSpPr>
                                      <p:spPr>
                                        <a:xfrm>
                                          <a:off x="1716359" y="1090130"/>
                                          <a:ext cx="145662" cy="320457"/>
                                        </a:xfrm>
                                        <a:custGeom>
                                          <a:avLst/>
                                          <a:gdLst>
                                            <a:gd name="connsiteX0" fmla="*/ 145662 w 145662"/>
                                            <a:gd name="connsiteY0" fmla="*/ 326866 h 320456"/>
                                            <a:gd name="connsiteX1" fmla="*/ 145662 w 145662"/>
                                            <a:gd name="connsiteY1" fmla="*/ 74288 h 320456"/>
                                            <a:gd name="connsiteX2" fmla="*/ 69626 w 145662"/>
                                            <a:gd name="connsiteY2" fmla="*/ 0 h 320456"/>
                                            <a:gd name="connsiteX3" fmla="*/ 0 w 145662"/>
                                            <a:gd name="connsiteY3" fmla="*/ 0 h 320456"/>
                                          </a:gdLst>
                                          <a:ahLst/>
                                          <a:cxnLst>
                                            <a:cxn ang="0">
                                              <a:pos x="connsiteX0" y="connsiteY0"/>
                                            </a:cxn>
                                            <a:cxn ang="0">
                                              <a:pos x="connsiteX1" y="connsiteY1"/>
                                            </a:cxn>
                                            <a:cxn ang="0">
                                              <a:pos x="connsiteX2" y="connsiteY2"/>
                                            </a:cxn>
                                            <a:cxn ang="0">
                                              <a:pos x="connsiteX3" y="connsiteY3"/>
                                            </a:cxn>
                                          </a:cxnLst>
                                          <a:rect l="l" t="t" r="r" b="b"/>
                                          <a:pathLst>
                                            <a:path w="145662" h="320456">
                                              <a:moveTo>
                                                <a:pt x="145662" y="326866"/>
                                              </a:moveTo>
                                              <a:lnTo>
                                                <a:pt x="145662" y="74288"/>
                                              </a:lnTo>
                                              <a:cubicBezTo>
                                                <a:pt x="145662" y="33211"/>
                                                <a:pt x="111577" y="0"/>
                                                <a:pt x="69626" y="0"/>
                                              </a:cubicBezTo>
                                              <a:lnTo>
                                                <a:pt x="0" y="0"/>
                                              </a:lnTo>
                                            </a:path>
                                          </a:pathLst>
                                        </a:custGeom>
                                        <a:noFill/>
                                        <a:ln w="26394" cap="rnd">
                                          <a:solidFill>
                                            <a:srgbClr val="B7B7B7"/>
                                          </a:solidFill>
                                          <a:prstDash val="solid"/>
                                          <a:round/>
                                        </a:ln>
                                      </p:spPr>
                                      <p:txBody>
                                        <a:bodyPr rtlCol="0" anchor="ctr"/>
                                        <a:lstStyle/>
                                        <a:p>
                                          <a:endParaRPr lang="en-US"/>
                                        </a:p>
                                      </p:txBody>
                                    </p:sp>
                                    <p:grpSp>
                                      <p:nvGrpSpPr>
                                        <p:cNvPr id="149" name="Graphic 33">
                                          <a:extLst>
                                            <a:ext uri="{FF2B5EF4-FFF2-40B4-BE49-F238E27FC236}">
                                              <a16:creationId xmlns:a16="http://schemas.microsoft.com/office/drawing/2014/main" id="{440B22D8-60B6-4E87-B963-BFBF5C170E8A}"/>
                                            </a:ext>
                                          </a:extLst>
                                        </p:cNvPr>
                                        <p:cNvGrpSpPr/>
                                        <p:nvPr/>
                                      </p:nvGrpSpPr>
                                      <p:grpSpPr>
                                        <a:xfrm>
                                          <a:off x="1450525" y="819053"/>
                                          <a:ext cx="604643" cy="1054302"/>
                                          <a:chOff x="1450525" y="819053"/>
                                          <a:chExt cx="604643" cy="1054302"/>
                                        </a:xfrm>
                                        <a:solidFill>
                                          <a:schemeClr val="accent1"/>
                                        </a:solidFill>
                                      </p:grpSpPr>
                                      <p:sp>
                                        <p:nvSpPr>
                                          <p:cNvPr id="150" name="Freeform: Shape 149">
                                            <a:extLst>
                                              <a:ext uri="{FF2B5EF4-FFF2-40B4-BE49-F238E27FC236}">
                                                <a16:creationId xmlns:a16="http://schemas.microsoft.com/office/drawing/2014/main" id="{3316B23E-A19E-4A8E-9C64-44460408FBBC}"/>
                                              </a:ext>
                                            </a:extLst>
                                          </p:cNvPr>
                                          <p:cNvSpPr/>
                                          <p:nvPr/>
                                        </p:nvSpPr>
                                        <p:spPr>
                                          <a:xfrm>
                                            <a:off x="1676447" y="1414426"/>
                                            <a:ext cx="378721" cy="436986"/>
                                          </a:xfrm>
                                          <a:custGeom>
                                            <a:avLst/>
                                            <a:gdLst>
                                              <a:gd name="connsiteX0" fmla="*/ 327740 w 378721"/>
                                              <a:gd name="connsiteY0" fmla="*/ 438391 h 436986"/>
                                              <a:gd name="connsiteX1" fmla="*/ 347987 w 378721"/>
                                              <a:gd name="connsiteY1" fmla="*/ 420183 h 436986"/>
                                              <a:gd name="connsiteX2" fmla="*/ 383091 w 378721"/>
                                              <a:gd name="connsiteY2" fmla="*/ 341525 h 436986"/>
                                              <a:gd name="connsiteX3" fmla="*/ 383091 w 378721"/>
                                              <a:gd name="connsiteY3" fmla="*/ 156389 h 436986"/>
                                              <a:gd name="connsiteX4" fmla="*/ 330216 w 378721"/>
                                              <a:gd name="connsiteY4" fmla="*/ 64767 h 436986"/>
                                              <a:gd name="connsiteX5" fmla="*/ 242819 w 378721"/>
                                              <a:gd name="connsiteY5" fmla="*/ 14223 h 436986"/>
                                              <a:gd name="connsiteX6" fmla="*/ 135320 w 378721"/>
                                              <a:gd name="connsiteY6" fmla="*/ 14951 h 436986"/>
                                              <a:gd name="connsiteX7" fmla="*/ 51710 w 378721"/>
                                              <a:gd name="connsiteY7" fmla="*/ 64476 h 436986"/>
                                              <a:gd name="connsiteX8" fmla="*/ 0 w 378721"/>
                                              <a:gd name="connsiteY8" fmla="*/ 155515 h 436986"/>
                                              <a:gd name="connsiteX9" fmla="*/ 0 w 378721"/>
                                              <a:gd name="connsiteY9" fmla="*/ 340943 h 436986"/>
                                              <a:gd name="connsiteX10" fmla="*/ 35687 w 378721"/>
                                              <a:gd name="connsiteY10" fmla="*/ 420183 h 436986"/>
                                              <a:gd name="connsiteX11" fmla="*/ 53458 w 378721"/>
                                              <a:gd name="connsiteY11" fmla="*/ 435914 h 436986"/>
                                            </a:gdLst>
                                            <a:ahLst/>
                                            <a:cxnLst>
                                              <a:cxn ang="0">
                                                <a:pos x="connsiteX0" y="connsiteY0"/>
                                              </a:cxn>
                                              <a:cxn ang="0">
                                                <a:pos x="connsiteX1" y="connsiteY1"/>
                                              </a:cxn>
                                              <a:cxn ang="0">
                                                <a:pos x="connsiteX2" y="connsiteY2"/>
                                              </a:cxn>
                                              <a:cxn ang="0">
                                                <a:pos x="connsiteX3" y="connsiteY3"/>
                                              </a:cxn>
                                              <a:cxn ang="0">
                                                <a:pos x="connsiteX4" y="connsiteY4"/>
                                              </a:cxn>
                                              <a:cxn ang="0">
                                                <a:pos x="connsiteX5" y="connsiteY5"/>
                                              </a:cxn>
                                              <a:cxn ang="0">
                                                <a:pos x="connsiteX6" y="connsiteY6"/>
                                              </a:cxn>
                                              <a:cxn ang="0">
                                                <a:pos x="connsiteX7" y="connsiteY7"/>
                                              </a:cxn>
                                              <a:cxn ang="0">
                                                <a:pos x="connsiteX8" y="connsiteY8"/>
                                              </a:cxn>
                                              <a:cxn ang="0">
                                                <a:pos x="connsiteX9" y="connsiteY9"/>
                                              </a:cxn>
                                              <a:cxn ang="0">
                                                <a:pos x="connsiteX10" y="connsiteY10"/>
                                              </a:cxn>
                                              <a:cxn ang="0">
                                                <a:pos x="connsiteX11" y="connsiteY11"/>
                                              </a:cxn>
                                            </a:cxnLst>
                                            <a:rect l="l" t="t" r="r" b="b"/>
                                            <a:pathLst>
                                              <a:path w="378721" h="436986">
                                                <a:moveTo>
                                                  <a:pt x="327740" y="438391"/>
                                                </a:moveTo>
                                                <a:lnTo>
                                                  <a:pt x="347987" y="420183"/>
                                                </a:lnTo>
                                                <a:cubicBezTo>
                                                  <a:pt x="370273" y="400082"/>
                                                  <a:pt x="383091" y="371532"/>
                                                  <a:pt x="383091" y="341525"/>
                                                </a:cubicBezTo>
                                                <a:lnTo>
                                                  <a:pt x="383091" y="156389"/>
                                                </a:lnTo>
                                                <a:cubicBezTo>
                                                  <a:pt x="383091" y="118517"/>
                                                  <a:pt x="362990" y="83704"/>
                                                  <a:pt x="330216" y="64767"/>
                                                </a:cubicBezTo>
                                                <a:lnTo>
                                                  <a:pt x="242819" y="14223"/>
                                                </a:lnTo>
                                                <a:cubicBezTo>
                                                  <a:pt x="209462" y="-5005"/>
                                                  <a:pt x="168385" y="-4713"/>
                                                  <a:pt x="135320" y="14951"/>
                                                </a:cubicBezTo>
                                                <a:lnTo>
                                                  <a:pt x="51710" y="64476"/>
                                                </a:lnTo>
                                                <a:cubicBezTo>
                                                  <a:pt x="19664" y="83558"/>
                                                  <a:pt x="0" y="118080"/>
                                                  <a:pt x="0" y="155515"/>
                                                </a:cubicBezTo>
                                                <a:lnTo>
                                                  <a:pt x="0" y="340943"/>
                                                </a:lnTo>
                                                <a:cubicBezTo>
                                                  <a:pt x="0" y="371240"/>
                                                  <a:pt x="12964" y="400082"/>
                                                  <a:pt x="35687" y="420183"/>
                                                </a:cubicBezTo>
                                                <a:lnTo>
                                                  <a:pt x="53458" y="435914"/>
                                                </a:lnTo>
                                              </a:path>
                                            </a:pathLst>
                                          </a:custGeom>
                                          <a:noFill/>
                                          <a:ln w="26394" cap="rnd">
                                            <a:solidFill>
                                              <a:srgbClr val="B7B7B7"/>
                                            </a:solidFill>
                                            <a:prstDash val="solid"/>
                                            <a:round/>
                                          </a:ln>
                                        </p:spPr>
                                        <p:txBody>
                                          <a:bodyPr rtlCol="0" anchor="ctr"/>
                                          <a:lstStyle/>
                                          <a:p>
                                            <a:endParaRPr lang="en-US"/>
                                          </a:p>
                                        </p:txBody>
                                      </p:sp>
                                      <p:grpSp>
                                        <p:nvGrpSpPr>
                                          <p:cNvPr id="151" name="Graphic 33">
                                            <a:extLst>
                                              <a:ext uri="{FF2B5EF4-FFF2-40B4-BE49-F238E27FC236}">
                                                <a16:creationId xmlns:a16="http://schemas.microsoft.com/office/drawing/2014/main" id="{440B22D8-60B6-4E87-B963-BFBF5C170E8A}"/>
                                              </a:ext>
                                            </a:extLst>
                                          </p:cNvPr>
                                          <p:cNvGrpSpPr/>
                                          <p:nvPr/>
                                        </p:nvGrpSpPr>
                                        <p:grpSpPr>
                                          <a:xfrm>
                                            <a:off x="1450525" y="819053"/>
                                            <a:ext cx="553516" cy="1054302"/>
                                            <a:chOff x="1450525" y="819053"/>
                                            <a:chExt cx="553516" cy="1054302"/>
                                          </a:xfrm>
                                          <a:solidFill>
                                            <a:srgbClr val="F7CEBB"/>
                                          </a:solidFill>
                                        </p:grpSpPr>
                                        <p:sp>
                                          <p:nvSpPr>
                                            <p:cNvPr id="152" name="Freeform: Shape 151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E7987ADC-843B-44CA-A77E-7B9904FE96E5}"/>
                                                </a:ext>
                                              </a:extLst>
                                            </p:cNvPr>
                                            <p:cNvSpPr/>
                                            <p:nvPr/>
                                          </p:nvSpPr>
                                          <p:spPr>
                                            <a:xfrm>
                                              <a:off x="1716359" y="1844223"/>
                                              <a:ext cx="29132" cy="29132"/>
                                            </a:xfrm>
                                            <a:custGeom>
                                              <a:avLst/>
                                              <a:gdLst>
                                                <a:gd name="connsiteX0" fmla="*/ 0 w 29132"/>
                                                <a:gd name="connsiteY0" fmla="*/ 0 h 29132"/>
                                                <a:gd name="connsiteX1" fmla="*/ 34376 w 29132"/>
                                                <a:gd name="connsiteY1" fmla="*/ 31463 h 29132"/>
                                              </a:gdLst>
                                              <a:ahLst/>
                                              <a:cxnLst>
                                                <a:cxn ang="0">
                                                  <a:pos x="connsiteX0" y="connsiteY0"/>
                                                </a:cxn>
                                                <a:cxn ang="0">
                                                  <a:pos x="connsiteX1" y="connsiteY1"/>
                                                </a:cxn>
                                              </a:cxnLst>
                                              <a:rect l="l" t="t" r="r" b="b"/>
                                              <a:pathLst>
                                                <a:path w="29132" h="29132">
                                                  <a:moveTo>
                                                    <a:pt x="0" y="0"/>
                                                  </a:moveTo>
                                                  <a:lnTo>
                                                    <a:pt x="34376" y="31463"/>
                                                  </a:lnTo>
                                                </a:path>
                                              </a:pathLst>
                                            </a:custGeom>
                                            <a:ln w="26394" cap="rnd">
                                              <a:solidFill>
                                                <a:srgbClr val="17264B"/>
                                              </a:solidFill>
                                              <a:prstDash val="solid"/>
                                              <a:round/>
                                            </a:ln>
                                          </p:spPr>
                                          <p:txBody>
                                            <a:bodyPr rtlCol="0" anchor="ctr"/>
                                            <a:lstStyle/>
                                            <a:p>
                                              <a:endParaRPr lang="en-US"/>
                                            </a:p>
                                          </p:txBody>
                                        </p:sp>
                                        <p:grpSp>
                                          <p:nvGrpSpPr>
                                            <p:cNvPr id="153" name="Graphic 33">
                                              <a:extLst>
                                                <a:ext uri="{FF2B5EF4-FFF2-40B4-BE49-F238E27FC236}">
                                                  <a16:creationId xmlns:a16="http://schemas.microsoft.com/office/drawing/2014/main" id="{440B22D8-60B6-4E87-B963-BFBF5C170E8A}"/>
                                                </a:ext>
                                              </a:extLst>
                                            </p:cNvPr>
                                            <p:cNvGrpSpPr/>
                                            <p:nvPr/>
                                          </p:nvGrpSpPr>
                                          <p:grpSpPr>
                                            <a:xfrm>
                                              <a:off x="1450525" y="819053"/>
                                              <a:ext cx="553516" cy="1048767"/>
                                              <a:chOff x="1450525" y="819053"/>
                                              <a:chExt cx="553516" cy="1048767"/>
                                            </a:xfrm>
                                            <a:solidFill>
                                              <a:srgbClr val="F7CEBB"/>
                                            </a:solidFill>
                                          </p:grpSpPr>
                                          <p:sp>
                                            <p:nvSpPr>
                                              <p:cNvPr id="154" name="Freeform: Shape 153">
                                                <a:extLst>
                                                  <a:ext uri="{FF2B5EF4-FFF2-40B4-BE49-F238E27FC236}">
                                                    <a16:creationId xmlns:a16="http://schemas.microsoft.com/office/drawing/2014/main" id="{E6A3B3A6-68FE-4C24-91A0-3CD35628F773}"/>
                                                  </a:ext>
                                                </a:extLst>
                                              </p:cNvPr>
                                              <p:cNvSpPr/>
                                              <p:nvPr/>
                                            </p:nvSpPr>
                                            <p:spPr>
                                              <a:xfrm>
                                                <a:off x="1982192" y="1844223"/>
                                                <a:ext cx="29132" cy="29132"/>
                                              </a:xfrm>
                                              <a:custGeom>
                                                <a:avLst/>
                                                <a:gdLst>
                                                  <a:gd name="connsiteX0" fmla="*/ 34376 w 29132"/>
                                                  <a:gd name="connsiteY0" fmla="*/ 0 h 29132"/>
                                                  <a:gd name="connsiteX1" fmla="*/ 0 w 29132"/>
                                                  <a:gd name="connsiteY1" fmla="*/ 31463 h 29132"/>
                                                </a:gdLst>
                                                <a:ahLst/>
                                                <a:cxnLst>
                                                  <a:cxn ang="0">
                                                    <a:pos x="connsiteX0" y="connsiteY0"/>
                                                  </a:cxn>
                                                  <a:cxn ang="0">
                                                    <a:pos x="connsiteX1" y="connsiteY1"/>
                                                  </a:cxn>
                                                </a:cxnLst>
                                                <a:rect l="l" t="t" r="r" b="b"/>
                                                <a:pathLst>
                                                  <a:path w="29132" h="29132">
                                                    <a:moveTo>
                                                      <a:pt x="34376" y="0"/>
                                                    </a:moveTo>
                                                    <a:lnTo>
                                                      <a:pt x="0" y="31463"/>
                                                    </a:lnTo>
                                                  </a:path>
                                                </a:pathLst>
                                              </a:custGeom>
                                              <a:ln w="26394" cap="rnd">
                                                <a:solidFill>
                                                  <a:srgbClr val="17264B"/>
                                                </a:solidFill>
                                                <a:prstDash val="solid"/>
                                                <a:round/>
                                              </a:ln>
                                            </p:spPr>
                                            <p:txBody>
                                              <a:bodyPr rtlCol="0" anchor="ctr"/>
                                              <a:lstStyle/>
                                              <a:p>
                                                <a:endParaRPr lang="en-US"/>
                                              </a:p>
                                            </p:txBody>
                                          </p:sp>
                                          <p:sp>
                                            <p:nvSpPr>
                                              <p:cNvPr id="155" name="Freeform: Shape 154">
                                                <a:extLst>
                                                  <a:ext uri="{FF2B5EF4-FFF2-40B4-BE49-F238E27FC236}">
                                                    <a16:creationId xmlns:a16="http://schemas.microsoft.com/office/drawing/2014/main" id="{C57ABAE9-2A9F-40DC-BDAE-4125F389E3F9}"/>
                                                  </a:ext>
                                                </a:extLst>
                                              </p:cNvPr>
                                              <p:cNvSpPr/>
                                              <p:nvPr/>
                                            </p:nvSpPr>
                                            <p:spPr>
                                              <a:xfrm>
                                                <a:off x="1450525" y="819053"/>
                                                <a:ext cx="276758" cy="509817"/>
                                              </a:xfrm>
                                              <a:custGeom>
                                                <a:avLst/>
                                                <a:gdLst>
                                                  <a:gd name="connsiteX0" fmla="*/ 84047 w 276757"/>
                                                  <a:gd name="connsiteY0" fmla="*/ 35833 h 509817"/>
                                                  <a:gd name="connsiteX1" fmla="*/ 245004 w 276757"/>
                                                  <a:gd name="connsiteY1" fmla="*/ 0 h 509817"/>
                                                  <a:gd name="connsiteX2" fmla="*/ 280837 w 276757"/>
                                                  <a:gd name="connsiteY2" fmla="*/ 336334 h 509817"/>
                                                  <a:gd name="connsiteX3" fmla="*/ 167657 w 276757"/>
                                                  <a:gd name="connsiteY3" fmla="*/ 514624 h 509817"/>
                                                  <a:gd name="connsiteX4" fmla="*/ 0 w 276757"/>
                                                  <a:gd name="connsiteY4" fmla="*/ 336334 h 509817"/>
                                                  <a:gd name="connsiteX5" fmla="*/ 84047 w 276757"/>
                                                  <a:gd name="connsiteY5" fmla="*/ 35833 h 509817"/>
                                                </a:gdLst>
                                                <a:ahLst/>
                                                <a:cxnLst>
                                                  <a:cxn ang="0">
                                                    <a:pos x="connsiteX0" y="connsiteY0"/>
                                                  </a:cxn>
                                                  <a:cxn ang="0">
                                                    <a:pos x="connsiteX1" y="connsiteY1"/>
                                                  </a:cxn>
                                                  <a:cxn ang="0">
                                                    <a:pos x="connsiteX2" y="connsiteY2"/>
                                                  </a:cxn>
                                                  <a:cxn ang="0">
                                                    <a:pos x="connsiteX3" y="connsiteY3"/>
                                                  </a:cxn>
                                                  <a:cxn ang="0">
                                                    <a:pos x="connsiteX4" y="connsiteY4"/>
                                                  </a:cxn>
                                                  <a:cxn ang="0">
                                                    <a:pos x="connsiteX5" y="connsiteY5"/>
                                                  </a:cxn>
                                                </a:cxnLst>
                                                <a:rect l="l" t="t" r="r" b="b"/>
                                                <a:pathLst>
                                                  <a:path w="276757" h="509817">
                                                    <a:moveTo>
                                                      <a:pt x="84047" y="35833"/>
                                                    </a:moveTo>
                                                    <a:lnTo>
                                                      <a:pt x="245004" y="0"/>
                                                    </a:lnTo>
                                                    <a:lnTo>
                                                      <a:pt x="280837" y="336334"/>
                                                    </a:lnTo>
                                                    <a:lnTo>
                                                      <a:pt x="167657" y="514624"/>
                                                    </a:lnTo>
                                                    <a:lnTo>
                                                      <a:pt x="0" y="336334"/>
                                                    </a:lnTo>
                                                    <a:lnTo>
                                                      <a:pt x="84047" y="35833"/>
                                                    </a:lnTo>
                                                    <a:close/>
                                                  </a:path>
                                                </a:pathLst>
                                              </a:custGeom>
                                              <a:solidFill>
                                                <a:srgbClr val="F7CEBB"/>
                                              </a:solidFill>
                                              <a:ln w="14532" cap="flat">
                                                <a:noFill/>
                                                <a:prstDash val="solid"/>
                                                <a:miter/>
                                              </a:ln>
                                            </p:spPr>
                                            <p:txBody>
                                              <a:bodyPr rtlCol="0" anchor="ctr"/>
                                              <a:lstStyle/>
                                              <a:p>
                                                <a:endParaRPr lang="en-US"/>
                                              </a:p>
                                            </p:txBody>
                                          </p:sp>
                                        </p:grpSp>
                                      </p:grpSp>
                                    </p:grpSp>
                                  </p:grpSp>
                                </p:grpSp>
                              </p:grpSp>
                            </p:grpSp>
                          </p:grpSp>
                        </p:grpSp>
                      </p:grpSp>
                    </p:grpSp>
                  </p:grpSp>
                </p:grpSp>
              </p:grpSp>
            </p:grpSp>
          </p:grpSp>
          <p:grpSp>
            <p:nvGrpSpPr>
              <p:cNvPr id="156" name="Graphic 33">
                <a:extLst>
                  <a:ext uri="{FF2B5EF4-FFF2-40B4-BE49-F238E27FC236}">
                    <a16:creationId xmlns:a16="http://schemas.microsoft.com/office/drawing/2014/main" id="{440B22D8-60B6-4E87-B963-BFBF5C170E8A}"/>
                  </a:ext>
                </a:extLst>
              </p:cNvPr>
              <p:cNvGrpSpPr/>
              <p:nvPr/>
            </p:nvGrpSpPr>
            <p:grpSpPr>
              <a:xfrm>
                <a:off x="2227341" y="562932"/>
                <a:ext cx="1134279" cy="2999663"/>
                <a:chOff x="2227341" y="562932"/>
                <a:chExt cx="1134279" cy="2999663"/>
              </a:xfrm>
              <a:solidFill>
                <a:schemeClr val="accent1"/>
              </a:solidFill>
            </p:grpSpPr>
            <p:sp>
              <p:nvSpPr>
                <p:cNvPr id="157" name="Freeform: Shape 156">
                  <a:extLst>
                    <a:ext uri="{FF2B5EF4-FFF2-40B4-BE49-F238E27FC236}">
                      <a16:creationId xmlns:a16="http://schemas.microsoft.com/office/drawing/2014/main" id="{88896975-D137-44F6-ADFD-1D1963C16DC7}"/>
                    </a:ext>
                  </a:extLst>
                </p:cNvPr>
                <p:cNvSpPr/>
                <p:nvPr/>
              </p:nvSpPr>
              <p:spPr>
                <a:xfrm>
                  <a:off x="2722540" y="1121302"/>
                  <a:ext cx="262192" cy="393288"/>
                </a:xfrm>
                <a:custGeom>
                  <a:avLst/>
                  <a:gdLst>
                    <a:gd name="connsiteX0" fmla="*/ 217234 w 262191"/>
                    <a:gd name="connsiteY0" fmla="*/ 0 h 393287"/>
                    <a:gd name="connsiteX1" fmla="*/ 268799 w 262191"/>
                    <a:gd name="connsiteY1" fmla="*/ 232185 h 393287"/>
                    <a:gd name="connsiteX2" fmla="*/ 22775 w 262191"/>
                    <a:gd name="connsiteY2" fmla="*/ 399114 h 393287"/>
                    <a:gd name="connsiteX3" fmla="*/ 10831 w 262191"/>
                    <a:gd name="connsiteY3" fmla="*/ 288994 h 393287"/>
                    <a:gd name="connsiteX4" fmla="*/ 12579 w 262191"/>
                    <a:gd name="connsiteY4" fmla="*/ 146827 h 393287"/>
                    <a:gd name="connsiteX5" fmla="*/ 217234 w 262191"/>
                    <a:gd name="connsiteY5" fmla="*/ 0 h 393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62191" h="393287">
                      <a:moveTo>
                        <a:pt x="217234" y="0"/>
                      </a:moveTo>
                      <a:cubicBezTo>
                        <a:pt x="217234" y="0"/>
                        <a:pt x="201794" y="123813"/>
                        <a:pt x="268799" y="232185"/>
                      </a:cubicBezTo>
                      <a:lnTo>
                        <a:pt x="22775" y="399114"/>
                      </a:lnTo>
                      <a:lnTo>
                        <a:pt x="10831" y="288994"/>
                      </a:lnTo>
                      <a:cubicBezTo>
                        <a:pt x="10831" y="288994"/>
                        <a:pt x="85410" y="176834"/>
                        <a:pt x="12579" y="146827"/>
                      </a:cubicBezTo>
                      <a:cubicBezTo>
                        <a:pt x="-49619" y="121191"/>
                        <a:pt x="134790" y="5098"/>
                        <a:pt x="217234" y="0"/>
                      </a:cubicBezTo>
                      <a:close/>
                    </a:path>
                  </a:pathLst>
                </a:custGeom>
                <a:solidFill>
                  <a:srgbClr val="F3AE6E"/>
                </a:solidFill>
                <a:ln w="145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58" name="Freeform: Shape 157">
                  <a:extLst>
                    <a:ext uri="{FF2B5EF4-FFF2-40B4-BE49-F238E27FC236}">
                      <a16:creationId xmlns:a16="http://schemas.microsoft.com/office/drawing/2014/main" id="{498F3145-A4DC-4BB1-A88E-2E13393E092C}"/>
                    </a:ext>
                  </a:extLst>
                </p:cNvPr>
                <p:cNvSpPr/>
                <p:nvPr/>
              </p:nvSpPr>
              <p:spPr>
                <a:xfrm>
                  <a:off x="2453569" y="1320167"/>
                  <a:ext cx="728310" cy="946804"/>
                </a:xfrm>
                <a:custGeom>
                  <a:avLst/>
                  <a:gdLst>
                    <a:gd name="connsiteX0" fmla="*/ 558600 w 728310"/>
                    <a:gd name="connsiteY0" fmla="*/ 2440 h 946803"/>
                    <a:gd name="connsiteX1" fmla="*/ 717080 w 728310"/>
                    <a:gd name="connsiteY1" fmla="*/ 56189 h 946803"/>
                    <a:gd name="connsiteX2" fmla="*/ 651095 w 728310"/>
                    <a:gd name="connsiteY2" fmla="*/ 942689 h 946803"/>
                    <a:gd name="connsiteX3" fmla="*/ 98745 w 728310"/>
                    <a:gd name="connsiteY3" fmla="*/ 950846 h 946803"/>
                    <a:gd name="connsiteX4" fmla="*/ 57814 w 728310"/>
                    <a:gd name="connsiteY4" fmla="*/ 657919 h 946803"/>
                    <a:gd name="connsiteX5" fmla="*/ 77624 w 728310"/>
                    <a:gd name="connsiteY5" fmla="*/ 493612 h 946803"/>
                    <a:gd name="connsiteX6" fmla="*/ 860 w 728310"/>
                    <a:gd name="connsiteY6" fmla="*/ 404759 h 946803"/>
                    <a:gd name="connsiteX7" fmla="*/ 46306 w 728310"/>
                    <a:gd name="connsiteY7" fmla="*/ 281092 h 946803"/>
                    <a:gd name="connsiteX8" fmla="*/ 224160 w 728310"/>
                    <a:gd name="connsiteY8" fmla="*/ 17589 h 946803"/>
                    <a:gd name="connsiteX9" fmla="*/ 305585 w 728310"/>
                    <a:gd name="connsiteY9" fmla="*/ 28222 h 946803"/>
                    <a:gd name="connsiteX10" fmla="*/ 287523 w 728310"/>
                    <a:gd name="connsiteY10" fmla="*/ 164999 h 946803"/>
                    <a:gd name="connsiteX11" fmla="*/ 444983 w 728310"/>
                    <a:gd name="connsiteY11" fmla="*/ 33320 h 946803"/>
                    <a:gd name="connsiteX12" fmla="*/ 558600 w 728310"/>
                    <a:gd name="connsiteY12" fmla="*/ 2440 h 9468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728310" h="946803">
                      <a:moveTo>
                        <a:pt x="558600" y="2440"/>
                      </a:moveTo>
                      <a:cubicBezTo>
                        <a:pt x="618176" y="15549"/>
                        <a:pt x="664351" y="11325"/>
                        <a:pt x="717080" y="56189"/>
                      </a:cubicBezTo>
                      <a:cubicBezTo>
                        <a:pt x="769956" y="101344"/>
                        <a:pt x="651095" y="942689"/>
                        <a:pt x="651095" y="942689"/>
                      </a:cubicBezTo>
                      <a:cubicBezTo>
                        <a:pt x="649202" y="956527"/>
                        <a:pt x="152203" y="949972"/>
                        <a:pt x="98745" y="950846"/>
                      </a:cubicBezTo>
                      <a:cubicBezTo>
                        <a:pt x="19067" y="941815"/>
                        <a:pt x="56357" y="715893"/>
                        <a:pt x="57814" y="657919"/>
                      </a:cubicBezTo>
                      <a:cubicBezTo>
                        <a:pt x="59270" y="599363"/>
                        <a:pt x="82867" y="552897"/>
                        <a:pt x="77624" y="493612"/>
                      </a:cubicBezTo>
                      <a:cubicBezTo>
                        <a:pt x="30429" y="471763"/>
                        <a:pt x="-6132" y="467393"/>
                        <a:pt x="860" y="404759"/>
                      </a:cubicBezTo>
                      <a:cubicBezTo>
                        <a:pt x="5375" y="364410"/>
                        <a:pt x="28535" y="319401"/>
                        <a:pt x="46306" y="281092"/>
                      </a:cubicBezTo>
                      <a:cubicBezTo>
                        <a:pt x="84470" y="198938"/>
                        <a:pt x="127440" y="43662"/>
                        <a:pt x="224160" y="17589"/>
                      </a:cubicBezTo>
                      <a:cubicBezTo>
                        <a:pt x="243824" y="12345"/>
                        <a:pt x="305585" y="28222"/>
                        <a:pt x="305585" y="28222"/>
                      </a:cubicBezTo>
                      <a:lnTo>
                        <a:pt x="287523" y="164999"/>
                      </a:lnTo>
                      <a:lnTo>
                        <a:pt x="444983" y="33320"/>
                      </a:lnTo>
                      <a:cubicBezTo>
                        <a:pt x="444983" y="33320"/>
                        <a:pt x="498878" y="-10670"/>
                        <a:pt x="558600" y="2440"/>
                      </a:cubicBezTo>
                      <a:close/>
                    </a:path>
                  </a:pathLst>
                </a:custGeom>
                <a:solidFill>
                  <a:schemeClr val="bg1">
                    <a:lumMod val="65000"/>
                  </a:schemeClr>
                </a:solidFill>
                <a:ln w="145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59" name="Freeform: Shape 158">
                  <a:extLst>
                    <a:ext uri="{FF2B5EF4-FFF2-40B4-BE49-F238E27FC236}">
                      <a16:creationId xmlns:a16="http://schemas.microsoft.com/office/drawing/2014/main" id="{E3C9CA06-5BBB-47F8-B42C-FA5BBC1CCB69}"/>
                    </a:ext>
                  </a:extLst>
                </p:cNvPr>
                <p:cNvSpPr/>
                <p:nvPr/>
              </p:nvSpPr>
              <p:spPr>
                <a:xfrm>
                  <a:off x="2511819" y="743106"/>
                  <a:ext cx="466119" cy="524384"/>
                </a:xfrm>
                <a:custGeom>
                  <a:avLst/>
                  <a:gdLst>
                    <a:gd name="connsiteX0" fmla="*/ 418050 w 466118"/>
                    <a:gd name="connsiteY0" fmla="*/ 433548 h 524383"/>
                    <a:gd name="connsiteX1" fmla="*/ 457525 w 466118"/>
                    <a:gd name="connsiteY1" fmla="*/ 365378 h 524383"/>
                    <a:gd name="connsiteX2" fmla="*/ 335605 w 466118"/>
                    <a:gd name="connsiteY2" fmla="*/ 23072 h 524383"/>
                    <a:gd name="connsiteX3" fmla="*/ 57536 w 466118"/>
                    <a:gd name="connsiteY3" fmla="*/ 171647 h 524383"/>
                    <a:gd name="connsiteX4" fmla="*/ 28695 w 466118"/>
                    <a:gd name="connsiteY4" fmla="*/ 302306 h 524383"/>
                    <a:gd name="connsiteX5" fmla="*/ 0 w 466118"/>
                    <a:gd name="connsiteY5" fmla="*/ 352705 h 524383"/>
                    <a:gd name="connsiteX6" fmla="*/ 57536 w 466118"/>
                    <a:gd name="connsiteY6" fmla="*/ 356347 h 524383"/>
                    <a:gd name="connsiteX7" fmla="*/ 118715 w 466118"/>
                    <a:gd name="connsiteY7" fmla="*/ 525315 h 524383"/>
                    <a:gd name="connsiteX8" fmla="*/ 418050 w 466118"/>
                    <a:gd name="connsiteY8" fmla="*/ 433548 h 5243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66118" h="524383">
                      <a:moveTo>
                        <a:pt x="418050" y="433548"/>
                      </a:moveTo>
                      <a:cubicBezTo>
                        <a:pt x="436112" y="413738"/>
                        <a:pt x="449950" y="391014"/>
                        <a:pt x="457525" y="365378"/>
                      </a:cubicBezTo>
                      <a:cubicBezTo>
                        <a:pt x="493649" y="243167"/>
                        <a:pt x="463788" y="76093"/>
                        <a:pt x="335605" y="23072"/>
                      </a:cubicBezTo>
                      <a:cubicBezTo>
                        <a:pt x="115073" y="-68112"/>
                        <a:pt x="67005" y="138145"/>
                        <a:pt x="57536" y="171647"/>
                      </a:cubicBezTo>
                      <a:cubicBezTo>
                        <a:pt x="47923" y="205150"/>
                        <a:pt x="53895" y="262686"/>
                        <a:pt x="28695" y="302306"/>
                      </a:cubicBezTo>
                      <a:cubicBezTo>
                        <a:pt x="3496" y="341926"/>
                        <a:pt x="0" y="352705"/>
                        <a:pt x="0" y="352705"/>
                      </a:cubicBezTo>
                      <a:cubicBezTo>
                        <a:pt x="0" y="352705"/>
                        <a:pt x="46757" y="374263"/>
                        <a:pt x="57536" y="356347"/>
                      </a:cubicBezTo>
                      <a:cubicBezTo>
                        <a:pt x="57536" y="356347"/>
                        <a:pt x="39474" y="510894"/>
                        <a:pt x="118715" y="525315"/>
                      </a:cubicBezTo>
                      <a:cubicBezTo>
                        <a:pt x="211064" y="542357"/>
                        <a:pt x="347550" y="510457"/>
                        <a:pt x="418050" y="433548"/>
                      </a:cubicBezTo>
                      <a:close/>
                    </a:path>
                  </a:pathLst>
                </a:custGeom>
                <a:solidFill>
                  <a:srgbClr val="F3AE6E"/>
                </a:solidFill>
                <a:ln w="145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0" name="Freeform: Shape 159">
                  <a:extLst>
                    <a:ext uri="{FF2B5EF4-FFF2-40B4-BE49-F238E27FC236}">
                      <a16:creationId xmlns:a16="http://schemas.microsoft.com/office/drawing/2014/main" id="{AE0EC6D6-5620-46BB-8174-6BF50736899E}"/>
                    </a:ext>
                  </a:extLst>
                </p:cNvPr>
                <p:cNvSpPr/>
                <p:nvPr/>
              </p:nvSpPr>
              <p:spPr>
                <a:xfrm>
                  <a:off x="2465062" y="699405"/>
                  <a:ext cx="553516" cy="436986"/>
                </a:xfrm>
                <a:custGeom>
                  <a:avLst/>
                  <a:gdLst>
                    <a:gd name="connsiteX0" fmla="*/ 266125 w 553515"/>
                    <a:gd name="connsiteY0" fmla="*/ 209522 h 436986"/>
                    <a:gd name="connsiteX1" fmla="*/ 0 w 553515"/>
                    <a:gd name="connsiteY1" fmla="*/ 213163 h 436986"/>
                    <a:gd name="connsiteX2" fmla="*/ 75453 w 553515"/>
                    <a:gd name="connsiteY2" fmla="*/ 187964 h 436986"/>
                    <a:gd name="connsiteX3" fmla="*/ 345219 w 553515"/>
                    <a:gd name="connsiteY3" fmla="*/ 4575 h 436986"/>
                    <a:gd name="connsiteX4" fmla="*/ 510692 w 553515"/>
                    <a:gd name="connsiteY4" fmla="*/ 443309 h 436986"/>
                    <a:gd name="connsiteX5" fmla="*/ 266125 w 553515"/>
                    <a:gd name="connsiteY5" fmla="*/ 209522 h 4369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553515" h="436986">
                      <a:moveTo>
                        <a:pt x="266125" y="209522"/>
                      </a:moveTo>
                      <a:cubicBezTo>
                        <a:pt x="266125" y="209522"/>
                        <a:pt x="118715" y="328236"/>
                        <a:pt x="0" y="213163"/>
                      </a:cubicBezTo>
                      <a:cubicBezTo>
                        <a:pt x="0" y="213163"/>
                        <a:pt x="50399" y="220301"/>
                        <a:pt x="75453" y="187964"/>
                      </a:cubicBezTo>
                      <a:cubicBezTo>
                        <a:pt x="100653" y="155627"/>
                        <a:pt x="107790" y="-31403"/>
                        <a:pt x="345219" y="4575"/>
                      </a:cubicBezTo>
                      <a:cubicBezTo>
                        <a:pt x="582503" y="40554"/>
                        <a:pt x="596923" y="310320"/>
                        <a:pt x="510692" y="443309"/>
                      </a:cubicBezTo>
                      <a:cubicBezTo>
                        <a:pt x="510692" y="443309"/>
                        <a:pt x="305745" y="367711"/>
                        <a:pt x="266125" y="209522"/>
                      </a:cubicBezTo>
                      <a:close/>
                    </a:path>
                  </a:pathLst>
                </a:custGeom>
                <a:solidFill>
                  <a:schemeClr val="bg2">
                    <a:lumMod val="95000"/>
                  </a:schemeClr>
                </a:solidFill>
                <a:ln w="145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1" name="Freeform: Shape 160">
                  <a:extLst>
                    <a:ext uri="{FF2B5EF4-FFF2-40B4-BE49-F238E27FC236}">
                      <a16:creationId xmlns:a16="http://schemas.microsoft.com/office/drawing/2014/main" id="{2D8E16C7-40FA-4F92-99A1-2DA8895A19BB}"/>
                    </a:ext>
                  </a:extLst>
                </p:cNvPr>
                <p:cNvSpPr/>
                <p:nvPr/>
              </p:nvSpPr>
              <p:spPr>
                <a:xfrm>
                  <a:off x="2778604" y="562932"/>
                  <a:ext cx="189361" cy="160228"/>
                </a:xfrm>
                <a:custGeom>
                  <a:avLst/>
                  <a:gdLst>
                    <a:gd name="connsiteX0" fmla="*/ 1962 w 189360"/>
                    <a:gd name="connsiteY0" fmla="*/ 62973 h 160228"/>
                    <a:gd name="connsiteX1" fmla="*/ 77124 w 189360"/>
                    <a:gd name="connsiteY1" fmla="*/ 167558 h 160228"/>
                    <a:gd name="connsiteX2" fmla="*/ 191032 w 189360"/>
                    <a:gd name="connsiteY2" fmla="*/ 107545 h 160228"/>
                    <a:gd name="connsiteX3" fmla="*/ 115870 w 189360"/>
                    <a:gd name="connsiteY3" fmla="*/ 2960 h 160228"/>
                    <a:gd name="connsiteX4" fmla="*/ 1962 w 189360"/>
                    <a:gd name="connsiteY4" fmla="*/ 62973 h 1602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9360" h="160228">
                      <a:moveTo>
                        <a:pt x="1962" y="62973"/>
                      </a:moveTo>
                      <a:cubicBezTo>
                        <a:pt x="-8671" y="108419"/>
                        <a:pt x="24977" y="155177"/>
                        <a:pt x="77124" y="167558"/>
                      </a:cubicBezTo>
                      <a:cubicBezTo>
                        <a:pt x="129271" y="179794"/>
                        <a:pt x="180253" y="152992"/>
                        <a:pt x="191032" y="107545"/>
                      </a:cubicBezTo>
                      <a:cubicBezTo>
                        <a:pt x="201665" y="62099"/>
                        <a:pt x="168017" y="15341"/>
                        <a:pt x="115870" y="2960"/>
                      </a:cubicBezTo>
                      <a:cubicBezTo>
                        <a:pt x="63723" y="-9276"/>
                        <a:pt x="12595" y="17526"/>
                        <a:pt x="1962" y="62973"/>
                      </a:cubicBezTo>
                      <a:close/>
                    </a:path>
                  </a:pathLst>
                </a:custGeom>
                <a:solidFill>
                  <a:schemeClr val="bg2">
                    <a:lumMod val="95000"/>
                  </a:schemeClr>
                </a:solidFill>
                <a:ln w="145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grpSp>
              <p:nvGrpSpPr>
                <p:cNvPr id="162" name="Graphic 33">
                  <a:extLst>
                    <a:ext uri="{FF2B5EF4-FFF2-40B4-BE49-F238E27FC236}">
                      <a16:creationId xmlns:a16="http://schemas.microsoft.com/office/drawing/2014/main" id="{440B22D8-60B6-4E87-B963-BFBF5C170E8A}"/>
                    </a:ext>
                  </a:extLst>
                </p:cNvPr>
                <p:cNvGrpSpPr/>
                <p:nvPr/>
              </p:nvGrpSpPr>
              <p:grpSpPr>
                <a:xfrm>
                  <a:off x="2227341" y="2120540"/>
                  <a:ext cx="480685" cy="1442055"/>
                  <a:chOff x="2227341" y="2120540"/>
                  <a:chExt cx="480685" cy="1442055"/>
                </a:xfrm>
                <a:solidFill>
                  <a:schemeClr val="accent1"/>
                </a:solidFill>
              </p:grpSpPr>
              <p:sp>
                <p:nvSpPr>
                  <p:cNvPr id="163" name="Freeform: Shape 162">
                    <a:extLst>
                      <a:ext uri="{FF2B5EF4-FFF2-40B4-BE49-F238E27FC236}">
                        <a16:creationId xmlns:a16="http://schemas.microsoft.com/office/drawing/2014/main" id="{B90961E7-DE6F-4DDC-9413-F85C1AB102ED}"/>
                      </a:ext>
                    </a:extLst>
                  </p:cNvPr>
                  <p:cNvSpPr/>
                  <p:nvPr/>
                </p:nvSpPr>
                <p:spPr>
                  <a:xfrm>
                    <a:off x="2227341" y="3562453"/>
                    <a:ext cx="14566" cy="14566"/>
                  </a:xfrm>
                  <a:custGeom>
                    <a:avLst/>
                    <a:gdLst>
                      <a:gd name="connsiteX0" fmla="*/ 291 w 0"/>
                      <a:gd name="connsiteY0" fmla="*/ 0 h 0"/>
                      <a:gd name="connsiteX1" fmla="*/ 0 w 0"/>
                      <a:gd name="connsiteY1" fmla="*/ 1602 h 0"/>
                      <a:gd name="connsiteX2" fmla="*/ 874 w 0"/>
                      <a:gd name="connsiteY2" fmla="*/ 1602 h 0"/>
                      <a:gd name="connsiteX3" fmla="*/ 291 w 0"/>
                      <a:gd name="connsiteY3" fmla="*/ 0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>
                        <a:moveTo>
                          <a:pt x="291" y="0"/>
                        </a:moveTo>
                        <a:lnTo>
                          <a:pt x="0" y="1602"/>
                        </a:lnTo>
                        <a:cubicBezTo>
                          <a:pt x="291" y="1602"/>
                          <a:pt x="583" y="1602"/>
                          <a:pt x="874" y="1602"/>
                        </a:cubicBezTo>
                        <a:lnTo>
                          <a:pt x="291" y="0"/>
                        </a:lnTo>
                        <a:close/>
                      </a:path>
                    </a:pathLst>
                  </a:custGeom>
                  <a:solidFill>
                    <a:srgbClr val="2A2B7C"/>
                  </a:solidFill>
                  <a:ln w="1453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64" name="Freeform: Shape 163">
                    <a:extLst>
                      <a:ext uri="{FF2B5EF4-FFF2-40B4-BE49-F238E27FC236}">
                        <a16:creationId xmlns:a16="http://schemas.microsoft.com/office/drawing/2014/main" id="{56017424-20BF-4A35-9D3E-31BE115C4C52}"/>
                      </a:ext>
                    </a:extLst>
                  </p:cNvPr>
                  <p:cNvSpPr/>
                  <p:nvPr/>
                </p:nvSpPr>
                <p:spPr>
                  <a:xfrm>
                    <a:off x="2518374" y="2120540"/>
                    <a:ext cx="189361" cy="145662"/>
                  </a:xfrm>
                  <a:custGeom>
                    <a:avLst/>
                    <a:gdLst>
                      <a:gd name="connsiteX0" fmla="*/ 46612 w 189360"/>
                      <a:gd name="connsiteY0" fmla="*/ 145374 h 145662"/>
                      <a:gd name="connsiteX1" fmla="*/ 93369 w 189360"/>
                      <a:gd name="connsiteY1" fmla="*/ 66280 h 145662"/>
                      <a:gd name="connsiteX2" fmla="*/ 194022 w 189360"/>
                      <a:gd name="connsiteY2" fmla="*/ 84196 h 145662"/>
                      <a:gd name="connsiteX3" fmla="*/ 86086 w 189360"/>
                      <a:gd name="connsiteY3" fmla="*/ 1460 h 145662"/>
                      <a:gd name="connsiteX4" fmla="*/ 0 w 189360"/>
                      <a:gd name="connsiteY4" fmla="*/ 145957 h 145662"/>
                      <a:gd name="connsiteX5" fmla="*/ 46466 w 189360"/>
                      <a:gd name="connsiteY5" fmla="*/ 145665 h 145662"/>
                      <a:gd name="connsiteX6" fmla="*/ 46612 w 189360"/>
                      <a:gd name="connsiteY6" fmla="*/ 145374 h 1456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89360" h="145662">
                        <a:moveTo>
                          <a:pt x="46612" y="145374"/>
                        </a:moveTo>
                        <a:cubicBezTo>
                          <a:pt x="46612" y="145374"/>
                          <a:pt x="46612" y="69921"/>
                          <a:pt x="93369" y="66280"/>
                        </a:cubicBezTo>
                        <a:cubicBezTo>
                          <a:pt x="140127" y="62638"/>
                          <a:pt x="143768" y="159795"/>
                          <a:pt x="194022" y="84196"/>
                        </a:cubicBezTo>
                        <a:cubicBezTo>
                          <a:pt x="194022" y="84196"/>
                          <a:pt x="186885" y="-12961"/>
                          <a:pt x="86086" y="1460"/>
                        </a:cubicBezTo>
                        <a:cubicBezTo>
                          <a:pt x="24763" y="10200"/>
                          <a:pt x="7429" y="12239"/>
                          <a:pt x="0" y="145957"/>
                        </a:cubicBezTo>
                        <a:lnTo>
                          <a:pt x="46466" y="145665"/>
                        </a:lnTo>
                        <a:lnTo>
                          <a:pt x="46612" y="145374"/>
                        </a:lnTo>
                        <a:close/>
                      </a:path>
                    </a:pathLst>
                  </a:custGeom>
                  <a:solidFill>
                    <a:schemeClr val="tx2"/>
                  </a:solidFill>
                  <a:ln w="1453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65" name="Freeform: Shape 164">
                    <a:extLst>
                      <a:ext uri="{FF2B5EF4-FFF2-40B4-BE49-F238E27FC236}">
                        <a16:creationId xmlns:a16="http://schemas.microsoft.com/office/drawing/2014/main" id="{88520F6A-E6C8-42CF-8930-1E4A726ACB89}"/>
                      </a:ext>
                    </a:extLst>
                  </p:cNvPr>
                  <p:cNvSpPr/>
                  <p:nvPr/>
                </p:nvSpPr>
                <p:spPr>
                  <a:xfrm>
                    <a:off x="2512548" y="3562453"/>
                    <a:ext cx="29132" cy="14566"/>
                  </a:xfrm>
                  <a:custGeom>
                    <a:avLst/>
                    <a:gdLst>
                      <a:gd name="connsiteX0" fmla="*/ 30735 w 29132"/>
                      <a:gd name="connsiteY0" fmla="*/ 0 h 0"/>
                      <a:gd name="connsiteX1" fmla="*/ 0 w 29132"/>
                      <a:gd name="connsiteY1" fmla="*/ 146 h 0"/>
                      <a:gd name="connsiteX2" fmla="*/ 30735 w 29132"/>
                      <a:gd name="connsiteY2" fmla="*/ 1894 h 0"/>
                      <a:gd name="connsiteX3" fmla="*/ 30735 w 29132"/>
                      <a:gd name="connsiteY3" fmla="*/ 0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9132">
                        <a:moveTo>
                          <a:pt x="30735" y="0"/>
                        </a:moveTo>
                        <a:cubicBezTo>
                          <a:pt x="20393" y="0"/>
                          <a:pt x="10196" y="146"/>
                          <a:pt x="0" y="146"/>
                        </a:cubicBezTo>
                        <a:lnTo>
                          <a:pt x="30735" y="1894"/>
                        </a:lnTo>
                        <a:lnTo>
                          <a:pt x="30735" y="0"/>
                        </a:lnTo>
                        <a:close/>
                      </a:path>
                    </a:pathLst>
                  </a:custGeom>
                  <a:solidFill>
                    <a:srgbClr val="0B1238"/>
                  </a:solidFill>
                  <a:ln w="1453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66" name="Freeform: Shape 165">
                    <a:extLst>
                      <a:ext uri="{FF2B5EF4-FFF2-40B4-BE49-F238E27FC236}">
                        <a16:creationId xmlns:a16="http://schemas.microsoft.com/office/drawing/2014/main" id="{57FADB4F-DFDE-4E25-B380-27287C4E4FBC}"/>
                      </a:ext>
                    </a:extLst>
                  </p:cNvPr>
                  <p:cNvSpPr/>
                  <p:nvPr/>
                </p:nvSpPr>
                <p:spPr>
                  <a:xfrm>
                    <a:off x="2482104" y="2266351"/>
                    <a:ext cx="72831" cy="1281826"/>
                  </a:xfrm>
                  <a:custGeom>
                    <a:avLst/>
                    <a:gdLst>
                      <a:gd name="connsiteX0" fmla="*/ 61178 w 72831"/>
                      <a:gd name="connsiteY0" fmla="*/ 1296101 h 1281826"/>
                      <a:gd name="connsiteX1" fmla="*/ 82882 w 72831"/>
                      <a:gd name="connsiteY1" fmla="*/ 0 h 1281826"/>
                      <a:gd name="connsiteX2" fmla="*/ 36416 w 72831"/>
                      <a:gd name="connsiteY2" fmla="*/ 291 h 1281826"/>
                      <a:gd name="connsiteX3" fmla="*/ 25345 w 72831"/>
                      <a:gd name="connsiteY3" fmla="*/ 456359 h 1281826"/>
                      <a:gd name="connsiteX4" fmla="*/ 0 w 72831"/>
                      <a:gd name="connsiteY4" fmla="*/ 1294353 h 1281826"/>
                      <a:gd name="connsiteX5" fmla="*/ 30444 w 72831"/>
                      <a:gd name="connsiteY5" fmla="*/ 1296101 h 1281826"/>
                      <a:gd name="connsiteX6" fmla="*/ 61178 w 72831"/>
                      <a:gd name="connsiteY6" fmla="*/ 1296101 h 128182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2831" h="1281826">
                        <a:moveTo>
                          <a:pt x="61178" y="1296101"/>
                        </a:moveTo>
                        <a:lnTo>
                          <a:pt x="82882" y="0"/>
                        </a:lnTo>
                        <a:lnTo>
                          <a:pt x="36416" y="291"/>
                        </a:lnTo>
                        <a:cubicBezTo>
                          <a:pt x="31609" y="86086"/>
                          <a:pt x="31026" y="225922"/>
                          <a:pt x="25345" y="456359"/>
                        </a:cubicBezTo>
                        <a:cubicBezTo>
                          <a:pt x="10925" y="1046145"/>
                          <a:pt x="0" y="1294353"/>
                          <a:pt x="0" y="1294353"/>
                        </a:cubicBezTo>
                        <a:lnTo>
                          <a:pt x="30444" y="1296101"/>
                        </a:lnTo>
                        <a:cubicBezTo>
                          <a:pt x="40640" y="1296101"/>
                          <a:pt x="50982" y="1296101"/>
                          <a:pt x="61178" y="1296101"/>
                        </a:cubicBezTo>
                        <a:close/>
                      </a:path>
                    </a:pathLst>
                  </a:custGeom>
                  <a:solidFill>
                    <a:schemeClr val="tx2"/>
                  </a:solidFill>
                  <a:ln w="14532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sp>
              <p:nvSpPr>
                <p:cNvPr id="167" name="Freeform: Shape 166">
                  <a:extLst>
                    <a:ext uri="{FF2B5EF4-FFF2-40B4-BE49-F238E27FC236}">
                      <a16:creationId xmlns:a16="http://schemas.microsoft.com/office/drawing/2014/main" id="{75D4D293-49A3-4164-9A2C-F7BDDE9490AF}"/>
                    </a:ext>
                  </a:extLst>
                </p:cNvPr>
                <p:cNvSpPr/>
                <p:nvPr/>
              </p:nvSpPr>
              <p:spPr>
                <a:xfrm>
                  <a:off x="2502214" y="1366193"/>
                  <a:ext cx="859406" cy="903105"/>
                </a:xfrm>
                <a:custGeom>
                  <a:avLst/>
                  <a:gdLst>
                    <a:gd name="connsiteX0" fmla="*/ 645421 w 859406"/>
                    <a:gd name="connsiteY0" fmla="*/ 549 h 903104"/>
                    <a:gd name="connsiteX1" fmla="*/ 850367 w 859406"/>
                    <a:gd name="connsiteY1" fmla="*/ 417725 h 903104"/>
                    <a:gd name="connsiteX2" fmla="*/ 774914 w 859406"/>
                    <a:gd name="connsiteY2" fmla="*/ 784503 h 903104"/>
                    <a:gd name="connsiteX3" fmla="*/ 400854 w 859406"/>
                    <a:gd name="connsiteY3" fmla="*/ 748524 h 903104"/>
                    <a:gd name="connsiteX4" fmla="*/ 106034 w 859406"/>
                    <a:gd name="connsiteY4" fmla="*/ 777365 h 903104"/>
                    <a:gd name="connsiteX5" fmla="*/ 62918 w 859406"/>
                    <a:gd name="connsiteY5" fmla="*/ 881659 h 903104"/>
                    <a:gd name="connsiteX6" fmla="*/ 12519 w 859406"/>
                    <a:gd name="connsiteY6" fmla="*/ 878018 h 903104"/>
                    <a:gd name="connsiteX7" fmla="*/ 84476 w 859406"/>
                    <a:gd name="connsiteY7" fmla="*/ 655009 h 903104"/>
                    <a:gd name="connsiteX8" fmla="*/ 465674 w 859406"/>
                    <a:gd name="connsiteY8" fmla="*/ 665788 h 903104"/>
                    <a:gd name="connsiteX9" fmla="*/ 627504 w 859406"/>
                    <a:gd name="connsiteY9" fmla="*/ 694629 h 903104"/>
                    <a:gd name="connsiteX10" fmla="*/ 613084 w 859406"/>
                    <a:gd name="connsiteY10" fmla="*/ 518378 h 903104"/>
                    <a:gd name="connsiteX11" fmla="*/ 645421 w 859406"/>
                    <a:gd name="connsiteY11" fmla="*/ 549 h 9031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859406" h="903104">
                      <a:moveTo>
                        <a:pt x="645421" y="549"/>
                      </a:moveTo>
                      <a:cubicBezTo>
                        <a:pt x="763407" y="-14163"/>
                        <a:pt x="818030" y="270315"/>
                        <a:pt x="850367" y="417725"/>
                      </a:cubicBezTo>
                      <a:cubicBezTo>
                        <a:pt x="882704" y="565135"/>
                        <a:pt x="861146" y="752166"/>
                        <a:pt x="774914" y="784503"/>
                      </a:cubicBezTo>
                      <a:cubicBezTo>
                        <a:pt x="688537" y="816839"/>
                        <a:pt x="512431" y="766586"/>
                        <a:pt x="400854" y="748524"/>
                      </a:cubicBezTo>
                      <a:cubicBezTo>
                        <a:pt x="289422" y="730608"/>
                        <a:pt x="138371" y="744882"/>
                        <a:pt x="106034" y="777365"/>
                      </a:cubicBezTo>
                      <a:cubicBezTo>
                        <a:pt x="73697" y="809702"/>
                        <a:pt x="44856" y="842039"/>
                        <a:pt x="62918" y="881659"/>
                      </a:cubicBezTo>
                      <a:cubicBezTo>
                        <a:pt x="80834" y="921279"/>
                        <a:pt x="34077" y="913996"/>
                        <a:pt x="12519" y="878018"/>
                      </a:cubicBezTo>
                      <a:cubicBezTo>
                        <a:pt x="-9039" y="842039"/>
                        <a:pt x="-12681" y="687346"/>
                        <a:pt x="84476" y="655009"/>
                      </a:cubicBezTo>
                      <a:cubicBezTo>
                        <a:pt x="181633" y="622672"/>
                        <a:pt x="314622" y="655009"/>
                        <a:pt x="465674" y="665788"/>
                      </a:cubicBezTo>
                      <a:cubicBezTo>
                        <a:pt x="607257" y="675839"/>
                        <a:pt x="627504" y="694629"/>
                        <a:pt x="627504" y="694629"/>
                      </a:cubicBezTo>
                      <a:cubicBezTo>
                        <a:pt x="627504" y="694629"/>
                        <a:pt x="670620" y="676713"/>
                        <a:pt x="613084" y="518378"/>
                      </a:cubicBezTo>
                      <a:cubicBezTo>
                        <a:pt x="555547" y="360189"/>
                        <a:pt x="501652" y="18611"/>
                        <a:pt x="645421" y="549"/>
                      </a:cubicBezTo>
                      <a:close/>
                    </a:path>
                  </a:pathLst>
                </a:custGeom>
                <a:solidFill>
                  <a:srgbClr val="F3AE6E"/>
                </a:solidFill>
                <a:ln w="145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8" name="Freeform: Shape 167">
                  <a:extLst>
                    <a:ext uri="{FF2B5EF4-FFF2-40B4-BE49-F238E27FC236}">
                      <a16:creationId xmlns:a16="http://schemas.microsoft.com/office/drawing/2014/main" id="{9D8D135A-88AD-4B35-98DA-0AE491C0E187}"/>
                    </a:ext>
                  </a:extLst>
                </p:cNvPr>
                <p:cNvSpPr/>
                <p:nvPr/>
              </p:nvSpPr>
              <p:spPr>
                <a:xfrm>
                  <a:off x="3050777" y="1372904"/>
                  <a:ext cx="276758" cy="422420"/>
                </a:xfrm>
                <a:custGeom>
                  <a:avLst/>
                  <a:gdLst>
                    <a:gd name="connsiteX0" fmla="*/ 287530 w 276757"/>
                    <a:gd name="connsiteY0" fmla="*/ 339203 h 422420"/>
                    <a:gd name="connsiteX1" fmla="*/ 32184 w 276757"/>
                    <a:gd name="connsiteY1" fmla="*/ 414802 h 422420"/>
                    <a:gd name="connsiteX2" fmla="*/ 86225 w 276757"/>
                    <a:gd name="connsiteY2" fmla="*/ 1267 h 422420"/>
                    <a:gd name="connsiteX3" fmla="*/ 287530 w 276757"/>
                    <a:gd name="connsiteY3" fmla="*/ 339203 h 4224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76757" h="422420">
                      <a:moveTo>
                        <a:pt x="287530" y="339203"/>
                      </a:moveTo>
                      <a:cubicBezTo>
                        <a:pt x="287530" y="339203"/>
                        <a:pt x="158036" y="457918"/>
                        <a:pt x="32184" y="414802"/>
                      </a:cubicBezTo>
                      <a:cubicBezTo>
                        <a:pt x="32184" y="414802"/>
                        <a:pt x="-68469" y="26321"/>
                        <a:pt x="86225" y="1267"/>
                      </a:cubicBezTo>
                      <a:cubicBezTo>
                        <a:pt x="240772" y="-24078"/>
                        <a:pt x="287530" y="339203"/>
                        <a:pt x="287530" y="339203"/>
                      </a:cubicBezTo>
                      <a:close/>
                    </a:path>
                  </a:pathLst>
                </a:custGeom>
                <a:solidFill>
                  <a:schemeClr val="bg1">
                    <a:lumMod val="65000"/>
                  </a:schemeClr>
                </a:solidFill>
                <a:ln w="145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171" name="Freeform: Shape 170">
                <a:extLst>
                  <a:ext uri="{FF2B5EF4-FFF2-40B4-BE49-F238E27FC236}">
                    <a16:creationId xmlns:a16="http://schemas.microsoft.com/office/drawing/2014/main" id="{93FBB61B-0AFE-43D2-AE7E-5D4B53DEC306}"/>
                  </a:ext>
                </a:extLst>
              </p:cNvPr>
              <p:cNvSpPr/>
              <p:nvPr/>
            </p:nvSpPr>
            <p:spPr>
              <a:xfrm>
                <a:off x="2511819" y="1285609"/>
                <a:ext cx="233059" cy="131096"/>
              </a:xfrm>
              <a:custGeom>
                <a:avLst/>
                <a:gdLst>
                  <a:gd name="connsiteX0" fmla="*/ 0 w 233059"/>
                  <a:gd name="connsiteY0" fmla="*/ 87106 h 131095"/>
                  <a:gd name="connsiteX1" fmla="*/ 30152 w 233059"/>
                  <a:gd name="connsiteY1" fmla="*/ 18353 h 131095"/>
                  <a:gd name="connsiteX2" fmla="*/ 161831 w 233059"/>
                  <a:gd name="connsiteY2" fmla="*/ 0 h 131095"/>
                  <a:gd name="connsiteX3" fmla="*/ 247334 w 233059"/>
                  <a:gd name="connsiteY3" fmla="*/ 62780 h 131095"/>
                  <a:gd name="connsiteX4" fmla="*/ 108227 w 233059"/>
                  <a:gd name="connsiteY4" fmla="*/ 87106 h 131095"/>
                  <a:gd name="connsiteX5" fmla="*/ 69189 w 233059"/>
                  <a:gd name="connsiteY5" fmla="*/ 138088 h 1310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33059" h="131095">
                    <a:moveTo>
                      <a:pt x="0" y="87106"/>
                    </a:moveTo>
                    <a:lnTo>
                      <a:pt x="30152" y="18353"/>
                    </a:lnTo>
                    <a:lnTo>
                      <a:pt x="161831" y="0"/>
                    </a:lnTo>
                    <a:lnTo>
                      <a:pt x="247334" y="62780"/>
                    </a:lnTo>
                    <a:lnTo>
                      <a:pt x="108227" y="87106"/>
                    </a:lnTo>
                    <a:lnTo>
                      <a:pt x="69189" y="138088"/>
                    </a:lnTo>
                    <a:close/>
                  </a:path>
                </a:pathLst>
              </a:custGeom>
              <a:solidFill>
                <a:srgbClr val="F7CEBB"/>
              </a:solidFill>
              <a:ln w="1453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grpSp>
            <p:nvGrpSpPr>
              <p:cNvPr id="172" name="Graphic 33">
                <a:extLst>
                  <a:ext uri="{FF2B5EF4-FFF2-40B4-BE49-F238E27FC236}">
                    <a16:creationId xmlns:a16="http://schemas.microsoft.com/office/drawing/2014/main" id="{440B22D8-60B6-4E87-B963-BFBF5C170E8A}"/>
                  </a:ext>
                </a:extLst>
              </p:cNvPr>
              <p:cNvGrpSpPr/>
              <p:nvPr/>
            </p:nvGrpSpPr>
            <p:grpSpPr>
              <a:xfrm>
                <a:off x="1058549" y="2263001"/>
                <a:ext cx="2286895" cy="1296393"/>
                <a:chOff x="1058549" y="2263001"/>
                <a:chExt cx="2286895" cy="1296393"/>
              </a:xfrm>
              <a:solidFill>
                <a:schemeClr val="accent1"/>
              </a:solidFill>
            </p:grpSpPr>
            <p:sp>
              <p:nvSpPr>
                <p:cNvPr id="173" name="Freeform: Shape 172">
                  <a:extLst>
                    <a:ext uri="{FF2B5EF4-FFF2-40B4-BE49-F238E27FC236}">
                      <a16:creationId xmlns:a16="http://schemas.microsoft.com/office/drawing/2014/main" id="{CF5AC944-11BB-4EFB-A162-B500D51EC10E}"/>
                    </a:ext>
                  </a:extLst>
                </p:cNvPr>
                <p:cNvSpPr/>
                <p:nvPr/>
              </p:nvSpPr>
              <p:spPr>
                <a:xfrm>
                  <a:off x="2218456" y="3533466"/>
                  <a:ext cx="14566" cy="29132"/>
                </a:xfrm>
                <a:custGeom>
                  <a:avLst/>
                  <a:gdLst>
                    <a:gd name="connsiteX0" fmla="*/ 14712 w 14566"/>
                    <a:gd name="connsiteY0" fmla="*/ 1748 h 29132"/>
                    <a:gd name="connsiteX1" fmla="*/ 0 w 14566"/>
                    <a:gd name="connsiteY1" fmla="*/ 0 h 29132"/>
                    <a:gd name="connsiteX2" fmla="*/ 9031 w 14566"/>
                    <a:gd name="connsiteY2" fmla="*/ 29132 h 29132"/>
                    <a:gd name="connsiteX3" fmla="*/ 14712 w 14566"/>
                    <a:gd name="connsiteY3" fmla="*/ 1748 h 291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4566" h="29132">
                      <a:moveTo>
                        <a:pt x="14712" y="1748"/>
                      </a:moveTo>
                      <a:cubicBezTo>
                        <a:pt x="9759" y="1165"/>
                        <a:pt x="4952" y="583"/>
                        <a:pt x="0" y="0"/>
                      </a:cubicBezTo>
                      <a:lnTo>
                        <a:pt x="9031" y="29132"/>
                      </a:lnTo>
                      <a:lnTo>
                        <a:pt x="14712" y="1748"/>
                      </a:lnTo>
                      <a:close/>
                    </a:path>
                  </a:pathLst>
                </a:custGeom>
                <a:noFill/>
                <a:ln w="145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74" name="Freeform: Shape 173">
                  <a:extLst>
                    <a:ext uri="{FF2B5EF4-FFF2-40B4-BE49-F238E27FC236}">
                      <a16:creationId xmlns:a16="http://schemas.microsoft.com/office/drawing/2014/main" id="{AD4BE25F-D346-4F4C-9774-3F46B5FAD83C}"/>
                    </a:ext>
                  </a:extLst>
                </p:cNvPr>
                <p:cNvSpPr/>
                <p:nvPr/>
              </p:nvSpPr>
              <p:spPr>
                <a:xfrm>
                  <a:off x="2227341" y="3562453"/>
                  <a:ext cx="14566" cy="14566"/>
                </a:xfrm>
                <a:custGeom>
                  <a:avLst/>
                  <a:gdLst>
                    <a:gd name="connsiteX0" fmla="*/ 291 w 0"/>
                    <a:gd name="connsiteY0" fmla="*/ 0 h 0"/>
                    <a:gd name="connsiteX1" fmla="*/ 0 w 0"/>
                    <a:gd name="connsiteY1" fmla="*/ 1602 h 0"/>
                    <a:gd name="connsiteX2" fmla="*/ 874 w 0"/>
                    <a:gd name="connsiteY2" fmla="*/ 1602 h 0"/>
                    <a:gd name="connsiteX3" fmla="*/ 291 w 0"/>
                    <a:gd name="connsiteY3" fmla="*/ 0 h 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>
                      <a:moveTo>
                        <a:pt x="291" y="0"/>
                      </a:moveTo>
                      <a:lnTo>
                        <a:pt x="0" y="1602"/>
                      </a:lnTo>
                      <a:cubicBezTo>
                        <a:pt x="291" y="1602"/>
                        <a:pt x="583" y="1602"/>
                        <a:pt x="874" y="1602"/>
                      </a:cubicBezTo>
                      <a:lnTo>
                        <a:pt x="291" y="0"/>
                      </a:lnTo>
                      <a:close/>
                    </a:path>
                  </a:pathLst>
                </a:custGeom>
                <a:noFill/>
                <a:ln w="145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75" name="Freeform: Shape 174">
                  <a:extLst>
                    <a:ext uri="{FF2B5EF4-FFF2-40B4-BE49-F238E27FC236}">
                      <a16:creationId xmlns:a16="http://schemas.microsoft.com/office/drawing/2014/main" id="{ADC198BD-26FF-435F-8ACB-37D9E59B8F2C}"/>
                    </a:ext>
                  </a:extLst>
                </p:cNvPr>
                <p:cNvSpPr/>
                <p:nvPr/>
              </p:nvSpPr>
              <p:spPr>
                <a:xfrm>
                  <a:off x="1487669" y="3254232"/>
                  <a:ext cx="174795" cy="145662"/>
                </a:xfrm>
                <a:custGeom>
                  <a:avLst/>
                  <a:gdLst>
                    <a:gd name="connsiteX0" fmla="*/ 3787 w 174794"/>
                    <a:gd name="connsiteY0" fmla="*/ 0 h 145662"/>
                    <a:gd name="connsiteX1" fmla="*/ 0 w 174794"/>
                    <a:gd name="connsiteY1" fmla="*/ 90602 h 145662"/>
                    <a:gd name="connsiteX2" fmla="*/ 181058 w 174794"/>
                    <a:gd name="connsiteY2" fmla="*/ 157461 h 145662"/>
                    <a:gd name="connsiteX3" fmla="*/ 108664 w 174794"/>
                    <a:gd name="connsiteY3" fmla="*/ 146 h 145662"/>
                    <a:gd name="connsiteX4" fmla="*/ 3787 w 174794"/>
                    <a:gd name="connsiteY4" fmla="*/ 146 h 1456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4794" h="145662">
                      <a:moveTo>
                        <a:pt x="3787" y="0"/>
                      </a:moveTo>
                      <a:lnTo>
                        <a:pt x="0" y="90602"/>
                      </a:lnTo>
                      <a:cubicBezTo>
                        <a:pt x="55643" y="113179"/>
                        <a:pt x="116238" y="135903"/>
                        <a:pt x="181058" y="157461"/>
                      </a:cubicBezTo>
                      <a:lnTo>
                        <a:pt x="108664" y="146"/>
                      </a:lnTo>
                      <a:lnTo>
                        <a:pt x="3787" y="146"/>
                      </a:lnTo>
                      <a:close/>
                    </a:path>
                  </a:pathLst>
                </a:custGeom>
                <a:solidFill>
                  <a:srgbClr val="E6E6E6"/>
                </a:solidFill>
                <a:ln w="145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76" name="Freeform: Shape 175">
                  <a:extLst>
                    <a:ext uri="{FF2B5EF4-FFF2-40B4-BE49-F238E27FC236}">
                      <a16:creationId xmlns:a16="http://schemas.microsoft.com/office/drawing/2014/main" id="{BD9F06EC-A5E4-409D-A6BC-BA482A1DCBCB}"/>
                    </a:ext>
                  </a:extLst>
                </p:cNvPr>
                <p:cNvSpPr/>
                <p:nvPr/>
              </p:nvSpPr>
              <p:spPr>
                <a:xfrm>
                  <a:off x="1058549" y="2823217"/>
                  <a:ext cx="1150731" cy="699178"/>
                </a:xfrm>
                <a:custGeom>
                  <a:avLst/>
                  <a:gdLst>
                    <a:gd name="connsiteX0" fmla="*/ 1160053 w 1150730"/>
                    <a:gd name="connsiteY0" fmla="*/ 710248 h 699178"/>
                    <a:gd name="connsiteX1" fmla="*/ 940395 w 1150730"/>
                    <a:gd name="connsiteY1" fmla="*/ 0 h 699178"/>
                    <a:gd name="connsiteX2" fmla="*/ 0 w 1150730"/>
                    <a:gd name="connsiteY2" fmla="*/ 0 h 699178"/>
                    <a:gd name="connsiteX3" fmla="*/ 3496 w 1150730"/>
                    <a:gd name="connsiteY3" fmla="*/ 299336 h 699178"/>
                    <a:gd name="connsiteX4" fmla="*/ 39911 w 1150730"/>
                    <a:gd name="connsiteY4" fmla="*/ 325846 h 699178"/>
                    <a:gd name="connsiteX5" fmla="*/ 429121 w 1150730"/>
                    <a:gd name="connsiteY5" fmla="*/ 521762 h 699178"/>
                    <a:gd name="connsiteX6" fmla="*/ 432908 w 1150730"/>
                    <a:gd name="connsiteY6" fmla="*/ 431160 h 699178"/>
                    <a:gd name="connsiteX7" fmla="*/ 537785 w 1150730"/>
                    <a:gd name="connsiteY7" fmla="*/ 431160 h 699178"/>
                    <a:gd name="connsiteX8" fmla="*/ 610178 w 1150730"/>
                    <a:gd name="connsiteY8" fmla="*/ 588475 h 699178"/>
                    <a:gd name="connsiteX9" fmla="*/ 1116063 w 1150730"/>
                    <a:gd name="connsiteY9" fmla="*/ 704859 h 699178"/>
                    <a:gd name="connsiteX10" fmla="*/ 1160053 w 1150730"/>
                    <a:gd name="connsiteY10" fmla="*/ 710248 h 6991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150730" h="699178">
                      <a:moveTo>
                        <a:pt x="1160053" y="710248"/>
                      </a:moveTo>
                      <a:lnTo>
                        <a:pt x="940395" y="0"/>
                      </a:lnTo>
                      <a:lnTo>
                        <a:pt x="0" y="0"/>
                      </a:lnTo>
                      <a:lnTo>
                        <a:pt x="3496" y="299336"/>
                      </a:lnTo>
                      <a:cubicBezTo>
                        <a:pt x="15586" y="308367"/>
                        <a:pt x="27676" y="317252"/>
                        <a:pt x="39911" y="325846"/>
                      </a:cubicBezTo>
                      <a:cubicBezTo>
                        <a:pt x="40640" y="326429"/>
                        <a:pt x="188195" y="423585"/>
                        <a:pt x="429121" y="521762"/>
                      </a:cubicBezTo>
                      <a:lnTo>
                        <a:pt x="432908" y="431160"/>
                      </a:lnTo>
                      <a:lnTo>
                        <a:pt x="537785" y="431160"/>
                      </a:lnTo>
                      <a:lnTo>
                        <a:pt x="610178" y="588475"/>
                      </a:lnTo>
                      <a:cubicBezTo>
                        <a:pt x="758754" y="637854"/>
                        <a:pt x="929907" y="681407"/>
                        <a:pt x="1116063" y="704859"/>
                      </a:cubicBezTo>
                      <a:cubicBezTo>
                        <a:pt x="1130775" y="706607"/>
                        <a:pt x="1145341" y="708355"/>
                        <a:pt x="1160053" y="710248"/>
                      </a:cubicBezTo>
                      <a:close/>
                    </a:path>
                  </a:pathLst>
                </a:custGeom>
                <a:solidFill>
                  <a:srgbClr val="17264B"/>
                </a:solidFill>
                <a:ln w="145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77" name="Freeform: Shape 176">
                  <a:extLst>
                    <a:ext uri="{FF2B5EF4-FFF2-40B4-BE49-F238E27FC236}">
                      <a16:creationId xmlns:a16="http://schemas.microsoft.com/office/drawing/2014/main" id="{2C96D776-28DB-4DB0-9A2D-A433AC675031}"/>
                    </a:ext>
                  </a:extLst>
                </p:cNvPr>
                <p:cNvSpPr/>
                <p:nvPr/>
              </p:nvSpPr>
              <p:spPr>
                <a:xfrm>
                  <a:off x="2545176" y="2263001"/>
                  <a:ext cx="801142" cy="1296393"/>
                </a:xfrm>
                <a:custGeom>
                  <a:avLst/>
                  <a:gdLst>
                    <a:gd name="connsiteX0" fmla="*/ 542883 w 801141"/>
                    <a:gd name="connsiteY0" fmla="*/ 1224581 h 1296392"/>
                    <a:gd name="connsiteX1" fmla="*/ 811192 w 801141"/>
                    <a:gd name="connsiteY1" fmla="*/ 1062750 h 1296392"/>
                    <a:gd name="connsiteX2" fmla="*/ 559488 w 801141"/>
                    <a:gd name="connsiteY2" fmla="*/ 0 h 1296392"/>
                    <a:gd name="connsiteX3" fmla="*/ 19810 w 801141"/>
                    <a:gd name="connsiteY3" fmla="*/ 3350 h 1296392"/>
                    <a:gd name="connsiteX4" fmla="*/ 0 w 801141"/>
                    <a:gd name="connsiteY4" fmla="*/ 1297995 h 1296392"/>
                    <a:gd name="connsiteX5" fmla="*/ 542883 w 801141"/>
                    <a:gd name="connsiteY5" fmla="*/ 1224581 h 12963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801141" h="1296392">
                      <a:moveTo>
                        <a:pt x="542883" y="1224581"/>
                      </a:moveTo>
                      <a:cubicBezTo>
                        <a:pt x="643827" y="1187583"/>
                        <a:pt x="736031" y="1132377"/>
                        <a:pt x="811192" y="1062750"/>
                      </a:cubicBezTo>
                      <a:lnTo>
                        <a:pt x="559488" y="0"/>
                      </a:lnTo>
                      <a:lnTo>
                        <a:pt x="19810" y="3350"/>
                      </a:lnTo>
                      <a:lnTo>
                        <a:pt x="0" y="1297995"/>
                      </a:lnTo>
                      <a:cubicBezTo>
                        <a:pt x="185137" y="1303967"/>
                        <a:pt x="368671" y="1288381"/>
                        <a:pt x="542883" y="1224581"/>
                      </a:cubicBezTo>
                      <a:close/>
                    </a:path>
                  </a:pathLst>
                </a:custGeom>
                <a:solidFill>
                  <a:srgbClr val="B7B7B7"/>
                </a:solidFill>
                <a:ln w="145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78" name="Freeform: Shape 177">
                  <a:extLst>
                    <a:ext uri="{FF2B5EF4-FFF2-40B4-BE49-F238E27FC236}">
                      <a16:creationId xmlns:a16="http://schemas.microsoft.com/office/drawing/2014/main" id="{F16FF036-4B93-4EBD-97C9-F4FB48EE2A50}"/>
                    </a:ext>
                  </a:extLst>
                </p:cNvPr>
                <p:cNvSpPr/>
                <p:nvPr/>
              </p:nvSpPr>
              <p:spPr>
                <a:xfrm>
                  <a:off x="2233168" y="2266497"/>
                  <a:ext cx="276758" cy="1281826"/>
                </a:xfrm>
                <a:custGeom>
                  <a:avLst/>
                  <a:gdLst>
                    <a:gd name="connsiteX0" fmla="*/ 285352 w 276757"/>
                    <a:gd name="connsiteY0" fmla="*/ 0 h 1281826"/>
                    <a:gd name="connsiteX1" fmla="*/ 262775 w 276757"/>
                    <a:gd name="connsiteY1" fmla="*/ 146 h 1281826"/>
                    <a:gd name="connsiteX2" fmla="*/ 0 w 276757"/>
                    <a:gd name="connsiteY2" fmla="*/ 1268717 h 1281826"/>
                    <a:gd name="connsiteX3" fmla="*/ 252432 w 276757"/>
                    <a:gd name="connsiteY3" fmla="*/ 1291877 h 1281826"/>
                    <a:gd name="connsiteX4" fmla="*/ 274282 w 276757"/>
                    <a:gd name="connsiteY4" fmla="*/ 456214 h 1281826"/>
                    <a:gd name="connsiteX5" fmla="*/ 285352 w 276757"/>
                    <a:gd name="connsiteY5" fmla="*/ 0 h 12818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76757" h="1281826">
                      <a:moveTo>
                        <a:pt x="285352" y="0"/>
                      </a:moveTo>
                      <a:lnTo>
                        <a:pt x="262775" y="146"/>
                      </a:lnTo>
                      <a:lnTo>
                        <a:pt x="0" y="1268717"/>
                      </a:lnTo>
                      <a:cubicBezTo>
                        <a:pt x="83756" y="1278768"/>
                        <a:pt x="168094" y="1287216"/>
                        <a:pt x="252432" y="1291877"/>
                      </a:cubicBezTo>
                      <a:cubicBezTo>
                        <a:pt x="256657" y="1141408"/>
                        <a:pt x="264668" y="849938"/>
                        <a:pt x="274282" y="456214"/>
                      </a:cubicBezTo>
                      <a:cubicBezTo>
                        <a:pt x="279963" y="225631"/>
                        <a:pt x="280691" y="85795"/>
                        <a:pt x="285352" y="0"/>
                      </a:cubicBezTo>
                      <a:close/>
                    </a:path>
                  </a:pathLst>
                </a:custGeom>
                <a:solidFill>
                  <a:srgbClr val="B7B7B7"/>
                </a:solidFill>
                <a:ln w="1453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  <p:grpSp>
          <p:nvGrpSpPr>
            <p:cNvPr id="114" name="Group 113">
              <a:extLst>
                <a:ext uri="{FF2B5EF4-FFF2-40B4-BE49-F238E27FC236}">
                  <a16:creationId xmlns:a16="http://schemas.microsoft.com/office/drawing/2014/main" id="{44F61B68-27F8-4BC1-86A9-C3FD279B78A4}"/>
                </a:ext>
              </a:extLst>
            </p:cNvPr>
            <p:cNvGrpSpPr/>
            <p:nvPr/>
          </p:nvGrpSpPr>
          <p:grpSpPr>
            <a:xfrm>
              <a:off x="3186526" y="2216464"/>
              <a:ext cx="3179396" cy="2709042"/>
              <a:chOff x="3228532" y="1687091"/>
              <a:chExt cx="3870349" cy="3297777"/>
            </a:xfrm>
          </p:grpSpPr>
          <p:grpSp>
            <p:nvGrpSpPr>
              <p:cNvPr id="78" name="Graphic 75">
                <a:extLst>
                  <a:ext uri="{FF2B5EF4-FFF2-40B4-BE49-F238E27FC236}">
                    <a16:creationId xmlns:a16="http://schemas.microsoft.com/office/drawing/2014/main" id="{79E64DF8-12FE-4F21-9830-04FF259D3970}"/>
                  </a:ext>
                </a:extLst>
              </p:cNvPr>
              <p:cNvGrpSpPr/>
              <p:nvPr/>
            </p:nvGrpSpPr>
            <p:grpSpPr>
              <a:xfrm>
                <a:off x="3229358" y="1687091"/>
                <a:ext cx="3869523" cy="3297223"/>
                <a:chOff x="3258407" y="2499391"/>
                <a:chExt cx="3869523" cy="3297223"/>
              </a:xfrm>
              <a:solidFill>
                <a:srgbClr val="F8EEE2"/>
              </a:solidFill>
            </p:grpSpPr>
            <p:sp>
              <p:nvSpPr>
                <p:cNvPr id="79" name="Freeform: Shape 78">
                  <a:extLst>
                    <a:ext uri="{FF2B5EF4-FFF2-40B4-BE49-F238E27FC236}">
                      <a16:creationId xmlns:a16="http://schemas.microsoft.com/office/drawing/2014/main" id="{5D4B29E7-136B-4F8E-BD5E-165E57486177}"/>
                    </a:ext>
                  </a:extLst>
                </p:cNvPr>
                <p:cNvSpPr/>
                <p:nvPr/>
              </p:nvSpPr>
              <p:spPr>
                <a:xfrm>
                  <a:off x="3258407" y="2649783"/>
                  <a:ext cx="3869523" cy="3147645"/>
                </a:xfrm>
                <a:custGeom>
                  <a:avLst/>
                  <a:gdLst>
                    <a:gd name="connsiteX0" fmla="*/ 3871072 w 3869522"/>
                    <a:gd name="connsiteY0" fmla="*/ 2212000 h 3147645"/>
                    <a:gd name="connsiteX1" fmla="*/ 3669206 w 3869522"/>
                    <a:gd name="connsiteY1" fmla="*/ 1629361 h 3147645"/>
                    <a:gd name="connsiteX2" fmla="*/ 3357824 w 3869522"/>
                    <a:gd name="connsiteY2" fmla="*/ 1083661 h 3147645"/>
                    <a:gd name="connsiteX3" fmla="*/ 3040718 w 3869522"/>
                    <a:gd name="connsiteY3" fmla="*/ 648518 h 3147645"/>
                    <a:gd name="connsiteX4" fmla="*/ 2128811 w 3869522"/>
                    <a:gd name="connsiteY4" fmla="*/ 73423 h 3147645"/>
                    <a:gd name="connsiteX5" fmla="*/ 1049572 w 3869522"/>
                    <a:gd name="connsiteY5" fmla="*/ 88836 h 3147645"/>
                    <a:gd name="connsiteX6" fmla="*/ 205366 w 3869522"/>
                    <a:gd name="connsiteY6" fmla="*/ 746719 h 3147645"/>
                    <a:gd name="connsiteX7" fmla="*/ 25677 w 3869522"/>
                    <a:gd name="connsiteY7" fmla="*/ 1757673 h 3147645"/>
                    <a:gd name="connsiteX8" fmla="*/ 645841 w 3869522"/>
                    <a:gd name="connsiteY8" fmla="*/ 2665808 h 3147645"/>
                    <a:gd name="connsiteX9" fmla="*/ 3124872 w 3869522"/>
                    <a:gd name="connsiteY9" fmla="*/ 3016471 h 3147645"/>
                    <a:gd name="connsiteX10" fmla="*/ 3716551 w 3869522"/>
                    <a:gd name="connsiteY10" fmla="*/ 2705933 h 3147645"/>
                    <a:gd name="connsiteX11" fmla="*/ 3871072 w 3869522"/>
                    <a:gd name="connsiteY11" fmla="*/ 2212000 h 31476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3869522" h="3147645">
                      <a:moveTo>
                        <a:pt x="3871072" y="2212000"/>
                      </a:moveTo>
                      <a:cubicBezTo>
                        <a:pt x="3856829" y="2002201"/>
                        <a:pt x="3738273" y="1809245"/>
                        <a:pt x="3669206" y="1629361"/>
                      </a:cubicBezTo>
                      <a:cubicBezTo>
                        <a:pt x="3598189" y="1444469"/>
                        <a:pt x="3455504" y="1257301"/>
                        <a:pt x="3357824" y="1083661"/>
                      </a:cubicBezTo>
                      <a:cubicBezTo>
                        <a:pt x="3270223" y="927839"/>
                        <a:pt x="3162787" y="780277"/>
                        <a:pt x="3040718" y="648518"/>
                      </a:cubicBezTo>
                      <a:cubicBezTo>
                        <a:pt x="2796190" y="384480"/>
                        <a:pt x="2479214" y="174941"/>
                        <a:pt x="2128811" y="73423"/>
                      </a:cubicBezTo>
                      <a:cubicBezTo>
                        <a:pt x="1781204" y="-27250"/>
                        <a:pt x="1393147" y="-26535"/>
                        <a:pt x="1049572" y="88836"/>
                      </a:cubicBezTo>
                      <a:cubicBezTo>
                        <a:pt x="699104" y="206612"/>
                        <a:pt x="391363" y="428898"/>
                        <a:pt x="205366" y="746719"/>
                      </a:cubicBezTo>
                      <a:cubicBezTo>
                        <a:pt x="27433" y="1050753"/>
                        <a:pt x="-42414" y="1412147"/>
                        <a:pt x="25677" y="1757673"/>
                      </a:cubicBezTo>
                      <a:cubicBezTo>
                        <a:pt x="99685" y="2133439"/>
                        <a:pt x="349351" y="2433571"/>
                        <a:pt x="645841" y="2665808"/>
                      </a:cubicBezTo>
                      <a:cubicBezTo>
                        <a:pt x="1631041" y="3437631"/>
                        <a:pt x="2912406" y="3070774"/>
                        <a:pt x="3124872" y="3016471"/>
                      </a:cubicBezTo>
                      <a:cubicBezTo>
                        <a:pt x="3333176" y="2963208"/>
                        <a:pt x="3584402" y="2875217"/>
                        <a:pt x="3716551" y="2705933"/>
                      </a:cubicBezTo>
                      <a:cubicBezTo>
                        <a:pt x="3822882" y="2569687"/>
                        <a:pt x="3882713" y="2383560"/>
                        <a:pt x="3871072" y="2212000"/>
                      </a:cubicBezTo>
                      <a:close/>
                    </a:path>
                  </a:pathLst>
                </a:custGeom>
                <a:solidFill>
                  <a:srgbClr val="E6E6E6"/>
                </a:solidFill>
                <a:ln w="648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0" name="Freeform: Shape 79">
                  <a:extLst>
                    <a:ext uri="{FF2B5EF4-FFF2-40B4-BE49-F238E27FC236}">
                      <a16:creationId xmlns:a16="http://schemas.microsoft.com/office/drawing/2014/main" id="{1827C354-BAE1-464A-A375-C3E4839BE55F}"/>
                    </a:ext>
                  </a:extLst>
                </p:cNvPr>
                <p:cNvSpPr/>
                <p:nvPr/>
              </p:nvSpPr>
              <p:spPr>
                <a:xfrm>
                  <a:off x="6288980" y="3140724"/>
                  <a:ext cx="6503" cy="6503"/>
                </a:xfrm>
                <a:custGeom>
                  <a:avLst/>
                  <a:gdLst>
                    <a:gd name="connsiteX0" fmla="*/ 780 w 0"/>
                    <a:gd name="connsiteY0" fmla="*/ 0 h 0"/>
                    <a:gd name="connsiteX1" fmla="*/ 780 w 0"/>
                    <a:gd name="connsiteY1" fmla="*/ 1561 h 0"/>
                    <a:gd name="connsiteX2" fmla="*/ 780 w 0"/>
                    <a:gd name="connsiteY2" fmla="*/ 0 h 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>
                      <a:moveTo>
                        <a:pt x="780" y="0"/>
                      </a:moveTo>
                      <a:cubicBezTo>
                        <a:pt x="-260" y="0"/>
                        <a:pt x="-260" y="1561"/>
                        <a:pt x="780" y="1561"/>
                      </a:cubicBezTo>
                      <a:cubicBezTo>
                        <a:pt x="1821" y="1561"/>
                        <a:pt x="1756" y="0"/>
                        <a:pt x="780" y="0"/>
                      </a:cubicBezTo>
                      <a:close/>
                    </a:path>
                  </a:pathLst>
                </a:custGeom>
                <a:solidFill>
                  <a:srgbClr val="F8EEE2"/>
                </a:solidFill>
                <a:ln w="648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1" name="Freeform: Shape 80">
                  <a:extLst>
                    <a:ext uri="{FF2B5EF4-FFF2-40B4-BE49-F238E27FC236}">
                      <a16:creationId xmlns:a16="http://schemas.microsoft.com/office/drawing/2014/main" id="{0D9E0497-3EB3-416E-928B-FD47CE3111B9}"/>
                    </a:ext>
                  </a:extLst>
                </p:cNvPr>
                <p:cNvSpPr/>
                <p:nvPr/>
              </p:nvSpPr>
              <p:spPr>
                <a:xfrm>
                  <a:off x="3985542" y="2499391"/>
                  <a:ext cx="903973" cy="260136"/>
                </a:xfrm>
                <a:custGeom>
                  <a:avLst/>
                  <a:gdLst>
                    <a:gd name="connsiteX0" fmla="*/ 886282 w 903972"/>
                    <a:gd name="connsiteY0" fmla="*/ 4261 h 260135"/>
                    <a:gd name="connsiteX1" fmla="*/ 415501 w 903972"/>
                    <a:gd name="connsiteY1" fmla="*/ 46728 h 260135"/>
                    <a:gd name="connsiteX2" fmla="*/ 202254 w 903972"/>
                    <a:gd name="connsiteY2" fmla="*/ 122427 h 260135"/>
                    <a:gd name="connsiteX3" fmla="*/ 3055 w 903972"/>
                    <a:gd name="connsiteY3" fmla="*/ 243521 h 260135"/>
                    <a:gd name="connsiteX4" fmla="*/ 13916 w 903972"/>
                    <a:gd name="connsiteY4" fmla="*/ 259454 h 260135"/>
                    <a:gd name="connsiteX5" fmla="*/ 211359 w 903972"/>
                    <a:gd name="connsiteY5" fmla="*/ 159887 h 260135"/>
                    <a:gd name="connsiteX6" fmla="*/ 432345 w 903972"/>
                    <a:gd name="connsiteY6" fmla="*/ 82757 h 260135"/>
                    <a:gd name="connsiteX7" fmla="*/ 884266 w 903972"/>
                    <a:gd name="connsiteY7" fmla="*/ 47573 h 260135"/>
                    <a:gd name="connsiteX8" fmla="*/ 886282 w 903972"/>
                    <a:gd name="connsiteY8" fmla="*/ 4261 h 2601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903972" h="260135">
                      <a:moveTo>
                        <a:pt x="886282" y="4261"/>
                      </a:moveTo>
                      <a:cubicBezTo>
                        <a:pt x="728314" y="-7901"/>
                        <a:pt x="568656" y="5886"/>
                        <a:pt x="415501" y="46728"/>
                      </a:cubicBezTo>
                      <a:cubicBezTo>
                        <a:pt x="342598" y="66173"/>
                        <a:pt x="271125" y="91471"/>
                        <a:pt x="202254" y="122427"/>
                      </a:cubicBezTo>
                      <a:cubicBezTo>
                        <a:pt x="133644" y="153254"/>
                        <a:pt x="54887" y="187526"/>
                        <a:pt x="3055" y="243521"/>
                      </a:cubicBezTo>
                      <a:cubicBezTo>
                        <a:pt x="-4684" y="251910"/>
                        <a:pt x="3510" y="263226"/>
                        <a:pt x="13916" y="259454"/>
                      </a:cubicBezTo>
                      <a:cubicBezTo>
                        <a:pt x="82657" y="234481"/>
                        <a:pt x="144439" y="189998"/>
                        <a:pt x="211359" y="159887"/>
                      </a:cubicBezTo>
                      <a:cubicBezTo>
                        <a:pt x="282636" y="127760"/>
                        <a:pt x="356580" y="101942"/>
                        <a:pt x="432345" y="82757"/>
                      </a:cubicBezTo>
                      <a:cubicBezTo>
                        <a:pt x="580297" y="45297"/>
                        <a:pt x="732346" y="33916"/>
                        <a:pt x="884266" y="47573"/>
                      </a:cubicBezTo>
                      <a:cubicBezTo>
                        <a:pt x="912035" y="50045"/>
                        <a:pt x="914181" y="6407"/>
                        <a:pt x="886282" y="4261"/>
                      </a:cubicBezTo>
                      <a:close/>
                    </a:path>
                  </a:pathLst>
                </a:custGeom>
                <a:solidFill>
                  <a:srgbClr val="E6E6E6"/>
                </a:solidFill>
                <a:ln w="648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82" name="Graphic 75">
                <a:extLst>
                  <a:ext uri="{FF2B5EF4-FFF2-40B4-BE49-F238E27FC236}">
                    <a16:creationId xmlns:a16="http://schemas.microsoft.com/office/drawing/2014/main" id="{79E64DF8-12FE-4F21-9830-04FF259D3970}"/>
                  </a:ext>
                </a:extLst>
              </p:cNvPr>
              <p:cNvGrpSpPr/>
              <p:nvPr/>
            </p:nvGrpSpPr>
            <p:grpSpPr>
              <a:xfrm>
                <a:off x="3486631" y="2093628"/>
                <a:ext cx="541398" cy="2021150"/>
                <a:chOff x="3515680" y="2905928"/>
                <a:chExt cx="541398" cy="2021150"/>
              </a:xfrm>
              <a:solidFill>
                <a:schemeClr val="accent1"/>
              </a:solidFill>
            </p:grpSpPr>
            <p:sp>
              <p:nvSpPr>
                <p:cNvPr id="83" name="Freeform: Shape 82">
                  <a:extLst>
                    <a:ext uri="{FF2B5EF4-FFF2-40B4-BE49-F238E27FC236}">
                      <a16:creationId xmlns:a16="http://schemas.microsoft.com/office/drawing/2014/main" id="{E28227FB-63CB-40BB-9BD9-EE6BD5EC09A7}"/>
                    </a:ext>
                  </a:extLst>
                </p:cNvPr>
                <p:cNvSpPr/>
                <p:nvPr/>
              </p:nvSpPr>
              <p:spPr>
                <a:xfrm>
                  <a:off x="3569444" y="3340140"/>
                  <a:ext cx="442231" cy="526775"/>
                </a:xfrm>
                <a:custGeom>
                  <a:avLst/>
                  <a:gdLst>
                    <a:gd name="connsiteX0" fmla="*/ 297669 w 442231"/>
                    <a:gd name="connsiteY0" fmla="*/ 16952 h 526775"/>
                    <a:gd name="connsiteX1" fmla="*/ 305734 w 442231"/>
                    <a:gd name="connsiteY1" fmla="*/ 166660 h 526775"/>
                    <a:gd name="connsiteX2" fmla="*/ 390538 w 442231"/>
                    <a:gd name="connsiteY2" fmla="*/ 267788 h 526775"/>
                    <a:gd name="connsiteX3" fmla="*/ 440029 w 442231"/>
                    <a:gd name="connsiteY3" fmla="*/ 355649 h 526775"/>
                    <a:gd name="connsiteX4" fmla="*/ 118306 w 442231"/>
                    <a:gd name="connsiteY4" fmla="*/ 527339 h 526775"/>
                    <a:gd name="connsiteX5" fmla="*/ 70766 w 442231"/>
                    <a:gd name="connsiteY5" fmla="*/ 265772 h 526775"/>
                    <a:gd name="connsiteX6" fmla="*/ 135865 w 442231"/>
                    <a:gd name="connsiteY6" fmla="*/ 162888 h 526775"/>
                    <a:gd name="connsiteX7" fmla="*/ 156871 w 442231"/>
                    <a:gd name="connsiteY7" fmla="*/ 11099 h 526775"/>
                    <a:gd name="connsiteX8" fmla="*/ 285378 w 442231"/>
                    <a:gd name="connsiteY8" fmla="*/ 4205 h 526775"/>
                    <a:gd name="connsiteX9" fmla="*/ 297669 w 442231"/>
                    <a:gd name="connsiteY9" fmla="*/ 16952 h 5267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442231" h="526775">
                      <a:moveTo>
                        <a:pt x="297669" y="16952"/>
                      </a:moveTo>
                      <a:cubicBezTo>
                        <a:pt x="316854" y="51615"/>
                        <a:pt x="289930" y="130371"/>
                        <a:pt x="305734" y="166660"/>
                      </a:cubicBezTo>
                      <a:cubicBezTo>
                        <a:pt x="323228" y="206331"/>
                        <a:pt x="355355" y="245286"/>
                        <a:pt x="390538" y="267788"/>
                      </a:cubicBezTo>
                      <a:cubicBezTo>
                        <a:pt x="425201" y="289835"/>
                        <a:pt x="466953" y="316433"/>
                        <a:pt x="440029" y="355649"/>
                      </a:cubicBezTo>
                      <a:cubicBezTo>
                        <a:pt x="408747" y="401043"/>
                        <a:pt x="171829" y="554783"/>
                        <a:pt x="118306" y="527339"/>
                      </a:cubicBezTo>
                      <a:cubicBezTo>
                        <a:pt x="23941" y="479278"/>
                        <a:pt x="-67822" y="350056"/>
                        <a:pt x="70766" y="265772"/>
                      </a:cubicBezTo>
                      <a:cubicBezTo>
                        <a:pt x="106925" y="243725"/>
                        <a:pt x="123964" y="202559"/>
                        <a:pt x="135865" y="162888"/>
                      </a:cubicBezTo>
                      <a:cubicBezTo>
                        <a:pt x="146725" y="126079"/>
                        <a:pt x="129622" y="31584"/>
                        <a:pt x="156871" y="11099"/>
                      </a:cubicBezTo>
                      <a:cubicBezTo>
                        <a:pt x="170723" y="823"/>
                        <a:pt x="269900" y="-4119"/>
                        <a:pt x="285378" y="4205"/>
                      </a:cubicBezTo>
                      <a:cubicBezTo>
                        <a:pt x="290711" y="7262"/>
                        <a:pt x="294808" y="11684"/>
                        <a:pt x="297669" y="16952"/>
                      </a:cubicBezTo>
                      <a:close/>
                    </a:path>
                  </a:pathLst>
                </a:custGeom>
                <a:solidFill>
                  <a:srgbClr val="DFB3B3"/>
                </a:solidFill>
                <a:ln w="648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4" name="Freeform: Shape 83">
                  <a:extLst>
                    <a:ext uri="{FF2B5EF4-FFF2-40B4-BE49-F238E27FC236}">
                      <a16:creationId xmlns:a16="http://schemas.microsoft.com/office/drawing/2014/main" id="{41E43188-77C4-46F6-844B-C4DA0521A629}"/>
                    </a:ext>
                  </a:extLst>
                </p:cNvPr>
                <p:cNvSpPr/>
                <p:nvPr/>
              </p:nvSpPr>
              <p:spPr>
                <a:xfrm>
                  <a:off x="3610772" y="2934459"/>
                  <a:ext cx="416218" cy="526775"/>
                </a:xfrm>
                <a:custGeom>
                  <a:avLst/>
                  <a:gdLst>
                    <a:gd name="connsiteX0" fmla="*/ 165554 w 416217"/>
                    <a:gd name="connsiteY0" fmla="*/ 513031 h 526775"/>
                    <a:gd name="connsiteX1" fmla="*/ 141166 w 416217"/>
                    <a:gd name="connsiteY1" fmla="*/ 499959 h 526775"/>
                    <a:gd name="connsiteX2" fmla="*/ 497 w 416217"/>
                    <a:gd name="connsiteY2" fmla="*/ 168676 h 526775"/>
                    <a:gd name="connsiteX3" fmla="*/ 138565 w 416217"/>
                    <a:gd name="connsiteY3" fmla="*/ 823 h 526775"/>
                    <a:gd name="connsiteX4" fmla="*/ 302385 w 416217"/>
                    <a:gd name="connsiteY4" fmla="*/ 144028 h 526775"/>
                    <a:gd name="connsiteX5" fmla="*/ 414764 w 416217"/>
                    <a:gd name="connsiteY5" fmla="*/ 385629 h 526775"/>
                    <a:gd name="connsiteX6" fmla="*/ 165554 w 416217"/>
                    <a:gd name="connsiteY6" fmla="*/ 513031 h 5267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16217" h="526775">
                      <a:moveTo>
                        <a:pt x="165554" y="513031"/>
                      </a:moveTo>
                      <a:cubicBezTo>
                        <a:pt x="157099" y="509324"/>
                        <a:pt x="149035" y="504901"/>
                        <a:pt x="141166" y="499959"/>
                      </a:cubicBezTo>
                      <a:cubicBezTo>
                        <a:pt x="41469" y="435705"/>
                        <a:pt x="-5421" y="281510"/>
                        <a:pt x="497" y="168676"/>
                      </a:cubicBezTo>
                      <a:cubicBezTo>
                        <a:pt x="4465" y="93887"/>
                        <a:pt x="59028" y="10578"/>
                        <a:pt x="138565" y="823"/>
                      </a:cubicBezTo>
                      <a:cubicBezTo>
                        <a:pt x="225450" y="-9843"/>
                        <a:pt x="257122" y="85627"/>
                        <a:pt x="302385" y="144028"/>
                      </a:cubicBezTo>
                      <a:cubicBezTo>
                        <a:pt x="375158" y="237937"/>
                        <a:pt x="433039" y="254391"/>
                        <a:pt x="414764" y="385629"/>
                      </a:cubicBezTo>
                      <a:cubicBezTo>
                        <a:pt x="398701" y="501325"/>
                        <a:pt x="267527" y="558099"/>
                        <a:pt x="165554" y="513031"/>
                      </a:cubicBezTo>
                      <a:close/>
                    </a:path>
                  </a:pathLst>
                </a:custGeom>
                <a:solidFill>
                  <a:srgbClr val="DFB3B3"/>
                </a:solidFill>
                <a:ln w="648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5" name="Freeform: Shape 84">
                  <a:extLst>
                    <a:ext uri="{FF2B5EF4-FFF2-40B4-BE49-F238E27FC236}">
                      <a16:creationId xmlns:a16="http://schemas.microsoft.com/office/drawing/2014/main" id="{8E6B09E4-803D-4AB3-AB60-3F81910510E9}"/>
                    </a:ext>
                  </a:extLst>
                </p:cNvPr>
                <p:cNvSpPr/>
                <p:nvPr/>
              </p:nvSpPr>
              <p:spPr>
                <a:xfrm>
                  <a:off x="3515680" y="2905928"/>
                  <a:ext cx="416218" cy="455238"/>
                </a:xfrm>
                <a:custGeom>
                  <a:avLst/>
                  <a:gdLst>
                    <a:gd name="connsiteX0" fmla="*/ 422581 w 416217"/>
                    <a:gd name="connsiteY0" fmla="*/ 184590 h 455237"/>
                    <a:gd name="connsiteX1" fmla="*/ 200360 w 416217"/>
                    <a:gd name="connsiteY1" fmla="*/ 242015 h 455237"/>
                    <a:gd name="connsiteX2" fmla="*/ 180850 w 416217"/>
                    <a:gd name="connsiteY2" fmla="*/ 422355 h 455237"/>
                    <a:gd name="connsiteX3" fmla="*/ 55139 w 416217"/>
                    <a:gd name="connsiteY3" fmla="*/ 401804 h 455237"/>
                    <a:gd name="connsiteX4" fmla="*/ 93184 w 416217"/>
                    <a:gd name="connsiteY4" fmla="*/ 30330 h 455237"/>
                    <a:gd name="connsiteX5" fmla="*/ 418289 w 416217"/>
                    <a:gd name="connsiteY5" fmla="*/ 172364 h 455237"/>
                    <a:gd name="connsiteX6" fmla="*/ 422581 w 416217"/>
                    <a:gd name="connsiteY6" fmla="*/ 184590 h 4552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16217" h="455237">
                      <a:moveTo>
                        <a:pt x="422581" y="184590"/>
                      </a:moveTo>
                      <a:cubicBezTo>
                        <a:pt x="335371" y="137181"/>
                        <a:pt x="226113" y="115914"/>
                        <a:pt x="200360" y="242015"/>
                      </a:cubicBezTo>
                      <a:cubicBezTo>
                        <a:pt x="189239" y="296579"/>
                        <a:pt x="212001" y="373189"/>
                        <a:pt x="180850" y="422355"/>
                      </a:cubicBezTo>
                      <a:cubicBezTo>
                        <a:pt x="138448" y="490055"/>
                        <a:pt x="87851" y="455002"/>
                        <a:pt x="55139" y="401804"/>
                      </a:cubicBezTo>
                      <a:cubicBezTo>
                        <a:pt x="-15488" y="286369"/>
                        <a:pt x="-33437" y="113053"/>
                        <a:pt x="93184" y="30330"/>
                      </a:cubicBezTo>
                      <a:cubicBezTo>
                        <a:pt x="208879" y="-45240"/>
                        <a:pt x="405802" y="27208"/>
                        <a:pt x="418289" y="172364"/>
                      </a:cubicBezTo>
                      <a:lnTo>
                        <a:pt x="422581" y="184590"/>
                      </a:lnTo>
                      <a:close/>
                    </a:path>
                  </a:pathLst>
                </a:custGeom>
                <a:solidFill>
                  <a:srgbClr val="0B1238"/>
                </a:solidFill>
                <a:ln w="648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grpSp>
              <p:nvGrpSpPr>
                <p:cNvPr id="86" name="Graphic 75">
                  <a:extLst>
                    <a:ext uri="{FF2B5EF4-FFF2-40B4-BE49-F238E27FC236}">
                      <a16:creationId xmlns:a16="http://schemas.microsoft.com/office/drawing/2014/main" id="{79E64DF8-12FE-4F21-9830-04FF259D3970}"/>
                    </a:ext>
                  </a:extLst>
                </p:cNvPr>
                <p:cNvGrpSpPr/>
                <p:nvPr/>
              </p:nvGrpSpPr>
              <p:grpSpPr>
                <a:xfrm>
                  <a:off x="3985541" y="4914071"/>
                  <a:ext cx="71537" cy="13007"/>
                  <a:chOff x="3985541" y="4914071"/>
                  <a:chExt cx="71537" cy="13007"/>
                </a:xfrm>
                <a:solidFill>
                  <a:srgbClr val="312154"/>
                </a:solidFill>
              </p:grpSpPr>
              <p:sp>
                <p:nvSpPr>
                  <p:cNvPr id="87" name="Freeform: Shape 86">
                    <a:extLst>
                      <a:ext uri="{FF2B5EF4-FFF2-40B4-BE49-F238E27FC236}">
                        <a16:creationId xmlns:a16="http://schemas.microsoft.com/office/drawing/2014/main" id="{E57F8DDD-D7F2-46BC-9E44-684A07236E1E}"/>
                      </a:ext>
                    </a:extLst>
                  </p:cNvPr>
                  <p:cNvSpPr/>
                  <p:nvPr/>
                </p:nvSpPr>
                <p:spPr>
                  <a:xfrm>
                    <a:off x="4051225" y="4914071"/>
                    <a:ext cx="6503" cy="6503"/>
                  </a:xfrm>
                  <a:custGeom>
                    <a:avLst/>
                    <a:gdLst>
                      <a:gd name="connsiteX0" fmla="*/ 6048 w 0"/>
                      <a:gd name="connsiteY0" fmla="*/ 2927 h 0"/>
                      <a:gd name="connsiteX1" fmla="*/ 6243 w 0"/>
                      <a:gd name="connsiteY1" fmla="*/ 0 h 0"/>
                      <a:gd name="connsiteX2" fmla="*/ 0 w 0"/>
                      <a:gd name="connsiteY2" fmla="*/ 1691 h 0"/>
                      <a:gd name="connsiteX3" fmla="*/ 6048 w 0"/>
                      <a:gd name="connsiteY3" fmla="*/ 2927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>
                        <a:moveTo>
                          <a:pt x="6048" y="2927"/>
                        </a:moveTo>
                        <a:cubicBezTo>
                          <a:pt x="6113" y="1951"/>
                          <a:pt x="6178" y="976"/>
                          <a:pt x="6243" y="0"/>
                        </a:cubicBezTo>
                        <a:cubicBezTo>
                          <a:pt x="4162" y="585"/>
                          <a:pt x="2081" y="1106"/>
                          <a:pt x="0" y="1691"/>
                        </a:cubicBezTo>
                        <a:lnTo>
                          <a:pt x="6048" y="2927"/>
                        </a:lnTo>
                        <a:close/>
                      </a:path>
                    </a:pathLst>
                  </a:custGeom>
                  <a:solidFill>
                    <a:srgbClr val="312154"/>
                  </a:solidFill>
                  <a:ln w="648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88" name="Freeform: Shape 87">
                    <a:extLst>
                      <a:ext uri="{FF2B5EF4-FFF2-40B4-BE49-F238E27FC236}">
                        <a16:creationId xmlns:a16="http://schemas.microsoft.com/office/drawing/2014/main" id="{0D7BA35E-A16D-4649-BF3B-776B31BD4499}"/>
                      </a:ext>
                    </a:extLst>
                  </p:cNvPr>
                  <p:cNvSpPr/>
                  <p:nvPr/>
                </p:nvSpPr>
                <p:spPr>
                  <a:xfrm>
                    <a:off x="3985541" y="4915697"/>
                    <a:ext cx="65034" cy="13007"/>
                  </a:xfrm>
                  <a:custGeom>
                    <a:avLst/>
                    <a:gdLst>
                      <a:gd name="connsiteX0" fmla="*/ 0 w 65033"/>
                      <a:gd name="connsiteY0" fmla="*/ 16129 h 13006"/>
                      <a:gd name="connsiteX1" fmla="*/ 39931 w 65033"/>
                      <a:gd name="connsiteY1" fmla="*/ 6764 h 13006"/>
                      <a:gd name="connsiteX2" fmla="*/ 65749 w 65033"/>
                      <a:gd name="connsiteY2" fmla="*/ 0 h 1300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65033" h="13006">
                        <a:moveTo>
                          <a:pt x="0" y="16129"/>
                        </a:moveTo>
                        <a:cubicBezTo>
                          <a:pt x="13332" y="13202"/>
                          <a:pt x="26599" y="10145"/>
                          <a:pt x="39931" y="6764"/>
                        </a:cubicBezTo>
                        <a:cubicBezTo>
                          <a:pt x="48515" y="4552"/>
                          <a:pt x="57100" y="2341"/>
                          <a:pt x="65749" y="0"/>
                        </a:cubicBezTo>
                      </a:path>
                    </a:pathLst>
                  </a:custGeom>
                  <a:solidFill>
                    <a:srgbClr val="312154"/>
                  </a:solidFill>
                  <a:ln w="648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sp>
              <p:nvSpPr>
                <p:cNvPr id="89" name="Freeform: Shape 88">
                  <a:extLst>
                    <a:ext uri="{FF2B5EF4-FFF2-40B4-BE49-F238E27FC236}">
                      <a16:creationId xmlns:a16="http://schemas.microsoft.com/office/drawing/2014/main" id="{0408FC2C-1EC1-48CE-A22A-46EF485FE4E9}"/>
                    </a:ext>
                  </a:extLst>
                </p:cNvPr>
                <p:cNvSpPr/>
                <p:nvPr/>
              </p:nvSpPr>
              <p:spPr>
                <a:xfrm>
                  <a:off x="3360527" y="2848844"/>
                  <a:ext cx="273143" cy="260136"/>
                </a:xfrm>
                <a:custGeom>
                  <a:avLst/>
                  <a:gdLst>
                    <a:gd name="connsiteX0" fmla="*/ 258937 w 273142"/>
                    <a:gd name="connsiteY0" fmla="*/ 142757 h 260135"/>
                    <a:gd name="connsiteX1" fmla="*/ 181026 w 273142"/>
                    <a:gd name="connsiteY1" fmla="*/ 3194 h 260135"/>
                    <a:gd name="connsiteX2" fmla="*/ 15905 w 273142"/>
                    <a:gd name="connsiteY2" fmla="*/ 76227 h 260135"/>
                    <a:gd name="connsiteX3" fmla="*/ 55315 w 273142"/>
                    <a:gd name="connsiteY3" fmla="*/ 248242 h 260135"/>
                    <a:gd name="connsiteX4" fmla="*/ 247881 w 273142"/>
                    <a:gd name="connsiteY4" fmla="*/ 228862 h 260135"/>
                    <a:gd name="connsiteX5" fmla="*/ 258937 w 273142"/>
                    <a:gd name="connsiteY5" fmla="*/ 142757 h 2601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73142" h="260135">
                      <a:moveTo>
                        <a:pt x="258937" y="142757"/>
                      </a:moveTo>
                      <a:cubicBezTo>
                        <a:pt x="312005" y="105493"/>
                        <a:pt x="226615" y="13339"/>
                        <a:pt x="181026" y="3194"/>
                      </a:cubicBezTo>
                      <a:cubicBezTo>
                        <a:pt x="118268" y="-10788"/>
                        <a:pt x="43869" y="22509"/>
                        <a:pt x="15905" y="76227"/>
                      </a:cubicBezTo>
                      <a:cubicBezTo>
                        <a:pt x="-13556" y="133067"/>
                        <a:pt x="-3020" y="215075"/>
                        <a:pt x="55315" y="248242"/>
                      </a:cubicBezTo>
                      <a:cubicBezTo>
                        <a:pt x="116512" y="283035"/>
                        <a:pt x="187985" y="249933"/>
                        <a:pt x="247881" y="228862"/>
                      </a:cubicBezTo>
                      <a:lnTo>
                        <a:pt x="258937" y="142757"/>
                      </a:lnTo>
                      <a:close/>
                    </a:path>
                  </a:pathLst>
                </a:custGeom>
                <a:solidFill>
                  <a:srgbClr val="0B1238"/>
                </a:solidFill>
                <a:ln w="648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90" name="Graphic 75">
                <a:extLst>
                  <a:ext uri="{FF2B5EF4-FFF2-40B4-BE49-F238E27FC236}">
                    <a16:creationId xmlns:a16="http://schemas.microsoft.com/office/drawing/2014/main" id="{79E64DF8-12FE-4F21-9830-04FF259D3970}"/>
                  </a:ext>
                </a:extLst>
              </p:cNvPr>
              <p:cNvGrpSpPr/>
              <p:nvPr/>
            </p:nvGrpSpPr>
            <p:grpSpPr>
              <a:xfrm>
                <a:off x="5763397" y="1841059"/>
                <a:ext cx="959387" cy="3130920"/>
                <a:chOff x="5792446" y="2653359"/>
                <a:chExt cx="959387" cy="3130920"/>
              </a:xfrm>
              <a:solidFill>
                <a:schemeClr val="accent1"/>
              </a:solidFill>
            </p:grpSpPr>
            <p:grpSp>
              <p:nvGrpSpPr>
                <p:cNvPr id="91" name="Graphic 75">
                  <a:extLst>
                    <a:ext uri="{FF2B5EF4-FFF2-40B4-BE49-F238E27FC236}">
                      <a16:creationId xmlns:a16="http://schemas.microsoft.com/office/drawing/2014/main" id="{79E64DF8-12FE-4F21-9830-04FF259D3970}"/>
                    </a:ext>
                  </a:extLst>
                </p:cNvPr>
                <p:cNvGrpSpPr/>
                <p:nvPr/>
              </p:nvGrpSpPr>
              <p:grpSpPr>
                <a:xfrm>
                  <a:off x="5792446" y="2653359"/>
                  <a:ext cx="959387" cy="3130920"/>
                  <a:chOff x="5792446" y="2653359"/>
                  <a:chExt cx="959387" cy="3130920"/>
                </a:xfrm>
                <a:solidFill>
                  <a:schemeClr val="accent1"/>
                </a:solidFill>
              </p:grpSpPr>
              <p:sp>
                <p:nvSpPr>
                  <p:cNvPr id="92" name="Freeform: Shape 91">
                    <a:extLst>
                      <a:ext uri="{FF2B5EF4-FFF2-40B4-BE49-F238E27FC236}">
                        <a16:creationId xmlns:a16="http://schemas.microsoft.com/office/drawing/2014/main" id="{BB8B363C-D60E-4FC5-AE29-287164532561}"/>
                      </a:ext>
                    </a:extLst>
                  </p:cNvPr>
                  <p:cNvSpPr/>
                  <p:nvPr/>
                </p:nvSpPr>
                <p:spPr>
                  <a:xfrm>
                    <a:off x="5792446" y="5358708"/>
                    <a:ext cx="959387" cy="425571"/>
                  </a:xfrm>
                  <a:custGeom>
                    <a:avLst/>
                    <a:gdLst>
                      <a:gd name="connsiteX0" fmla="*/ 947025 w 942992"/>
                      <a:gd name="connsiteY0" fmla="*/ 0 h 611319"/>
                      <a:gd name="connsiteX1" fmla="*/ 944099 w 942992"/>
                      <a:gd name="connsiteY1" fmla="*/ 113549 h 611319"/>
                      <a:gd name="connsiteX2" fmla="*/ 0 w 942992"/>
                      <a:gd name="connsiteY2" fmla="*/ 613531 h 611319"/>
                      <a:gd name="connsiteX3" fmla="*/ 8845 w 942992"/>
                      <a:gd name="connsiteY3" fmla="*/ 0 h 611319"/>
                      <a:gd name="connsiteX4" fmla="*/ 947025 w 942992"/>
                      <a:gd name="connsiteY4" fmla="*/ 0 h 611319"/>
                      <a:gd name="connsiteX0" fmla="*/ 947025 w 947025"/>
                      <a:gd name="connsiteY0" fmla="*/ 0 h 425571"/>
                      <a:gd name="connsiteX1" fmla="*/ 944099 w 947025"/>
                      <a:gd name="connsiteY1" fmla="*/ 113549 h 425571"/>
                      <a:gd name="connsiteX2" fmla="*/ 0 w 947025"/>
                      <a:gd name="connsiteY2" fmla="*/ 425571 h 425571"/>
                      <a:gd name="connsiteX3" fmla="*/ 8845 w 947025"/>
                      <a:gd name="connsiteY3" fmla="*/ 0 h 425571"/>
                      <a:gd name="connsiteX4" fmla="*/ 947025 w 947025"/>
                      <a:gd name="connsiteY4" fmla="*/ 0 h 425571"/>
                      <a:gd name="connsiteX0" fmla="*/ 947025 w 959386"/>
                      <a:gd name="connsiteY0" fmla="*/ 0 h 425571"/>
                      <a:gd name="connsiteX1" fmla="*/ 959339 w 959386"/>
                      <a:gd name="connsiteY1" fmla="*/ 169429 h 425571"/>
                      <a:gd name="connsiteX2" fmla="*/ 0 w 959386"/>
                      <a:gd name="connsiteY2" fmla="*/ 425571 h 425571"/>
                      <a:gd name="connsiteX3" fmla="*/ 8845 w 959386"/>
                      <a:gd name="connsiteY3" fmla="*/ 0 h 425571"/>
                      <a:gd name="connsiteX4" fmla="*/ 947025 w 959386"/>
                      <a:gd name="connsiteY4" fmla="*/ 0 h 425571"/>
                      <a:gd name="connsiteX0" fmla="*/ 947025 w 959386"/>
                      <a:gd name="connsiteY0" fmla="*/ 0 h 425571"/>
                      <a:gd name="connsiteX1" fmla="*/ 959339 w 959386"/>
                      <a:gd name="connsiteY1" fmla="*/ 169429 h 425571"/>
                      <a:gd name="connsiteX2" fmla="*/ 0 w 959386"/>
                      <a:gd name="connsiteY2" fmla="*/ 425571 h 425571"/>
                      <a:gd name="connsiteX3" fmla="*/ 8845 w 959386"/>
                      <a:gd name="connsiteY3" fmla="*/ 0 h 425571"/>
                      <a:gd name="connsiteX4" fmla="*/ 947025 w 959386"/>
                      <a:gd name="connsiteY4" fmla="*/ 0 h 425571"/>
                      <a:gd name="connsiteX0" fmla="*/ 947025 w 959386"/>
                      <a:gd name="connsiteY0" fmla="*/ 0 h 425571"/>
                      <a:gd name="connsiteX1" fmla="*/ 959339 w 959386"/>
                      <a:gd name="connsiteY1" fmla="*/ 169429 h 425571"/>
                      <a:gd name="connsiteX2" fmla="*/ 0 w 959386"/>
                      <a:gd name="connsiteY2" fmla="*/ 425571 h 425571"/>
                      <a:gd name="connsiteX3" fmla="*/ 8845 w 959386"/>
                      <a:gd name="connsiteY3" fmla="*/ 0 h 425571"/>
                      <a:gd name="connsiteX4" fmla="*/ 947025 w 959386"/>
                      <a:gd name="connsiteY4" fmla="*/ 0 h 42557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959386" h="425571">
                        <a:moveTo>
                          <a:pt x="947025" y="0"/>
                        </a:moveTo>
                        <a:cubicBezTo>
                          <a:pt x="946050" y="37850"/>
                          <a:pt x="960314" y="131579"/>
                          <a:pt x="959339" y="169429"/>
                        </a:cubicBezTo>
                        <a:cubicBezTo>
                          <a:pt x="527552" y="412967"/>
                          <a:pt x="394258" y="390085"/>
                          <a:pt x="0" y="425571"/>
                        </a:cubicBezTo>
                        <a:lnTo>
                          <a:pt x="8845" y="0"/>
                        </a:lnTo>
                        <a:lnTo>
                          <a:pt x="947025" y="0"/>
                        </a:lnTo>
                        <a:close/>
                      </a:path>
                    </a:pathLst>
                  </a:custGeom>
                  <a:solidFill>
                    <a:srgbClr val="005F9E"/>
                  </a:solidFill>
                  <a:ln w="648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 dirty="0"/>
                  </a:p>
                </p:txBody>
              </p:sp>
              <p:sp>
                <p:nvSpPr>
                  <p:cNvPr id="93" name="Freeform: Shape 92">
                    <a:extLst>
                      <a:ext uri="{FF2B5EF4-FFF2-40B4-BE49-F238E27FC236}">
                        <a16:creationId xmlns:a16="http://schemas.microsoft.com/office/drawing/2014/main" id="{812C135B-D49D-459A-99B9-191AFEF4F26D}"/>
                      </a:ext>
                    </a:extLst>
                  </p:cNvPr>
                  <p:cNvSpPr/>
                  <p:nvPr/>
                </p:nvSpPr>
                <p:spPr>
                  <a:xfrm>
                    <a:off x="6276753" y="2845730"/>
                    <a:ext cx="117061" cy="201605"/>
                  </a:xfrm>
                  <a:custGeom>
                    <a:avLst/>
                    <a:gdLst>
                      <a:gd name="connsiteX0" fmla="*/ 0 w 117061"/>
                      <a:gd name="connsiteY0" fmla="*/ 205312 h 201605"/>
                      <a:gd name="connsiteX1" fmla="*/ 91698 w 117061"/>
                      <a:gd name="connsiteY1" fmla="*/ 205312 h 201605"/>
                      <a:gd name="connsiteX2" fmla="*/ 118882 w 117061"/>
                      <a:gd name="connsiteY2" fmla="*/ 178128 h 201605"/>
                      <a:gd name="connsiteX3" fmla="*/ 118882 w 117061"/>
                      <a:gd name="connsiteY3" fmla="*/ 32062 h 201605"/>
                      <a:gd name="connsiteX4" fmla="*/ 86820 w 117061"/>
                      <a:gd name="connsiteY4" fmla="*/ 0 h 201605"/>
                      <a:gd name="connsiteX5" fmla="*/ 0 w 117061"/>
                      <a:gd name="connsiteY5" fmla="*/ 0 h 201605"/>
                      <a:gd name="connsiteX6" fmla="*/ 0 w 117061"/>
                      <a:gd name="connsiteY6" fmla="*/ 205312 h 20160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17061" h="201605">
                        <a:moveTo>
                          <a:pt x="0" y="205312"/>
                        </a:moveTo>
                        <a:lnTo>
                          <a:pt x="91698" y="205312"/>
                        </a:lnTo>
                        <a:cubicBezTo>
                          <a:pt x="106721" y="205312"/>
                          <a:pt x="118882" y="193151"/>
                          <a:pt x="118882" y="178128"/>
                        </a:cubicBezTo>
                        <a:lnTo>
                          <a:pt x="118882" y="32062"/>
                        </a:lnTo>
                        <a:cubicBezTo>
                          <a:pt x="118882" y="14307"/>
                          <a:pt x="104510" y="0"/>
                          <a:pt x="86820" y="0"/>
                        </a:cubicBezTo>
                        <a:lnTo>
                          <a:pt x="0" y="0"/>
                        </a:lnTo>
                        <a:lnTo>
                          <a:pt x="0" y="205312"/>
                        </a:lnTo>
                        <a:close/>
                      </a:path>
                    </a:pathLst>
                  </a:custGeom>
                  <a:solidFill>
                    <a:srgbClr val="EA6A6B"/>
                  </a:solidFill>
                  <a:ln w="648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94" name="Freeform: Shape 93">
                    <a:extLst>
                      <a:ext uri="{FF2B5EF4-FFF2-40B4-BE49-F238E27FC236}">
                        <a16:creationId xmlns:a16="http://schemas.microsoft.com/office/drawing/2014/main" id="{C212675D-4B6F-4E38-9BDC-7D50FCEC9BC4}"/>
                      </a:ext>
                    </a:extLst>
                  </p:cNvPr>
                  <p:cNvSpPr/>
                  <p:nvPr/>
                </p:nvSpPr>
                <p:spPr>
                  <a:xfrm>
                    <a:off x="6000034" y="2750000"/>
                    <a:ext cx="78041" cy="214612"/>
                  </a:xfrm>
                  <a:custGeom>
                    <a:avLst/>
                    <a:gdLst>
                      <a:gd name="connsiteX0" fmla="*/ 33492 w 78040"/>
                      <a:gd name="connsiteY0" fmla="*/ 217929 h 214612"/>
                      <a:gd name="connsiteX1" fmla="*/ 82593 w 78040"/>
                      <a:gd name="connsiteY1" fmla="*/ 217929 h 214612"/>
                      <a:gd name="connsiteX2" fmla="*/ 82593 w 78040"/>
                      <a:gd name="connsiteY2" fmla="*/ 0 h 214612"/>
                      <a:gd name="connsiteX3" fmla="*/ 32517 w 78040"/>
                      <a:gd name="connsiteY3" fmla="*/ 0 h 214612"/>
                      <a:gd name="connsiteX4" fmla="*/ 0 w 78040"/>
                      <a:gd name="connsiteY4" fmla="*/ 32517 h 214612"/>
                      <a:gd name="connsiteX5" fmla="*/ 0 w 78040"/>
                      <a:gd name="connsiteY5" fmla="*/ 184501 h 214612"/>
                      <a:gd name="connsiteX6" fmla="*/ 33492 w 78040"/>
                      <a:gd name="connsiteY6" fmla="*/ 217929 h 21461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8040" h="214612">
                        <a:moveTo>
                          <a:pt x="33492" y="217929"/>
                        </a:moveTo>
                        <a:lnTo>
                          <a:pt x="82593" y="217929"/>
                        </a:lnTo>
                        <a:lnTo>
                          <a:pt x="82593" y="0"/>
                        </a:lnTo>
                        <a:lnTo>
                          <a:pt x="32517" y="0"/>
                        </a:lnTo>
                        <a:cubicBezTo>
                          <a:pt x="14568" y="0"/>
                          <a:pt x="0" y="14568"/>
                          <a:pt x="0" y="32517"/>
                        </a:cubicBezTo>
                        <a:lnTo>
                          <a:pt x="0" y="184501"/>
                        </a:lnTo>
                        <a:cubicBezTo>
                          <a:pt x="65" y="202971"/>
                          <a:pt x="15023" y="217929"/>
                          <a:pt x="33492" y="217929"/>
                        </a:cubicBezTo>
                        <a:close/>
                      </a:path>
                    </a:pathLst>
                  </a:custGeom>
                  <a:solidFill>
                    <a:srgbClr val="A33134"/>
                  </a:solidFill>
                  <a:ln w="648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grpSp>
                <p:nvGrpSpPr>
                  <p:cNvPr id="95" name="Graphic 75">
                    <a:extLst>
                      <a:ext uri="{FF2B5EF4-FFF2-40B4-BE49-F238E27FC236}">
                        <a16:creationId xmlns:a16="http://schemas.microsoft.com/office/drawing/2014/main" id="{79E64DF8-12FE-4F21-9830-04FF259D3970}"/>
                      </a:ext>
                    </a:extLst>
                  </p:cNvPr>
                  <p:cNvGrpSpPr/>
                  <p:nvPr/>
                </p:nvGrpSpPr>
                <p:grpSpPr>
                  <a:xfrm>
                    <a:off x="6013040" y="2800311"/>
                    <a:ext cx="318667" cy="604816"/>
                    <a:chOff x="6013040" y="2800311"/>
                    <a:chExt cx="318667" cy="604816"/>
                  </a:xfrm>
                  <a:solidFill>
                    <a:srgbClr val="FFBFCF"/>
                  </a:solidFill>
                </p:grpSpPr>
                <p:sp>
                  <p:nvSpPr>
                    <p:cNvPr id="96" name="Freeform: Shape 95">
                      <a:extLst>
                        <a:ext uri="{FF2B5EF4-FFF2-40B4-BE49-F238E27FC236}">
                          <a16:creationId xmlns:a16="http://schemas.microsoft.com/office/drawing/2014/main" id="{E5A8A260-847E-4072-84F0-27419C89211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013040" y="2800311"/>
                      <a:ext cx="305660" cy="409714"/>
                    </a:xfrm>
                    <a:custGeom>
                      <a:avLst/>
                      <a:gdLst>
                        <a:gd name="connsiteX0" fmla="*/ 89552 w 305659"/>
                        <a:gd name="connsiteY0" fmla="*/ 413771 h 409714"/>
                        <a:gd name="connsiteX1" fmla="*/ 260656 w 305659"/>
                        <a:gd name="connsiteY1" fmla="*/ 413771 h 409714"/>
                        <a:gd name="connsiteX2" fmla="*/ 310732 w 305659"/>
                        <a:gd name="connsiteY2" fmla="*/ 363695 h 409714"/>
                        <a:gd name="connsiteX3" fmla="*/ 310732 w 305659"/>
                        <a:gd name="connsiteY3" fmla="*/ 55304 h 409714"/>
                        <a:gd name="connsiteX4" fmla="*/ 78886 w 305659"/>
                        <a:gd name="connsiteY4" fmla="*/ 1196 h 409714"/>
                        <a:gd name="connsiteX5" fmla="*/ 23867 w 305659"/>
                        <a:gd name="connsiteY5" fmla="*/ 41192 h 409714"/>
                        <a:gd name="connsiteX6" fmla="*/ 0 w 305659"/>
                        <a:gd name="connsiteY6" fmla="*/ 324285 h 409714"/>
                        <a:gd name="connsiteX7" fmla="*/ 89552 w 305659"/>
                        <a:gd name="connsiteY7" fmla="*/ 413771 h 40971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305659" h="409714">
                          <a:moveTo>
                            <a:pt x="89552" y="413771"/>
                          </a:moveTo>
                          <a:lnTo>
                            <a:pt x="260656" y="413771"/>
                          </a:lnTo>
                          <a:cubicBezTo>
                            <a:pt x="288361" y="413771"/>
                            <a:pt x="310732" y="391335"/>
                            <a:pt x="310732" y="363695"/>
                          </a:cubicBezTo>
                          <a:lnTo>
                            <a:pt x="310732" y="55304"/>
                          </a:lnTo>
                          <a:lnTo>
                            <a:pt x="78886" y="1196"/>
                          </a:lnTo>
                          <a:cubicBezTo>
                            <a:pt x="52222" y="-5048"/>
                            <a:pt x="26209" y="13877"/>
                            <a:pt x="23867" y="41192"/>
                          </a:cubicBezTo>
                          <a:lnTo>
                            <a:pt x="0" y="324285"/>
                          </a:lnTo>
                          <a:cubicBezTo>
                            <a:pt x="65" y="373710"/>
                            <a:pt x="40126" y="413771"/>
                            <a:pt x="89552" y="413771"/>
                          </a:cubicBezTo>
                          <a:close/>
                        </a:path>
                      </a:pathLst>
                    </a:custGeom>
                    <a:solidFill>
                      <a:srgbClr val="E8CAD2"/>
                    </a:solidFill>
                    <a:ln w="6489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7" name="Freeform: Shape 96">
                      <a:extLst>
                        <a:ext uri="{FF2B5EF4-FFF2-40B4-BE49-F238E27FC236}">
                          <a16:creationId xmlns:a16="http://schemas.microsoft.com/office/drawing/2014/main" id="{04A0DA27-F123-4C09-B26A-8F18163E69F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082627" y="3095851"/>
                      <a:ext cx="247129" cy="305660"/>
                    </a:xfrm>
                    <a:custGeom>
                      <a:avLst/>
                      <a:gdLst>
                        <a:gd name="connsiteX0" fmla="*/ 32322 w 247129"/>
                        <a:gd name="connsiteY0" fmla="*/ 0 h 305659"/>
                        <a:gd name="connsiteX1" fmla="*/ 177673 w 247129"/>
                        <a:gd name="connsiteY1" fmla="*/ 33167 h 305659"/>
                        <a:gd name="connsiteX2" fmla="*/ 253568 w 247129"/>
                        <a:gd name="connsiteY2" fmla="*/ 312033 h 305659"/>
                        <a:gd name="connsiteX3" fmla="*/ 0 w 247129"/>
                        <a:gd name="connsiteY3" fmla="*/ 312033 h 30565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247129" h="305659">
                          <a:moveTo>
                            <a:pt x="32322" y="0"/>
                          </a:moveTo>
                          <a:lnTo>
                            <a:pt x="177673" y="33167"/>
                          </a:lnTo>
                          <a:lnTo>
                            <a:pt x="253568" y="312033"/>
                          </a:lnTo>
                          <a:lnTo>
                            <a:pt x="0" y="312033"/>
                          </a:lnTo>
                          <a:close/>
                        </a:path>
                      </a:pathLst>
                    </a:custGeom>
                    <a:solidFill>
                      <a:srgbClr val="E8CAD2"/>
                    </a:solidFill>
                    <a:ln w="6489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98" name="Freeform: Shape 97">
                    <a:extLst>
                      <a:ext uri="{FF2B5EF4-FFF2-40B4-BE49-F238E27FC236}">
                        <a16:creationId xmlns:a16="http://schemas.microsoft.com/office/drawing/2014/main" id="{AF8C927E-FE6E-445C-A096-0088582AFFAB}"/>
                      </a:ext>
                    </a:extLst>
                  </p:cNvPr>
                  <p:cNvSpPr/>
                  <p:nvPr/>
                </p:nvSpPr>
                <p:spPr>
                  <a:xfrm>
                    <a:off x="6062791" y="2653359"/>
                    <a:ext cx="299156" cy="208109"/>
                  </a:xfrm>
                  <a:custGeom>
                    <a:avLst/>
                    <a:gdLst>
                      <a:gd name="connsiteX0" fmla="*/ 74334 w 299156"/>
                      <a:gd name="connsiteY0" fmla="*/ 212336 h 208108"/>
                      <a:gd name="connsiteX1" fmla="*/ 296685 w 299156"/>
                      <a:gd name="connsiteY1" fmla="*/ 212336 h 208108"/>
                      <a:gd name="connsiteX2" fmla="*/ 301953 w 299156"/>
                      <a:gd name="connsiteY2" fmla="*/ 204792 h 208108"/>
                      <a:gd name="connsiteX3" fmla="*/ 301953 w 299156"/>
                      <a:gd name="connsiteY3" fmla="*/ 128767 h 208108"/>
                      <a:gd name="connsiteX4" fmla="*/ 211816 w 299156"/>
                      <a:gd name="connsiteY4" fmla="*/ 0 h 208108"/>
                      <a:gd name="connsiteX5" fmla="*/ 74334 w 299156"/>
                      <a:gd name="connsiteY5" fmla="*/ 0 h 208108"/>
                      <a:gd name="connsiteX6" fmla="*/ 0 w 299156"/>
                      <a:gd name="connsiteY6" fmla="*/ 106200 h 208108"/>
                      <a:gd name="connsiteX7" fmla="*/ 74334 w 299156"/>
                      <a:gd name="connsiteY7" fmla="*/ 212336 h 20810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299156" h="208108">
                        <a:moveTo>
                          <a:pt x="74334" y="212336"/>
                        </a:moveTo>
                        <a:lnTo>
                          <a:pt x="296685" y="212336"/>
                        </a:lnTo>
                        <a:cubicBezTo>
                          <a:pt x="299612" y="212336"/>
                          <a:pt x="301953" y="208954"/>
                          <a:pt x="301953" y="204792"/>
                        </a:cubicBezTo>
                        <a:lnTo>
                          <a:pt x="301953" y="128767"/>
                        </a:lnTo>
                        <a:cubicBezTo>
                          <a:pt x="301953" y="57685"/>
                          <a:pt x="261632" y="0"/>
                          <a:pt x="211816" y="0"/>
                        </a:cubicBezTo>
                        <a:lnTo>
                          <a:pt x="74334" y="0"/>
                        </a:lnTo>
                        <a:cubicBezTo>
                          <a:pt x="33297" y="0"/>
                          <a:pt x="0" y="47540"/>
                          <a:pt x="0" y="106200"/>
                        </a:cubicBezTo>
                        <a:cubicBezTo>
                          <a:pt x="0" y="164796"/>
                          <a:pt x="33297" y="212336"/>
                          <a:pt x="74334" y="212336"/>
                        </a:cubicBezTo>
                        <a:close/>
                      </a:path>
                    </a:pathLst>
                  </a:custGeom>
                  <a:solidFill>
                    <a:srgbClr val="A33134"/>
                  </a:solidFill>
                  <a:ln w="648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sp>
              <p:nvSpPr>
                <p:cNvPr id="99" name="Freeform: Shape 98">
                  <a:extLst>
                    <a:ext uri="{FF2B5EF4-FFF2-40B4-BE49-F238E27FC236}">
                      <a16:creationId xmlns:a16="http://schemas.microsoft.com/office/drawing/2014/main" id="{5E409C43-66F8-4799-B121-2A27F3D5AC63}"/>
                    </a:ext>
                  </a:extLst>
                </p:cNvPr>
                <p:cNvSpPr/>
                <p:nvPr/>
              </p:nvSpPr>
              <p:spPr>
                <a:xfrm>
                  <a:off x="6257568" y="2727693"/>
                  <a:ext cx="201605" cy="520272"/>
                </a:xfrm>
                <a:custGeom>
                  <a:avLst/>
                  <a:gdLst>
                    <a:gd name="connsiteX0" fmla="*/ 17039 w 201605"/>
                    <a:gd name="connsiteY0" fmla="*/ 0 h 520271"/>
                    <a:gd name="connsiteX1" fmla="*/ 125581 w 201605"/>
                    <a:gd name="connsiteY1" fmla="*/ 0 h 520271"/>
                    <a:gd name="connsiteX2" fmla="*/ 205768 w 201605"/>
                    <a:gd name="connsiteY2" fmla="*/ 80187 h 520271"/>
                    <a:gd name="connsiteX3" fmla="*/ 205768 w 201605"/>
                    <a:gd name="connsiteY3" fmla="*/ 429484 h 520271"/>
                    <a:gd name="connsiteX4" fmla="*/ 111143 w 201605"/>
                    <a:gd name="connsiteY4" fmla="*/ 524109 h 520271"/>
                    <a:gd name="connsiteX5" fmla="*/ 0 w 201605"/>
                    <a:gd name="connsiteY5" fmla="*/ 524109 h 520271"/>
                    <a:gd name="connsiteX6" fmla="*/ 22372 w 201605"/>
                    <a:gd name="connsiteY6" fmla="*/ 482422 h 520271"/>
                    <a:gd name="connsiteX7" fmla="*/ 71602 w 201605"/>
                    <a:gd name="connsiteY7" fmla="*/ 190159 h 520271"/>
                    <a:gd name="connsiteX8" fmla="*/ 17039 w 201605"/>
                    <a:gd name="connsiteY8" fmla="*/ 0 h 5202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01605" h="520271">
                      <a:moveTo>
                        <a:pt x="17039" y="0"/>
                      </a:moveTo>
                      <a:lnTo>
                        <a:pt x="125581" y="0"/>
                      </a:lnTo>
                      <a:cubicBezTo>
                        <a:pt x="169869" y="0"/>
                        <a:pt x="205768" y="35899"/>
                        <a:pt x="205768" y="80187"/>
                      </a:cubicBezTo>
                      <a:lnTo>
                        <a:pt x="205768" y="429484"/>
                      </a:lnTo>
                      <a:cubicBezTo>
                        <a:pt x="205768" y="481772"/>
                        <a:pt x="163366" y="524109"/>
                        <a:pt x="111143" y="524109"/>
                      </a:cubicBezTo>
                      <a:lnTo>
                        <a:pt x="0" y="524109"/>
                      </a:lnTo>
                      <a:lnTo>
                        <a:pt x="22372" y="482422"/>
                      </a:lnTo>
                      <a:lnTo>
                        <a:pt x="71602" y="190159"/>
                      </a:lnTo>
                      <a:lnTo>
                        <a:pt x="17039" y="0"/>
                      </a:lnTo>
                      <a:close/>
                    </a:path>
                  </a:pathLst>
                </a:custGeom>
                <a:solidFill>
                  <a:srgbClr val="A33134"/>
                </a:solidFill>
                <a:ln w="648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00" name="Freeform: Shape 99">
                  <a:extLst>
                    <a:ext uri="{FF2B5EF4-FFF2-40B4-BE49-F238E27FC236}">
                      <a16:creationId xmlns:a16="http://schemas.microsoft.com/office/drawing/2014/main" id="{857B8627-B338-43C0-8E8D-16CA220D2210}"/>
                    </a:ext>
                  </a:extLst>
                </p:cNvPr>
                <p:cNvSpPr/>
                <p:nvPr/>
              </p:nvSpPr>
              <p:spPr>
                <a:xfrm>
                  <a:off x="6301271" y="2939574"/>
                  <a:ext cx="71537" cy="71537"/>
                </a:xfrm>
                <a:custGeom>
                  <a:avLst/>
                  <a:gdLst>
                    <a:gd name="connsiteX0" fmla="*/ 0 w 71537"/>
                    <a:gd name="connsiteY0" fmla="*/ 38045 h 71537"/>
                    <a:gd name="connsiteX1" fmla="*/ 38045 w 71537"/>
                    <a:gd name="connsiteY1" fmla="*/ 76090 h 71537"/>
                    <a:gd name="connsiteX2" fmla="*/ 76090 w 71537"/>
                    <a:gd name="connsiteY2" fmla="*/ 38045 h 71537"/>
                    <a:gd name="connsiteX3" fmla="*/ 38045 w 71537"/>
                    <a:gd name="connsiteY3" fmla="*/ 0 h 71537"/>
                    <a:gd name="connsiteX4" fmla="*/ 0 w 71537"/>
                    <a:gd name="connsiteY4" fmla="*/ 38045 h 715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1537" h="71537">
                      <a:moveTo>
                        <a:pt x="0" y="38045"/>
                      </a:moveTo>
                      <a:cubicBezTo>
                        <a:pt x="0" y="59051"/>
                        <a:pt x="17039" y="76090"/>
                        <a:pt x="38045" y="76090"/>
                      </a:cubicBezTo>
                      <a:cubicBezTo>
                        <a:pt x="59051" y="76090"/>
                        <a:pt x="76090" y="59051"/>
                        <a:pt x="76090" y="38045"/>
                      </a:cubicBezTo>
                      <a:cubicBezTo>
                        <a:pt x="76090" y="17039"/>
                        <a:pt x="59051" y="0"/>
                        <a:pt x="38045" y="0"/>
                      </a:cubicBezTo>
                      <a:cubicBezTo>
                        <a:pt x="17039" y="0"/>
                        <a:pt x="0" y="17039"/>
                        <a:pt x="0" y="38045"/>
                      </a:cubicBezTo>
                      <a:close/>
                    </a:path>
                  </a:pathLst>
                </a:custGeom>
                <a:solidFill>
                  <a:srgbClr val="E8CAD2"/>
                </a:solidFill>
                <a:ln w="648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101" name="Freeform: Shape 100">
                <a:extLst>
                  <a:ext uri="{FF2B5EF4-FFF2-40B4-BE49-F238E27FC236}">
                    <a16:creationId xmlns:a16="http://schemas.microsoft.com/office/drawing/2014/main" id="{19583F11-324D-4D0A-ABDB-CFD7E311A4A3}"/>
                  </a:ext>
                </a:extLst>
              </p:cNvPr>
              <p:cNvSpPr/>
              <p:nvPr/>
            </p:nvSpPr>
            <p:spPr>
              <a:xfrm>
                <a:off x="4116475" y="2892789"/>
                <a:ext cx="929986" cy="1131591"/>
              </a:xfrm>
              <a:custGeom>
                <a:avLst/>
                <a:gdLst>
                  <a:gd name="connsiteX0" fmla="*/ 0 w 929986"/>
                  <a:gd name="connsiteY0" fmla="*/ 0 h 1131591"/>
                  <a:gd name="connsiteX1" fmla="*/ 363410 w 929986"/>
                  <a:gd name="connsiteY1" fmla="*/ 645137 h 1131591"/>
                  <a:gd name="connsiteX2" fmla="*/ 835102 w 929986"/>
                  <a:gd name="connsiteY2" fmla="*/ 202061 h 1131591"/>
                  <a:gd name="connsiteX3" fmla="*/ 934538 w 929986"/>
                  <a:gd name="connsiteY3" fmla="*/ 331413 h 1131591"/>
                  <a:gd name="connsiteX4" fmla="*/ 300782 w 929986"/>
                  <a:gd name="connsiteY4" fmla="*/ 1132632 h 1131591"/>
                  <a:gd name="connsiteX5" fmla="*/ 77911 w 929986"/>
                  <a:gd name="connsiteY5" fmla="*/ 645137 h 11315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29986" h="1131591">
                    <a:moveTo>
                      <a:pt x="0" y="0"/>
                    </a:moveTo>
                    <a:lnTo>
                      <a:pt x="363410" y="645137"/>
                    </a:lnTo>
                    <a:lnTo>
                      <a:pt x="835102" y="202061"/>
                    </a:lnTo>
                    <a:lnTo>
                      <a:pt x="934538" y="331413"/>
                    </a:lnTo>
                    <a:lnTo>
                      <a:pt x="300782" y="1132632"/>
                    </a:lnTo>
                    <a:lnTo>
                      <a:pt x="77911" y="645137"/>
                    </a:lnTo>
                    <a:close/>
                  </a:path>
                </a:pathLst>
              </a:custGeom>
              <a:solidFill>
                <a:schemeClr val="tx2"/>
              </a:solidFill>
              <a:ln w="6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2" name="Freeform: Shape 101">
                <a:extLst>
                  <a:ext uri="{FF2B5EF4-FFF2-40B4-BE49-F238E27FC236}">
                    <a16:creationId xmlns:a16="http://schemas.microsoft.com/office/drawing/2014/main" id="{B85AA3B6-9F61-4A1D-A0E4-3F2D53E9C0AF}"/>
                  </a:ext>
                </a:extLst>
              </p:cNvPr>
              <p:cNvSpPr/>
              <p:nvPr/>
            </p:nvSpPr>
            <p:spPr>
              <a:xfrm>
                <a:off x="3276480" y="2840047"/>
                <a:ext cx="949496" cy="1391727"/>
              </a:xfrm>
              <a:custGeom>
                <a:avLst/>
                <a:gdLst>
                  <a:gd name="connsiteX0" fmla="*/ 839995 w 949496"/>
                  <a:gd name="connsiteY0" fmla="*/ 52743 h 1391727"/>
                  <a:gd name="connsiteX1" fmla="*/ 707066 w 949496"/>
                  <a:gd name="connsiteY1" fmla="*/ 0 h 1391727"/>
                  <a:gd name="connsiteX2" fmla="*/ 282784 w 949496"/>
                  <a:gd name="connsiteY2" fmla="*/ 0 h 1391727"/>
                  <a:gd name="connsiteX3" fmla="*/ 1837 w 949496"/>
                  <a:gd name="connsiteY3" fmla="*/ 119012 h 1391727"/>
                  <a:gd name="connsiteX4" fmla="*/ 33964 w 949496"/>
                  <a:gd name="connsiteY4" fmla="*/ 258445 h 1391727"/>
                  <a:gd name="connsiteX5" fmla="*/ 141725 w 949496"/>
                  <a:gd name="connsiteY5" fmla="*/ 605011 h 1391727"/>
                  <a:gd name="connsiteX6" fmla="*/ 497201 w 949496"/>
                  <a:gd name="connsiteY6" fmla="*/ 1070004 h 1391727"/>
                  <a:gd name="connsiteX7" fmla="*/ 852677 w 949496"/>
                  <a:gd name="connsiteY7" fmla="*/ 1336644 h 1391727"/>
                  <a:gd name="connsiteX8" fmla="*/ 953675 w 949496"/>
                  <a:gd name="connsiteY8" fmla="*/ 1395825 h 1391727"/>
                  <a:gd name="connsiteX9" fmla="*/ 953675 w 949496"/>
                  <a:gd name="connsiteY9" fmla="*/ 322113 h 1391727"/>
                  <a:gd name="connsiteX10" fmla="*/ 839995 w 949496"/>
                  <a:gd name="connsiteY10" fmla="*/ 52743 h 1391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949496" h="1391727">
                    <a:moveTo>
                      <a:pt x="839995" y="52743"/>
                    </a:moveTo>
                    <a:lnTo>
                      <a:pt x="707066" y="0"/>
                    </a:lnTo>
                    <a:lnTo>
                      <a:pt x="282784" y="0"/>
                    </a:lnTo>
                    <a:cubicBezTo>
                      <a:pt x="282784" y="0"/>
                      <a:pt x="1967" y="119012"/>
                      <a:pt x="1837" y="119012"/>
                    </a:cubicBezTo>
                    <a:cubicBezTo>
                      <a:pt x="-9088" y="123695"/>
                      <a:pt x="32208" y="248430"/>
                      <a:pt x="33964" y="258445"/>
                    </a:cubicBezTo>
                    <a:cubicBezTo>
                      <a:pt x="55100" y="377783"/>
                      <a:pt x="91454" y="494714"/>
                      <a:pt x="141725" y="605011"/>
                    </a:cubicBezTo>
                    <a:cubicBezTo>
                      <a:pt x="223603" y="784700"/>
                      <a:pt x="346908" y="942408"/>
                      <a:pt x="497201" y="1070004"/>
                    </a:cubicBezTo>
                    <a:cubicBezTo>
                      <a:pt x="612832" y="1168076"/>
                      <a:pt x="726966" y="1258603"/>
                      <a:pt x="852677" y="1336644"/>
                    </a:cubicBezTo>
                    <a:cubicBezTo>
                      <a:pt x="882267" y="1354983"/>
                      <a:pt x="916410" y="1378656"/>
                      <a:pt x="953675" y="1395825"/>
                    </a:cubicBezTo>
                    <a:lnTo>
                      <a:pt x="953675" y="322113"/>
                    </a:lnTo>
                    <a:lnTo>
                      <a:pt x="839995" y="52743"/>
                    </a:lnTo>
                    <a:close/>
                  </a:path>
                </a:pathLst>
              </a:custGeom>
              <a:solidFill>
                <a:schemeClr val="tx2"/>
              </a:solidFill>
              <a:ln w="6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3" name="Freeform: Shape 102">
                <a:extLst>
                  <a:ext uri="{FF2B5EF4-FFF2-40B4-BE49-F238E27FC236}">
                    <a16:creationId xmlns:a16="http://schemas.microsoft.com/office/drawing/2014/main" id="{C778F02A-CD14-4819-9E66-34EBC0BDA3B4}"/>
                  </a:ext>
                </a:extLst>
              </p:cNvPr>
              <p:cNvSpPr/>
              <p:nvPr/>
            </p:nvSpPr>
            <p:spPr>
              <a:xfrm>
                <a:off x="4556824" y="3560970"/>
                <a:ext cx="312163" cy="182095"/>
              </a:xfrm>
              <a:custGeom>
                <a:avLst/>
                <a:gdLst>
                  <a:gd name="connsiteX0" fmla="*/ 315672 w 312163"/>
                  <a:gd name="connsiteY0" fmla="*/ 44592 h 182095"/>
                  <a:gd name="connsiteX1" fmla="*/ 208561 w 312163"/>
                  <a:gd name="connsiteY1" fmla="*/ 7263 h 182095"/>
                  <a:gd name="connsiteX2" fmla="*/ 104376 w 312163"/>
                  <a:gd name="connsiteY2" fmla="*/ 15262 h 182095"/>
                  <a:gd name="connsiteX3" fmla="*/ 3899 w 312163"/>
                  <a:gd name="connsiteY3" fmla="*/ 68785 h 182095"/>
                  <a:gd name="connsiteX4" fmla="*/ 6825 w 312163"/>
                  <a:gd name="connsiteY4" fmla="*/ 82572 h 182095"/>
                  <a:gd name="connsiteX5" fmla="*/ 144047 w 312163"/>
                  <a:gd name="connsiteY5" fmla="*/ 92392 h 182095"/>
                  <a:gd name="connsiteX6" fmla="*/ 176434 w 312163"/>
                  <a:gd name="connsiteY6" fmla="*/ 115544 h 182095"/>
                  <a:gd name="connsiteX7" fmla="*/ 246801 w 312163"/>
                  <a:gd name="connsiteY7" fmla="*/ 172709 h 182095"/>
                  <a:gd name="connsiteX8" fmla="*/ 297982 w 312163"/>
                  <a:gd name="connsiteY8" fmla="*/ 182789 h 182095"/>
                  <a:gd name="connsiteX9" fmla="*/ 315672 w 312163"/>
                  <a:gd name="connsiteY9" fmla="*/ 44592 h 1820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12163" h="182095">
                    <a:moveTo>
                      <a:pt x="315672" y="44592"/>
                    </a:moveTo>
                    <a:lnTo>
                      <a:pt x="208561" y="7263"/>
                    </a:lnTo>
                    <a:cubicBezTo>
                      <a:pt x="174223" y="-4704"/>
                      <a:pt x="136503" y="-1777"/>
                      <a:pt x="104376" y="15262"/>
                    </a:cubicBezTo>
                    <a:lnTo>
                      <a:pt x="3899" y="68785"/>
                    </a:lnTo>
                    <a:cubicBezTo>
                      <a:pt x="-2605" y="72231"/>
                      <a:pt x="-524" y="82052"/>
                      <a:pt x="6825" y="82572"/>
                    </a:cubicBezTo>
                    <a:lnTo>
                      <a:pt x="144047" y="92392"/>
                    </a:lnTo>
                    <a:cubicBezTo>
                      <a:pt x="158354" y="93433"/>
                      <a:pt x="170841" y="102342"/>
                      <a:pt x="176434" y="115544"/>
                    </a:cubicBezTo>
                    <a:cubicBezTo>
                      <a:pt x="188920" y="145134"/>
                      <a:pt x="215324" y="166531"/>
                      <a:pt x="246801" y="172709"/>
                    </a:cubicBezTo>
                    <a:lnTo>
                      <a:pt x="297982" y="182789"/>
                    </a:lnTo>
                    <a:lnTo>
                      <a:pt x="315672" y="44592"/>
                    </a:lnTo>
                    <a:close/>
                  </a:path>
                </a:pathLst>
              </a:custGeom>
              <a:solidFill>
                <a:srgbClr val="E8CAD2"/>
              </a:solidFill>
              <a:ln w="6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4" name="Freeform: Shape 103">
                <a:extLst>
                  <a:ext uri="{FF2B5EF4-FFF2-40B4-BE49-F238E27FC236}">
                    <a16:creationId xmlns:a16="http://schemas.microsoft.com/office/drawing/2014/main" id="{786049AA-6B6E-4669-914E-0B831D9BBEE2}"/>
                  </a:ext>
                </a:extLst>
              </p:cNvPr>
              <p:cNvSpPr/>
              <p:nvPr/>
            </p:nvSpPr>
            <p:spPr>
              <a:xfrm>
                <a:off x="4958405" y="2966405"/>
                <a:ext cx="286150" cy="240626"/>
              </a:xfrm>
              <a:custGeom>
                <a:avLst/>
                <a:gdLst>
                  <a:gd name="connsiteX0" fmla="*/ 85195 w 286149"/>
                  <a:gd name="connsiteY0" fmla="*/ 247002 h 240625"/>
                  <a:gd name="connsiteX1" fmla="*/ 187298 w 286149"/>
                  <a:gd name="connsiteY1" fmla="*/ 197706 h 240625"/>
                  <a:gd name="connsiteX2" fmla="*/ 255258 w 286149"/>
                  <a:gd name="connsiteY2" fmla="*/ 118364 h 240625"/>
                  <a:gd name="connsiteX3" fmla="*/ 288491 w 286149"/>
                  <a:gd name="connsiteY3" fmla="*/ 9497 h 240625"/>
                  <a:gd name="connsiteX4" fmla="*/ 276655 w 286149"/>
                  <a:gd name="connsiteY4" fmla="*/ 1823 h 240625"/>
                  <a:gd name="connsiteX5" fmla="*/ 172730 w 286149"/>
                  <a:gd name="connsiteY5" fmla="*/ 91896 h 240625"/>
                  <a:gd name="connsiteX6" fmla="*/ 133515 w 286149"/>
                  <a:gd name="connsiteY6" fmla="*/ 98399 h 240625"/>
                  <a:gd name="connsiteX7" fmla="*/ 43313 w 286149"/>
                  <a:gd name="connsiteY7" fmla="*/ 107699 h 240625"/>
                  <a:gd name="connsiteX8" fmla="*/ 0 w 286149"/>
                  <a:gd name="connsiteY8" fmla="*/ 136769 h 240625"/>
                  <a:gd name="connsiteX9" fmla="*/ 85195 w 286149"/>
                  <a:gd name="connsiteY9" fmla="*/ 247002 h 240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86149" h="240625">
                    <a:moveTo>
                      <a:pt x="85195" y="247002"/>
                    </a:moveTo>
                    <a:lnTo>
                      <a:pt x="187298" y="197706"/>
                    </a:lnTo>
                    <a:cubicBezTo>
                      <a:pt x="220010" y="181903"/>
                      <a:pt x="244658" y="153158"/>
                      <a:pt x="255258" y="118364"/>
                    </a:cubicBezTo>
                    <a:lnTo>
                      <a:pt x="288491" y="9497"/>
                    </a:lnTo>
                    <a:cubicBezTo>
                      <a:pt x="290637" y="2474"/>
                      <a:pt x="282248" y="-2989"/>
                      <a:pt x="276655" y="1823"/>
                    </a:cubicBezTo>
                    <a:lnTo>
                      <a:pt x="172730" y="91896"/>
                    </a:lnTo>
                    <a:cubicBezTo>
                      <a:pt x="161935" y="101260"/>
                      <a:pt x="146782" y="103797"/>
                      <a:pt x="133515" y="98399"/>
                    </a:cubicBezTo>
                    <a:cubicBezTo>
                      <a:pt x="103794" y="86368"/>
                      <a:pt x="69977" y="89814"/>
                      <a:pt x="43313" y="107699"/>
                    </a:cubicBezTo>
                    <a:lnTo>
                      <a:pt x="0" y="136769"/>
                    </a:lnTo>
                    <a:lnTo>
                      <a:pt x="85195" y="247002"/>
                    </a:lnTo>
                    <a:close/>
                  </a:path>
                </a:pathLst>
              </a:custGeom>
              <a:solidFill>
                <a:srgbClr val="DFB3B3"/>
              </a:solidFill>
              <a:ln w="6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5" name="Freeform: Shape 104">
                <a:extLst>
                  <a:ext uri="{FF2B5EF4-FFF2-40B4-BE49-F238E27FC236}">
                    <a16:creationId xmlns:a16="http://schemas.microsoft.com/office/drawing/2014/main" id="{71F9130D-260A-47D1-B659-9B9A51399431}"/>
                  </a:ext>
                </a:extLst>
              </p:cNvPr>
              <p:cNvSpPr/>
              <p:nvPr/>
            </p:nvSpPr>
            <p:spPr>
              <a:xfrm>
                <a:off x="4956324" y="2595584"/>
                <a:ext cx="1092571" cy="1027537"/>
              </a:xfrm>
              <a:custGeom>
                <a:avLst/>
                <a:gdLst>
                  <a:gd name="connsiteX0" fmla="*/ 1097254 w 1092571"/>
                  <a:gd name="connsiteY0" fmla="*/ 0 h 1027537"/>
                  <a:gd name="connsiteX1" fmla="*/ 910606 w 1092571"/>
                  <a:gd name="connsiteY1" fmla="*/ 0 h 1027537"/>
                  <a:gd name="connsiteX2" fmla="*/ 725714 w 1092571"/>
                  <a:gd name="connsiteY2" fmla="*/ 110493 h 1027537"/>
                  <a:gd name="connsiteX3" fmla="*/ 373555 w 1092571"/>
                  <a:gd name="connsiteY3" fmla="*/ 765580 h 1027537"/>
                  <a:gd name="connsiteX4" fmla="*/ 94689 w 1092571"/>
                  <a:gd name="connsiteY4" fmla="*/ 628554 h 1027537"/>
                  <a:gd name="connsiteX5" fmla="*/ 0 w 1092571"/>
                  <a:gd name="connsiteY5" fmla="*/ 748216 h 1027537"/>
                  <a:gd name="connsiteX6" fmla="*/ 474878 w 1092571"/>
                  <a:gd name="connsiteY6" fmla="*/ 1030854 h 1027537"/>
                  <a:gd name="connsiteX7" fmla="*/ 704968 w 1092571"/>
                  <a:gd name="connsiteY7" fmla="*/ 765580 h 1027537"/>
                  <a:gd name="connsiteX8" fmla="*/ 1097254 w 1092571"/>
                  <a:gd name="connsiteY8" fmla="*/ 0 h 10275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92571" h="1027537">
                    <a:moveTo>
                      <a:pt x="1097254" y="0"/>
                    </a:moveTo>
                    <a:lnTo>
                      <a:pt x="910606" y="0"/>
                    </a:lnTo>
                    <a:cubicBezTo>
                      <a:pt x="833346" y="0"/>
                      <a:pt x="762329" y="42467"/>
                      <a:pt x="725714" y="110493"/>
                    </a:cubicBezTo>
                    <a:lnTo>
                      <a:pt x="373555" y="765580"/>
                    </a:lnTo>
                    <a:lnTo>
                      <a:pt x="94689" y="628554"/>
                    </a:lnTo>
                    <a:lnTo>
                      <a:pt x="0" y="748216"/>
                    </a:lnTo>
                    <a:lnTo>
                      <a:pt x="474878" y="1030854"/>
                    </a:lnTo>
                    <a:lnTo>
                      <a:pt x="704968" y="765580"/>
                    </a:lnTo>
                    <a:lnTo>
                      <a:pt x="1097254" y="0"/>
                    </a:lnTo>
                    <a:close/>
                  </a:path>
                </a:pathLst>
              </a:custGeom>
              <a:solidFill>
                <a:schemeClr val="bg1"/>
              </a:solidFill>
              <a:ln w="6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6" name="Freeform: Shape 105">
                <a:extLst>
                  <a:ext uri="{FF2B5EF4-FFF2-40B4-BE49-F238E27FC236}">
                    <a16:creationId xmlns:a16="http://schemas.microsoft.com/office/drawing/2014/main" id="{C00FEB47-164B-473F-89BD-A9C8921C8DB9}"/>
                  </a:ext>
                </a:extLst>
              </p:cNvPr>
              <p:cNvSpPr/>
              <p:nvPr/>
            </p:nvSpPr>
            <p:spPr>
              <a:xfrm>
                <a:off x="5661402" y="2595584"/>
                <a:ext cx="1177115" cy="1944516"/>
              </a:xfrm>
              <a:custGeom>
                <a:avLst/>
                <a:gdLst>
                  <a:gd name="connsiteX0" fmla="*/ 110839 w 1177115"/>
                  <a:gd name="connsiteY0" fmla="*/ 1950825 h 1944516"/>
                  <a:gd name="connsiteX1" fmla="*/ 1049020 w 1177115"/>
                  <a:gd name="connsiteY1" fmla="*/ 1950825 h 1944516"/>
                  <a:gd name="connsiteX2" fmla="*/ 1177917 w 1177115"/>
                  <a:gd name="connsiteY2" fmla="*/ 387147 h 1944516"/>
                  <a:gd name="connsiteX3" fmla="*/ 821400 w 1177115"/>
                  <a:gd name="connsiteY3" fmla="*/ 0 h 1944516"/>
                  <a:gd name="connsiteX4" fmla="*/ 338458 w 1177115"/>
                  <a:gd name="connsiteY4" fmla="*/ 0 h 1944516"/>
                  <a:gd name="connsiteX5" fmla="*/ 1387 w 1177115"/>
                  <a:gd name="connsiteY5" fmla="*/ 623091 h 1944516"/>
                  <a:gd name="connsiteX6" fmla="*/ 110839 w 1177115"/>
                  <a:gd name="connsiteY6" fmla="*/ 1950825 h 19445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77115" h="1944516">
                    <a:moveTo>
                      <a:pt x="110839" y="1950825"/>
                    </a:moveTo>
                    <a:lnTo>
                      <a:pt x="1049020" y="1950825"/>
                    </a:lnTo>
                    <a:lnTo>
                      <a:pt x="1177917" y="387147"/>
                    </a:lnTo>
                    <a:cubicBezTo>
                      <a:pt x="1195086" y="178648"/>
                      <a:pt x="1030550" y="0"/>
                      <a:pt x="821400" y="0"/>
                    </a:cubicBezTo>
                    <a:lnTo>
                      <a:pt x="338458" y="0"/>
                    </a:lnTo>
                    <a:cubicBezTo>
                      <a:pt x="129309" y="0"/>
                      <a:pt x="-15847" y="414592"/>
                      <a:pt x="1387" y="623091"/>
                    </a:cubicBezTo>
                    <a:lnTo>
                      <a:pt x="110839" y="1950825"/>
                    </a:lnTo>
                    <a:close/>
                  </a:path>
                </a:pathLst>
              </a:custGeom>
              <a:solidFill>
                <a:srgbClr val="17264B"/>
              </a:solidFill>
              <a:ln w="6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7" name="Freeform: Shape 106">
                <a:extLst>
                  <a:ext uri="{FF2B5EF4-FFF2-40B4-BE49-F238E27FC236}">
                    <a16:creationId xmlns:a16="http://schemas.microsoft.com/office/drawing/2014/main" id="{D614DFAB-93D1-4A5E-86A4-FECCE8E89A59}"/>
                  </a:ext>
                </a:extLst>
              </p:cNvPr>
              <p:cNvSpPr/>
              <p:nvPr/>
            </p:nvSpPr>
            <p:spPr>
              <a:xfrm>
                <a:off x="6053578" y="2595584"/>
                <a:ext cx="247129" cy="175592"/>
              </a:xfrm>
              <a:custGeom>
                <a:avLst/>
                <a:gdLst>
                  <a:gd name="connsiteX0" fmla="*/ 52612 w 247129"/>
                  <a:gd name="connsiteY0" fmla="*/ 181055 h 175591"/>
                  <a:gd name="connsiteX1" fmla="*/ 0 w 247129"/>
                  <a:gd name="connsiteY1" fmla="*/ 0 h 175591"/>
                  <a:gd name="connsiteX2" fmla="*/ 253568 w 247129"/>
                  <a:gd name="connsiteY2" fmla="*/ 0 h 1755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47129" h="175591">
                    <a:moveTo>
                      <a:pt x="52612" y="181055"/>
                    </a:moveTo>
                    <a:lnTo>
                      <a:pt x="0" y="0"/>
                    </a:lnTo>
                    <a:lnTo>
                      <a:pt x="253568" y="0"/>
                    </a:lnTo>
                    <a:close/>
                  </a:path>
                </a:pathLst>
              </a:custGeom>
              <a:solidFill>
                <a:srgbClr val="E8CAD2"/>
              </a:solidFill>
              <a:ln w="6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8" name="Freeform: Shape 107">
                <a:extLst>
                  <a:ext uri="{FF2B5EF4-FFF2-40B4-BE49-F238E27FC236}">
                    <a16:creationId xmlns:a16="http://schemas.microsoft.com/office/drawing/2014/main" id="{A6119EA5-A550-4782-BEC2-897AB2A0A0D9}"/>
                  </a:ext>
                </a:extLst>
              </p:cNvPr>
              <p:cNvSpPr/>
              <p:nvPr/>
            </p:nvSpPr>
            <p:spPr>
              <a:xfrm>
                <a:off x="4835361" y="2855631"/>
                <a:ext cx="1885986" cy="1287673"/>
              </a:xfrm>
              <a:custGeom>
                <a:avLst/>
                <a:gdLst>
                  <a:gd name="connsiteX0" fmla="*/ 0 w 1885985"/>
                  <a:gd name="connsiteY0" fmla="*/ 896062 h 1287672"/>
                  <a:gd name="connsiteX1" fmla="*/ 990793 w 1885985"/>
                  <a:gd name="connsiteY1" fmla="*/ 1278527 h 1287672"/>
                  <a:gd name="connsiteX2" fmla="*/ 1181017 w 1885985"/>
                  <a:gd name="connsiteY2" fmla="*/ 1217525 h 1287672"/>
                  <a:gd name="connsiteX3" fmla="*/ 1871288 w 1885985"/>
                  <a:gd name="connsiteY3" fmla="*/ 221464 h 1287672"/>
                  <a:gd name="connsiteX4" fmla="*/ 1836625 w 1885985"/>
                  <a:gd name="connsiteY4" fmla="*/ 70325 h 1287672"/>
                  <a:gd name="connsiteX5" fmla="*/ 1744147 w 1885985"/>
                  <a:gd name="connsiteY5" fmla="*/ 15176 h 1287672"/>
                  <a:gd name="connsiteX6" fmla="*/ 1598926 w 1885985"/>
                  <a:gd name="connsiteY6" fmla="*/ 49254 h 1287672"/>
                  <a:gd name="connsiteX7" fmla="*/ 968031 w 1885985"/>
                  <a:gd name="connsiteY7" fmla="*/ 969420 h 1287672"/>
                  <a:gd name="connsiteX8" fmla="*/ 37199 w 1885985"/>
                  <a:gd name="connsiteY8" fmla="*/ 741606 h 1287672"/>
                  <a:gd name="connsiteX9" fmla="*/ 0 w 1885985"/>
                  <a:gd name="connsiteY9" fmla="*/ 896062 h 12876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885985" h="1287672">
                    <a:moveTo>
                      <a:pt x="0" y="896062"/>
                    </a:moveTo>
                    <a:lnTo>
                      <a:pt x="990793" y="1278527"/>
                    </a:lnTo>
                    <a:cubicBezTo>
                      <a:pt x="1060640" y="1305516"/>
                      <a:pt x="1139851" y="1280087"/>
                      <a:pt x="1181017" y="1217525"/>
                    </a:cubicBezTo>
                    <a:lnTo>
                      <a:pt x="1871288" y="221464"/>
                    </a:lnTo>
                    <a:cubicBezTo>
                      <a:pt x="1904911" y="170412"/>
                      <a:pt x="1889107" y="101606"/>
                      <a:pt x="1836625" y="70325"/>
                    </a:cubicBezTo>
                    <a:lnTo>
                      <a:pt x="1744147" y="15176"/>
                    </a:lnTo>
                    <a:cubicBezTo>
                      <a:pt x="1694461" y="-14479"/>
                      <a:pt x="1630207" y="609"/>
                      <a:pt x="1598926" y="49254"/>
                    </a:cubicBezTo>
                    <a:lnTo>
                      <a:pt x="968031" y="969420"/>
                    </a:lnTo>
                    <a:lnTo>
                      <a:pt x="37199" y="741606"/>
                    </a:lnTo>
                    <a:lnTo>
                      <a:pt x="0" y="896062"/>
                    </a:lnTo>
                    <a:close/>
                  </a:path>
                </a:pathLst>
              </a:custGeom>
              <a:solidFill>
                <a:schemeClr val="bg1"/>
              </a:solidFill>
              <a:ln w="6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9" name="Freeform: Shape 108">
                <a:extLst>
                  <a:ext uri="{FF2B5EF4-FFF2-40B4-BE49-F238E27FC236}">
                    <a16:creationId xmlns:a16="http://schemas.microsoft.com/office/drawing/2014/main" id="{AB8ED13B-4B2C-4A36-BDFB-283D9A07B8A1}"/>
                  </a:ext>
                </a:extLst>
              </p:cNvPr>
              <p:cNvSpPr/>
              <p:nvPr/>
            </p:nvSpPr>
            <p:spPr>
              <a:xfrm>
                <a:off x="5763399" y="3070596"/>
                <a:ext cx="305660" cy="97551"/>
              </a:xfrm>
              <a:custGeom>
                <a:avLst/>
                <a:gdLst>
                  <a:gd name="connsiteX0" fmla="*/ 307481 w 305659"/>
                  <a:gd name="connsiteY0" fmla="*/ 101388 h 97550"/>
                  <a:gd name="connsiteX1" fmla="*/ 0 w 305659"/>
                  <a:gd name="connsiteY1" fmla="*/ 101388 h 97550"/>
                  <a:gd name="connsiteX2" fmla="*/ 0 w 305659"/>
                  <a:gd name="connsiteY2" fmla="*/ 0 h 97550"/>
                  <a:gd name="connsiteX3" fmla="*/ 307481 w 305659"/>
                  <a:gd name="connsiteY3" fmla="*/ 0 h 97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5659" h="97550">
                    <a:moveTo>
                      <a:pt x="307481" y="101388"/>
                    </a:moveTo>
                    <a:lnTo>
                      <a:pt x="0" y="101388"/>
                    </a:lnTo>
                    <a:lnTo>
                      <a:pt x="0" y="0"/>
                    </a:lnTo>
                    <a:lnTo>
                      <a:pt x="307481" y="0"/>
                    </a:lnTo>
                    <a:close/>
                  </a:path>
                </a:pathLst>
              </a:custGeom>
              <a:solidFill>
                <a:srgbClr val="FFFFFF"/>
              </a:solidFill>
              <a:ln w="6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0" name="Freeform: Shape 109">
                <a:extLst>
                  <a:ext uri="{FF2B5EF4-FFF2-40B4-BE49-F238E27FC236}">
                    <a16:creationId xmlns:a16="http://schemas.microsoft.com/office/drawing/2014/main" id="{85C03550-32BD-4CA6-883C-5601CF3BE08B}"/>
                  </a:ext>
                </a:extLst>
              </p:cNvPr>
              <p:cNvSpPr/>
              <p:nvPr/>
            </p:nvSpPr>
            <p:spPr>
              <a:xfrm>
                <a:off x="4728835" y="3101353"/>
                <a:ext cx="182095" cy="201605"/>
              </a:xfrm>
              <a:custGeom>
                <a:avLst/>
                <a:gdLst>
                  <a:gd name="connsiteX0" fmla="*/ 187168 w 182095"/>
                  <a:gd name="connsiteY0" fmla="*/ 25884 h 201605"/>
                  <a:gd name="connsiteX1" fmla="*/ 58726 w 182095"/>
                  <a:gd name="connsiteY1" fmla="*/ 0 h 201605"/>
                  <a:gd name="connsiteX2" fmla="*/ 0 w 182095"/>
                  <a:gd name="connsiteY2" fmla="*/ 95925 h 201605"/>
                  <a:gd name="connsiteX3" fmla="*/ 0 w 182095"/>
                  <a:gd name="connsiteY3" fmla="*/ 202711 h 2016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2095" h="201605">
                    <a:moveTo>
                      <a:pt x="187168" y="25884"/>
                    </a:moveTo>
                    <a:lnTo>
                      <a:pt x="58726" y="0"/>
                    </a:lnTo>
                    <a:lnTo>
                      <a:pt x="0" y="95925"/>
                    </a:lnTo>
                    <a:lnTo>
                      <a:pt x="0" y="202711"/>
                    </a:lnTo>
                    <a:close/>
                  </a:path>
                </a:pathLst>
              </a:custGeom>
              <a:solidFill>
                <a:srgbClr val="E8CAD2"/>
              </a:solidFill>
              <a:ln w="6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1" name="Freeform: Shape 110">
                <a:extLst>
                  <a:ext uri="{FF2B5EF4-FFF2-40B4-BE49-F238E27FC236}">
                    <a16:creationId xmlns:a16="http://schemas.microsoft.com/office/drawing/2014/main" id="{B0243C3E-3771-4FED-B20A-6D12C5CA6859}"/>
                  </a:ext>
                </a:extLst>
              </p:cNvPr>
              <p:cNvSpPr/>
              <p:nvPr/>
            </p:nvSpPr>
            <p:spPr>
              <a:xfrm>
                <a:off x="3228532" y="2959059"/>
                <a:ext cx="1463265" cy="1352707"/>
              </a:xfrm>
              <a:custGeom>
                <a:avLst/>
                <a:gdLst>
                  <a:gd name="connsiteX0" fmla="*/ 49850 w 1463264"/>
                  <a:gd name="connsiteY0" fmla="*/ 0 h 1352706"/>
                  <a:gd name="connsiteX1" fmla="*/ 76514 w 1463264"/>
                  <a:gd name="connsiteY1" fmla="*/ 814681 h 1352706"/>
                  <a:gd name="connsiteX2" fmla="*/ 390173 w 1463264"/>
                  <a:gd name="connsiteY2" fmla="*/ 1310500 h 1352706"/>
                  <a:gd name="connsiteX3" fmla="*/ 1469087 w 1463264"/>
                  <a:gd name="connsiteY3" fmla="*/ 1358690 h 1352706"/>
                  <a:gd name="connsiteX4" fmla="*/ 1469087 w 1463264"/>
                  <a:gd name="connsiteY4" fmla="*/ 1224460 h 1352706"/>
                  <a:gd name="connsiteX5" fmla="*/ 771402 w 1463264"/>
                  <a:gd name="connsiteY5" fmla="*/ 1036577 h 1352706"/>
                  <a:gd name="connsiteX6" fmla="*/ 419308 w 1463264"/>
                  <a:gd name="connsiteY6" fmla="*/ 454002 h 1352706"/>
                  <a:gd name="connsiteX7" fmla="*/ 49850 w 1463264"/>
                  <a:gd name="connsiteY7" fmla="*/ 0 h 13527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63264" h="1352706">
                    <a:moveTo>
                      <a:pt x="49850" y="0"/>
                    </a:moveTo>
                    <a:cubicBezTo>
                      <a:pt x="49850" y="0"/>
                      <a:pt x="-78397" y="443662"/>
                      <a:pt x="76514" y="814681"/>
                    </a:cubicBezTo>
                    <a:cubicBezTo>
                      <a:pt x="231425" y="1185700"/>
                      <a:pt x="390173" y="1310500"/>
                      <a:pt x="390173" y="1310500"/>
                    </a:cubicBezTo>
                    <a:lnTo>
                      <a:pt x="1469087" y="1358690"/>
                    </a:lnTo>
                    <a:lnTo>
                      <a:pt x="1469087" y="1224460"/>
                    </a:lnTo>
                    <a:lnTo>
                      <a:pt x="771402" y="1036577"/>
                    </a:lnTo>
                    <a:lnTo>
                      <a:pt x="419308" y="454002"/>
                    </a:lnTo>
                    <a:lnTo>
                      <a:pt x="49850" y="0"/>
                    </a:lnTo>
                    <a:close/>
                  </a:path>
                </a:pathLst>
              </a:custGeom>
              <a:solidFill>
                <a:schemeClr val="tx2"/>
              </a:solidFill>
              <a:ln w="6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2" name="Freeform: Shape 111">
                <a:extLst>
                  <a:ext uri="{FF2B5EF4-FFF2-40B4-BE49-F238E27FC236}">
                    <a16:creationId xmlns:a16="http://schemas.microsoft.com/office/drawing/2014/main" id="{95A287A4-78F9-4B1E-BDFE-9B785D39FBC6}"/>
                  </a:ext>
                </a:extLst>
              </p:cNvPr>
              <p:cNvSpPr/>
              <p:nvPr/>
            </p:nvSpPr>
            <p:spPr>
              <a:xfrm>
                <a:off x="3618640" y="4269494"/>
                <a:ext cx="1625850" cy="715374"/>
              </a:xfrm>
              <a:custGeom>
                <a:avLst/>
                <a:gdLst>
                  <a:gd name="connsiteX0" fmla="*/ 1078914 w 1625849"/>
                  <a:gd name="connsiteY0" fmla="*/ 48190 h 715373"/>
                  <a:gd name="connsiteX1" fmla="*/ 1339765 w 1625849"/>
                  <a:gd name="connsiteY1" fmla="*/ 48190 h 715373"/>
                  <a:gd name="connsiteX2" fmla="*/ 1518869 w 1625849"/>
                  <a:gd name="connsiteY2" fmla="*/ 158553 h 715373"/>
                  <a:gd name="connsiteX3" fmla="*/ 1628646 w 1625849"/>
                  <a:gd name="connsiteY3" fmla="*/ 719016 h 715373"/>
                  <a:gd name="connsiteX4" fmla="*/ 0 w 1625849"/>
                  <a:gd name="connsiteY4" fmla="*/ 0 h 715373"/>
                  <a:gd name="connsiteX5" fmla="*/ 1078914 w 1625849"/>
                  <a:gd name="connsiteY5" fmla="*/ 48190 h 715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625849" h="715373">
                    <a:moveTo>
                      <a:pt x="1078914" y="48190"/>
                    </a:moveTo>
                    <a:lnTo>
                      <a:pt x="1339765" y="48190"/>
                    </a:lnTo>
                    <a:lnTo>
                      <a:pt x="1518869" y="158553"/>
                    </a:lnTo>
                    <a:lnTo>
                      <a:pt x="1628646" y="719016"/>
                    </a:lnTo>
                    <a:cubicBezTo>
                      <a:pt x="1628646" y="719016"/>
                      <a:pt x="628554" y="736250"/>
                      <a:pt x="0" y="0"/>
                    </a:cubicBezTo>
                    <a:lnTo>
                      <a:pt x="1078914" y="48190"/>
                    </a:lnTo>
                    <a:close/>
                  </a:path>
                </a:pathLst>
              </a:custGeom>
              <a:solidFill>
                <a:srgbClr val="17264B"/>
              </a:solidFill>
              <a:ln w="6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3" name="Freeform: Shape 112">
                <a:extLst>
                  <a:ext uri="{FF2B5EF4-FFF2-40B4-BE49-F238E27FC236}">
                    <a16:creationId xmlns:a16="http://schemas.microsoft.com/office/drawing/2014/main" id="{35AAE6D3-CF17-4F16-8B3D-EC5A3DE7D1C4}"/>
                  </a:ext>
                </a:extLst>
              </p:cNvPr>
              <p:cNvSpPr/>
              <p:nvPr/>
            </p:nvSpPr>
            <p:spPr>
              <a:xfrm>
                <a:off x="4697554" y="4204525"/>
                <a:ext cx="312163" cy="175592"/>
              </a:xfrm>
              <a:custGeom>
                <a:avLst/>
                <a:gdLst>
                  <a:gd name="connsiteX0" fmla="*/ 0 w 312163"/>
                  <a:gd name="connsiteY0" fmla="*/ 0 h 175591"/>
                  <a:gd name="connsiteX1" fmla="*/ 162260 w 312163"/>
                  <a:gd name="connsiteY1" fmla="*/ 18209 h 175591"/>
                  <a:gd name="connsiteX2" fmla="*/ 249991 w 312163"/>
                  <a:gd name="connsiteY2" fmla="*/ 74919 h 175591"/>
                  <a:gd name="connsiteX3" fmla="*/ 312813 w 312163"/>
                  <a:gd name="connsiteY3" fmla="*/ 169869 h 175591"/>
                  <a:gd name="connsiteX4" fmla="*/ 303644 w 312163"/>
                  <a:gd name="connsiteY4" fmla="*/ 180599 h 175591"/>
                  <a:gd name="connsiteX5" fmla="*/ 178388 w 312163"/>
                  <a:gd name="connsiteY5" fmla="*/ 123760 h 175591"/>
                  <a:gd name="connsiteX6" fmla="*/ 138913 w 312163"/>
                  <a:gd name="connsiteY6" fmla="*/ 128702 h 175591"/>
                  <a:gd name="connsiteX7" fmla="*/ 49816 w 312163"/>
                  <a:gd name="connsiteY7" fmla="*/ 145416 h 175591"/>
                  <a:gd name="connsiteX8" fmla="*/ 0 w 312163"/>
                  <a:gd name="connsiteY8" fmla="*/ 113159 h 175591"/>
                  <a:gd name="connsiteX9" fmla="*/ 0 w 312163"/>
                  <a:gd name="connsiteY9" fmla="*/ 0 h 1755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12163" h="175591">
                    <a:moveTo>
                      <a:pt x="0" y="0"/>
                    </a:moveTo>
                    <a:lnTo>
                      <a:pt x="162260" y="18209"/>
                    </a:lnTo>
                    <a:cubicBezTo>
                      <a:pt x="198158" y="24062"/>
                      <a:pt x="229960" y="44613"/>
                      <a:pt x="249991" y="74919"/>
                    </a:cubicBezTo>
                    <a:lnTo>
                      <a:pt x="312813" y="169869"/>
                    </a:lnTo>
                    <a:cubicBezTo>
                      <a:pt x="316846" y="175982"/>
                      <a:pt x="310342" y="183656"/>
                      <a:pt x="303644" y="180599"/>
                    </a:cubicBezTo>
                    <a:lnTo>
                      <a:pt x="178388" y="123760"/>
                    </a:lnTo>
                    <a:cubicBezTo>
                      <a:pt x="165382" y="117842"/>
                      <a:pt x="150098" y="119728"/>
                      <a:pt x="138913" y="128702"/>
                    </a:cubicBezTo>
                    <a:cubicBezTo>
                      <a:pt x="113809" y="148733"/>
                      <a:pt x="80447" y="154976"/>
                      <a:pt x="49816" y="145416"/>
                    </a:cubicBezTo>
                    <a:lnTo>
                      <a:pt x="0" y="11315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FB3B3"/>
              </a:solidFill>
              <a:ln w="6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36" name="Graphic 34">
              <a:extLst>
                <a:ext uri="{FF2B5EF4-FFF2-40B4-BE49-F238E27FC236}">
                  <a16:creationId xmlns:a16="http://schemas.microsoft.com/office/drawing/2014/main" id="{05B6CF62-E6FF-4F5D-8787-422343472B08}"/>
                </a:ext>
              </a:extLst>
            </p:cNvPr>
            <p:cNvGrpSpPr/>
            <p:nvPr/>
          </p:nvGrpSpPr>
          <p:grpSpPr>
            <a:xfrm>
              <a:off x="357317" y="3119239"/>
              <a:ext cx="3869407" cy="3205163"/>
              <a:chOff x="2333682" y="2602968"/>
              <a:chExt cx="5384856" cy="4460462"/>
            </a:xfrm>
          </p:grpSpPr>
          <p:grpSp>
            <p:nvGrpSpPr>
              <p:cNvPr id="37" name="Graphic 34">
                <a:extLst>
                  <a:ext uri="{FF2B5EF4-FFF2-40B4-BE49-F238E27FC236}">
                    <a16:creationId xmlns:a16="http://schemas.microsoft.com/office/drawing/2014/main" id="{05B6CF62-E6FF-4F5D-8787-422343472B08}"/>
                  </a:ext>
                </a:extLst>
              </p:cNvPr>
              <p:cNvGrpSpPr/>
              <p:nvPr/>
            </p:nvGrpSpPr>
            <p:grpSpPr>
              <a:xfrm>
                <a:off x="2333682" y="2602968"/>
                <a:ext cx="5384856" cy="4460462"/>
                <a:chOff x="2333682" y="2602968"/>
                <a:chExt cx="5384856" cy="4460462"/>
              </a:xfrm>
              <a:solidFill>
                <a:schemeClr val="accent1"/>
              </a:solidFill>
            </p:grpSpPr>
            <p:sp>
              <p:nvSpPr>
                <p:cNvPr id="38" name="Freeform: Shape 37">
                  <a:extLst>
                    <a:ext uri="{FF2B5EF4-FFF2-40B4-BE49-F238E27FC236}">
                      <a16:creationId xmlns:a16="http://schemas.microsoft.com/office/drawing/2014/main" id="{58069DF9-BC07-41DC-A832-5AF60492C430}"/>
                    </a:ext>
                  </a:extLst>
                </p:cNvPr>
                <p:cNvSpPr/>
                <p:nvPr/>
              </p:nvSpPr>
              <p:spPr>
                <a:xfrm>
                  <a:off x="2816597" y="3019236"/>
                  <a:ext cx="4619625" cy="4038600"/>
                </a:xfrm>
                <a:custGeom>
                  <a:avLst/>
                  <a:gdLst>
                    <a:gd name="connsiteX0" fmla="*/ 4614904 w 4619625"/>
                    <a:gd name="connsiteY0" fmla="*/ 1430439 h 4038600"/>
                    <a:gd name="connsiteX1" fmla="*/ 3897004 w 4619625"/>
                    <a:gd name="connsiteY1" fmla="*/ 352019 h 4038600"/>
                    <a:gd name="connsiteX2" fmla="*/ 2675899 w 4619625"/>
                    <a:gd name="connsiteY2" fmla="*/ 1403 h 4038600"/>
                    <a:gd name="connsiteX3" fmla="*/ 2086206 w 4619625"/>
                    <a:gd name="connsiteY3" fmla="*/ 136563 h 4038600"/>
                    <a:gd name="connsiteX4" fmla="*/ 1534614 w 4619625"/>
                    <a:gd name="connsiteY4" fmla="*/ 550710 h 4038600"/>
                    <a:gd name="connsiteX5" fmla="*/ 1110370 w 4619625"/>
                    <a:gd name="connsiteY5" fmla="*/ 1051535 h 4038600"/>
                    <a:gd name="connsiteX6" fmla="*/ 1007500 w 4619625"/>
                    <a:gd name="connsiteY6" fmla="*/ 1156214 h 4038600"/>
                    <a:gd name="connsiteX7" fmla="*/ 978830 w 4619625"/>
                    <a:gd name="connsiteY7" fmla="*/ 1183551 h 4038600"/>
                    <a:gd name="connsiteX8" fmla="*/ 969495 w 4619625"/>
                    <a:gd name="connsiteY8" fmla="*/ 1192409 h 4038600"/>
                    <a:gd name="connsiteX9" fmla="*/ 959970 w 4619625"/>
                    <a:gd name="connsiteY9" fmla="*/ 1201077 h 4038600"/>
                    <a:gd name="connsiteX10" fmla="*/ 920537 w 4619625"/>
                    <a:gd name="connsiteY10" fmla="*/ 1236701 h 4038600"/>
                    <a:gd name="connsiteX11" fmla="*/ 690317 w 4619625"/>
                    <a:gd name="connsiteY11" fmla="*/ 1438916 h 4038600"/>
                    <a:gd name="connsiteX12" fmla="*/ 249215 w 4619625"/>
                    <a:gd name="connsiteY12" fmla="*/ 1901165 h 4038600"/>
                    <a:gd name="connsiteX13" fmla="*/ 3660 w 4619625"/>
                    <a:gd name="connsiteY13" fmla="*/ 2546579 h 4038600"/>
                    <a:gd name="connsiteX14" fmla="*/ 158822 w 4619625"/>
                    <a:gd name="connsiteY14" fmla="*/ 3286671 h 4038600"/>
                    <a:gd name="connsiteX15" fmla="*/ 650598 w 4619625"/>
                    <a:gd name="connsiteY15" fmla="*/ 3769398 h 4038600"/>
                    <a:gd name="connsiteX16" fmla="*/ 978830 w 4619625"/>
                    <a:gd name="connsiteY16" fmla="*/ 3882460 h 4038600"/>
                    <a:gd name="connsiteX17" fmla="*/ 1128182 w 4619625"/>
                    <a:gd name="connsiteY17" fmla="*/ 3939705 h 4038600"/>
                    <a:gd name="connsiteX18" fmla="*/ 1824745 w 4619625"/>
                    <a:gd name="connsiteY18" fmla="*/ 4045338 h 4038600"/>
                    <a:gd name="connsiteX19" fmla="*/ 3204346 w 4619625"/>
                    <a:gd name="connsiteY19" fmla="*/ 3715582 h 4038600"/>
                    <a:gd name="connsiteX20" fmla="*/ 3771179 w 4619625"/>
                    <a:gd name="connsiteY20" fmla="*/ 3276479 h 4038600"/>
                    <a:gd name="connsiteX21" fmla="*/ 4199423 w 4619625"/>
                    <a:gd name="connsiteY21" fmla="*/ 2759463 h 4038600"/>
                    <a:gd name="connsiteX22" fmla="*/ 4614904 w 4619625"/>
                    <a:gd name="connsiteY22" fmla="*/ 1430439 h 40386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4619625" h="4038600">
                      <a:moveTo>
                        <a:pt x="4614904" y="1430439"/>
                      </a:moveTo>
                      <a:cubicBezTo>
                        <a:pt x="4561278" y="979240"/>
                        <a:pt x="4271241" y="597192"/>
                        <a:pt x="3897004" y="352019"/>
                      </a:cubicBezTo>
                      <a:cubicBezTo>
                        <a:pt x="3534197" y="114275"/>
                        <a:pt x="3111573" y="-15075"/>
                        <a:pt x="2675899" y="1403"/>
                      </a:cubicBezTo>
                      <a:cubicBezTo>
                        <a:pt x="2475017" y="9023"/>
                        <a:pt x="2269372" y="53315"/>
                        <a:pt x="2086206" y="136563"/>
                      </a:cubicBezTo>
                      <a:cubicBezTo>
                        <a:pt x="1871703" y="234004"/>
                        <a:pt x="1693300" y="378117"/>
                        <a:pt x="1534614" y="550710"/>
                      </a:cubicBezTo>
                      <a:cubicBezTo>
                        <a:pt x="1386404" y="711873"/>
                        <a:pt x="1259341" y="891038"/>
                        <a:pt x="1110370" y="1051535"/>
                      </a:cubicBezTo>
                      <a:cubicBezTo>
                        <a:pt x="1077032" y="1087349"/>
                        <a:pt x="1042647" y="1122210"/>
                        <a:pt x="1007500" y="1156214"/>
                      </a:cubicBezTo>
                      <a:cubicBezTo>
                        <a:pt x="997975" y="1165358"/>
                        <a:pt x="988450" y="1174502"/>
                        <a:pt x="978830" y="1183551"/>
                      </a:cubicBezTo>
                      <a:cubicBezTo>
                        <a:pt x="975401" y="1186790"/>
                        <a:pt x="943492" y="1217270"/>
                        <a:pt x="969495" y="1192409"/>
                      </a:cubicBezTo>
                      <a:cubicBezTo>
                        <a:pt x="995594" y="1167454"/>
                        <a:pt x="963399" y="1197839"/>
                        <a:pt x="959970" y="1201077"/>
                      </a:cubicBezTo>
                      <a:cubicBezTo>
                        <a:pt x="946826" y="1212983"/>
                        <a:pt x="933681" y="1224890"/>
                        <a:pt x="920537" y="1236701"/>
                      </a:cubicBezTo>
                      <a:cubicBezTo>
                        <a:pt x="844432" y="1304804"/>
                        <a:pt x="766708" y="1371098"/>
                        <a:pt x="690317" y="1438916"/>
                      </a:cubicBezTo>
                      <a:cubicBezTo>
                        <a:pt x="531250" y="1579982"/>
                        <a:pt x="371230" y="1725905"/>
                        <a:pt x="249215" y="1901165"/>
                      </a:cubicBezTo>
                      <a:cubicBezTo>
                        <a:pt x="115769" y="2092808"/>
                        <a:pt x="19662" y="2311311"/>
                        <a:pt x="3660" y="2546579"/>
                      </a:cubicBezTo>
                      <a:cubicBezTo>
                        <a:pt x="-14152" y="2807659"/>
                        <a:pt x="32330" y="3056166"/>
                        <a:pt x="158822" y="3286671"/>
                      </a:cubicBezTo>
                      <a:cubicBezTo>
                        <a:pt x="271884" y="3492792"/>
                        <a:pt x="446573" y="3654527"/>
                        <a:pt x="650598" y="3769398"/>
                      </a:cubicBezTo>
                      <a:cubicBezTo>
                        <a:pt x="752801" y="3826929"/>
                        <a:pt x="863006" y="3863886"/>
                        <a:pt x="978830" y="3882460"/>
                      </a:cubicBezTo>
                      <a:cubicBezTo>
                        <a:pt x="1027217" y="3904653"/>
                        <a:pt x="1076175" y="3924751"/>
                        <a:pt x="1128182" y="3939705"/>
                      </a:cubicBezTo>
                      <a:cubicBezTo>
                        <a:pt x="1352019" y="4004094"/>
                        <a:pt x="1591954" y="4040956"/>
                        <a:pt x="1824745" y="4045338"/>
                      </a:cubicBezTo>
                      <a:cubicBezTo>
                        <a:pt x="2302519" y="4054291"/>
                        <a:pt x="2784389" y="3942944"/>
                        <a:pt x="3204346" y="3715582"/>
                      </a:cubicBezTo>
                      <a:cubicBezTo>
                        <a:pt x="3416849" y="3600520"/>
                        <a:pt x="3601634" y="3447548"/>
                        <a:pt x="3771179" y="3276479"/>
                      </a:cubicBezTo>
                      <a:cubicBezTo>
                        <a:pt x="3928532" y="3117698"/>
                        <a:pt x="4073693" y="2944247"/>
                        <a:pt x="4199423" y="2759463"/>
                      </a:cubicBezTo>
                      <a:cubicBezTo>
                        <a:pt x="4461837" y="2373510"/>
                        <a:pt x="4671768" y="1908213"/>
                        <a:pt x="4614904" y="1430439"/>
                      </a:cubicBezTo>
                      <a:close/>
                    </a:path>
                  </a:pathLst>
                </a:custGeom>
                <a:solidFill>
                  <a:srgbClr val="E6E6E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grpSp>
              <p:nvGrpSpPr>
                <p:cNvPr id="39" name="Graphic 34">
                  <a:extLst>
                    <a:ext uri="{FF2B5EF4-FFF2-40B4-BE49-F238E27FC236}">
                      <a16:creationId xmlns:a16="http://schemas.microsoft.com/office/drawing/2014/main" id="{05B6CF62-E6FF-4F5D-8787-422343472B08}"/>
                    </a:ext>
                  </a:extLst>
                </p:cNvPr>
                <p:cNvGrpSpPr/>
                <p:nvPr/>
              </p:nvGrpSpPr>
              <p:grpSpPr>
                <a:xfrm>
                  <a:off x="2363006" y="2602968"/>
                  <a:ext cx="5132693" cy="4460462"/>
                  <a:chOff x="2363006" y="2602968"/>
                  <a:chExt cx="5132693" cy="4460462"/>
                </a:xfrm>
                <a:solidFill>
                  <a:schemeClr val="accent1"/>
                </a:solidFill>
              </p:grpSpPr>
              <p:sp>
                <p:nvSpPr>
                  <p:cNvPr id="40" name="Freeform: Shape 39">
                    <a:extLst>
                      <a:ext uri="{FF2B5EF4-FFF2-40B4-BE49-F238E27FC236}">
                        <a16:creationId xmlns:a16="http://schemas.microsoft.com/office/drawing/2014/main" id="{80807B18-660C-44E8-B5F6-1D85215A5D17}"/>
                      </a:ext>
                    </a:extLst>
                  </p:cNvPr>
                  <p:cNvSpPr/>
                  <p:nvPr/>
                </p:nvSpPr>
                <p:spPr>
                  <a:xfrm>
                    <a:off x="3895249" y="4074581"/>
                    <a:ext cx="1409700" cy="1733550"/>
                  </a:xfrm>
                  <a:custGeom>
                    <a:avLst/>
                    <a:gdLst>
                      <a:gd name="connsiteX0" fmla="*/ 202311 w 1409700"/>
                      <a:gd name="connsiteY0" fmla="*/ 712661 h 1733550"/>
                      <a:gd name="connsiteX1" fmla="*/ 720566 w 1409700"/>
                      <a:gd name="connsiteY1" fmla="*/ 1741456 h 1733550"/>
                      <a:gd name="connsiteX2" fmla="*/ 1410367 w 1409700"/>
                      <a:gd name="connsiteY2" fmla="*/ 66008 h 1733550"/>
                      <a:gd name="connsiteX3" fmla="*/ 896493 w 1409700"/>
                      <a:gd name="connsiteY3" fmla="*/ 0 h 1733550"/>
                      <a:gd name="connsiteX4" fmla="*/ 415100 w 1409700"/>
                      <a:gd name="connsiteY4" fmla="*/ 1569815 h 1733550"/>
                      <a:gd name="connsiteX5" fmla="*/ 0 w 1409700"/>
                      <a:gd name="connsiteY5" fmla="*/ 746570 h 17335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409700" h="1733550">
                        <a:moveTo>
                          <a:pt x="202311" y="712661"/>
                        </a:moveTo>
                        <a:lnTo>
                          <a:pt x="720566" y="1741456"/>
                        </a:lnTo>
                        <a:lnTo>
                          <a:pt x="1410367" y="66008"/>
                        </a:lnTo>
                        <a:lnTo>
                          <a:pt x="896493" y="0"/>
                        </a:lnTo>
                        <a:lnTo>
                          <a:pt x="415100" y="1569815"/>
                        </a:lnTo>
                        <a:lnTo>
                          <a:pt x="0" y="74657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grpSp>
                <p:nvGrpSpPr>
                  <p:cNvPr id="41" name="Graphic 34">
                    <a:extLst>
                      <a:ext uri="{FF2B5EF4-FFF2-40B4-BE49-F238E27FC236}">
                        <a16:creationId xmlns:a16="http://schemas.microsoft.com/office/drawing/2014/main" id="{05B6CF62-E6FF-4F5D-8787-422343472B08}"/>
                      </a:ext>
                    </a:extLst>
                  </p:cNvPr>
                  <p:cNvGrpSpPr/>
                  <p:nvPr/>
                </p:nvGrpSpPr>
                <p:grpSpPr>
                  <a:xfrm>
                    <a:off x="2363006" y="4863155"/>
                    <a:ext cx="2952750" cy="2200275"/>
                    <a:chOff x="2363006" y="4863155"/>
                    <a:chExt cx="2952750" cy="2200275"/>
                  </a:xfrm>
                  <a:solidFill>
                    <a:schemeClr val="accent1"/>
                  </a:solidFill>
                </p:grpSpPr>
                <p:sp>
                  <p:nvSpPr>
                    <p:cNvPr id="42" name="Freeform: Shape 41">
                      <a:extLst>
                        <a:ext uri="{FF2B5EF4-FFF2-40B4-BE49-F238E27FC236}">
                          <a16:creationId xmlns:a16="http://schemas.microsoft.com/office/drawing/2014/main" id="{BABFC82E-D079-4653-8831-A61FF3951A8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853815" y="5393983"/>
                      <a:ext cx="266700" cy="266700"/>
                    </a:xfrm>
                    <a:custGeom>
                      <a:avLst/>
                      <a:gdLst>
                        <a:gd name="connsiteX0" fmla="*/ 85439 w 266700"/>
                        <a:gd name="connsiteY0" fmla="*/ 0 h 266700"/>
                        <a:gd name="connsiteX1" fmla="*/ 192214 w 266700"/>
                        <a:gd name="connsiteY1" fmla="*/ 0 h 266700"/>
                        <a:gd name="connsiteX2" fmla="*/ 271653 w 266700"/>
                        <a:gd name="connsiteY2" fmla="*/ 271844 h 266700"/>
                        <a:gd name="connsiteX3" fmla="*/ 0 w 266700"/>
                        <a:gd name="connsiteY3" fmla="*/ 271844 h 266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266700" h="266700">
                          <a:moveTo>
                            <a:pt x="85439" y="0"/>
                          </a:moveTo>
                          <a:lnTo>
                            <a:pt x="192214" y="0"/>
                          </a:lnTo>
                          <a:lnTo>
                            <a:pt x="271653" y="271844"/>
                          </a:lnTo>
                          <a:lnTo>
                            <a:pt x="0" y="271844"/>
                          </a:lnTo>
                          <a:close/>
                        </a:path>
                      </a:pathLst>
                    </a:custGeom>
                    <a:solidFill>
                      <a:srgbClr val="F7CEBB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3" name="Freeform: Shape 42">
                      <a:extLst>
                        <a:ext uri="{FF2B5EF4-FFF2-40B4-BE49-F238E27FC236}">
                          <a16:creationId xmlns:a16="http://schemas.microsoft.com/office/drawing/2014/main" id="{3FD070D5-42C5-4A4D-99F0-AE23EB1B4DD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121973" y="4871117"/>
                      <a:ext cx="190500" cy="238125"/>
                    </a:xfrm>
                    <a:custGeom>
                      <a:avLst/>
                      <a:gdLst>
                        <a:gd name="connsiteX0" fmla="*/ 103156 w 190500"/>
                        <a:gd name="connsiteY0" fmla="*/ 242641 h 238125"/>
                        <a:gd name="connsiteX1" fmla="*/ 163640 w 190500"/>
                        <a:gd name="connsiteY1" fmla="*/ 181396 h 238125"/>
                        <a:gd name="connsiteX2" fmla="*/ 194786 w 190500"/>
                        <a:gd name="connsiteY2" fmla="*/ 100338 h 238125"/>
                        <a:gd name="connsiteX3" fmla="*/ 190500 w 190500"/>
                        <a:gd name="connsiteY3" fmla="*/ 5850 h 238125"/>
                        <a:gd name="connsiteX4" fmla="*/ 179070 w 190500"/>
                        <a:gd name="connsiteY4" fmla="*/ 3088 h 238125"/>
                        <a:gd name="connsiteX5" fmla="*/ 122777 w 190500"/>
                        <a:gd name="connsiteY5" fmla="*/ 102529 h 238125"/>
                        <a:gd name="connsiteX6" fmla="*/ 93821 w 190500"/>
                        <a:gd name="connsiteY6" fmla="*/ 118531 h 238125"/>
                        <a:gd name="connsiteX7" fmla="*/ 25813 w 190500"/>
                        <a:gd name="connsiteY7" fmla="*/ 150916 h 238125"/>
                        <a:gd name="connsiteX8" fmla="*/ 0 w 190500"/>
                        <a:gd name="connsiteY8" fmla="*/ 185682 h 238125"/>
                        <a:gd name="connsiteX9" fmla="*/ 103156 w 190500"/>
                        <a:gd name="connsiteY9" fmla="*/ 242641 h 23812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</a:cxnLst>
                      <a:rect l="l" t="t" r="r" b="b"/>
                      <a:pathLst>
                        <a:path w="190500" h="238125">
                          <a:moveTo>
                            <a:pt x="103156" y="242641"/>
                          </a:moveTo>
                          <a:lnTo>
                            <a:pt x="163640" y="181396"/>
                          </a:lnTo>
                          <a:cubicBezTo>
                            <a:pt x="184880" y="159869"/>
                            <a:pt x="196120" y="130532"/>
                            <a:pt x="194786" y="100338"/>
                          </a:cubicBezTo>
                          <a:lnTo>
                            <a:pt x="190500" y="5850"/>
                          </a:lnTo>
                          <a:cubicBezTo>
                            <a:pt x="190214" y="-246"/>
                            <a:pt x="182118" y="-2246"/>
                            <a:pt x="179070" y="3088"/>
                          </a:cubicBezTo>
                          <a:lnTo>
                            <a:pt x="122777" y="102529"/>
                          </a:lnTo>
                          <a:cubicBezTo>
                            <a:pt x="116872" y="112911"/>
                            <a:pt x="105728" y="119102"/>
                            <a:pt x="93821" y="118531"/>
                          </a:cubicBezTo>
                          <a:cubicBezTo>
                            <a:pt x="67151" y="117388"/>
                            <a:pt x="41720" y="129484"/>
                            <a:pt x="25813" y="150916"/>
                          </a:cubicBezTo>
                          <a:lnTo>
                            <a:pt x="0" y="185682"/>
                          </a:lnTo>
                          <a:lnTo>
                            <a:pt x="103156" y="242641"/>
                          </a:lnTo>
                          <a:close/>
                        </a:path>
                      </a:pathLst>
                    </a:custGeom>
                    <a:solidFill>
                      <a:srgbClr val="FFBFCF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4" name="Freeform: Shape 43">
                      <a:extLst>
                        <a:ext uri="{FF2B5EF4-FFF2-40B4-BE49-F238E27FC236}">
                          <a16:creationId xmlns:a16="http://schemas.microsoft.com/office/drawing/2014/main" id="{78F0023C-8982-4B9F-B965-CB086E2F5F5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363006" y="5726692"/>
                      <a:ext cx="228600" cy="190500"/>
                    </a:xfrm>
                    <a:custGeom>
                      <a:avLst/>
                      <a:gdLst>
                        <a:gd name="connsiteX0" fmla="*/ 237890 w 228600"/>
                        <a:gd name="connsiteY0" fmla="*/ 99631 h 190500"/>
                        <a:gd name="connsiteX1" fmla="*/ 179978 w 228600"/>
                        <a:gd name="connsiteY1" fmla="*/ 36004 h 190500"/>
                        <a:gd name="connsiteX2" fmla="*/ 100730 w 228600"/>
                        <a:gd name="connsiteY2" fmla="*/ 667 h 190500"/>
                        <a:gd name="connsiteX3" fmla="*/ 6147 w 228600"/>
                        <a:gd name="connsiteY3" fmla="*/ 0 h 190500"/>
                        <a:gd name="connsiteX4" fmla="*/ 2813 w 228600"/>
                        <a:gd name="connsiteY4" fmla="*/ 11239 h 190500"/>
                        <a:gd name="connsiteX5" fmla="*/ 99206 w 228600"/>
                        <a:gd name="connsiteY5" fmla="*/ 72676 h 190500"/>
                        <a:gd name="connsiteX6" fmla="*/ 113684 w 228600"/>
                        <a:gd name="connsiteY6" fmla="*/ 102394 h 190500"/>
                        <a:gd name="connsiteX7" fmla="*/ 142450 w 228600"/>
                        <a:gd name="connsiteY7" fmla="*/ 172021 h 190500"/>
                        <a:gd name="connsiteX8" fmla="*/ 175882 w 228600"/>
                        <a:gd name="connsiteY8" fmla="*/ 199644 h 190500"/>
                        <a:gd name="connsiteX9" fmla="*/ 237890 w 228600"/>
                        <a:gd name="connsiteY9" fmla="*/ 99631 h 190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</a:cxnLst>
                      <a:rect l="l" t="t" r="r" b="b"/>
                      <a:pathLst>
                        <a:path w="228600" h="190500">
                          <a:moveTo>
                            <a:pt x="237890" y="99631"/>
                          </a:moveTo>
                          <a:lnTo>
                            <a:pt x="179978" y="36004"/>
                          </a:lnTo>
                          <a:cubicBezTo>
                            <a:pt x="159690" y="13716"/>
                            <a:pt x="130924" y="857"/>
                            <a:pt x="100730" y="667"/>
                          </a:cubicBezTo>
                          <a:lnTo>
                            <a:pt x="6147" y="0"/>
                          </a:lnTo>
                          <a:cubicBezTo>
                            <a:pt x="51" y="0"/>
                            <a:pt x="-2330" y="7906"/>
                            <a:pt x="2813" y="11239"/>
                          </a:cubicBezTo>
                          <a:lnTo>
                            <a:pt x="99206" y="72676"/>
                          </a:lnTo>
                          <a:cubicBezTo>
                            <a:pt x="109207" y="79057"/>
                            <a:pt x="114827" y="90583"/>
                            <a:pt x="113684" y="102394"/>
                          </a:cubicBezTo>
                          <a:cubicBezTo>
                            <a:pt x="111112" y="128968"/>
                            <a:pt x="121876" y="155067"/>
                            <a:pt x="142450" y="172021"/>
                          </a:cubicBezTo>
                          <a:lnTo>
                            <a:pt x="175882" y="199644"/>
                          </a:lnTo>
                          <a:lnTo>
                            <a:pt x="237890" y="99631"/>
                          </a:lnTo>
                          <a:close/>
                        </a:path>
                      </a:pathLst>
                    </a:custGeom>
                    <a:solidFill>
                      <a:srgbClr val="F7CEBB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5" name="Freeform: Shape 44">
                      <a:extLst>
                        <a:ext uri="{FF2B5EF4-FFF2-40B4-BE49-F238E27FC236}">
                          <a16:creationId xmlns:a16="http://schemas.microsoft.com/office/drawing/2014/main" id="{DEBD00DE-D379-488C-8B58-A949D867F61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538794" y="5694688"/>
                      <a:ext cx="1238250" cy="647700"/>
                    </a:xfrm>
                    <a:custGeom>
                      <a:avLst/>
                      <a:gdLst>
                        <a:gd name="connsiteX0" fmla="*/ 630174 w 1238250"/>
                        <a:gd name="connsiteY0" fmla="*/ 639223 h 647700"/>
                        <a:gd name="connsiteX1" fmla="*/ 1238441 w 1238250"/>
                        <a:gd name="connsiteY1" fmla="*/ 285750 h 647700"/>
                        <a:gd name="connsiteX2" fmla="*/ 1094041 w 1238250"/>
                        <a:gd name="connsiteY2" fmla="*/ 0 h 647700"/>
                        <a:gd name="connsiteX3" fmla="*/ 529781 w 1238250"/>
                        <a:gd name="connsiteY3" fmla="*/ 371856 h 647700"/>
                        <a:gd name="connsiteX4" fmla="*/ 62103 w 1238250"/>
                        <a:gd name="connsiteY4" fmla="*/ 131540 h 647700"/>
                        <a:gd name="connsiteX5" fmla="*/ 0 w 1238250"/>
                        <a:gd name="connsiteY5" fmla="*/ 231553 h 647700"/>
                        <a:gd name="connsiteX6" fmla="*/ 518350 w 1238250"/>
                        <a:gd name="connsiteY6" fmla="*/ 637413 h 647700"/>
                        <a:gd name="connsiteX7" fmla="*/ 630174 w 1238250"/>
                        <a:gd name="connsiteY7" fmla="*/ 639223 h 647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1238250" h="647700">
                          <a:moveTo>
                            <a:pt x="630174" y="639223"/>
                          </a:moveTo>
                          <a:lnTo>
                            <a:pt x="1238441" y="285750"/>
                          </a:lnTo>
                          <a:lnTo>
                            <a:pt x="1094041" y="0"/>
                          </a:lnTo>
                          <a:lnTo>
                            <a:pt x="529781" y="371856"/>
                          </a:lnTo>
                          <a:lnTo>
                            <a:pt x="62103" y="131540"/>
                          </a:lnTo>
                          <a:lnTo>
                            <a:pt x="0" y="231553"/>
                          </a:lnTo>
                          <a:lnTo>
                            <a:pt x="518350" y="637413"/>
                          </a:lnTo>
                          <a:cubicBezTo>
                            <a:pt x="553879" y="652939"/>
                            <a:pt x="594170" y="653605"/>
                            <a:pt x="630174" y="639223"/>
                          </a:cubicBezTo>
                          <a:close/>
                        </a:path>
                      </a:pathLst>
                    </a:custGeom>
                    <a:solidFill>
                      <a:schemeClr val="tx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46" name="Freeform: Shape 45">
                      <a:extLst>
                        <a:ext uri="{FF2B5EF4-FFF2-40B4-BE49-F238E27FC236}">
                          <a16:creationId xmlns:a16="http://schemas.microsoft.com/office/drawing/2014/main" id="{3F680863-C229-47D5-AA31-728DDA711D7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475912" y="4863155"/>
                      <a:ext cx="1743075" cy="2200275"/>
                    </a:xfrm>
                    <a:custGeom>
                      <a:avLst/>
                      <a:gdLst>
                        <a:gd name="connsiteX0" fmla="*/ 1063322 w 1743075"/>
                        <a:gd name="connsiteY0" fmla="*/ 1058609 h 2200275"/>
                        <a:gd name="connsiteX1" fmla="*/ 1484898 w 1743075"/>
                        <a:gd name="connsiteY1" fmla="*/ 866680 h 2200275"/>
                        <a:gd name="connsiteX2" fmla="*/ 1554431 w 1743075"/>
                        <a:gd name="connsiteY2" fmla="*/ 784479 h 2200275"/>
                        <a:gd name="connsiteX3" fmla="*/ 1749122 w 1743075"/>
                        <a:gd name="connsiteY3" fmla="*/ 56769 h 2200275"/>
                        <a:gd name="connsiteX4" fmla="*/ 1645966 w 1743075"/>
                        <a:gd name="connsiteY4" fmla="*/ 0 h 2200275"/>
                        <a:gd name="connsiteX5" fmla="*/ 1326593 w 1743075"/>
                        <a:gd name="connsiteY5" fmla="*/ 606838 h 2200275"/>
                        <a:gd name="connsiteX6" fmla="*/ 979121 w 1743075"/>
                        <a:gd name="connsiteY6" fmla="*/ 735235 h 2200275"/>
                        <a:gd name="connsiteX7" fmla="*/ 602217 w 1743075"/>
                        <a:gd name="connsiteY7" fmla="*/ 802672 h 2200275"/>
                        <a:gd name="connsiteX8" fmla="*/ 261222 w 1743075"/>
                        <a:gd name="connsiteY8" fmla="*/ 802672 h 2200275"/>
                        <a:gd name="connsiteX9" fmla="*/ 522 w 1743075"/>
                        <a:gd name="connsiteY9" fmla="*/ 1080230 h 2200275"/>
                        <a:gd name="connsiteX10" fmla="*/ 43004 w 1743075"/>
                        <a:gd name="connsiteY10" fmla="*/ 1958721 h 2200275"/>
                        <a:gd name="connsiteX11" fmla="*/ 470772 w 1743075"/>
                        <a:gd name="connsiteY11" fmla="*/ 2103215 h 2200275"/>
                        <a:gd name="connsiteX12" fmla="*/ 1005505 w 1743075"/>
                        <a:gd name="connsiteY12" fmla="*/ 2200466 h 2200275"/>
                        <a:gd name="connsiteX13" fmla="*/ 1063131 w 1743075"/>
                        <a:gd name="connsiteY13" fmla="*/ 1080135 h 2200275"/>
                        <a:gd name="connsiteX14" fmla="*/ 1063322 w 1743075"/>
                        <a:gd name="connsiteY14" fmla="*/ 1058609 h 220027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</a:cxnLst>
                      <a:rect l="l" t="t" r="r" b="b"/>
                      <a:pathLst>
                        <a:path w="1743075" h="2200275">
                          <a:moveTo>
                            <a:pt x="1063322" y="1058609"/>
                          </a:moveTo>
                          <a:lnTo>
                            <a:pt x="1484898" y="866680"/>
                          </a:lnTo>
                          <a:cubicBezTo>
                            <a:pt x="1519189" y="851059"/>
                            <a:pt x="1544715" y="820960"/>
                            <a:pt x="1554431" y="784479"/>
                          </a:cubicBezTo>
                          <a:lnTo>
                            <a:pt x="1749122" y="56769"/>
                          </a:lnTo>
                          <a:lnTo>
                            <a:pt x="1645966" y="0"/>
                          </a:lnTo>
                          <a:lnTo>
                            <a:pt x="1326593" y="606838"/>
                          </a:lnTo>
                          <a:lnTo>
                            <a:pt x="979121" y="735235"/>
                          </a:lnTo>
                          <a:cubicBezTo>
                            <a:pt x="858439" y="779812"/>
                            <a:pt x="730899" y="802672"/>
                            <a:pt x="602217" y="802672"/>
                          </a:cubicBezTo>
                          <a:lnTo>
                            <a:pt x="261222" y="802672"/>
                          </a:lnTo>
                          <a:cubicBezTo>
                            <a:pt x="110536" y="802672"/>
                            <a:pt x="-8907" y="929831"/>
                            <a:pt x="522" y="1080230"/>
                          </a:cubicBezTo>
                          <a:lnTo>
                            <a:pt x="43004" y="1958721"/>
                          </a:lnTo>
                          <a:cubicBezTo>
                            <a:pt x="130920" y="2001584"/>
                            <a:pt x="418765" y="2088261"/>
                            <a:pt x="470772" y="2103215"/>
                          </a:cubicBezTo>
                          <a:cubicBezTo>
                            <a:pt x="643079" y="2152745"/>
                            <a:pt x="824816" y="2185797"/>
                            <a:pt x="1005505" y="2200466"/>
                          </a:cubicBezTo>
                          <a:lnTo>
                            <a:pt x="1063131" y="1080135"/>
                          </a:lnTo>
                          <a:cubicBezTo>
                            <a:pt x="1063608" y="1072896"/>
                            <a:pt x="1063512" y="1065752"/>
                            <a:pt x="1063322" y="1058609"/>
                          </a:cubicBezTo>
                          <a:close/>
                        </a:path>
                      </a:pathLst>
                    </a:custGeom>
                    <a:solidFill>
                      <a:schemeClr val="tx2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47" name="Freeform: Shape 46">
                    <a:extLst>
                      <a:ext uri="{FF2B5EF4-FFF2-40B4-BE49-F238E27FC236}">
                        <a16:creationId xmlns:a16="http://schemas.microsoft.com/office/drawing/2014/main" id="{A73C2618-7A15-4FE8-9882-E296DDDFD75F}"/>
                      </a:ext>
                    </a:extLst>
                  </p:cNvPr>
                  <p:cNvSpPr/>
                  <p:nvPr/>
                </p:nvSpPr>
                <p:spPr>
                  <a:xfrm>
                    <a:off x="4786503" y="3782925"/>
                    <a:ext cx="1724025" cy="3257550"/>
                  </a:xfrm>
                  <a:custGeom>
                    <a:avLst/>
                    <a:gdLst>
                      <a:gd name="connsiteX0" fmla="*/ 1018127 w 1724025"/>
                      <a:gd name="connsiteY0" fmla="*/ 0 h 3257550"/>
                      <a:gd name="connsiteX1" fmla="*/ 403384 w 1724025"/>
                      <a:gd name="connsiteY1" fmla="*/ 0 h 3257550"/>
                      <a:gd name="connsiteX2" fmla="*/ 0 w 1724025"/>
                      <a:gd name="connsiteY2" fmla="*/ 417481 h 3257550"/>
                      <a:gd name="connsiteX3" fmla="*/ 0 w 1724025"/>
                      <a:gd name="connsiteY3" fmla="*/ 3266599 h 3257550"/>
                      <a:gd name="connsiteX4" fmla="*/ 1236250 w 1724025"/>
                      <a:gd name="connsiteY4" fmla="*/ 2951798 h 3257550"/>
                      <a:gd name="connsiteX5" fmla="*/ 1725454 w 1724025"/>
                      <a:gd name="connsiteY5" fmla="*/ 2588514 h 3257550"/>
                      <a:gd name="connsiteX6" fmla="*/ 1725454 w 1724025"/>
                      <a:gd name="connsiteY6" fmla="*/ 707422 h 3257550"/>
                      <a:gd name="connsiteX7" fmla="*/ 1018127 w 1724025"/>
                      <a:gd name="connsiteY7" fmla="*/ 0 h 32575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724025" h="3257550">
                        <a:moveTo>
                          <a:pt x="1018127" y="0"/>
                        </a:moveTo>
                        <a:lnTo>
                          <a:pt x="403384" y="0"/>
                        </a:lnTo>
                        <a:cubicBezTo>
                          <a:pt x="172784" y="0"/>
                          <a:pt x="0" y="186881"/>
                          <a:pt x="0" y="417481"/>
                        </a:cubicBezTo>
                        <a:lnTo>
                          <a:pt x="0" y="3266599"/>
                        </a:lnTo>
                        <a:cubicBezTo>
                          <a:pt x="434912" y="3255074"/>
                          <a:pt x="854202" y="3158585"/>
                          <a:pt x="1236250" y="2951798"/>
                        </a:cubicBezTo>
                        <a:cubicBezTo>
                          <a:pt x="1416844" y="2854071"/>
                          <a:pt x="1577340" y="2728817"/>
                          <a:pt x="1725454" y="2588514"/>
                        </a:cubicBezTo>
                        <a:lnTo>
                          <a:pt x="1725454" y="707422"/>
                        </a:lnTo>
                        <a:cubicBezTo>
                          <a:pt x="1725549" y="316802"/>
                          <a:pt x="1408843" y="0"/>
                          <a:pt x="1018127" y="0"/>
                        </a:cubicBezTo>
                        <a:close/>
                      </a:path>
                    </a:pathLst>
                  </a:custGeom>
                  <a:solidFill>
                    <a:schemeClr val="accent1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8" name="Freeform: Shape 47">
                    <a:extLst>
                      <a:ext uri="{FF2B5EF4-FFF2-40B4-BE49-F238E27FC236}">
                        <a16:creationId xmlns:a16="http://schemas.microsoft.com/office/drawing/2014/main" id="{69E6CA8F-BBB2-4FFA-A028-E638A9B17C69}"/>
                      </a:ext>
                    </a:extLst>
                  </p:cNvPr>
                  <p:cNvSpPr/>
                  <p:nvPr/>
                </p:nvSpPr>
                <p:spPr>
                  <a:xfrm>
                    <a:off x="4991195" y="6062067"/>
                    <a:ext cx="1514475" cy="981075"/>
                  </a:xfrm>
                  <a:custGeom>
                    <a:avLst/>
                    <a:gdLst>
                      <a:gd name="connsiteX0" fmla="*/ 1495425 w 1514475"/>
                      <a:gd name="connsiteY0" fmla="*/ 333185 h 981075"/>
                      <a:gd name="connsiteX1" fmla="*/ 1519618 w 1514475"/>
                      <a:gd name="connsiteY1" fmla="*/ 0 h 981075"/>
                      <a:gd name="connsiteX2" fmla="*/ 0 w 1514475"/>
                      <a:gd name="connsiteY2" fmla="*/ 0 h 981075"/>
                      <a:gd name="connsiteX3" fmla="*/ 0 w 1514475"/>
                      <a:gd name="connsiteY3" fmla="*/ 987552 h 981075"/>
                      <a:gd name="connsiteX4" fmla="*/ 646747 w 1514475"/>
                      <a:gd name="connsiteY4" fmla="*/ 842677 h 981075"/>
                      <a:gd name="connsiteX5" fmla="*/ 838867 w 1514475"/>
                      <a:gd name="connsiteY5" fmla="*/ 766572 h 981075"/>
                      <a:gd name="connsiteX6" fmla="*/ 1031557 w 1514475"/>
                      <a:gd name="connsiteY6" fmla="*/ 672655 h 981075"/>
                      <a:gd name="connsiteX7" fmla="*/ 1495425 w 1514475"/>
                      <a:gd name="connsiteY7" fmla="*/ 333185 h 9810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514475" h="981075">
                        <a:moveTo>
                          <a:pt x="1495425" y="333185"/>
                        </a:moveTo>
                        <a:lnTo>
                          <a:pt x="1519618" y="0"/>
                        </a:lnTo>
                        <a:lnTo>
                          <a:pt x="0" y="0"/>
                        </a:lnTo>
                        <a:lnTo>
                          <a:pt x="0" y="987552"/>
                        </a:lnTo>
                        <a:cubicBezTo>
                          <a:pt x="220408" y="964692"/>
                          <a:pt x="438055" y="916210"/>
                          <a:pt x="646747" y="842677"/>
                        </a:cubicBezTo>
                        <a:lnTo>
                          <a:pt x="838867" y="766572"/>
                        </a:lnTo>
                        <a:cubicBezTo>
                          <a:pt x="904304" y="737711"/>
                          <a:pt x="968692" y="706660"/>
                          <a:pt x="1031557" y="672655"/>
                        </a:cubicBezTo>
                        <a:cubicBezTo>
                          <a:pt x="1201864" y="580454"/>
                          <a:pt x="1354360" y="463867"/>
                          <a:pt x="1495425" y="333185"/>
                        </a:cubicBezTo>
                        <a:close/>
                      </a:path>
                    </a:pathLst>
                  </a:custGeom>
                  <a:solidFill>
                    <a:srgbClr val="17264B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9" name="Freeform: Shape 48">
                    <a:extLst>
                      <a:ext uri="{FF2B5EF4-FFF2-40B4-BE49-F238E27FC236}">
                        <a16:creationId xmlns:a16="http://schemas.microsoft.com/office/drawing/2014/main" id="{AB41B36F-B306-4F8A-B74E-59F3D51301F5}"/>
                      </a:ext>
                    </a:extLst>
                  </p:cNvPr>
                  <p:cNvSpPr/>
                  <p:nvPr/>
                </p:nvSpPr>
                <p:spPr>
                  <a:xfrm>
                    <a:off x="5374291" y="3004923"/>
                    <a:ext cx="257175" cy="361950"/>
                  </a:xfrm>
                  <a:custGeom>
                    <a:avLst/>
                    <a:gdLst>
                      <a:gd name="connsiteX0" fmla="*/ 111728 w 257175"/>
                      <a:gd name="connsiteY0" fmla="*/ 362141 h 361950"/>
                      <a:gd name="connsiteX1" fmla="*/ 209074 w 257175"/>
                      <a:gd name="connsiteY1" fmla="*/ 325564 h 361950"/>
                      <a:gd name="connsiteX2" fmla="*/ 255746 w 257175"/>
                      <a:gd name="connsiteY2" fmla="*/ 222790 h 361950"/>
                      <a:gd name="connsiteX3" fmla="*/ 172021 w 257175"/>
                      <a:gd name="connsiteY3" fmla="*/ 0 h 361950"/>
                      <a:gd name="connsiteX4" fmla="*/ 0 w 257175"/>
                      <a:gd name="connsiteY4" fmla="*/ 64675 h 361950"/>
                      <a:gd name="connsiteX5" fmla="*/ 111728 w 257175"/>
                      <a:gd name="connsiteY5" fmla="*/ 362141 h 3619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257175" h="361950">
                        <a:moveTo>
                          <a:pt x="111728" y="362141"/>
                        </a:moveTo>
                        <a:lnTo>
                          <a:pt x="209074" y="325564"/>
                        </a:lnTo>
                        <a:cubicBezTo>
                          <a:pt x="250317" y="310039"/>
                          <a:pt x="271177" y="264033"/>
                          <a:pt x="255746" y="222790"/>
                        </a:cubicBezTo>
                        <a:lnTo>
                          <a:pt x="172021" y="0"/>
                        </a:lnTo>
                        <a:lnTo>
                          <a:pt x="0" y="64675"/>
                        </a:lnTo>
                        <a:lnTo>
                          <a:pt x="111728" y="362141"/>
                        </a:lnTo>
                        <a:close/>
                      </a:path>
                    </a:pathLst>
                  </a:custGeom>
                  <a:solidFill>
                    <a:srgbClr val="17264B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0" name="Freeform: Shape 49">
                    <a:extLst>
                      <a:ext uri="{FF2B5EF4-FFF2-40B4-BE49-F238E27FC236}">
                        <a16:creationId xmlns:a16="http://schemas.microsoft.com/office/drawing/2014/main" id="{D17F8AEC-091A-4587-AC2E-28E83C774B9E}"/>
                      </a:ext>
                    </a:extLst>
                  </p:cNvPr>
                  <p:cNvSpPr/>
                  <p:nvPr/>
                </p:nvSpPr>
                <p:spPr>
                  <a:xfrm>
                    <a:off x="4984813" y="2932628"/>
                    <a:ext cx="609600" cy="638175"/>
                  </a:xfrm>
                  <a:custGeom>
                    <a:avLst/>
                    <a:gdLst>
                      <a:gd name="connsiteX0" fmla="*/ 327660 w 609600"/>
                      <a:gd name="connsiteY0" fmla="*/ 634365 h 638175"/>
                      <a:gd name="connsiteX1" fmla="*/ 566738 w 609600"/>
                      <a:gd name="connsiteY1" fmla="*/ 544544 h 638175"/>
                      <a:gd name="connsiteX2" fmla="*/ 613505 w 609600"/>
                      <a:gd name="connsiteY2" fmla="*/ 441579 h 638175"/>
                      <a:gd name="connsiteX3" fmla="*/ 447580 w 609600"/>
                      <a:gd name="connsiteY3" fmla="*/ 0 h 638175"/>
                      <a:gd name="connsiteX4" fmla="*/ 0 w 609600"/>
                      <a:gd name="connsiteY4" fmla="*/ 168116 h 638175"/>
                      <a:gd name="connsiteX5" fmla="*/ 143732 w 609600"/>
                      <a:gd name="connsiteY5" fmla="*/ 550926 h 638175"/>
                      <a:gd name="connsiteX6" fmla="*/ 327660 w 609600"/>
                      <a:gd name="connsiteY6" fmla="*/ 634365 h 6381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609600" h="638175">
                        <a:moveTo>
                          <a:pt x="327660" y="634365"/>
                        </a:moveTo>
                        <a:lnTo>
                          <a:pt x="566738" y="544544"/>
                        </a:lnTo>
                        <a:cubicBezTo>
                          <a:pt x="608076" y="529019"/>
                          <a:pt x="629031" y="482917"/>
                          <a:pt x="613505" y="441579"/>
                        </a:cubicBezTo>
                        <a:lnTo>
                          <a:pt x="447580" y="0"/>
                        </a:lnTo>
                        <a:lnTo>
                          <a:pt x="0" y="168116"/>
                        </a:lnTo>
                        <a:lnTo>
                          <a:pt x="143732" y="550926"/>
                        </a:lnTo>
                        <a:cubicBezTo>
                          <a:pt x="171545" y="624745"/>
                          <a:pt x="253841" y="662083"/>
                          <a:pt x="327660" y="634365"/>
                        </a:cubicBezTo>
                        <a:close/>
                      </a:path>
                    </a:pathLst>
                  </a:custGeom>
                  <a:solidFill>
                    <a:srgbClr val="72575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1" name="Freeform: Shape 50">
                    <a:extLst>
                      <a:ext uri="{FF2B5EF4-FFF2-40B4-BE49-F238E27FC236}">
                        <a16:creationId xmlns:a16="http://schemas.microsoft.com/office/drawing/2014/main" id="{AF93EC8E-C790-4E61-B25A-715F9E8FB30D}"/>
                      </a:ext>
                    </a:extLst>
                  </p:cNvPr>
                  <p:cNvSpPr/>
                  <p:nvPr/>
                </p:nvSpPr>
                <p:spPr>
                  <a:xfrm>
                    <a:off x="5461445" y="3157132"/>
                    <a:ext cx="104775" cy="104775"/>
                  </a:xfrm>
                  <a:custGeom>
                    <a:avLst/>
                    <a:gdLst>
                      <a:gd name="connsiteX0" fmla="*/ 0 w 104775"/>
                      <a:gd name="connsiteY0" fmla="*/ 54674 h 104775"/>
                      <a:gd name="connsiteX1" fmla="*/ 54673 w 104775"/>
                      <a:gd name="connsiteY1" fmla="*/ 109347 h 104775"/>
                      <a:gd name="connsiteX2" fmla="*/ 109347 w 104775"/>
                      <a:gd name="connsiteY2" fmla="*/ 54674 h 104775"/>
                      <a:gd name="connsiteX3" fmla="*/ 54673 w 104775"/>
                      <a:gd name="connsiteY3" fmla="*/ 0 h 104775"/>
                      <a:gd name="connsiteX4" fmla="*/ 0 w 104775"/>
                      <a:gd name="connsiteY4" fmla="*/ 54674 h 1047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04775" h="104775">
                        <a:moveTo>
                          <a:pt x="0" y="54674"/>
                        </a:moveTo>
                        <a:cubicBezTo>
                          <a:pt x="0" y="84868"/>
                          <a:pt x="24479" y="109347"/>
                          <a:pt x="54673" y="109347"/>
                        </a:cubicBezTo>
                        <a:cubicBezTo>
                          <a:pt x="84868" y="109347"/>
                          <a:pt x="109347" y="84868"/>
                          <a:pt x="109347" y="54674"/>
                        </a:cubicBezTo>
                        <a:cubicBezTo>
                          <a:pt x="109347" y="24480"/>
                          <a:pt x="84868" y="0"/>
                          <a:pt x="54673" y="0"/>
                        </a:cubicBezTo>
                        <a:cubicBezTo>
                          <a:pt x="24479" y="-95"/>
                          <a:pt x="0" y="24384"/>
                          <a:pt x="0" y="54674"/>
                        </a:cubicBezTo>
                        <a:close/>
                      </a:path>
                    </a:pathLst>
                  </a:custGeom>
                  <a:solidFill>
                    <a:srgbClr val="72575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2" name="Freeform: Shape 51">
                    <a:extLst>
                      <a:ext uri="{FF2B5EF4-FFF2-40B4-BE49-F238E27FC236}">
                        <a16:creationId xmlns:a16="http://schemas.microsoft.com/office/drawing/2014/main" id="{E11E43F3-8085-48E4-A65F-C56A6C971BA5}"/>
                      </a:ext>
                    </a:extLst>
                  </p:cNvPr>
                  <p:cNvSpPr/>
                  <p:nvPr/>
                </p:nvSpPr>
                <p:spPr>
                  <a:xfrm>
                    <a:off x="5258086" y="2738985"/>
                    <a:ext cx="400050" cy="400050"/>
                  </a:xfrm>
                  <a:custGeom>
                    <a:avLst/>
                    <a:gdLst>
                      <a:gd name="connsiteX0" fmla="*/ 406718 w 400050"/>
                      <a:gd name="connsiteY0" fmla="*/ 203359 h 400050"/>
                      <a:gd name="connsiteX1" fmla="*/ 203359 w 400050"/>
                      <a:gd name="connsiteY1" fmla="*/ 406718 h 400050"/>
                      <a:gd name="connsiteX2" fmla="*/ 0 w 400050"/>
                      <a:gd name="connsiteY2" fmla="*/ 203359 h 400050"/>
                      <a:gd name="connsiteX3" fmla="*/ 203359 w 400050"/>
                      <a:gd name="connsiteY3" fmla="*/ 0 h 400050"/>
                      <a:gd name="connsiteX4" fmla="*/ 406718 w 400050"/>
                      <a:gd name="connsiteY4" fmla="*/ 203359 h 4000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00050" h="400050">
                        <a:moveTo>
                          <a:pt x="406718" y="203359"/>
                        </a:moveTo>
                        <a:cubicBezTo>
                          <a:pt x="406718" y="315671"/>
                          <a:pt x="315671" y="406718"/>
                          <a:pt x="203359" y="406718"/>
                        </a:cubicBezTo>
                        <a:cubicBezTo>
                          <a:pt x="91047" y="406718"/>
                          <a:pt x="0" y="315671"/>
                          <a:pt x="0" y="203359"/>
                        </a:cubicBezTo>
                        <a:cubicBezTo>
                          <a:pt x="0" y="91047"/>
                          <a:pt x="91047" y="0"/>
                          <a:pt x="203359" y="0"/>
                        </a:cubicBezTo>
                        <a:cubicBezTo>
                          <a:pt x="315671" y="0"/>
                          <a:pt x="406718" y="91047"/>
                          <a:pt x="406718" y="203359"/>
                        </a:cubicBezTo>
                        <a:close/>
                      </a:path>
                    </a:pathLst>
                  </a:custGeom>
                  <a:solidFill>
                    <a:srgbClr val="17264B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3" name="Freeform: Shape 52">
                    <a:extLst>
                      <a:ext uri="{FF2B5EF4-FFF2-40B4-BE49-F238E27FC236}">
                        <a16:creationId xmlns:a16="http://schemas.microsoft.com/office/drawing/2014/main" id="{52636E8D-A775-4576-B329-39AA8A19E229}"/>
                      </a:ext>
                    </a:extLst>
                  </p:cNvPr>
                  <p:cNvSpPr/>
                  <p:nvPr/>
                </p:nvSpPr>
                <p:spPr>
                  <a:xfrm>
                    <a:off x="5258086" y="2602968"/>
                    <a:ext cx="400050" cy="400050"/>
                  </a:xfrm>
                  <a:custGeom>
                    <a:avLst/>
                    <a:gdLst>
                      <a:gd name="connsiteX0" fmla="*/ 406718 w 400050"/>
                      <a:gd name="connsiteY0" fmla="*/ 203359 h 400050"/>
                      <a:gd name="connsiteX1" fmla="*/ 203359 w 400050"/>
                      <a:gd name="connsiteY1" fmla="*/ 406718 h 400050"/>
                      <a:gd name="connsiteX2" fmla="*/ 0 w 400050"/>
                      <a:gd name="connsiteY2" fmla="*/ 203359 h 400050"/>
                      <a:gd name="connsiteX3" fmla="*/ 203359 w 400050"/>
                      <a:gd name="connsiteY3" fmla="*/ 0 h 400050"/>
                      <a:gd name="connsiteX4" fmla="*/ 406718 w 400050"/>
                      <a:gd name="connsiteY4" fmla="*/ 203359 h 4000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00050" h="400050">
                        <a:moveTo>
                          <a:pt x="406718" y="203359"/>
                        </a:moveTo>
                        <a:cubicBezTo>
                          <a:pt x="406718" y="315671"/>
                          <a:pt x="315671" y="406718"/>
                          <a:pt x="203359" y="406718"/>
                        </a:cubicBezTo>
                        <a:cubicBezTo>
                          <a:pt x="91047" y="406718"/>
                          <a:pt x="0" y="315671"/>
                          <a:pt x="0" y="203359"/>
                        </a:cubicBezTo>
                        <a:cubicBezTo>
                          <a:pt x="0" y="91047"/>
                          <a:pt x="91047" y="0"/>
                          <a:pt x="203359" y="0"/>
                        </a:cubicBezTo>
                        <a:cubicBezTo>
                          <a:pt x="315671" y="0"/>
                          <a:pt x="406718" y="91047"/>
                          <a:pt x="406718" y="203359"/>
                        </a:cubicBezTo>
                        <a:close/>
                      </a:path>
                    </a:pathLst>
                  </a:custGeom>
                  <a:solidFill>
                    <a:srgbClr val="17264B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4" name="Freeform: Shape 53">
                    <a:extLst>
                      <a:ext uri="{FF2B5EF4-FFF2-40B4-BE49-F238E27FC236}">
                        <a16:creationId xmlns:a16="http://schemas.microsoft.com/office/drawing/2014/main" id="{9B2E8BC4-88CD-4F0F-B2EC-6EB6DBC76824}"/>
                      </a:ext>
                    </a:extLst>
                  </p:cNvPr>
                  <p:cNvSpPr/>
                  <p:nvPr/>
                </p:nvSpPr>
                <p:spPr>
                  <a:xfrm>
                    <a:off x="4941580" y="2853580"/>
                    <a:ext cx="447675" cy="361950"/>
                  </a:xfrm>
                  <a:custGeom>
                    <a:avLst/>
                    <a:gdLst>
                      <a:gd name="connsiteX0" fmla="*/ 209921 w 447675"/>
                      <a:gd name="connsiteY0" fmla="*/ 355654 h 361950"/>
                      <a:gd name="connsiteX1" fmla="*/ 342890 w 447675"/>
                      <a:gd name="connsiteY1" fmla="*/ 311934 h 361950"/>
                      <a:gd name="connsiteX2" fmla="*/ 444903 w 447675"/>
                      <a:gd name="connsiteY2" fmla="*/ 110004 h 361950"/>
                      <a:gd name="connsiteX3" fmla="*/ 242973 w 447675"/>
                      <a:gd name="connsiteY3" fmla="*/ 7992 h 361950"/>
                      <a:gd name="connsiteX4" fmla="*/ 110004 w 447675"/>
                      <a:gd name="connsiteY4" fmla="*/ 51711 h 361950"/>
                      <a:gd name="connsiteX5" fmla="*/ 7992 w 447675"/>
                      <a:gd name="connsiteY5" fmla="*/ 253641 h 361950"/>
                      <a:gd name="connsiteX6" fmla="*/ 209921 w 447675"/>
                      <a:gd name="connsiteY6" fmla="*/ 355654 h 3619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447675" h="361950">
                        <a:moveTo>
                          <a:pt x="209921" y="355654"/>
                        </a:moveTo>
                        <a:lnTo>
                          <a:pt x="342890" y="311934"/>
                        </a:lnTo>
                        <a:cubicBezTo>
                          <a:pt x="426425" y="284502"/>
                          <a:pt x="472430" y="193634"/>
                          <a:pt x="444903" y="110004"/>
                        </a:cubicBezTo>
                        <a:cubicBezTo>
                          <a:pt x="417471" y="26375"/>
                          <a:pt x="326603" y="-19536"/>
                          <a:pt x="242973" y="7992"/>
                        </a:cubicBezTo>
                        <a:lnTo>
                          <a:pt x="110004" y="51711"/>
                        </a:lnTo>
                        <a:cubicBezTo>
                          <a:pt x="26375" y="79143"/>
                          <a:pt x="-19536" y="170012"/>
                          <a:pt x="7992" y="253641"/>
                        </a:cubicBezTo>
                        <a:cubicBezTo>
                          <a:pt x="35519" y="337271"/>
                          <a:pt x="126387" y="383181"/>
                          <a:pt x="209921" y="355654"/>
                        </a:cubicBezTo>
                        <a:close/>
                      </a:path>
                    </a:pathLst>
                  </a:custGeom>
                  <a:solidFill>
                    <a:srgbClr val="17264B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5" name="Freeform: Shape 54">
                    <a:extLst>
                      <a:ext uri="{FF2B5EF4-FFF2-40B4-BE49-F238E27FC236}">
                        <a16:creationId xmlns:a16="http://schemas.microsoft.com/office/drawing/2014/main" id="{0416D3BF-5B45-41F7-B67D-3C4406ECA0E0}"/>
                      </a:ext>
                    </a:extLst>
                  </p:cNvPr>
                  <p:cNvSpPr/>
                  <p:nvPr/>
                </p:nvSpPr>
                <p:spPr>
                  <a:xfrm>
                    <a:off x="5305615" y="3782925"/>
                    <a:ext cx="381000" cy="209550"/>
                  </a:xfrm>
                  <a:custGeom>
                    <a:avLst/>
                    <a:gdLst>
                      <a:gd name="connsiteX0" fmla="*/ 390144 w 381000"/>
                      <a:gd name="connsiteY0" fmla="*/ 0 h 209550"/>
                      <a:gd name="connsiteX1" fmla="*/ 99155 w 381000"/>
                      <a:gd name="connsiteY1" fmla="*/ 213551 h 209550"/>
                      <a:gd name="connsiteX2" fmla="*/ 0 w 381000"/>
                      <a:gd name="connsiteY2" fmla="*/ 0 h 2095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381000" h="209550">
                        <a:moveTo>
                          <a:pt x="390144" y="0"/>
                        </a:moveTo>
                        <a:lnTo>
                          <a:pt x="99155" y="213551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72575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6" name="Freeform: Shape 55">
                    <a:extLst>
                      <a:ext uri="{FF2B5EF4-FFF2-40B4-BE49-F238E27FC236}">
                        <a16:creationId xmlns:a16="http://schemas.microsoft.com/office/drawing/2014/main" id="{A4FCDB37-1506-47E1-BACE-921B14988167}"/>
                      </a:ext>
                    </a:extLst>
                  </p:cNvPr>
                  <p:cNvSpPr/>
                  <p:nvPr/>
                </p:nvSpPr>
                <p:spPr>
                  <a:xfrm>
                    <a:off x="5305615" y="3307754"/>
                    <a:ext cx="381000" cy="476250"/>
                  </a:xfrm>
                  <a:custGeom>
                    <a:avLst/>
                    <a:gdLst>
                      <a:gd name="connsiteX0" fmla="*/ 49721 w 381000"/>
                      <a:gd name="connsiteY0" fmla="*/ 0 h 476250"/>
                      <a:gd name="connsiteX1" fmla="*/ 244793 w 381000"/>
                      <a:gd name="connsiteY1" fmla="*/ 0 h 476250"/>
                      <a:gd name="connsiteX2" fmla="*/ 390144 w 381000"/>
                      <a:gd name="connsiteY2" fmla="*/ 480250 h 476250"/>
                      <a:gd name="connsiteX3" fmla="*/ 0 w 381000"/>
                      <a:gd name="connsiteY3" fmla="*/ 480250 h 4762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381000" h="476250">
                        <a:moveTo>
                          <a:pt x="49721" y="0"/>
                        </a:moveTo>
                        <a:lnTo>
                          <a:pt x="244793" y="0"/>
                        </a:lnTo>
                        <a:lnTo>
                          <a:pt x="390144" y="480250"/>
                        </a:lnTo>
                        <a:lnTo>
                          <a:pt x="0" y="480250"/>
                        </a:lnTo>
                        <a:close/>
                      </a:path>
                    </a:pathLst>
                  </a:custGeom>
                  <a:solidFill>
                    <a:srgbClr val="72575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grpSp>
                <p:nvGrpSpPr>
                  <p:cNvPr id="57" name="Graphic 34">
                    <a:extLst>
                      <a:ext uri="{FF2B5EF4-FFF2-40B4-BE49-F238E27FC236}">
                        <a16:creationId xmlns:a16="http://schemas.microsoft.com/office/drawing/2014/main" id="{05B6CF62-E6FF-4F5D-8787-422343472B08}"/>
                      </a:ext>
                    </a:extLst>
                  </p:cNvPr>
                  <p:cNvGrpSpPr/>
                  <p:nvPr/>
                </p:nvGrpSpPr>
                <p:grpSpPr>
                  <a:xfrm>
                    <a:off x="4772406" y="3783878"/>
                    <a:ext cx="1733550" cy="3276600"/>
                    <a:chOff x="4772406" y="3783878"/>
                    <a:chExt cx="1733550" cy="3276600"/>
                  </a:xfrm>
                  <a:solidFill>
                    <a:srgbClr val="17264B"/>
                  </a:solidFill>
                </p:grpSpPr>
                <p:sp>
                  <p:nvSpPr>
                    <p:cNvPr id="58" name="Freeform: Shape 57">
                      <a:extLst>
                        <a:ext uri="{FF2B5EF4-FFF2-40B4-BE49-F238E27FC236}">
                          <a16:creationId xmlns:a16="http://schemas.microsoft.com/office/drawing/2014/main" id="{1BC71C91-3576-4405-9FE9-105A1DF1D89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772406" y="3833217"/>
                      <a:ext cx="209550" cy="3228975"/>
                    </a:xfrm>
                    <a:custGeom>
                      <a:avLst/>
                      <a:gdLst>
                        <a:gd name="connsiteX0" fmla="*/ 0 w 209550"/>
                        <a:gd name="connsiteY0" fmla="*/ 367189 h 3228975"/>
                        <a:gd name="connsiteX1" fmla="*/ 0 w 209550"/>
                        <a:gd name="connsiteY1" fmla="*/ 3230404 h 3228975"/>
                        <a:gd name="connsiteX2" fmla="*/ 218789 w 209550"/>
                        <a:gd name="connsiteY2" fmla="*/ 3216402 h 3228975"/>
                        <a:gd name="connsiteX3" fmla="*/ 218789 w 209550"/>
                        <a:gd name="connsiteY3" fmla="*/ 0 h 3228975"/>
                        <a:gd name="connsiteX4" fmla="*/ 0 w 209550"/>
                        <a:gd name="connsiteY4" fmla="*/ 367189 h 322897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209550" h="3228975">
                          <a:moveTo>
                            <a:pt x="0" y="367189"/>
                          </a:moveTo>
                          <a:lnTo>
                            <a:pt x="0" y="3230404"/>
                          </a:lnTo>
                          <a:cubicBezTo>
                            <a:pt x="73057" y="3228499"/>
                            <a:pt x="146018" y="3223927"/>
                            <a:pt x="218789" y="3216402"/>
                          </a:cubicBezTo>
                          <a:lnTo>
                            <a:pt x="218789" y="0"/>
                          </a:lnTo>
                          <a:cubicBezTo>
                            <a:pt x="88487" y="70675"/>
                            <a:pt x="0" y="208597"/>
                            <a:pt x="0" y="367189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9" name="Freeform: Shape 58">
                      <a:extLst>
                        <a:ext uri="{FF2B5EF4-FFF2-40B4-BE49-F238E27FC236}">
                          <a16:creationId xmlns:a16="http://schemas.microsoft.com/office/drawing/2014/main" id="{E3084FF6-D427-4692-9595-5C553A55814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822156" y="3783878"/>
                      <a:ext cx="685800" cy="3048000"/>
                    </a:xfrm>
                    <a:custGeom>
                      <a:avLst/>
                      <a:gdLst>
                        <a:gd name="connsiteX0" fmla="*/ 0 w 685800"/>
                        <a:gd name="connsiteY0" fmla="*/ 0 h 3048000"/>
                        <a:gd name="connsiteX1" fmla="*/ 0 w 685800"/>
                        <a:gd name="connsiteY1" fmla="*/ 3048286 h 3048000"/>
                        <a:gd name="connsiteX2" fmla="*/ 200596 w 685800"/>
                        <a:gd name="connsiteY2" fmla="*/ 2950845 h 3048000"/>
                        <a:gd name="connsiteX3" fmla="*/ 689801 w 685800"/>
                        <a:gd name="connsiteY3" fmla="*/ 2587562 h 3048000"/>
                        <a:gd name="connsiteX4" fmla="*/ 689801 w 685800"/>
                        <a:gd name="connsiteY4" fmla="*/ 706469 h 3048000"/>
                        <a:gd name="connsiteX5" fmla="*/ 0 w 685800"/>
                        <a:gd name="connsiteY5" fmla="*/ 0 h 30480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685800" h="3048000">
                          <a:moveTo>
                            <a:pt x="0" y="0"/>
                          </a:moveTo>
                          <a:lnTo>
                            <a:pt x="0" y="3048286"/>
                          </a:lnTo>
                          <a:cubicBezTo>
                            <a:pt x="68199" y="3018568"/>
                            <a:pt x="135160" y="2986278"/>
                            <a:pt x="200596" y="2950845"/>
                          </a:cubicBezTo>
                          <a:cubicBezTo>
                            <a:pt x="381190" y="2853118"/>
                            <a:pt x="541687" y="2727865"/>
                            <a:pt x="689801" y="2587562"/>
                          </a:cubicBezTo>
                          <a:lnTo>
                            <a:pt x="689801" y="706469"/>
                          </a:lnTo>
                          <a:cubicBezTo>
                            <a:pt x="689896" y="321754"/>
                            <a:pt x="382524" y="9430"/>
                            <a:pt x="0" y="0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60" name="Freeform: Shape 59">
                    <a:extLst>
                      <a:ext uri="{FF2B5EF4-FFF2-40B4-BE49-F238E27FC236}">
                        <a16:creationId xmlns:a16="http://schemas.microsoft.com/office/drawing/2014/main" id="{14558925-FBC1-4339-925E-6033EF5E2C65}"/>
                      </a:ext>
                    </a:extLst>
                  </p:cNvPr>
                  <p:cNvSpPr/>
                  <p:nvPr/>
                </p:nvSpPr>
                <p:spPr>
                  <a:xfrm>
                    <a:off x="5952649" y="3963138"/>
                    <a:ext cx="1543050" cy="2238375"/>
                  </a:xfrm>
                  <a:custGeom>
                    <a:avLst/>
                    <a:gdLst>
                      <a:gd name="connsiteX0" fmla="*/ 432911 w 1543050"/>
                      <a:gd name="connsiteY0" fmla="*/ 2246852 h 2238375"/>
                      <a:gd name="connsiteX1" fmla="*/ 1490091 w 1543050"/>
                      <a:gd name="connsiteY1" fmla="*/ 1388840 h 2238375"/>
                      <a:gd name="connsiteX2" fmla="*/ 1501044 w 1543050"/>
                      <a:gd name="connsiteY2" fmla="*/ 1147096 h 2238375"/>
                      <a:gd name="connsiteX3" fmla="*/ 323183 w 1543050"/>
                      <a:gd name="connsiteY3" fmla="*/ 0 h 2238375"/>
                      <a:gd name="connsiteX4" fmla="*/ 0 w 1543050"/>
                      <a:gd name="connsiteY4" fmla="*/ 254698 h 2238375"/>
                      <a:gd name="connsiteX5" fmla="*/ 1043654 w 1543050"/>
                      <a:gd name="connsiteY5" fmla="*/ 1259681 h 2238375"/>
                      <a:gd name="connsiteX6" fmla="*/ 237934 w 1543050"/>
                      <a:gd name="connsiteY6" fmla="*/ 2031492 h 2238375"/>
                      <a:gd name="connsiteX7" fmla="*/ 432911 w 1543050"/>
                      <a:gd name="connsiteY7" fmla="*/ 2246852 h 22383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543050" h="2238375">
                        <a:moveTo>
                          <a:pt x="432911" y="2246852"/>
                        </a:moveTo>
                        <a:lnTo>
                          <a:pt x="1490091" y="1388840"/>
                        </a:lnTo>
                        <a:cubicBezTo>
                          <a:pt x="1565338" y="1327785"/>
                          <a:pt x="1570482" y="1214723"/>
                          <a:pt x="1501044" y="1147096"/>
                        </a:cubicBezTo>
                        <a:lnTo>
                          <a:pt x="323183" y="0"/>
                        </a:lnTo>
                        <a:lnTo>
                          <a:pt x="0" y="254698"/>
                        </a:lnTo>
                        <a:lnTo>
                          <a:pt x="1043654" y="1259681"/>
                        </a:lnTo>
                        <a:lnTo>
                          <a:pt x="237934" y="2031492"/>
                        </a:lnTo>
                        <a:lnTo>
                          <a:pt x="432911" y="2246852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61" name="Freeform: Shape 60">
                    <a:extLst>
                      <a:ext uri="{FF2B5EF4-FFF2-40B4-BE49-F238E27FC236}">
                        <a16:creationId xmlns:a16="http://schemas.microsoft.com/office/drawing/2014/main" id="{8977DBF3-ECB0-4F64-9222-C69DFF72DB3B}"/>
                      </a:ext>
                    </a:extLst>
                  </p:cNvPr>
                  <p:cNvSpPr/>
                  <p:nvPr/>
                </p:nvSpPr>
                <p:spPr>
                  <a:xfrm>
                    <a:off x="6167082" y="6029587"/>
                    <a:ext cx="238125" cy="352425"/>
                  </a:xfrm>
                  <a:custGeom>
                    <a:avLst/>
                    <a:gdLst>
                      <a:gd name="connsiteX0" fmla="*/ 80746 w 238125"/>
                      <a:gd name="connsiteY0" fmla="*/ 0 h 352425"/>
                      <a:gd name="connsiteX1" fmla="*/ 20263 w 238125"/>
                      <a:gd name="connsiteY1" fmla="*/ 105442 h 352425"/>
                      <a:gd name="connsiteX2" fmla="*/ 7023 w 238125"/>
                      <a:gd name="connsiteY2" fmla="*/ 227266 h 352425"/>
                      <a:gd name="connsiteX3" fmla="*/ 47028 w 238125"/>
                      <a:gd name="connsiteY3" fmla="*/ 354711 h 352425"/>
                      <a:gd name="connsiteX4" fmla="*/ 63602 w 238125"/>
                      <a:gd name="connsiteY4" fmla="*/ 354330 h 352425"/>
                      <a:gd name="connsiteX5" fmla="*/ 104559 w 238125"/>
                      <a:gd name="connsiteY5" fmla="*/ 198215 h 352425"/>
                      <a:gd name="connsiteX6" fmla="*/ 138277 w 238125"/>
                      <a:gd name="connsiteY6" fmla="*/ 165926 h 352425"/>
                      <a:gd name="connsiteX7" fmla="*/ 219430 w 238125"/>
                      <a:gd name="connsiteY7" fmla="*/ 97155 h 352425"/>
                      <a:gd name="connsiteX8" fmla="*/ 242100 w 238125"/>
                      <a:gd name="connsiteY8" fmla="*/ 40291 h 352425"/>
                      <a:gd name="connsiteX9" fmla="*/ 80746 w 238125"/>
                      <a:gd name="connsiteY9" fmla="*/ 0 h 3524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238125" h="352425">
                        <a:moveTo>
                          <a:pt x="80746" y="0"/>
                        </a:moveTo>
                        <a:lnTo>
                          <a:pt x="20263" y="105442"/>
                        </a:lnTo>
                        <a:cubicBezTo>
                          <a:pt x="-978" y="142399"/>
                          <a:pt x="-5741" y="186595"/>
                          <a:pt x="7023" y="227266"/>
                        </a:cubicBezTo>
                        <a:lnTo>
                          <a:pt x="47028" y="354711"/>
                        </a:lnTo>
                        <a:cubicBezTo>
                          <a:pt x="49600" y="362998"/>
                          <a:pt x="61411" y="362712"/>
                          <a:pt x="63602" y="354330"/>
                        </a:cubicBezTo>
                        <a:lnTo>
                          <a:pt x="104559" y="198215"/>
                        </a:lnTo>
                        <a:cubicBezTo>
                          <a:pt x="108845" y="181928"/>
                          <a:pt x="121799" y="169450"/>
                          <a:pt x="138277" y="165926"/>
                        </a:cubicBezTo>
                        <a:cubicBezTo>
                          <a:pt x="175044" y="157924"/>
                          <a:pt x="205429" y="132112"/>
                          <a:pt x="219430" y="97155"/>
                        </a:cubicBezTo>
                        <a:lnTo>
                          <a:pt x="242100" y="40291"/>
                        </a:lnTo>
                        <a:lnTo>
                          <a:pt x="80746" y="0"/>
                        </a:lnTo>
                        <a:close/>
                      </a:path>
                    </a:pathLst>
                  </a:custGeom>
                  <a:solidFill>
                    <a:srgbClr val="72575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sp>
              <p:nvSpPr>
                <p:cNvPr id="62" name="Freeform: Shape 61">
                  <a:extLst>
                    <a:ext uri="{FF2B5EF4-FFF2-40B4-BE49-F238E27FC236}">
                      <a16:creationId xmlns:a16="http://schemas.microsoft.com/office/drawing/2014/main" id="{29E5AC0E-B287-463F-B0DD-EBBCAAE538B9}"/>
                    </a:ext>
                  </a:extLst>
                </p:cNvPr>
                <p:cNvSpPr/>
                <p:nvPr/>
              </p:nvSpPr>
              <p:spPr>
                <a:xfrm>
                  <a:off x="3317580" y="3012411"/>
                  <a:ext cx="666750" cy="1095375"/>
                </a:xfrm>
                <a:custGeom>
                  <a:avLst/>
                  <a:gdLst>
                    <a:gd name="connsiteX0" fmla="*/ 205527 w 666750"/>
                    <a:gd name="connsiteY0" fmla="*/ 53948 h 1095375"/>
                    <a:gd name="connsiteX1" fmla="*/ 573382 w 666750"/>
                    <a:gd name="connsiteY1" fmla="*/ 64616 h 1095375"/>
                    <a:gd name="connsiteX2" fmla="*/ 598814 w 666750"/>
                    <a:gd name="connsiteY2" fmla="*/ 451426 h 1095375"/>
                    <a:gd name="connsiteX3" fmla="*/ 565857 w 666750"/>
                    <a:gd name="connsiteY3" fmla="*/ 481049 h 1095375"/>
                    <a:gd name="connsiteX4" fmla="*/ 560238 w 666750"/>
                    <a:gd name="connsiteY4" fmla="*/ 486193 h 1095375"/>
                    <a:gd name="connsiteX5" fmla="*/ 515851 w 666750"/>
                    <a:gd name="connsiteY5" fmla="*/ 527817 h 1095375"/>
                    <a:gd name="connsiteX6" fmla="*/ 278107 w 666750"/>
                    <a:gd name="connsiteY6" fmla="*/ 765275 h 1095375"/>
                    <a:gd name="connsiteX7" fmla="*/ 122278 w 666750"/>
                    <a:gd name="connsiteY7" fmla="*/ 1100841 h 1095375"/>
                    <a:gd name="connsiteX8" fmla="*/ 13407 w 666750"/>
                    <a:gd name="connsiteY8" fmla="*/ 804995 h 1095375"/>
                    <a:gd name="connsiteX9" fmla="*/ 3025 w 666750"/>
                    <a:gd name="connsiteY9" fmla="*/ 537056 h 1095375"/>
                    <a:gd name="connsiteX10" fmla="*/ 205527 w 666750"/>
                    <a:gd name="connsiteY10" fmla="*/ 53948 h 10953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666750" h="1095375">
                      <a:moveTo>
                        <a:pt x="205527" y="53948"/>
                      </a:moveTo>
                      <a:cubicBezTo>
                        <a:pt x="321255" y="-19394"/>
                        <a:pt x="463273" y="-19966"/>
                        <a:pt x="573382" y="64616"/>
                      </a:cubicBezTo>
                      <a:cubicBezTo>
                        <a:pt x="694445" y="157676"/>
                        <a:pt x="704922" y="343985"/>
                        <a:pt x="598814" y="451426"/>
                      </a:cubicBezTo>
                      <a:cubicBezTo>
                        <a:pt x="602433" y="447712"/>
                        <a:pt x="536901" y="507338"/>
                        <a:pt x="565857" y="481049"/>
                      </a:cubicBezTo>
                      <a:cubicBezTo>
                        <a:pt x="584526" y="464190"/>
                        <a:pt x="562905" y="483716"/>
                        <a:pt x="560238" y="486193"/>
                      </a:cubicBezTo>
                      <a:cubicBezTo>
                        <a:pt x="545283" y="499909"/>
                        <a:pt x="530424" y="513720"/>
                        <a:pt x="515851" y="527817"/>
                      </a:cubicBezTo>
                      <a:cubicBezTo>
                        <a:pt x="501183" y="542009"/>
                        <a:pt x="353736" y="599350"/>
                        <a:pt x="278107" y="765275"/>
                      </a:cubicBezTo>
                      <a:cubicBezTo>
                        <a:pt x="211527" y="911389"/>
                        <a:pt x="180000" y="1099412"/>
                        <a:pt x="122278" y="1100841"/>
                      </a:cubicBezTo>
                      <a:cubicBezTo>
                        <a:pt x="26361" y="1103127"/>
                        <a:pt x="27790" y="896054"/>
                        <a:pt x="13407" y="804995"/>
                      </a:cubicBezTo>
                      <a:cubicBezTo>
                        <a:pt x="-880" y="714602"/>
                        <a:pt x="-2690" y="628401"/>
                        <a:pt x="3025" y="537056"/>
                      </a:cubicBezTo>
                      <a:cubicBezTo>
                        <a:pt x="13979" y="359891"/>
                        <a:pt x="42173" y="157390"/>
                        <a:pt x="205527" y="53948"/>
                      </a:cubicBezTo>
                      <a:close/>
                    </a:path>
                  </a:pathLst>
                </a:custGeom>
                <a:solidFill>
                  <a:srgbClr val="E6E6E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3" name="Freeform: Shape 62">
                  <a:extLst>
                    <a:ext uri="{FF2B5EF4-FFF2-40B4-BE49-F238E27FC236}">
                      <a16:creationId xmlns:a16="http://schemas.microsoft.com/office/drawing/2014/main" id="{359CE020-526A-4B61-9585-B4FA0A556810}"/>
                    </a:ext>
                  </a:extLst>
                </p:cNvPr>
                <p:cNvSpPr/>
                <p:nvPr/>
              </p:nvSpPr>
              <p:spPr>
                <a:xfrm>
                  <a:off x="2333682" y="3849506"/>
                  <a:ext cx="676275" cy="390525"/>
                </a:xfrm>
                <a:custGeom>
                  <a:avLst/>
                  <a:gdLst>
                    <a:gd name="connsiteX0" fmla="*/ 648024 w 676275"/>
                    <a:gd name="connsiteY0" fmla="*/ 112298 h 390525"/>
                    <a:gd name="connsiteX1" fmla="*/ 544773 w 676275"/>
                    <a:gd name="connsiteY1" fmla="*/ 38861 h 390525"/>
                    <a:gd name="connsiteX2" fmla="*/ 131483 w 676275"/>
                    <a:gd name="connsiteY2" fmla="*/ 60292 h 390525"/>
                    <a:gd name="connsiteX3" fmla="*/ 1277 w 676275"/>
                    <a:gd name="connsiteY3" fmla="*/ 279843 h 390525"/>
                    <a:gd name="connsiteX4" fmla="*/ 211874 w 676275"/>
                    <a:gd name="connsiteY4" fmla="*/ 389286 h 390525"/>
                    <a:gd name="connsiteX5" fmla="*/ 543725 w 676275"/>
                    <a:gd name="connsiteY5" fmla="*/ 307847 h 390525"/>
                    <a:gd name="connsiteX6" fmla="*/ 659740 w 676275"/>
                    <a:gd name="connsiteY6" fmla="*/ 241743 h 390525"/>
                    <a:gd name="connsiteX7" fmla="*/ 648024 w 676275"/>
                    <a:gd name="connsiteY7" fmla="*/ 112298 h 390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76275" h="390525">
                      <a:moveTo>
                        <a:pt x="648024" y="112298"/>
                      </a:moveTo>
                      <a:cubicBezTo>
                        <a:pt x="617925" y="77532"/>
                        <a:pt x="582778" y="53720"/>
                        <a:pt x="544773" y="38861"/>
                      </a:cubicBezTo>
                      <a:cubicBezTo>
                        <a:pt x="423996" y="-26481"/>
                        <a:pt x="231972" y="-2668"/>
                        <a:pt x="131483" y="60292"/>
                      </a:cubicBezTo>
                      <a:cubicBezTo>
                        <a:pt x="64142" y="102488"/>
                        <a:pt x="-10725" y="194213"/>
                        <a:pt x="1277" y="279843"/>
                      </a:cubicBezTo>
                      <a:cubicBezTo>
                        <a:pt x="15278" y="379951"/>
                        <a:pt x="129483" y="401573"/>
                        <a:pt x="211874" y="389286"/>
                      </a:cubicBezTo>
                      <a:cubicBezTo>
                        <a:pt x="323317" y="372712"/>
                        <a:pt x="435140" y="337469"/>
                        <a:pt x="543725" y="307847"/>
                      </a:cubicBezTo>
                      <a:cubicBezTo>
                        <a:pt x="589541" y="295369"/>
                        <a:pt x="632784" y="283748"/>
                        <a:pt x="659740" y="241743"/>
                      </a:cubicBezTo>
                      <a:cubicBezTo>
                        <a:pt x="686696" y="199452"/>
                        <a:pt x="680504" y="149827"/>
                        <a:pt x="648024" y="112298"/>
                      </a:cubicBezTo>
                      <a:close/>
                    </a:path>
                  </a:pathLst>
                </a:custGeom>
                <a:solidFill>
                  <a:srgbClr val="E6E6E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4" name="Freeform: Shape 63">
                  <a:extLst>
                    <a:ext uri="{FF2B5EF4-FFF2-40B4-BE49-F238E27FC236}">
                      <a16:creationId xmlns:a16="http://schemas.microsoft.com/office/drawing/2014/main" id="{E2463587-4898-4928-97A9-6D49F7952944}"/>
                    </a:ext>
                  </a:extLst>
                </p:cNvPr>
                <p:cNvSpPr/>
                <p:nvPr/>
              </p:nvSpPr>
              <p:spPr>
                <a:xfrm>
                  <a:off x="5886450" y="2738978"/>
                  <a:ext cx="1819275" cy="1628775"/>
                </a:xfrm>
                <a:custGeom>
                  <a:avLst/>
                  <a:gdLst>
                    <a:gd name="connsiteX0" fmla="*/ 1631157 w 1819275"/>
                    <a:gd name="connsiteY0" fmla="*/ 976986 h 1628775"/>
                    <a:gd name="connsiteX1" fmla="*/ 1239393 w 1819275"/>
                    <a:gd name="connsiteY1" fmla="*/ 470732 h 1628775"/>
                    <a:gd name="connsiteX2" fmla="*/ 16002 w 1819275"/>
                    <a:gd name="connsiteY2" fmla="*/ 7 h 1628775"/>
                    <a:gd name="connsiteX3" fmla="*/ 16002 w 1819275"/>
                    <a:gd name="connsiteY3" fmla="*/ 33154 h 1628775"/>
                    <a:gd name="connsiteX4" fmla="*/ 1198436 w 1819275"/>
                    <a:gd name="connsiteY4" fmla="*/ 529597 h 1628775"/>
                    <a:gd name="connsiteX5" fmla="*/ 1565529 w 1819275"/>
                    <a:gd name="connsiteY5" fmla="*/ 1015372 h 1628775"/>
                    <a:gd name="connsiteX6" fmla="*/ 1756696 w 1819275"/>
                    <a:gd name="connsiteY6" fmla="*/ 1606208 h 1628775"/>
                    <a:gd name="connsiteX7" fmla="*/ 1828038 w 1819275"/>
                    <a:gd name="connsiteY7" fmla="*/ 1596587 h 1628775"/>
                    <a:gd name="connsiteX8" fmla="*/ 1631157 w 1819275"/>
                    <a:gd name="connsiteY8" fmla="*/ 976986 h 16287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819275" h="1628775">
                      <a:moveTo>
                        <a:pt x="1631157" y="976986"/>
                      </a:moveTo>
                      <a:cubicBezTo>
                        <a:pt x="1531239" y="787534"/>
                        <a:pt x="1398270" y="614465"/>
                        <a:pt x="1239393" y="470732"/>
                      </a:cubicBezTo>
                      <a:cubicBezTo>
                        <a:pt x="904399" y="167647"/>
                        <a:pt x="466821" y="-1231"/>
                        <a:pt x="16002" y="7"/>
                      </a:cubicBezTo>
                      <a:cubicBezTo>
                        <a:pt x="-5524" y="102"/>
                        <a:pt x="-5143" y="31916"/>
                        <a:pt x="16002" y="33154"/>
                      </a:cubicBezTo>
                      <a:cubicBezTo>
                        <a:pt x="451009" y="58205"/>
                        <a:pt x="879920" y="230512"/>
                        <a:pt x="1198436" y="529597"/>
                      </a:cubicBezTo>
                      <a:cubicBezTo>
                        <a:pt x="1347216" y="669329"/>
                        <a:pt x="1471137" y="834492"/>
                        <a:pt x="1565529" y="1015372"/>
                      </a:cubicBezTo>
                      <a:cubicBezTo>
                        <a:pt x="1664970" y="1205777"/>
                        <a:pt x="1706880" y="1400087"/>
                        <a:pt x="1756696" y="1606208"/>
                      </a:cubicBezTo>
                      <a:cubicBezTo>
                        <a:pt x="1766221" y="1645546"/>
                        <a:pt x="1830134" y="1637831"/>
                        <a:pt x="1828038" y="1596587"/>
                      </a:cubicBezTo>
                      <a:cubicBezTo>
                        <a:pt x="1817466" y="1384466"/>
                        <a:pt x="1729264" y="1162914"/>
                        <a:pt x="1631157" y="976986"/>
                      </a:cubicBezTo>
                      <a:close/>
                    </a:path>
                  </a:pathLst>
                </a:custGeom>
                <a:solidFill>
                  <a:srgbClr val="E6E6E6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5" name="Freeform: Shape 64">
                  <a:extLst>
                    <a:ext uri="{FF2B5EF4-FFF2-40B4-BE49-F238E27FC236}">
                      <a16:creationId xmlns:a16="http://schemas.microsoft.com/office/drawing/2014/main" id="{2359F49A-E145-4A2B-A778-A15A44D64008}"/>
                    </a:ext>
                  </a:extLst>
                </p:cNvPr>
                <p:cNvSpPr/>
                <p:nvPr/>
              </p:nvSpPr>
              <p:spPr>
                <a:xfrm>
                  <a:off x="7642338" y="4694372"/>
                  <a:ext cx="76200" cy="209550"/>
                </a:xfrm>
                <a:custGeom>
                  <a:avLst/>
                  <a:gdLst>
                    <a:gd name="connsiteX0" fmla="*/ 53767 w 76200"/>
                    <a:gd name="connsiteY0" fmla="*/ 10859 h 209550"/>
                    <a:gd name="connsiteX1" fmla="*/ 24430 w 76200"/>
                    <a:gd name="connsiteY1" fmla="*/ 10859 h 209550"/>
                    <a:gd name="connsiteX2" fmla="*/ 46 w 76200"/>
                    <a:gd name="connsiteY2" fmla="*/ 180499 h 209550"/>
                    <a:gd name="connsiteX3" fmla="*/ 78056 w 76200"/>
                    <a:gd name="connsiteY3" fmla="*/ 180499 h 209550"/>
                    <a:gd name="connsiteX4" fmla="*/ 53767 w 76200"/>
                    <a:gd name="connsiteY4" fmla="*/ 10859 h 2095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6200" h="209550">
                      <a:moveTo>
                        <a:pt x="53767" y="10859"/>
                      </a:moveTo>
                      <a:cubicBezTo>
                        <a:pt x="49195" y="-3620"/>
                        <a:pt x="29002" y="-3620"/>
                        <a:pt x="24430" y="10859"/>
                      </a:cubicBezTo>
                      <a:cubicBezTo>
                        <a:pt x="8047" y="62484"/>
                        <a:pt x="-716" y="126397"/>
                        <a:pt x="46" y="180499"/>
                      </a:cubicBezTo>
                      <a:cubicBezTo>
                        <a:pt x="808" y="230695"/>
                        <a:pt x="77294" y="230791"/>
                        <a:pt x="78056" y="180499"/>
                      </a:cubicBezTo>
                      <a:cubicBezTo>
                        <a:pt x="78913" y="126492"/>
                        <a:pt x="70055" y="62389"/>
                        <a:pt x="53767" y="10859"/>
                      </a:cubicBezTo>
                      <a:close/>
                    </a:path>
                  </a:pathLst>
                </a:custGeom>
                <a:solidFill>
                  <a:srgbClr val="F8EEE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008FC970-2542-4822-8E78-37953F8EFF56}"/>
                  </a:ext>
                </a:extLst>
              </p:cNvPr>
              <p:cNvSpPr/>
              <p:nvPr/>
            </p:nvSpPr>
            <p:spPr>
              <a:xfrm>
                <a:off x="5822156" y="3763558"/>
                <a:ext cx="266700" cy="1571625"/>
              </a:xfrm>
              <a:custGeom>
                <a:avLst/>
                <a:gdLst>
                  <a:gd name="connsiteX0" fmla="*/ 0 w 266700"/>
                  <a:gd name="connsiteY0" fmla="*/ 0 h 1571625"/>
                  <a:gd name="connsiteX1" fmla="*/ 0 w 266700"/>
                  <a:gd name="connsiteY1" fmla="*/ 1572768 h 1571625"/>
                  <a:gd name="connsiteX2" fmla="*/ 271748 w 266700"/>
                  <a:gd name="connsiteY2" fmla="*/ 569976 h 1571625"/>
                  <a:gd name="connsiteX3" fmla="*/ 135922 w 266700"/>
                  <a:gd name="connsiteY3" fmla="*/ 395669 h 1571625"/>
                  <a:gd name="connsiteX4" fmla="*/ 271748 w 266700"/>
                  <a:gd name="connsiteY4" fmla="*/ 61436 h 1571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66700" h="1571625">
                    <a:moveTo>
                      <a:pt x="0" y="0"/>
                    </a:moveTo>
                    <a:lnTo>
                      <a:pt x="0" y="1572768"/>
                    </a:lnTo>
                    <a:lnTo>
                      <a:pt x="271748" y="569976"/>
                    </a:lnTo>
                    <a:lnTo>
                      <a:pt x="135922" y="395669"/>
                    </a:lnTo>
                    <a:lnTo>
                      <a:pt x="271748" y="61436"/>
                    </a:lnTo>
                    <a:close/>
                  </a:path>
                </a:pathLst>
              </a:custGeom>
              <a:solidFill>
                <a:srgbClr val="E6E6E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EDEA4FC0-FC6A-4D3B-9EE8-1711961A7EED}"/>
                  </a:ext>
                </a:extLst>
              </p:cNvPr>
              <p:cNvSpPr/>
              <p:nvPr/>
            </p:nvSpPr>
            <p:spPr>
              <a:xfrm>
                <a:off x="4881848" y="3782925"/>
                <a:ext cx="304800" cy="3257550"/>
              </a:xfrm>
              <a:custGeom>
                <a:avLst/>
                <a:gdLst>
                  <a:gd name="connsiteX0" fmla="*/ 308038 w 304800"/>
                  <a:gd name="connsiteY0" fmla="*/ 1462373 h 3257550"/>
                  <a:gd name="connsiteX1" fmla="*/ 308038 w 304800"/>
                  <a:gd name="connsiteY1" fmla="*/ 3238976 h 3257550"/>
                  <a:gd name="connsiteX2" fmla="*/ 109347 w 304800"/>
                  <a:gd name="connsiteY2" fmla="*/ 3266694 h 3257550"/>
                  <a:gd name="connsiteX3" fmla="*/ 0 w 304800"/>
                  <a:gd name="connsiteY3" fmla="*/ 458819 h 3257550"/>
                  <a:gd name="connsiteX4" fmla="*/ 59817 w 304800"/>
                  <a:gd name="connsiteY4" fmla="*/ 85915 h 3257550"/>
                  <a:gd name="connsiteX5" fmla="*/ 308038 w 304800"/>
                  <a:gd name="connsiteY5" fmla="*/ 0 h 3257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04800" h="3257550">
                    <a:moveTo>
                      <a:pt x="308038" y="1462373"/>
                    </a:moveTo>
                    <a:lnTo>
                      <a:pt x="308038" y="3238976"/>
                    </a:lnTo>
                    <a:lnTo>
                      <a:pt x="109347" y="3266694"/>
                    </a:lnTo>
                    <a:lnTo>
                      <a:pt x="0" y="458819"/>
                    </a:lnTo>
                    <a:lnTo>
                      <a:pt x="59817" y="85915"/>
                    </a:lnTo>
                    <a:lnTo>
                      <a:pt x="308038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60CF9A0A-B816-459E-A52C-729F1FC461C5}"/>
                  </a:ext>
                </a:extLst>
              </p:cNvPr>
              <p:cNvSpPr/>
              <p:nvPr/>
            </p:nvSpPr>
            <p:spPr>
              <a:xfrm>
                <a:off x="4941665" y="3762605"/>
                <a:ext cx="247650" cy="1457325"/>
              </a:xfrm>
              <a:custGeom>
                <a:avLst/>
                <a:gdLst>
                  <a:gd name="connsiteX0" fmla="*/ 248221 w 247650"/>
                  <a:gd name="connsiteY0" fmla="*/ 0 h 1457325"/>
                  <a:gd name="connsiteX1" fmla="*/ 0 w 247650"/>
                  <a:gd name="connsiteY1" fmla="*/ 85820 h 1457325"/>
                  <a:gd name="connsiteX2" fmla="*/ 124111 w 247650"/>
                  <a:gd name="connsiteY2" fmla="*/ 587978 h 1457325"/>
                  <a:gd name="connsiteX3" fmla="*/ 0 w 247650"/>
                  <a:gd name="connsiteY3" fmla="*/ 848678 h 1457325"/>
                  <a:gd name="connsiteX4" fmla="*/ 248221 w 247650"/>
                  <a:gd name="connsiteY4" fmla="*/ 1462373 h 1457325"/>
                  <a:gd name="connsiteX5" fmla="*/ 248221 w 247650"/>
                  <a:gd name="connsiteY5" fmla="*/ 0 h 14573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47650" h="1457325">
                    <a:moveTo>
                      <a:pt x="248221" y="0"/>
                    </a:moveTo>
                    <a:cubicBezTo>
                      <a:pt x="248221" y="0"/>
                      <a:pt x="37147" y="10954"/>
                      <a:pt x="0" y="85820"/>
                    </a:cubicBezTo>
                    <a:lnTo>
                      <a:pt x="124111" y="587978"/>
                    </a:lnTo>
                    <a:lnTo>
                      <a:pt x="0" y="848678"/>
                    </a:lnTo>
                    <a:lnTo>
                      <a:pt x="248221" y="1462373"/>
                    </a:lnTo>
                    <a:lnTo>
                      <a:pt x="248221" y="0"/>
                    </a:lnTo>
                    <a:close/>
                  </a:path>
                </a:pathLst>
              </a:custGeom>
              <a:solidFill>
                <a:srgbClr val="E6E6E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2E35AB5B-2BE2-4BC7-91F7-B620C42E4746}"/>
                  </a:ext>
                </a:extLst>
              </p:cNvPr>
              <p:cNvSpPr/>
              <p:nvPr/>
            </p:nvSpPr>
            <p:spPr>
              <a:xfrm>
                <a:off x="4097655" y="4787146"/>
                <a:ext cx="790575" cy="847725"/>
              </a:xfrm>
              <a:custGeom>
                <a:avLst/>
                <a:gdLst>
                  <a:gd name="connsiteX0" fmla="*/ 335090 w 790575"/>
                  <a:gd name="connsiteY0" fmla="*/ 458153 h 847725"/>
                  <a:gd name="connsiteX1" fmla="*/ 0 w 790575"/>
                  <a:gd name="connsiteY1" fmla="*/ 0 h 847725"/>
                  <a:gd name="connsiteX2" fmla="*/ 212884 w 790575"/>
                  <a:gd name="connsiteY2" fmla="*/ 853440 h 847725"/>
                  <a:gd name="connsiteX3" fmla="*/ 352234 w 790575"/>
                  <a:gd name="connsiteY3" fmla="*/ 820007 h 847725"/>
                  <a:gd name="connsiteX4" fmla="*/ 358807 w 790575"/>
                  <a:gd name="connsiteY4" fmla="*/ 818102 h 847725"/>
                  <a:gd name="connsiteX5" fmla="*/ 794957 w 790575"/>
                  <a:gd name="connsiteY5" fmla="*/ 664369 h 847725"/>
                  <a:gd name="connsiteX6" fmla="*/ 413766 w 790575"/>
                  <a:gd name="connsiteY6" fmla="*/ 497396 h 847725"/>
                  <a:gd name="connsiteX7" fmla="*/ 335090 w 790575"/>
                  <a:gd name="connsiteY7" fmla="*/ 458153 h 847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0575" h="847725">
                    <a:moveTo>
                      <a:pt x="335090" y="458153"/>
                    </a:moveTo>
                    <a:lnTo>
                      <a:pt x="0" y="0"/>
                    </a:lnTo>
                    <a:lnTo>
                      <a:pt x="212884" y="853440"/>
                    </a:lnTo>
                    <a:lnTo>
                      <a:pt x="352234" y="820007"/>
                    </a:lnTo>
                    <a:cubicBezTo>
                      <a:pt x="354425" y="819436"/>
                      <a:pt x="356616" y="818864"/>
                      <a:pt x="358807" y="818102"/>
                    </a:cubicBezTo>
                    <a:lnTo>
                      <a:pt x="794957" y="664369"/>
                    </a:lnTo>
                    <a:lnTo>
                      <a:pt x="413766" y="497396"/>
                    </a:lnTo>
                    <a:lnTo>
                      <a:pt x="335090" y="458153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B3BCBD1F-FADC-4732-9ADF-DEC677E12676}"/>
                  </a:ext>
                </a:extLst>
              </p:cNvPr>
              <p:cNvSpPr/>
              <p:nvPr/>
            </p:nvSpPr>
            <p:spPr>
              <a:xfrm>
                <a:off x="4087368" y="4941641"/>
                <a:ext cx="257175" cy="419100"/>
              </a:xfrm>
              <a:custGeom>
                <a:avLst/>
                <a:gdLst>
                  <a:gd name="connsiteX0" fmla="*/ 0 w 257175"/>
                  <a:gd name="connsiteY0" fmla="*/ 396145 h 419100"/>
                  <a:gd name="connsiteX1" fmla="*/ 110204 w 257175"/>
                  <a:gd name="connsiteY1" fmla="*/ 424720 h 419100"/>
                  <a:gd name="connsiteX2" fmla="*/ 195834 w 257175"/>
                  <a:gd name="connsiteY2" fmla="*/ 374332 h 419100"/>
                  <a:gd name="connsiteX3" fmla="*/ 257270 w 257175"/>
                  <a:gd name="connsiteY3" fmla="*/ 137065 h 419100"/>
                  <a:gd name="connsiteX4" fmla="*/ 189833 w 257175"/>
                  <a:gd name="connsiteY4" fmla="*/ 22574 h 419100"/>
                  <a:gd name="connsiteX5" fmla="*/ 102584 w 257175"/>
                  <a:gd name="connsiteY5" fmla="*/ 0 h 419100"/>
                  <a:gd name="connsiteX6" fmla="*/ 0 w 257175"/>
                  <a:gd name="connsiteY6" fmla="*/ 396145 h 419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57175" h="419100">
                    <a:moveTo>
                      <a:pt x="0" y="396145"/>
                    </a:moveTo>
                    <a:lnTo>
                      <a:pt x="110204" y="424720"/>
                    </a:lnTo>
                    <a:cubicBezTo>
                      <a:pt x="147733" y="434435"/>
                      <a:pt x="186119" y="411861"/>
                      <a:pt x="195834" y="374332"/>
                    </a:cubicBezTo>
                    <a:lnTo>
                      <a:pt x="257270" y="137065"/>
                    </a:lnTo>
                    <a:cubicBezTo>
                      <a:pt x="270320" y="86868"/>
                      <a:pt x="240125" y="35528"/>
                      <a:pt x="189833" y="22574"/>
                    </a:cubicBezTo>
                    <a:lnTo>
                      <a:pt x="102584" y="0"/>
                    </a:lnTo>
                    <a:lnTo>
                      <a:pt x="0" y="396145"/>
                    </a:ln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34477AE3-ED31-4B05-A674-34EEBBD6580F}"/>
                  </a:ext>
                </a:extLst>
              </p:cNvPr>
              <p:cNvSpPr/>
              <p:nvPr/>
            </p:nvSpPr>
            <p:spPr>
              <a:xfrm>
                <a:off x="3706153" y="4940498"/>
                <a:ext cx="533400" cy="600075"/>
              </a:xfrm>
              <a:custGeom>
                <a:avLst/>
                <a:gdLst>
                  <a:gd name="connsiteX0" fmla="*/ 101275 w 533400"/>
                  <a:gd name="connsiteY0" fmla="*/ 539591 h 600075"/>
                  <a:gd name="connsiteX1" fmla="*/ 335400 w 533400"/>
                  <a:gd name="connsiteY1" fmla="*/ 600265 h 600075"/>
                  <a:gd name="connsiteX2" fmla="*/ 427697 w 533400"/>
                  <a:gd name="connsiteY2" fmla="*/ 545973 h 600075"/>
                  <a:gd name="connsiteX3" fmla="*/ 539711 w 533400"/>
                  <a:gd name="connsiteY3" fmla="*/ 113538 h 600075"/>
                  <a:gd name="connsiteX4" fmla="*/ 101466 w 533400"/>
                  <a:gd name="connsiteY4" fmla="*/ 0 h 600075"/>
                  <a:gd name="connsiteX5" fmla="*/ 4406 w 533400"/>
                  <a:gd name="connsiteY5" fmla="*/ 374809 h 600075"/>
                  <a:gd name="connsiteX6" fmla="*/ 101275 w 533400"/>
                  <a:gd name="connsiteY6" fmla="*/ 539591 h 600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33400" h="600075">
                    <a:moveTo>
                      <a:pt x="101275" y="539591"/>
                    </a:moveTo>
                    <a:lnTo>
                      <a:pt x="335400" y="600265"/>
                    </a:lnTo>
                    <a:cubicBezTo>
                      <a:pt x="375881" y="610743"/>
                      <a:pt x="417219" y="586454"/>
                      <a:pt x="427697" y="545973"/>
                    </a:cubicBezTo>
                    <a:lnTo>
                      <a:pt x="539711" y="113538"/>
                    </a:lnTo>
                    <a:lnTo>
                      <a:pt x="101466" y="0"/>
                    </a:lnTo>
                    <a:lnTo>
                      <a:pt x="4406" y="374809"/>
                    </a:lnTo>
                    <a:cubicBezTo>
                      <a:pt x="-14453" y="447104"/>
                      <a:pt x="28980" y="520922"/>
                      <a:pt x="101275" y="539591"/>
                    </a:cubicBezTo>
                    <a:close/>
                  </a:path>
                </a:pathLst>
              </a:custGeom>
              <a:solidFill>
                <a:srgbClr val="F7CEB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E3F01E63-CDAC-4F44-B333-0C8C0D673414}"/>
                  </a:ext>
                </a:extLst>
              </p:cNvPr>
              <p:cNvSpPr/>
              <p:nvPr/>
            </p:nvSpPr>
            <p:spPr>
              <a:xfrm>
                <a:off x="4139565" y="5250537"/>
                <a:ext cx="76200" cy="76200"/>
              </a:xfrm>
              <a:custGeom>
                <a:avLst/>
                <a:gdLst>
                  <a:gd name="connsiteX0" fmla="*/ 0 w 76200"/>
                  <a:gd name="connsiteY0" fmla="*/ 42482 h 76200"/>
                  <a:gd name="connsiteX1" fmla="*/ 42481 w 76200"/>
                  <a:gd name="connsiteY1" fmla="*/ 84963 h 76200"/>
                  <a:gd name="connsiteX2" fmla="*/ 84963 w 76200"/>
                  <a:gd name="connsiteY2" fmla="*/ 42482 h 76200"/>
                  <a:gd name="connsiteX3" fmla="*/ 42481 w 76200"/>
                  <a:gd name="connsiteY3" fmla="*/ 0 h 76200"/>
                  <a:gd name="connsiteX4" fmla="*/ 0 w 76200"/>
                  <a:gd name="connsiteY4" fmla="*/ 42482 h 76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200" h="76200">
                    <a:moveTo>
                      <a:pt x="0" y="42482"/>
                    </a:moveTo>
                    <a:cubicBezTo>
                      <a:pt x="0" y="65913"/>
                      <a:pt x="19050" y="84963"/>
                      <a:pt x="42481" y="84963"/>
                    </a:cubicBezTo>
                    <a:cubicBezTo>
                      <a:pt x="65913" y="84963"/>
                      <a:pt x="84963" y="65913"/>
                      <a:pt x="84963" y="42482"/>
                    </a:cubicBezTo>
                    <a:cubicBezTo>
                      <a:pt x="84963" y="19050"/>
                      <a:pt x="66008" y="0"/>
                      <a:pt x="42481" y="0"/>
                    </a:cubicBezTo>
                    <a:cubicBezTo>
                      <a:pt x="18955" y="0"/>
                      <a:pt x="0" y="19050"/>
                      <a:pt x="0" y="42482"/>
                    </a:cubicBezTo>
                    <a:close/>
                  </a:path>
                </a:pathLst>
              </a:custGeom>
              <a:solidFill>
                <a:srgbClr val="F7CEB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BDC95697-838B-44B1-9348-C1D076E62B9C}"/>
                  </a:ext>
                </a:extLst>
              </p:cNvPr>
              <p:cNvSpPr/>
              <p:nvPr/>
            </p:nvSpPr>
            <p:spPr>
              <a:xfrm>
                <a:off x="3773041" y="4856962"/>
                <a:ext cx="438150" cy="285750"/>
              </a:xfrm>
              <a:custGeom>
                <a:avLst/>
                <a:gdLst>
                  <a:gd name="connsiteX0" fmla="*/ 44198 w 438150"/>
                  <a:gd name="connsiteY0" fmla="*/ 195836 h 285750"/>
                  <a:gd name="connsiteX1" fmla="*/ 396337 w 438150"/>
                  <a:gd name="connsiteY1" fmla="*/ 287086 h 285750"/>
                  <a:gd name="connsiteX2" fmla="*/ 446629 w 438150"/>
                  <a:gd name="connsiteY2" fmla="*/ 93157 h 285750"/>
                  <a:gd name="connsiteX3" fmla="*/ 94490 w 438150"/>
                  <a:gd name="connsiteY3" fmla="*/ 1907 h 285750"/>
                  <a:gd name="connsiteX4" fmla="*/ 22576 w 438150"/>
                  <a:gd name="connsiteY4" fmla="*/ 44198 h 285750"/>
                  <a:gd name="connsiteX5" fmla="*/ 1907 w 438150"/>
                  <a:gd name="connsiteY5" fmla="*/ 123922 h 285750"/>
                  <a:gd name="connsiteX6" fmla="*/ 44198 w 438150"/>
                  <a:gd name="connsiteY6" fmla="*/ 195836 h 285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38150" h="285750">
                    <a:moveTo>
                      <a:pt x="44198" y="195836"/>
                    </a:moveTo>
                    <a:lnTo>
                      <a:pt x="396337" y="287086"/>
                    </a:lnTo>
                    <a:lnTo>
                      <a:pt x="446629" y="93157"/>
                    </a:lnTo>
                    <a:lnTo>
                      <a:pt x="94490" y="1907"/>
                    </a:lnTo>
                    <a:cubicBezTo>
                      <a:pt x="62962" y="-6284"/>
                      <a:pt x="30768" y="12671"/>
                      <a:pt x="22576" y="44198"/>
                    </a:cubicBezTo>
                    <a:lnTo>
                      <a:pt x="1907" y="123922"/>
                    </a:lnTo>
                    <a:cubicBezTo>
                      <a:pt x="-6284" y="155450"/>
                      <a:pt x="12670" y="187645"/>
                      <a:pt x="44198" y="195836"/>
                    </a:cubicBez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6562D2B7-CCAA-44E2-8113-266535418A73}"/>
                  </a:ext>
                </a:extLst>
              </p:cNvPr>
              <p:cNvSpPr/>
              <p:nvPr/>
            </p:nvSpPr>
            <p:spPr>
              <a:xfrm>
                <a:off x="4111916" y="4985075"/>
                <a:ext cx="142875" cy="285750"/>
              </a:xfrm>
              <a:custGeom>
                <a:avLst/>
                <a:gdLst>
                  <a:gd name="connsiteX0" fmla="*/ 34221 w 142875"/>
                  <a:gd name="connsiteY0" fmla="*/ 288322 h 285750"/>
                  <a:gd name="connsiteX1" fmla="*/ 89752 w 142875"/>
                  <a:gd name="connsiteY1" fmla="*/ 255651 h 285750"/>
                  <a:gd name="connsiteX2" fmla="*/ 150045 w 142875"/>
                  <a:gd name="connsiteY2" fmla="*/ 22860 h 285750"/>
                  <a:gd name="connsiteX3" fmla="*/ 61748 w 142875"/>
                  <a:gd name="connsiteY3" fmla="*/ 0 h 285750"/>
                  <a:gd name="connsiteX4" fmla="*/ 1455 w 142875"/>
                  <a:gd name="connsiteY4" fmla="*/ 232791 h 285750"/>
                  <a:gd name="connsiteX5" fmla="*/ 34221 w 142875"/>
                  <a:gd name="connsiteY5" fmla="*/ 288322 h 285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42875" h="285750">
                    <a:moveTo>
                      <a:pt x="34221" y="288322"/>
                    </a:moveTo>
                    <a:cubicBezTo>
                      <a:pt x="58605" y="294608"/>
                      <a:pt x="83465" y="280035"/>
                      <a:pt x="89752" y="255651"/>
                    </a:cubicBezTo>
                    <a:lnTo>
                      <a:pt x="150045" y="22860"/>
                    </a:lnTo>
                    <a:lnTo>
                      <a:pt x="61748" y="0"/>
                    </a:lnTo>
                    <a:lnTo>
                      <a:pt x="1455" y="232791"/>
                    </a:lnTo>
                    <a:cubicBezTo>
                      <a:pt x="-4832" y="257080"/>
                      <a:pt x="9837" y="281940"/>
                      <a:pt x="34221" y="288322"/>
                    </a:cubicBez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54DA7D40-6B19-4178-BC35-F60E06ED9746}"/>
                  </a:ext>
                </a:extLst>
              </p:cNvPr>
              <p:cNvSpPr/>
              <p:nvPr/>
            </p:nvSpPr>
            <p:spPr>
              <a:xfrm>
                <a:off x="3687985" y="4694372"/>
                <a:ext cx="409575" cy="276225"/>
              </a:xfrm>
              <a:custGeom>
                <a:avLst/>
                <a:gdLst>
                  <a:gd name="connsiteX0" fmla="*/ 409575 w 409575"/>
                  <a:gd name="connsiteY0" fmla="*/ 92869 h 276225"/>
                  <a:gd name="connsiteX1" fmla="*/ 273177 w 409575"/>
                  <a:gd name="connsiteY1" fmla="*/ 0 h 276225"/>
                  <a:gd name="connsiteX2" fmla="*/ 0 w 409575"/>
                  <a:gd name="connsiteY2" fmla="*/ 157829 h 276225"/>
                  <a:gd name="connsiteX3" fmla="*/ 0 w 409575"/>
                  <a:gd name="connsiteY3" fmla="*/ 280130 h 2762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09575" h="276225">
                    <a:moveTo>
                      <a:pt x="409575" y="92869"/>
                    </a:moveTo>
                    <a:lnTo>
                      <a:pt x="273177" y="0"/>
                    </a:lnTo>
                    <a:lnTo>
                      <a:pt x="0" y="157829"/>
                    </a:lnTo>
                    <a:lnTo>
                      <a:pt x="0" y="280130"/>
                    </a:lnTo>
                    <a:close/>
                  </a:path>
                </a:pathLst>
              </a:custGeom>
              <a:solidFill>
                <a:srgbClr val="72575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21" name="Rectangle 220">
            <a:hlinkClick r:id="rId8"/>
            <a:extLst>
              <a:ext uri="{FF2B5EF4-FFF2-40B4-BE49-F238E27FC236}">
                <a16:creationId xmlns:a16="http://schemas.microsoft.com/office/drawing/2014/main" id="{A8B947B2-702C-412E-854D-CB95233FB928}"/>
              </a:ext>
            </a:extLst>
          </p:cNvPr>
          <p:cNvSpPr>
            <a:spLocks/>
          </p:cNvSpPr>
          <p:nvPr/>
        </p:nvSpPr>
        <p:spPr>
          <a:xfrm>
            <a:off x="6864475" y="4097018"/>
            <a:ext cx="3134218" cy="586741"/>
          </a:xfrm>
          <a:prstGeom prst="rect">
            <a:avLst/>
          </a:prstGeom>
          <a:solidFill>
            <a:schemeClr val="accent1">
              <a:alpha val="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7C754411-4B0E-4549-8AB8-EA851F6375FA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6864475" y="4914918"/>
            <a:ext cx="4623199" cy="43088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 marL="0" lvl="1" indent="0">
              <a:spcBef>
                <a:spcPct val="110000"/>
              </a:spcBef>
              <a:buNone/>
            </a:pPr>
            <a:r>
              <a:rPr lang="en-US" sz="1400" b="1" dirty="0">
                <a:solidFill>
                  <a:schemeClr val="tx2"/>
                </a:solidFill>
                <a:cs typeface="Helvetica" panose="020B0604020202020204" pitchFamily="34" charset="0"/>
              </a:rPr>
              <a:t>For more information, please visit the </a:t>
            </a:r>
            <a:br>
              <a:rPr lang="en-US" sz="1400" b="1" dirty="0">
                <a:solidFill>
                  <a:schemeClr val="tx2"/>
                </a:solidFill>
                <a:cs typeface="Helvetica" panose="020B0604020202020204" pitchFamily="34" charset="0"/>
              </a:rPr>
            </a:br>
            <a:r>
              <a:rPr lang="en-US" sz="1400" b="1" dirty="0">
                <a:solidFill>
                  <a:schemeClr val="tx2"/>
                </a:solidFill>
                <a:cs typeface="Helvetica" panose="020B0604020202020204" pitchFamily="34" charset="0"/>
                <a:hlinkClick r:id="rId9"/>
              </a:rPr>
              <a:t>Provider Relief Fund website</a:t>
            </a:r>
            <a:endParaRPr lang="en-US" sz="1400" b="1" dirty="0">
              <a:solidFill>
                <a:schemeClr val="tx2"/>
              </a:solidFill>
              <a:cs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251788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E7DDED3-3072-4FC2-912A-047348E9FAF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029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840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E7DDED3-3072-4FC2-912A-047348E9FA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CC28FD0-71DB-415A-9822-E305F470B38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ECF12D3B-593F-4CD3-B29B-EF2DAC869067}"/>
              </a:ext>
            </a:extLst>
          </p:cNvPr>
          <p:cNvSpPr/>
          <p:nvPr/>
        </p:nvSpPr>
        <p:spPr>
          <a:xfrm flipH="1">
            <a:off x="4978400" y="423578"/>
            <a:ext cx="6866708" cy="3599606"/>
          </a:xfrm>
          <a:prstGeom prst="rect">
            <a:avLst/>
          </a:prstGeom>
          <a:solidFill>
            <a:srgbClr val="F4F4F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D75D6B7-6CBC-4707-929D-A9464175D155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46892" y="278741"/>
            <a:ext cx="3910148" cy="8617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ts val="3000"/>
              </a:lnSpc>
            </a:pPr>
            <a:r>
              <a:rPr lang="en-US" sz="2800" spc="-150" dirty="0">
                <a:solidFill>
                  <a:srgbClr val="A33134"/>
                </a:solidFill>
              </a:rPr>
              <a:t>Provider Relief Fund:</a:t>
            </a:r>
            <a:r>
              <a:rPr lang="en-US" sz="2800" spc="-150" dirty="0"/>
              <a:t/>
            </a:r>
            <a:br>
              <a:rPr lang="en-US" sz="2800" spc="-150" dirty="0"/>
            </a:br>
            <a:r>
              <a:rPr lang="en-US" sz="2800" spc="-150" dirty="0"/>
              <a:t>Key facts for providers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A2781970-B2DA-4C71-B7CC-7DB2B5211F8E}"/>
              </a:ext>
            </a:extLst>
          </p:cNvPr>
          <p:cNvSpPr txBox="1">
            <a:spLocks/>
          </p:cNvSpPr>
          <p:nvPr/>
        </p:nvSpPr>
        <p:spPr bwMode="gray">
          <a:xfrm>
            <a:off x="346892" y="1423838"/>
            <a:ext cx="3827415" cy="1292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 defTabSz="12180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7135" algn="l"/>
              </a:tabLst>
              <a:defRPr lang="x-none" sz="20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2pPr>
            <a:lvl3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3pPr>
            <a:lvl4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4pPr>
            <a:lvl5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5pPr>
            <a:lvl6pPr marL="62197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6pPr>
            <a:lvl7pPr marL="1243941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7pPr>
            <a:lvl8pPr marL="1865909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8pPr>
            <a:lvl9pPr marL="248788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1400" b="0" kern="0" spc="-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Qualified providers of health care, services, and support may receive Provider Relief Fund payments for healthcare-related expenses or lost revenue due to COVID-19. Separately, the COVID-19 Uninsured Program reimburses providers for testing and treating uninsured individuals with COVID-19.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85697B45-6D5C-4E07-993D-658F4C086DE0}"/>
              </a:ext>
            </a:extLst>
          </p:cNvPr>
          <p:cNvCxnSpPr>
            <a:cxnSpLocks/>
          </p:cNvCxnSpPr>
          <p:nvPr/>
        </p:nvCxnSpPr>
        <p:spPr>
          <a:xfrm>
            <a:off x="264160" y="1264237"/>
            <a:ext cx="3910148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itle 1">
            <a:extLst>
              <a:ext uri="{FF2B5EF4-FFF2-40B4-BE49-F238E27FC236}">
                <a16:creationId xmlns:a16="http://schemas.microsoft.com/office/drawing/2014/main" id="{D0BB1B41-EB83-4F15-AF33-5896077A296C}"/>
              </a:ext>
            </a:extLst>
          </p:cNvPr>
          <p:cNvSpPr txBox="1">
            <a:spLocks/>
          </p:cNvSpPr>
          <p:nvPr/>
        </p:nvSpPr>
        <p:spPr bwMode="gray">
          <a:xfrm>
            <a:off x="346893" y="5409386"/>
            <a:ext cx="3661228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 defTabSz="12180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7135" algn="l"/>
              </a:tabLst>
              <a:defRPr lang="x-none" sz="20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2pPr>
            <a:lvl3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3pPr>
            <a:lvl4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4pPr>
            <a:lvl5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5pPr>
            <a:lvl6pPr marL="62197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6pPr>
            <a:lvl7pPr marL="1243941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7pPr>
            <a:lvl8pPr marL="1865909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8pPr>
            <a:lvl9pPr marL="248788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1400" b="0" kern="0" spc="-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hese distributions do not need to be repaid to the US government, assuming providers comply with the terms and conditions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1B2D1C8C-4A48-481D-B246-CCE70EF8FBBE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5228045" y="4264837"/>
            <a:ext cx="6367418" cy="205056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 lvl="1">
              <a:spcBef>
                <a:spcPct val="75000"/>
              </a:spcBef>
            </a:pP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roviders that choose to accept funds </a:t>
            </a:r>
            <a:r>
              <a:rPr lang="en-US" sz="13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ust attest to the terms and conditions</a:t>
            </a:r>
            <a:br>
              <a:rPr lang="en-US" sz="13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f payments through the </a:t>
            </a:r>
            <a:r>
              <a:rPr lang="en-US" sz="1300" u="sng" dirty="0">
                <a:solidFill>
                  <a:srgbClr val="0B8CE3"/>
                </a:solidFill>
                <a:hlinkClick r:id="rId12"/>
              </a:rPr>
              <a:t>Provider Relief Fund Application and Attestation Portal</a:t>
            </a: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</a:p>
          <a:p>
            <a:pPr lvl="1">
              <a:spcBef>
                <a:spcPct val="75000"/>
              </a:spcBef>
            </a:pP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roviders have </a:t>
            </a:r>
            <a:r>
              <a:rPr lang="en-US" sz="13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90 days to attest or reject funds </a:t>
            </a: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rough the portal. Not actively attesting within 90 days will be viewed as acceptance.</a:t>
            </a:r>
          </a:p>
          <a:p>
            <a:pPr lvl="1">
              <a:spcBef>
                <a:spcPct val="75000"/>
              </a:spcBef>
            </a:pP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Health and Human Services will </a:t>
            </a:r>
            <a:r>
              <a:rPr lang="en-US" sz="13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ost the names of payment recipients and amounts</a:t>
            </a: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on its public website for all providers that attest to PRF distributions</a:t>
            </a:r>
          </a:p>
          <a:p>
            <a:pPr lvl="1">
              <a:spcBef>
                <a:spcPct val="75000"/>
              </a:spcBef>
            </a:pP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cipients of &gt;$10,000 will be required to </a:t>
            </a:r>
            <a:r>
              <a:rPr lang="en-US" sz="13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ubmit reports about the use of their PRF distributions</a:t>
            </a:r>
            <a:endParaRPr lang="en-GB" sz="13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E314E13-4351-4D27-8640-E7C683019EE8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5228045" y="1142646"/>
            <a:ext cx="6367418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 marL="0" lvl="1" indent="0">
              <a:spcBef>
                <a:spcPct val="30000"/>
              </a:spcBef>
              <a:buNone/>
            </a:pPr>
            <a:r>
              <a:rPr lang="en-US" sz="13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ny</a:t>
            </a: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3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rovider of health care</a:t>
            </a:r>
            <a:r>
              <a:rPr lang="en-US" sz="1300" b="1" strike="sngStrik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</a:t>
            </a:r>
            <a:r>
              <a:rPr lang="en-US" sz="13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services, and support </a:t>
            </a: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 a medical setting, at home, or in the community is eligible for the Provider Relief Fund distributions, including: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93511EF2-5BE9-4BE9-93DC-540E873F3392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5228045" y="1646292"/>
            <a:ext cx="1889383" cy="228062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 lvl="1">
              <a:spcBef>
                <a:spcPct val="40000"/>
              </a:spcBef>
            </a:pP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Hospitals</a:t>
            </a:r>
          </a:p>
          <a:p>
            <a:pPr lvl="1">
              <a:spcBef>
                <a:spcPct val="40000"/>
              </a:spcBef>
            </a:pP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linics</a:t>
            </a:r>
          </a:p>
          <a:p>
            <a:pPr lvl="1">
              <a:spcBef>
                <a:spcPct val="40000"/>
              </a:spcBef>
            </a:pP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ehavioral health services</a:t>
            </a:r>
          </a:p>
          <a:p>
            <a:pPr lvl="1">
              <a:spcBef>
                <a:spcPct val="40000"/>
              </a:spcBef>
            </a:pP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ase management</a:t>
            </a:r>
          </a:p>
          <a:p>
            <a:pPr lvl="1">
              <a:spcBef>
                <a:spcPct val="40000"/>
              </a:spcBef>
            </a:pP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Home and community-based social support</a:t>
            </a:r>
          </a:p>
          <a:p>
            <a:pPr lvl="1">
              <a:spcBef>
                <a:spcPct val="40000"/>
              </a:spcBef>
            </a:pP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ental services</a:t>
            </a:r>
          </a:p>
          <a:p>
            <a:pPr lvl="1">
              <a:spcBef>
                <a:spcPct val="40000"/>
              </a:spcBef>
            </a:pP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elf directed providers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DAC2C839-6345-4D07-AA45-0216D31A9CAD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7467062" y="1646292"/>
            <a:ext cx="1889383" cy="228062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 lvl="1">
              <a:spcBef>
                <a:spcPct val="40000"/>
              </a:spcBef>
            </a:pP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mergency services</a:t>
            </a:r>
          </a:p>
          <a:p>
            <a:pPr lvl="1">
              <a:spcBef>
                <a:spcPct val="40000"/>
              </a:spcBef>
            </a:pP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Home health</a:t>
            </a:r>
          </a:p>
          <a:p>
            <a:pPr lvl="1">
              <a:spcBef>
                <a:spcPct val="40000"/>
              </a:spcBef>
            </a:pP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on-emergent medical transport</a:t>
            </a:r>
          </a:p>
          <a:p>
            <a:pPr lvl="1">
              <a:spcBef>
                <a:spcPct val="40000"/>
              </a:spcBef>
            </a:pP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ursing services</a:t>
            </a:r>
          </a:p>
          <a:p>
            <a:pPr lvl="1">
              <a:spcBef>
                <a:spcPct val="40000"/>
              </a:spcBef>
            </a:pP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B/GYN</a:t>
            </a:r>
          </a:p>
          <a:p>
            <a:pPr lvl="1">
              <a:spcBef>
                <a:spcPct val="40000"/>
              </a:spcBef>
            </a:pP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ediatrics</a:t>
            </a:r>
          </a:p>
          <a:p>
            <a:pPr lvl="1">
              <a:spcBef>
                <a:spcPct val="40000"/>
              </a:spcBef>
            </a:pP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rimary care</a:t>
            </a:r>
          </a:p>
          <a:p>
            <a:endParaRPr lang="en-US" sz="13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2B331089-E170-4603-8DC0-027D448151DA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9706080" y="1646292"/>
            <a:ext cx="1889383" cy="224061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 lvl="1">
              <a:spcBef>
                <a:spcPct val="40000"/>
              </a:spcBef>
            </a:pP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ther physician services</a:t>
            </a:r>
          </a:p>
          <a:p>
            <a:pPr lvl="1">
              <a:spcBef>
                <a:spcPct val="40000"/>
              </a:spcBef>
            </a:pP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sidential facilities</a:t>
            </a:r>
          </a:p>
          <a:p>
            <a:pPr lvl="1">
              <a:spcBef>
                <a:spcPct val="40000"/>
              </a:spcBef>
            </a:pP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ubstance abuse facilities</a:t>
            </a:r>
          </a:p>
          <a:p>
            <a:pPr lvl="1">
              <a:spcBef>
                <a:spcPct val="40000"/>
              </a:spcBef>
            </a:pP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gencies (foster care, services for people with intellectual or developmental disabilities)</a:t>
            </a:r>
          </a:p>
        </p:txBody>
      </p:sp>
      <p:sp>
        <p:nvSpPr>
          <p:cNvPr id="83" name="Title 1">
            <a:extLst>
              <a:ext uri="{FF2B5EF4-FFF2-40B4-BE49-F238E27FC236}">
                <a16:creationId xmlns:a16="http://schemas.microsoft.com/office/drawing/2014/main" id="{F9CDACFC-8801-4F9D-976B-F96CDF20E13C}"/>
              </a:ext>
            </a:extLst>
          </p:cNvPr>
          <p:cNvSpPr txBox="1">
            <a:spLocks/>
          </p:cNvSpPr>
          <p:nvPr/>
        </p:nvSpPr>
        <p:spPr bwMode="gray">
          <a:xfrm>
            <a:off x="5228045" y="640898"/>
            <a:ext cx="2733040" cy="430887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algn="l" defTabSz="12180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7135" algn="l"/>
              </a:tabLst>
              <a:defRPr lang="x-none" sz="20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2pPr>
            <a:lvl3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3pPr>
            <a:lvl4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4pPr>
            <a:lvl5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5pPr>
            <a:lvl6pPr marL="62197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6pPr>
            <a:lvl7pPr marL="1243941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7pPr>
            <a:lvl8pPr marL="1865909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8pPr>
            <a:lvl9pPr marL="248788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800" spc="-150" dirty="0"/>
              <a:t>Who is eligibl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0571A4F5-CF2C-44F8-8EF9-CE6CCC0C8069}"/>
              </a:ext>
            </a:extLst>
          </p:cNvPr>
          <p:cNvGrpSpPr/>
          <p:nvPr/>
        </p:nvGrpSpPr>
        <p:grpSpPr>
          <a:xfrm>
            <a:off x="346892" y="2851697"/>
            <a:ext cx="3827415" cy="2247572"/>
            <a:chOff x="346892" y="2947949"/>
            <a:chExt cx="3827415" cy="2247572"/>
          </a:xfrm>
        </p:grpSpPr>
        <p:sp>
          <p:nvSpPr>
            <p:cNvPr id="28" name="Title 1">
              <a:extLst>
                <a:ext uri="{FF2B5EF4-FFF2-40B4-BE49-F238E27FC236}">
                  <a16:creationId xmlns:a16="http://schemas.microsoft.com/office/drawing/2014/main" id="{ADC4168B-E8AB-4FAC-8BA1-DA8B471C0C1E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46892" y="2947949"/>
              <a:ext cx="3827415" cy="8617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algn="l" defTabSz="1218026" rtl="0" eaLnBrk="1" fontAlgn="base" hangingPunct="1">
                <a:spcBef>
                  <a:spcPct val="0"/>
                </a:spcBef>
                <a:spcAft>
                  <a:spcPct val="0"/>
                </a:spcAft>
                <a:tabLst>
                  <a:tab pos="367135" algn="l"/>
                </a:tabLst>
                <a:defRPr lang="x-none" sz="2000" b="1" baseline="0">
                  <a:solidFill>
                    <a:schemeClr val="tx2"/>
                  </a:solidFill>
                  <a:latin typeface="+mj-lt"/>
                  <a:ea typeface="+mj-ea"/>
                  <a:cs typeface="+mj-cs"/>
                </a:defRPr>
              </a:lvl1pPr>
              <a:lvl2pPr algn="l" defTabSz="1218026" rtl="0" eaLnBrk="1" fontAlgn="base" hangingPunct="1">
                <a:spcBef>
                  <a:spcPct val="0"/>
                </a:spcBef>
                <a:spcAft>
                  <a:spcPct val="0"/>
                </a:spcAft>
                <a:defRPr lang="x-none" sz="2584" b="1">
                  <a:solidFill>
                    <a:schemeClr val="tx2"/>
                  </a:solidFill>
                  <a:latin typeface="Arial" charset="0"/>
                </a:defRPr>
              </a:lvl2pPr>
              <a:lvl3pPr algn="l" defTabSz="1218026" rtl="0" eaLnBrk="1" fontAlgn="base" hangingPunct="1">
                <a:spcBef>
                  <a:spcPct val="0"/>
                </a:spcBef>
                <a:spcAft>
                  <a:spcPct val="0"/>
                </a:spcAft>
                <a:defRPr lang="x-none" sz="2584" b="1">
                  <a:solidFill>
                    <a:schemeClr val="tx2"/>
                  </a:solidFill>
                  <a:latin typeface="Arial" charset="0"/>
                </a:defRPr>
              </a:lvl3pPr>
              <a:lvl4pPr algn="l" defTabSz="1218026" rtl="0" eaLnBrk="1" fontAlgn="base" hangingPunct="1">
                <a:spcBef>
                  <a:spcPct val="0"/>
                </a:spcBef>
                <a:spcAft>
                  <a:spcPct val="0"/>
                </a:spcAft>
                <a:defRPr lang="x-none" sz="2584" b="1">
                  <a:solidFill>
                    <a:schemeClr val="tx2"/>
                  </a:solidFill>
                  <a:latin typeface="Arial" charset="0"/>
                </a:defRPr>
              </a:lvl4pPr>
              <a:lvl5pPr algn="l" defTabSz="1218026" rtl="0" eaLnBrk="1" fontAlgn="base" hangingPunct="1">
                <a:spcBef>
                  <a:spcPct val="0"/>
                </a:spcBef>
                <a:spcAft>
                  <a:spcPct val="0"/>
                </a:spcAft>
                <a:defRPr lang="x-none" sz="2584" b="1">
                  <a:solidFill>
                    <a:schemeClr val="tx2"/>
                  </a:solidFill>
                  <a:latin typeface="Arial" charset="0"/>
                </a:defRPr>
              </a:lvl5pPr>
              <a:lvl6pPr marL="621970" algn="l" defTabSz="1218026" rtl="0" eaLnBrk="1" fontAlgn="base" hangingPunct="1">
                <a:spcBef>
                  <a:spcPct val="0"/>
                </a:spcBef>
                <a:spcAft>
                  <a:spcPct val="0"/>
                </a:spcAft>
                <a:defRPr lang="x-none" sz="2584" b="1">
                  <a:solidFill>
                    <a:schemeClr val="tx2"/>
                  </a:solidFill>
                  <a:latin typeface="Arial" charset="0"/>
                </a:defRPr>
              </a:lvl6pPr>
              <a:lvl7pPr marL="1243941" algn="l" defTabSz="1218026" rtl="0" eaLnBrk="1" fontAlgn="base" hangingPunct="1">
                <a:spcBef>
                  <a:spcPct val="0"/>
                </a:spcBef>
                <a:spcAft>
                  <a:spcPct val="0"/>
                </a:spcAft>
                <a:defRPr lang="x-none" sz="2584" b="1">
                  <a:solidFill>
                    <a:schemeClr val="tx2"/>
                  </a:solidFill>
                  <a:latin typeface="Arial" charset="0"/>
                </a:defRPr>
              </a:lvl7pPr>
              <a:lvl8pPr marL="1865909" algn="l" defTabSz="1218026" rtl="0" eaLnBrk="1" fontAlgn="base" hangingPunct="1">
                <a:spcBef>
                  <a:spcPct val="0"/>
                </a:spcBef>
                <a:spcAft>
                  <a:spcPct val="0"/>
                </a:spcAft>
                <a:defRPr lang="x-none" sz="2584" b="1">
                  <a:solidFill>
                    <a:schemeClr val="tx2"/>
                  </a:solidFill>
                  <a:latin typeface="Arial" charset="0"/>
                </a:defRPr>
              </a:lvl8pPr>
              <a:lvl9pPr marL="2487880" algn="l" defTabSz="1218026" rtl="0" eaLnBrk="1" fontAlgn="base" hangingPunct="1">
                <a:spcBef>
                  <a:spcPct val="0"/>
                </a:spcBef>
                <a:spcAft>
                  <a:spcPct val="0"/>
                </a:spcAft>
                <a:defRPr lang="x-none" sz="2584" b="1">
                  <a:solidFill>
                    <a:schemeClr val="tx2"/>
                  </a:solidFill>
                  <a:latin typeface="Arial" charset="0"/>
                </a:defRPr>
              </a:lvl9pPr>
            </a:lstStyle>
            <a:p>
              <a:r>
                <a:rPr lang="en-US" sz="1400" b="0" kern="0" spc="-5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Through the Coronavirus Aid, Relief, and Economic Security (CARES) Act and the Paycheck Protection Program and Health Care Enhancement Act (PPPCHE), the federal government has allocated</a:t>
              </a:r>
            </a:p>
          </p:txBody>
        </p:sp>
        <p:sp>
          <p:nvSpPr>
            <p:cNvPr id="29" name="Title 1">
              <a:extLst>
                <a:ext uri="{FF2B5EF4-FFF2-40B4-BE49-F238E27FC236}">
                  <a16:creationId xmlns:a16="http://schemas.microsoft.com/office/drawing/2014/main" id="{17992B60-CE65-446D-9242-CCBFCBD47C78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24702" y="4562961"/>
              <a:ext cx="3071794" cy="4308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noAutofit/>
            </a:bodyPr>
            <a:lstStyle>
              <a:lvl1pPr algn="l" defTabSz="1218026" rtl="0" eaLnBrk="1" fontAlgn="base" hangingPunct="1">
                <a:spcBef>
                  <a:spcPct val="0"/>
                </a:spcBef>
                <a:spcAft>
                  <a:spcPct val="0"/>
                </a:spcAft>
                <a:tabLst>
                  <a:tab pos="367135" algn="l"/>
                </a:tabLst>
                <a:defRPr lang="x-none" sz="2000" b="1" baseline="0">
                  <a:solidFill>
                    <a:schemeClr val="tx2"/>
                  </a:solidFill>
                  <a:latin typeface="+mj-lt"/>
                  <a:ea typeface="+mj-ea"/>
                  <a:cs typeface="+mj-cs"/>
                </a:defRPr>
              </a:lvl1pPr>
              <a:lvl2pPr algn="l" defTabSz="1218026" rtl="0" eaLnBrk="1" fontAlgn="base" hangingPunct="1">
                <a:spcBef>
                  <a:spcPct val="0"/>
                </a:spcBef>
                <a:spcAft>
                  <a:spcPct val="0"/>
                </a:spcAft>
                <a:defRPr lang="x-none" sz="2584" b="1">
                  <a:solidFill>
                    <a:schemeClr val="tx2"/>
                  </a:solidFill>
                  <a:latin typeface="Arial" charset="0"/>
                </a:defRPr>
              </a:lvl2pPr>
              <a:lvl3pPr algn="l" defTabSz="1218026" rtl="0" eaLnBrk="1" fontAlgn="base" hangingPunct="1">
                <a:spcBef>
                  <a:spcPct val="0"/>
                </a:spcBef>
                <a:spcAft>
                  <a:spcPct val="0"/>
                </a:spcAft>
                <a:defRPr lang="x-none" sz="2584" b="1">
                  <a:solidFill>
                    <a:schemeClr val="tx2"/>
                  </a:solidFill>
                  <a:latin typeface="Arial" charset="0"/>
                </a:defRPr>
              </a:lvl3pPr>
              <a:lvl4pPr algn="l" defTabSz="1218026" rtl="0" eaLnBrk="1" fontAlgn="base" hangingPunct="1">
                <a:spcBef>
                  <a:spcPct val="0"/>
                </a:spcBef>
                <a:spcAft>
                  <a:spcPct val="0"/>
                </a:spcAft>
                <a:defRPr lang="x-none" sz="2584" b="1">
                  <a:solidFill>
                    <a:schemeClr val="tx2"/>
                  </a:solidFill>
                  <a:latin typeface="Arial" charset="0"/>
                </a:defRPr>
              </a:lvl4pPr>
              <a:lvl5pPr algn="l" defTabSz="1218026" rtl="0" eaLnBrk="1" fontAlgn="base" hangingPunct="1">
                <a:spcBef>
                  <a:spcPct val="0"/>
                </a:spcBef>
                <a:spcAft>
                  <a:spcPct val="0"/>
                </a:spcAft>
                <a:defRPr lang="x-none" sz="2584" b="1">
                  <a:solidFill>
                    <a:schemeClr val="tx2"/>
                  </a:solidFill>
                  <a:latin typeface="Arial" charset="0"/>
                </a:defRPr>
              </a:lvl5pPr>
              <a:lvl6pPr marL="621970" algn="l" defTabSz="1218026" rtl="0" eaLnBrk="1" fontAlgn="base" hangingPunct="1">
                <a:spcBef>
                  <a:spcPct val="0"/>
                </a:spcBef>
                <a:spcAft>
                  <a:spcPct val="0"/>
                </a:spcAft>
                <a:defRPr lang="x-none" sz="2584" b="1">
                  <a:solidFill>
                    <a:schemeClr val="tx2"/>
                  </a:solidFill>
                  <a:latin typeface="Arial" charset="0"/>
                </a:defRPr>
              </a:lvl6pPr>
              <a:lvl7pPr marL="1243941" algn="l" defTabSz="1218026" rtl="0" eaLnBrk="1" fontAlgn="base" hangingPunct="1">
                <a:spcBef>
                  <a:spcPct val="0"/>
                </a:spcBef>
                <a:spcAft>
                  <a:spcPct val="0"/>
                </a:spcAft>
                <a:defRPr lang="x-none" sz="2584" b="1">
                  <a:solidFill>
                    <a:schemeClr val="tx2"/>
                  </a:solidFill>
                  <a:latin typeface="Arial" charset="0"/>
                </a:defRPr>
              </a:lvl7pPr>
              <a:lvl8pPr marL="1865909" algn="l" defTabSz="1218026" rtl="0" eaLnBrk="1" fontAlgn="base" hangingPunct="1">
                <a:spcBef>
                  <a:spcPct val="0"/>
                </a:spcBef>
                <a:spcAft>
                  <a:spcPct val="0"/>
                </a:spcAft>
                <a:defRPr lang="x-none" sz="2584" b="1">
                  <a:solidFill>
                    <a:schemeClr val="tx2"/>
                  </a:solidFill>
                  <a:latin typeface="Arial" charset="0"/>
                </a:defRPr>
              </a:lvl8pPr>
              <a:lvl9pPr marL="2487880" algn="l" defTabSz="1218026" rtl="0" eaLnBrk="1" fontAlgn="base" hangingPunct="1">
                <a:spcBef>
                  <a:spcPct val="0"/>
                </a:spcBef>
                <a:spcAft>
                  <a:spcPct val="0"/>
                </a:spcAft>
                <a:defRPr lang="x-none" sz="2584" b="1">
                  <a:solidFill>
                    <a:schemeClr val="tx2"/>
                  </a:solidFill>
                  <a:latin typeface="Arial" charset="0"/>
                </a:defRPr>
              </a:lvl9pPr>
            </a:lstStyle>
            <a:p>
              <a:pPr algn="ctr"/>
              <a:r>
                <a:rPr lang="en-US" sz="1400" b="0" kern="0" spc="-5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in payments to be distributed through the Provider Relief Fund (PRF)</a:t>
              </a:r>
            </a:p>
          </p:txBody>
        </p:sp>
        <p:sp>
          <p:nvSpPr>
            <p:cNvPr id="30" name="Title 1">
              <a:extLst>
                <a:ext uri="{FF2B5EF4-FFF2-40B4-BE49-F238E27FC236}">
                  <a16:creationId xmlns:a16="http://schemas.microsoft.com/office/drawing/2014/main" id="{206A672E-D688-4BA3-AC88-495C330C813F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94079" y="4132074"/>
              <a:ext cx="2733040" cy="430887"/>
            </a:xfrm>
            <a:prstGeom prst="rect">
              <a:avLst/>
            </a:prstGeom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noAutofit/>
            </a:bodyPr>
            <a:lstStyle>
              <a:lvl1pPr algn="l" defTabSz="1218026" rtl="0" eaLnBrk="1" fontAlgn="base" hangingPunct="1">
                <a:spcBef>
                  <a:spcPct val="0"/>
                </a:spcBef>
                <a:spcAft>
                  <a:spcPct val="0"/>
                </a:spcAft>
                <a:tabLst>
                  <a:tab pos="367135" algn="l"/>
                </a:tabLst>
                <a:defRPr lang="x-none" sz="2000" b="1" baseline="0">
                  <a:solidFill>
                    <a:schemeClr val="tx2"/>
                  </a:solidFill>
                  <a:latin typeface="+mj-lt"/>
                  <a:ea typeface="+mj-ea"/>
                  <a:cs typeface="+mj-cs"/>
                </a:defRPr>
              </a:lvl1pPr>
              <a:lvl2pPr algn="l" defTabSz="1218026" rtl="0" eaLnBrk="1" fontAlgn="base" hangingPunct="1">
                <a:spcBef>
                  <a:spcPct val="0"/>
                </a:spcBef>
                <a:spcAft>
                  <a:spcPct val="0"/>
                </a:spcAft>
                <a:defRPr lang="x-none" sz="2584" b="1">
                  <a:solidFill>
                    <a:schemeClr val="tx2"/>
                  </a:solidFill>
                  <a:latin typeface="Arial" charset="0"/>
                </a:defRPr>
              </a:lvl2pPr>
              <a:lvl3pPr algn="l" defTabSz="1218026" rtl="0" eaLnBrk="1" fontAlgn="base" hangingPunct="1">
                <a:spcBef>
                  <a:spcPct val="0"/>
                </a:spcBef>
                <a:spcAft>
                  <a:spcPct val="0"/>
                </a:spcAft>
                <a:defRPr lang="x-none" sz="2584" b="1">
                  <a:solidFill>
                    <a:schemeClr val="tx2"/>
                  </a:solidFill>
                  <a:latin typeface="Arial" charset="0"/>
                </a:defRPr>
              </a:lvl3pPr>
              <a:lvl4pPr algn="l" defTabSz="1218026" rtl="0" eaLnBrk="1" fontAlgn="base" hangingPunct="1">
                <a:spcBef>
                  <a:spcPct val="0"/>
                </a:spcBef>
                <a:spcAft>
                  <a:spcPct val="0"/>
                </a:spcAft>
                <a:defRPr lang="x-none" sz="2584" b="1">
                  <a:solidFill>
                    <a:schemeClr val="tx2"/>
                  </a:solidFill>
                  <a:latin typeface="Arial" charset="0"/>
                </a:defRPr>
              </a:lvl4pPr>
              <a:lvl5pPr algn="l" defTabSz="1218026" rtl="0" eaLnBrk="1" fontAlgn="base" hangingPunct="1">
                <a:spcBef>
                  <a:spcPct val="0"/>
                </a:spcBef>
                <a:spcAft>
                  <a:spcPct val="0"/>
                </a:spcAft>
                <a:defRPr lang="x-none" sz="2584" b="1">
                  <a:solidFill>
                    <a:schemeClr val="tx2"/>
                  </a:solidFill>
                  <a:latin typeface="Arial" charset="0"/>
                </a:defRPr>
              </a:lvl5pPr>
              <a:lvl6pPr marL="621970" algn="l" defTabSz="1218026" rtl="0" eaLnBrk="1" fontAlgn="base" hangingPunct="1">
                <a:spcBef>
                  <a:spcPct val="0"/>
                </a:spcBef>
                <a:spcAft>
                  <a:spcPct val="0"/>
                </a:spcAft>
                <a:defRPr lang="x-none" sz="2584" b="1">
                  <a:solidFill>
                    <a:schemeClr val="tx2"/>
                  </a:solidFill>
                  <a:latin typeface="Arial" charset="0"/>
                </a:defRPr>
              </a:lvl6pPr>
              <a:lvl7pPr marL="1243941" algn="l" defTabSz="1218026" rtl="0" eaLnBrk="1" fontAlgn="base" hangingPunct="1">
                <a:spcBef>
                  <a:spcPct val="0"/>
                </a:spcBef>
                <a:spcAft>
                  <a:spcPct val="0"/>
                </a:spcAft>
                <a:defRPr lang="x-none" sz="2584" b="1">
                  <a:solidFill>
                    <a:schemeClr val="tx2"/>
                  </a:solidFill>
                  <a:latin typeface="Arial" charset="0"/>
                </a:defRPr>
              </a:lvl7pPr>
              <a:lvl8pPr marL="1865909" algn="l" defTabSz="1218026" rtl="0" eaLnBrk="1" fontAlgn="base" hangingPunct="1">
                <a:spcBef>
                  <a:spcPct val="0"/>
                </a:spcBef>
                <a:spcAft>
                  <a:spcPct val="0"/>
                </a:spcAft>
                <a:defRPr lang="x-none" sz="2584" b="1">
                  <a:solidFill>
                    <a:schemeClr val="tx2"/>
                  </a:solidFill>
                  <a:latin typeface="Arial" charset="0"/>
                </a:defRPr>
              </a:lvl8pPr>
              <a:lvl9pPr marL="2487880" algn="l" defTabSz="1218026" rtl="0" eaLnBrk="1" fontAlgn="base" hangingPunct="1">
                <a:spcBef>
                  <a:spcPct val="0"/>
                </a:spcBef>
                <a:spcAft>
                  <a:spcPct val="0"/>
                </a:spcAft>
                <a:defRPr lang="x-none" sz="2584" b="1">
                  <a:solidFill>
                    <a:schemeClr val="tx2"/>
                  </a:solidFill>
                  <a:latin typeface="Arial" charset="0"/>
                </a:defRPr>
              </a:lvl9pPr>
            </a:lstStyle>
            <a:p>
              <a:pPr algn="ctr"/>
              <a:r>
                <a:rPr lang="en-US" sz="2800" spc="-150" dirty="0"/>
                <a:t>$175 billion</a:t>
              </a:r>
            </a:p>
          </p:txBody>
        </p:sp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72643665-3C58-4D7D-A98E-899B8BB70DBB}"/>
                </a:ext>
              </a:extLst>
            </p:cNvPr>
            <p:cNvSpPr>
              <a:spLocks/>
            </p:cNvSpPr>
            <p:nvPr/>
          </p:nvSpPr>
          <p:spPr>
            <a:xfrm>
              <a:off x="646356" y="3930401"/>
              <a:ext cx="3228486" cy="1265120"/>
            </a:xfrm>
            <a:prstGeom prst="rect">
              <a:avLst/>
            </a:prstGeom>
            <a:no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600">
                <a:solidFill>
                  <a:schemeClr val="tx1"/>
                </a:solidFill>
              </a:endParaRP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010DF39B-78F8-49F3-8701-1EDC058882AB}"/>
              </a:ext>
            </a:extLst>
          </p:cNvPr>
          <p:cNvGrpSpPr/>
          <p:nvPr/>
        </p:nvGrpSpPr>
        <p:grpSpPr>
          <a:xfrm>
            <a:off x="2050256" y="6152710"/>
            <a:ext cx="1957865" cy="366522"/>
            <a:chOff x="2050256" y="6079331"/>
            <a:chExt cx="1957865" cy="366522"/>
          </a:xfrm>
        </p:grpSpPr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71209CE7-0933-4557-89BC-67ABB50587A2}"/>
                </a:ext>
              </a:extLst>
            </p:cNvPr>
            <p:cNvSpPr>
              <a:spLocks/>
            </p:cNvSpPr>
            <p:nvPr/>
          </p:nvSpPr>
          <p:spPr>
            <a:xfrm>
              <a:off x="2050256" y="6079331"/>
              <a:ext cx="1957865" cy="366522"/>
            </a:xfrm>
            <a:prstGeom prst="roundRect">
              <a:avLst>
                <a:gd name="adj" fmla="val 0"/>
              </a:avLst>
            </a:prstGeom>
            <a:solidFill>
              <a:srgbClr val="A3313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Ins="91440" rtlCol="0" anchor="ctr">
              <a:noAutofit/>
            </a:bodyPr>
            <a:lstStyle/>
            <a:p>
              <a:pPr algn="ctr">
                <a:buClr>
                  <a:schemeClr val="bg1"/>
                </a:buClr>
              </a:pPr>
              <a:r>
                <a:rPr lang="en-US" sz="1400" b="1" spc="-50" dirty="0">
                  <a:solidFill>
                    <a:schemeClr val="bg1"/>
                  </a:solidFill>
                  <a:latin typeface="+mj-lt"/>
                  <a:ea typeface="+mj-ea"/>
                  <a:cs typeface="+mj-cs"/>
                </a:rPr>
                <a:t>Click here to apply!</a:t>
              </a:r>
            </a:p>
          </p:txBody>
        </p:sp>
        <p:sp>
          <p:nvSpPr>
            <p:cNvPr id="10" name="Rectangle 9">
              <a:hlinkClick r:id="rId12"/>
              <a:extLst>
                <a:ext uri="{FF2B5EF4-FFF2-40B4-BE49-F238E27FC236}">
                  <a16:creationId xmlns:a16="http://schemas.microsoft.com/office/drawing/2014/main" id="{FE84325B-4242-4633-BBD3-A7E3D185C101}"/>
                </a:ext>
              </a:extLst>
            </p:cNvPr>
            <p:cNvSpPr>
              <a:spLocks/>
            </p:cNvSpPr>
            <p:nvPr/>
          </p:nvSpPr>
          <p:spPr>
            <a:xfrm>
              <a:off x="2050256" y="6079331"/>
              <a:ext cx="1957865" cy="366522"/>
            </a:xfrm>
            <a:prstGeom prst="rect">
              <a:avLst/>
            </a:prstGeom>
            <a:solidFill>
              <a:schemeClr val="accent1">
                <a:alpha val="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600">
                <a:solidFill>
                  <a:schemeClr val="tx1"/>
                </a:solidFill>
              </a:endParaRPr>
            </a:p>
          </p:txBody>
        </p:sp>
      </p:grpSp>
      <p:sp>
        <p:nvSpPr>
          <p:cNvPr id="23" name="5. Source">
            <a:extLst>
              <a:ext uri="{FF2B5EF4-FFF2-40B4-BE49-F238E27FC236}">
                <a16:creationId xmlns:a16="http://schemas.microsoft.com/office/drawing/2014/main" id="{D839A0C1-C7E4-4849-8FD4-9E438FCE82C9}"/>
              </a:ext>
            </a:extLst>
          </p:cNvPr>
          <p:cNvSpPr>
            <a:spLocks noChangeArrowheads="1"/>
          </p:cNvSpPr>
          <p:nvPr/>
        </p:nvSpPr>
        <p:spPr bwMode="gray">
          <a:xfrm>
            <a:off x="346893" y="6642955"/>
            <a:ext cx="9531411" cy="123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519113" indent="-519113" defTabSz="1218026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  <a:hlinkClick r:id="rId13"/>
              </a:rPr>
              <a:t>Provider Relief Fund website</a:t>
            </a:r>
            <a:endParaRPr lang="en-US" sz="8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5000555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F248A7D-3B67-4A96-A17B-934BDB88CF7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0849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763" name="think-cell Slide" r:id="rId12" imgW="395" imgH="394" progId="TCLayout.ActiveDocument.1">
                  <p:embed/>
                </p:oleObj>
              </mc:Choice>
              <mc:Fallback>
                <p:oleObj name="think-cell Slide" r:id="rId12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F248A7D-3B67-4A96-A17B-934BDB88CF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508E529-05F4-430F-BCED-EECD29766EC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7F5C7E36-295D-4B0B-8B40-E65CF81DE6E0}"/>
              </a:ext>
            </a:extLst>
          </p:cNvPr>
          <p:cNvSpPr txBox="1">
            <a:spLocks/>
          </p:cNvSpPr>
          <p:nvPr/>
        </p:nvSpPr>
        <p:spPr bwMode="gray">
          <a:xfrm>
            <a:off x="346891" y="278741"/>
            <a:ext cx="5004223" cy="8617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algn="l" defTabSz="12180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7135" algn="l"/>
              </a:tabLst>
              <a:defRPr lang="x-none" sz="20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2pPr>
            <a:lvl3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3pPr>
            <a:lvl4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4pPr>
            <a:lvl5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5pPr>
            <a:lvl6pPr marL="62197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6pPr>
            <a:lvl7pPr marL="1243941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7pPr>
            <a:lvl8pPr marL="1865909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8pPr>
            <a:lvl9pPr marL="248788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3000"/>
              </a:lnSpc>
            </a:pPr>
            <a:r>
              <a:rPr lang="en-US" sz="2800" spc="-150" dirty="0">
                <a:solidFill>
                  <a:srgbClr val="A33134"/>
                </a:solidFill>
              </a:rPr>
              <a:t>Phase 2</a:t>
            </a:r>
          </a:p>
          <a:p>
            <a:pPr>
              <a:lnSpc>
                <a:spcPts val="3000"/>
              </a:lnSpc>
            </a:pPr>
            <a:r>
              <a:rPr lang="en-US" sz="2800" spc="-150" dirty="0">
                <a:solidFill>
                  <a:srgbClr val="005F9E"/>
                </a:solidFill>
              </a:rPr>
              <a:t>General Distribution</a:t>
            </a:r>
            <a:endParaRPr lang="en-US" sz="2800" kern="0" spc="-150" dirty="0">
              <a:solidFill>
                <a:srgbClr val="005F9E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14103F5-50F2-4EE4-B050-A99FFB6C94C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4036611" y="361147"/>
            <a:ext cx="7792315" cy="83099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 marL="0" lvl="1" indent="0">
              <a:spcBef>
                <a:spcPct val="50000"/>
              </a:spcBef>
              <a:buNone/>
            </a:pPr>
            <a:r>
              <a:rPr lang="en-US" sz="1800" kern="0" spc="-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rPr>
              <a:t>The PRF is </a:t>
            </a:r>
            <a:r>
              <a:rPr lang="en-US" sz="1800" b="1" kern="0" spc="-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rPr>
              <a:t>currently allocating Phase 2 General Distribution funding</a:t>
            </a:r>
            <a:r>
              <a:rPr lang="en-US" sz="1800" kern="0" spc="-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rPr>
              <a:t> for Medicare, Medicaid, Medicaid Managed Care, CHIP, and dental providers.</a:t>
            </a:r>
            <a:br>
              <a:rPr lang="en-US" sz="1800" kern="0" spc="-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rPr>
            </a:br>
            <a:r>
              <a:rPr lang="en-US" sz="1800" kern="0" spc="-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rPr>
              <a:t>The deadline for TIN validation is </a:t>
            </a:r>
            <a:r>
              <a:rPr lang="en-US" sz="1800" b="1" kern="0" spc="-5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rPr>
              <a:t>August 28, 2020 at 11:59pm ET</a:t>
            </a:r>
            <a:endParaRPr lang="en-US" sz="1800" kern="0" spc="-50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+mj-ea"/>
              <a:cs typeface="+mj-cs"/>
            </a:endParaRP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E843B33-0726-43D9-B36A-CE718B53B449}"/>
              </a:ext>
            </a:extLst>
          </p:cNvPr>
          <p:cNvCxnSpPr>
            <a:cxnSpLocks/>
          </p:cNvCxnSpPr>
          <p:nvPr/>
        </p:nvCxnSpPr>
        <p:spPr>
          <a:xfrm>
            <a:off x="3865862" y="361147"/>
            <a:ext cx="0" cy="861774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00" name="5. Source">
            <a:extLst>
              <a:ext uri="{FF2B5EF4-FFF2-40B4-BE49-F238E27FC236}">
                <a16:creationId xmlns:a16="http://schemas.microsoft.com/office/drawing/2014/main" id="{0E4EA8E2-2892-4C93-8D56-B57784642B0C}"/>
              </a:ext>
            </a:extLst>
          </p:cNvPr>
          <p:cNvSpPr>
            <a:spLocks noChangeArrowheads="1"/>
          </p:cNvSpPr>
          <p:nvPr/>
        </p:nvSpPr>
        <p:spPr bwMode="gray">
          <a:xfrm>
            <a:off x="346893" y="6642955"/>
            <a:ext cx="9531411" cy="123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519113" indent="-519113" defTabSz="1218026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  <a:hlinkClick r:id="rId14"/>
              </a:rPr>
              <a:t>Provider Relief Fund website</a:t>
            </a:r>
            <a:endParaRPr lang="en-US" sz="8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E273AF31-4E6B-41E8-B49B-77F9AAC2BF6A}"/>
              </a:ext>
            </a:extLst>
          </p:cNvPr>
          <p:cNvGrpSpPr/>
          <p:nvPr/>
        </p:nvGrpSpPr>
        <p:grpSpPr>
          <a:xfrm>
            <a:off x="256108" y="1636037"/>
            <a:ext cx="11679784" cy="4698228"/>
            <a:chOff x="256108" y="1636037"/>
            <a:chExt cx="11679784" cy="4698228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0FF47840-0624-4A9F-8247-BA5BA8A9768F}"/>
                </a:ext>
              </a:extLst>
            </p:cNvPr>
            <p:cNvGrpSpPr/>
            <p:nvPr/>
          </p:nvGrpSpPr>
          <p:grpSpPr>
            <a:xfrm>
              <a:off x="256108" y="1636037"/>
              <a:ext cx="11679784" cy="4048086"/>
              <a:chOff x="256108" y="1804400"/>
              <a:chExt cx="11679784" cy="4048086"/>
            </a:xfrm>
          </p:grpSpPr>
          <p:pic>
            <p:nvPicPr>
              <p:cNvPr id="2" name="Graphic 1">
                <a:extLst>
                  <a:ext uri="{FF2B5EF4-FFF2-40B4-BE49-F238E27FC236}">
                    <a16:creationId xmlns:a16="http://schemas.microsoft.com/office/drawing/2014/main" id="{73368A5B-9D78-468B-A56D-BF5BFF9602B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>
                <a:extLst>
                  <a:ext uri="{96DAC541-7B7A-43D3-8B79-37D633B846F1}">
                    <asvg:svgBlip xmlns:asvg="http://schemas.microsoft.com/office/drawing/2016/SVG/main" xmlns="" r:embed="rId16"/>
                  </a:ext>
                </a:extLst>
              </a:blip>
              <a:stretch>
                <a:fillRect/>
              </a:stretch>
            </p:blipFill>
            <p:spPr>
              <a:xfrm>
                <a:off x="294623" y="2896239"/>
                <a:ext cx="1825428" cy="1545687"/>
              </a:xfrm>
              <a:prstGeom prst="rect">
                <a:avLst/>
              </a:prstGeom>
            </p:spPr>
          </p:pic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D12E4BEF-8DBA-42D3-97DB-6DDA8840248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56108" y="1804400"/>
                <a:ext cx="11679784" cy="461665"/>
              </a:xfrm>
              <a:prstGeom prst="rect">
                <a:avLst/>
              </a:prstGeom>
              <a:no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spAutoFit/>
              </a:bodyPr>
              <a:lstStyle/>
              <a:p>
                <a:r>
                  <a:rPr lang="en-US" sz="2400" b="1" spc="-150" dirty="0">
                    <a:solidFill>
                      <a:schemeClr val="tx2"/>
                    </a:solidFill>
                    <a:latin typeface="+mj-lt"/>
                    <a:ea typeface="+mj-ea"/>
                    <a:cs typeface="+mj-cs"/>
                  </a:rPr>
                  <a:t>6 actions for providers interested in receiving Phase 2 General Distribution funding</a:t>
                </a:r>
              </a:p>
            </p:txBody>
          </p:sp>
          <p:sp>
            <p:nvSpPr>
              <p:cNvPr id="13" name="TitleTrackerNum 7">
                <a:extLst>
                  <a:ext uri="{FF2B5EF4-FFF2-40B4-BE49-F238E27FC236}">
                    <a16:creationId xmlns:a16="http://schemas.microsoft.com/office/drawing/2014/main" id="{F4C26087-2A07-419E-8E6A-B3D5B9716D92}"/>
                  </a:ext>
                </a:extLst>
              </p:cNvPr>
              <p:cNvSpPr/>
              <p:nvPr>
                <p:custDataLst>
                  <p:tags r:id="rId5"/>
                </p:custDataLst>
              </p:nvPr>
            </p:nvSpPr>
            <p:spPr>
              <a:xfrm>
                <a:off x="430922" y="4570628"/>
                <a:ext cx="340408" cy="340409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rtlCol="0" anchor="ctr" anchorCtr="1"/>
              <a:lstStyle/>
              <a:p>
                <a:pPr algn="ctr"/>
                <a:r>
                  <a:rPr lang="en-US" sz="4000" b="1" dirty="0">
                    <a:solidFill>
                      <a:srgbClr val="A33134"/>
                    </a:solidFill>
                    <a:latin typeface="+mj-lt"/>
                  </a:rPr>
                  <a:t>1</a:t>
                </a:r>
              </a:p>
            </p:txBody>
          </p:sp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A7083B25-7DCD-47C7-9972-C4C3710AA793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30922" y="5113822"/>
                <a:ext cx="1314007" cy="492443"/>
              </a:xfrm>
              <a:prstGeom prst="rect">
                <a:avLst/>
              </a:prstGeom>
            </p:spPr>
            <p:txBody>
              <a:bodyPr vert="horz" wrap="square" lIns="0" tIns="0" rIns="0" bIns="0" rtlCol="0" anchor="t" anchorCtr="0">
                <a:spAutoFit/>
              </a:bodyPr>
              <a:lstStyle>
                <a:lvl1pPr marL="0" lvl="0" indent="0" defTabSz="1218026" eaLnBrk="1" latinLnBrk="0" hangingPunct="1">
                  <a:buClr>
                    <a:schemeClr val="tx2"/>
                  </a:buClr>
                  <a:buSzPct val="100000"/>
                  <a:defRPr lang="x-none" sz="1600" baseline="0">
                    <a:latin typeface="+mn-lt"/>
                  </a:defRPr>
                </a:lvl1pPr>
                <a:lvl2pPr marL="192024" lvl="1" indent="-192024" defTabSz="1218026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lang="x-none" sz="1600" baseline="0">
                    <a:latin typeface="+mn-lt"/>
                  </a:defRPr>
                </a:lvl2pPr>
                <a:lvl3pPr marL="457200" lvl="2" indent="-265176" defTabSz="1218026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lang="x-none" sz="1600" baseline="0">
                    <a:latin typeface="+mn-lt"/>
                  </a:defRPr>
                </a:lvl3pPr>
                <a:lvl4pPr marL="612648" lvl="3" indent="-155448" defTabSz="1218026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lang="x-none" sz="1600" baseline="0">
                    <a:latin typeface="+mn-lt"/>
                  </a:defRPr>
                </a:lvl4pPr>
                <a:lvl5pPr marL="749808" lvl="4" indent="-128016" defTabSz="1218026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1600" baseline="0">
                    <a:latin typeface="+mn-lt"/>
                  </a:defRPr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9pPr>
              </a:lstStyle>
              <a:p>
                <a:r>
                  <a:rPr lang="en-GB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Determine eligibility</a:t>
                </a:r>
              </a:p>
            </p:txBody>
          </p:sp>
          <p:sp>
            <p:nvSpPr>
              <p:cNvPr id="10" name="TitleTrackerNum 7">
                <a:extLst>
                  <a:ext uri="{FF2B5EF4-FFF2-40B4-BE49-F238E27FC236}">
                    <a16:creationId xmlns:a16="http://schemas.microsoft.com/office/drawing/2014/main" id="{9E81AD62-78FF-4E4A-A904-FEE7B5626EE1}"/>
                  </a:ext>
                </a:extLst>
              </p:cNvPr>
              <p:cNvSpPr/>
              <p:nvPr>
                <p:custDataLst>
                  <p:tags r:id="rId6"/>
                </p:custDataLst>
              </p:nvPr>
            </p:nvSpPr>
            <p:spPr>
              <a:xfrm>
                <a:off x="2434152" y="4570628"/>
                <a:ext cx="340408" cy="340409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rtlCol="0" anchor="ctr" anchorCtr="1"/>
              <a:lstStyle/>
              <a:p>
                <a:pPr algn="ctr"/>
                <a:r>
                  <a:rPr lang="en-US" sz="4000" b="1" dirty="0">
                    <a:solidFill>
                      <a:srgbClr val="A33134"/>
                    </a:solidFill>
                    <a:latin typeface="+mj-lt"/>
                  </a:rPr>
                  <a:t>2</a:t>
                </a:r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224AAF01-5CE9-4451-9D5A-FD7EEA3B645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434152" y="5113822"/>
                <a:ext cx="1314007" cy="738664"/>
              </a:xfrm>
              <a:prstGeom prst="rect">
                <a:avLst/>
              </a:prstGeom>
            </p:spPr>
            <p:txBody>
              <a:bodyPr vert="horz" wrap="square" lIns="0" tIns="0" rIns="0" bIns="0" rtlCol="0" anchor="t" anchorCtr="0">
                <a:spAutoFit/>
              </a:bodyPr>
              <a:lstStyle>
                <a:lvl1pPr marL="0" lvl="0" indent="0" defTabSz="1218026" eaLnBrk="1" latinLnBrk="0" hangingPunct="1">
                  <a:buClr>
                    <a:schemeClr val="tx2"/>
                  </a:buClr>
                  <a:buSzPct val="100000"/>
                  <a:defRPr lang="x-none" sz="1600" baseline="0">
                    <a:latin typeface="+mn-lt"/>
                  </a:defRPr>
                </a:lvl1pPr>
                <a:lvl2pPr marL="192024" lvl="1" indent="-192024" defTabSz="1218026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lang="x-none" sz="1600" baseline="0">
                    <a:latin typeface="+mn-lt"/>
                  </a:defRPr>
                </a:lvl2pPr>
                <a:lvl3pPr marL="457200" lvl="2" indent="-265176" defTabSz="1218026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lang="x-none" sz="1600" baseline="0">
                    <a:latin typeface="+mn-lt"/>
                  </a:defRPr>
                </a:lvl3pPr>
                <a:lvl4pPr marL="612648" lvl="3" indent="-155448" defTabSz="1218026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lang="x-none" sz="1600" baseline="0">
                    <a:latin typeface="+mn-lt"/>
                  </a:defRPr>
                </a:lvl4pPr>
                <a:lvl5pPr marL="749808" lvl="4" indent="-128016" defTabSz="1218026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1600" baseline="0">
                    <a:latin typeface="+mn-lt"/>
                  </a:defRPr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9pPr>
              </a:lstStyle>
              <a:p>
                <a:r>
                  <a:rPr lang="en-GB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Validate </a:t>
                </a:r>
                <a:br>
                  <a:rPr lang="en-GB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</a:br>
                <a:r>
                  <a:rPr lang="en-GB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Tax ID Number (TIN)</a:t>
                </a:r>
                <a:endParaRPr lang="en-GB" dirty="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  <p:sp>
            <p:nvSpPr>
              <p:cNvPr id="11" name="TitleTrackerNum 7">
                <a:extLst>
                  <a:ext uri="{FF2B5EF4-FFF2-40B4-BE49-F238E27FC236}">
                    <a16:creationId xmlns:a16="http://schemas.microsoft.com/office/drawing/2014/main" id="{0A2FA575-8F7F-4D2B-AF61-1A56BDB5AD00}"/>
                  </a:ext>
                </a:extLst>
              </p:cNvPr>
              <p:cNvSpPr/>
              <p:nvPr>
                <p:custDataLst>
                  <p:tags r:id="rId7"/>
                </p:custDataLst>
              </p:nvPr>
            </p:nvSpPr>
            <p:spPr>
              <a:xfrm>
                <a:off x="6440612" y="4570628"/>
                <a:ext cx="340408" cy="340409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rtlCol="0" anchor="ctr" anchorCtr="1"/>
              <a:lstStyle/>
              <a:p>
                <a:pPr algn="ctr"/>
                <a:r>
                  <a:rPr lang="en-US" sz="4000" b="1" dirty="0">
                    <a:solidFill>
                      <a:srgbClr val="A33134"/>
                    </a:solidFill>
                    <a:latin typeface="+mj-lt"/>
                  </a:rPr>
                  <a:t>4</a:t>
                </a:r>
              </a:p>
            </p:txBody>
          </p: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8E055906-E277-4B30-907A-DA1E97893A7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440612" y="5113822"/>
                <a:ext cx="1314007" cy="492443"/>
              </a:xfrm>
              <a:prstGeom prst="rect">
                <a:avLst/>
              </a:prstGeom>
            </p:spPr>
            <p:txBody>
              <a:bodyPr vert="horz" wrap="square" lIns="0" tIns="0" rIns="0" bIns="0" rtlCol="0" anchor="t" anchorCtr="0">
                <a:spAutoFit/>
              </a:bodyPr>
              <a:lstStyle>
                <a:lvl1pPr marL="0" lvl="0" indent="0" defTabSz="1218026" eaLnBrk="1" latinLnBrk="0" hangingPunct="1">
                  <a:buClr>
                    <a:schemeClr val="tx2"/>
                  </a:buClr>
                  <a:buSzPct val="100000"/>
                  <a:defRPr lang="x-none" sz="1600" baseline="0">
                    <a:latin typeface="+mn-lt"/>
                  </a:defRPr>
                </a:lvl1pPr>
                <a:lvl2pPr marL="192024" lvl="1" indent="-192024" defTabSz="1218026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lang="x-none" sz="1600" baseline="0">
                    <a:latin typeface="+mn-lt"/>
                  </a:defRPr>
                </a:lvl2pPr>
                <a:lvl3pPr marL="457200" lvl="2" indent="-265176" defTabSz="1218026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lang="x-none" sz="1600" baseline="0">
                    <a:latin typeface="+mn-lt"/>
                  </a:defRPr>
                </a:lvl3pPr>
                <a:lvl4pPr marL="612648" lvl="3" indent="-155448" defTabSz="1218026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lang="x-none" sz="1600" baseline="0">
                    <a:latin typeface="+mn-lt"/>
                  </a:defRPr>
                </a:lvl4pPr>
                <a:lvl5pPr marL="749808" lvl="4" indent="-128016" defTabSz="1218026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1600" baseline="0">
                    <a:latin typeface="+mn-lt"/>
                  </a:defRPr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9pPr>
              </a:lstStyle>
              <a:p>
                <a:r>
                  <a:rPr lang="en-GB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Receive payment</a:t>
                </a:r>
              </a:p>
            </p:txBody>
          </p:sp>
          <p:sp>
            <p:nvSpPr>
              <p:cNvPr id="12" name="TitleTrackerNum 7">
                <a:extLst>
                  <a:ext uri="{FF2B5EF4-FFF2-40B4-BE49-F238E27FC236}">
                    <a16:creationId xmlns:a16="http://schemas.microsoft.com/office/drawing/2014/main" id="{23E41F39-4739-4AB9-9B98-85F1A7C66A2A}"/>
                  </a:ext>
                </a:extLst>
              </p:cNvPr>
              <p:cNvSpPr/>
              <p:nvPr>
                <p:custDataLst>
                  <p:tags r:id="rId8"/>
                </p:custDataLst>
              </p:nvPr>
            </p:nvSpPr>
            <p:spPr>
              <a:xfrm>
                <a:off x="8443842" y="4570628"/>
                <a:ext cx="340408" cy="340409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rtlCol="0" anchor="ctr" anchorCtr="1"/>
              <a:lstStyle/>
              <a:p>
                <a:pPr algn="ctr"/>
                <a:r>
                  <a:rPr lang="en-US" sz="4000" b="1" dirty="0">
                    <a:solidFill>
                      <a:srgbClr val="A33134"/>
                    </a:solidFill>
                    <a:latin typeface="+mj-lt"/>
                  </a:rPr>
                  <a:t>5</a:t>
                </a:r>
              </a:p>
            </p:txBody>
          </p: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F0100185-A546-4F50-9584-C95CF5A3AF7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8443842" y="5113822"/>
                <a:ext cx="1314007" cy="492443"/>
              </a:xfrm>
              <a:prstGeom prst="rect">
                <a:avLst/>
              </a:prstGeom>
            </p:spPr>
            <p:txBody>
              <a:bodyPr vert="horz" wrap="square" lIns="0" tIns="0" rIns="0" bIns="0" rtlCol="0" anchor="t" anchorCtr="0">
                <a:spAutoFit/>
              </a:bodyPr>
              <a:lstStyle>
                <a:lvl1pPr marL="0" lvl="0" indent="0" defTabSz="1218026" eaLnBrk="1" latinLnBrk="0" hangingPunct="1">
                  <a:buClr>
                    <a:schemeClr val="tx2"/>
                  </a:buClr>
                  <a:buSzPct val="100000"/>
                  <a:defRPr lang="x-none" sz="1600" baseline="0">
                    <a:latin typeface="+mn-lt"/>
                  </a:defRPr>
                </a:lvl1pPr>
                <a:lvl2pPr marL="192024" lvl="1" indent="-192024" defTabSz="1218026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lang="x-none" sz="1600" baseline="0">
                    <a:latin typeface="+mn-lt"/>
                  </a:defRPr>
                </a:lvl2pPr>
                <a:lvl3pPr marL="457200" lvl="2" indent="-265176" defTabSz="1218026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lang="x-none" sz="1600" baseline="0">
                    <a:latin typeface="+mn-lt"/>
                  </a:defRPr>
                </a:lvl3pPr>
                <a:lvl4pPr marL="612648" lvl="3" indent="-155448" defTabSz="1218026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lang="x-none" sz="1600" baseline="0">
                    <a:latin typeface="+mn-lt"/>
                  </a:defRPr>
                </a:lvl4pPr>
                <a:lvl5pPr marL="749808" lvl="4" indent="-128016" defTabSz="1218026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1600" baseline="0">
                    <a:latin typeface="+mn-lt"/>
                  </a:defRPr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9pPr>
              </a:lstStyle>
              <a:p>
                <a:r>
                  <a:rPr lang="en-GB" b="1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Attest to payment</a:t>
                </a:r>
                <a:endParaRPr lang="en-GB" b="1" dirty="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  <p:sp>
            <p:nvSpPr>
              <p:cNvPr id="14" name="TitleTrackerNum 7">
                <a:extLst>
                  <a:ext uri="{FF2B5EF4-FFF2-40B4-BE49-F238E27FC236}">
                    <a16:creationId xmlns:a16="http://schemas.microsoft.com/office/drawing/2014/main" id="{FDCD7934-3286-402E-A95A-253A65714E23}"/>
                  </a:ext>
                </a:extLst>
              </p:cNvPr>
              <p:cNvSpPr/>
              <p:nvPr>
                <p:custDataLst>
                  <p:tags r:id="rId9"/>
                </p:custDataLst>
              </p:nvPr>
            </p:nvSpPr>
            <p:spPr>
              <a:xfrm>
                <a:off x="10447071" y="4570628"/>
                <a:ext cx="340408" cy="340409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rtlCol="0" anchor="ctr" anchorCtr="1"/>
              <a:lstStyle/>
              <a:p>
                <a:pPr algn="ctr"/>
                <a:r>
                  <a:rPr lang="en-US" sz="4000" b="1" dirty="0">
                    <a:solidFill>
                      <a:srgbClr val="A33134"/>
                    </a:solidFill>
                    <a:latin typeface="+mj-lt"/>
                  </a:rPr>
                  <a:t>6</a:t>
                </a:r>
              </a:p>
            </p:txBody>
          </p:sp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3CEB7C3D-7DD0-493D-BF1F-0789E7D3940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0447071" y="5113822"/>
                <a:ext cx="1314007" cy="492443"/>
              </a:xfrm>
              <a:prstGeom prst="rect">
                <a:avLst/>
              </a:prstGeom>
            </p:spPr>
            <p:txBody>
              <a:bodyPr vert="horz" wrap="square" lIns="0" tIns="0" rIns="0" bIns="0" rtlCol="0" anchor="t" anchorCtr="0">
                <a:spAutoFit/>
              </a:bodyPr>
              <a:lstStyle>
                <a:lvl1pPr marL="0" lvl="0" indent="0" defTabSz="1218026" eaLnBrk="1" latinLnBrk="0" hangingPunct="1">
                  <a:buClr>
                    <a:schemeClr val="tx2"/>
                  </a:buClr>
                  <a:buSzPct val="100000"/>
                  <a:defRPr lang="x-none" sz="1600" baseline="0">
                    <a:latin typeface="+mn-lt"/>
                  </a:defRPr>
                </a:lvl1pPr>
                <a:lvl2pPr marL="192024" lvl="1" indent="-192024" defTabSz="1218026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lang="x-none" sz="1600" baseline="0">
                    <a:latin typeface="+mn-lt"/>
                  </a:defRPr>
                </a:lvl2pPr>
                <a:lvl3pPr marL="457200" lvl="2" indent="-265176" defTabSz="1218026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lang="x-none" sz="1600" baseline="0">
                    <a:latin typeface="+mn-lt"/>
                  </a:defRPr>
                </a:lvl3pPr>
                <a:lvl4pPr marL="612648" lvl="3" indent="-155448" defTabSz="1218026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lang="x-none" sz="1600" baseline="0">
                    <a:latin typeface="+mn-lt"/>
                  </a:defRPr>
                </a:lvl4pPr>
                <a:lvl5pPr marL="749808" lvl="4" indent="-128016" defTabSz="1218026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1600" baseline="0">
                    <a:latin typeface="+mn-lt"/>
                  </a:defRPr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9pPr>
              </a:lstStyle>
              <a:p>
                <a:r>
                  <a:rPr lang="en-US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Report on use of funds</a:t>
                </a:r>
                <a:endParaRPr lang="en-GB" b="1" dirty="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  <p:sp>
            <p:nvSpPr>
              <p:cNvPr id="21" name="TitleTrackerNum 7">
                <a:extLst>
                  <a:ext uri="{FF2B5EF4-FFF2-40B4-BE49-F238E27FC236}">
                    <a16:creationId xmlns:a16="http://schemas.microsoft.com/office/drawing/2014/main" id="{683FADBF-9703-4DFF-A41B-2EC2E15F41D1}"/>
                  </a:ext>
                </a:extLst>
              </p:cNvPr>
              <p:cNvSpPr/>
              <p:nvPr>
                <p:custDataLst>
                  <p:tags r:id="rId10"/>
                </p:custDataLst>
              </p:nvPr>
            </p:nvSpPr>
            <p:spPr>
              <a:xfrm>
                <a:off x="4437382" y="4570628"/>
                <a:ext cx="340408" cy="340409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rtlCol="0" anchor="ctr" anchorCtr="1"/>
              <a:lstStyle/>
              <a:p>
                <a:pPr algn="ctr"/>
                <a:r>
                  <a:rPr lang="en-US" sz="4000" b="1" dirty="0">
                    <a:solidFill>
                      <a:srgbClr val="A33134"/>
                    </a:solidFill>
                    <a:latin typeface="+mj-lt"/>
                  </a:rPr>
                  <a:t>3</a:t>
                </a:r>
              </a:p>
            </p:txBody>
          </p:sp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49BA441C-9226-4B73-87A2-5B1FDACBCFA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437382" y="5113822"/>
                <a:ext cx="1314007" cy="492443"/>
              </a:xfrm>
              <a:prstGeom prst="rect">
                <a:avLst/>
              </a:prstGeom>
            </p:spPr>
            <p:txBody>
              <a:bodyPr vert="horz" wrap="square" lIns="0" tIns="0" rIns="0" bIns="0" rtlCol="0" anchor="t" anchorCtr="0">
                <a:spAutoFit/>
              </a:bodyPr>
              <a:lstStyle>
                <a:lvl1pPr marL="0" lvl="0" indent="0" defTabSz="1218026" eaLnBrk="1" latinLnBrk="0" hangingPunct="1">
                  <a:buClr>
                    <a:schemeClr val="tx2"/>
                  </a:buClr>
                  <a:buSzPct val="100000"/>
                  <a:defRPr lang="x-none" sz="1600" baseline="0">
                    <a:latin typeface="+mn-lt"/>
                  </a:defRPr>
                </a:lvl1pPr>
                <a:lvl2pPr marL="192024" lvl="1" indent="-192024" defTabSz="1218026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lang="x-none" sz="1600" baseline="0">
                    <a:latin typeface="+mn-lt"/>
                  </a:defRPr>
                </a:lvl2pPr>
                <a:lvl3pPr marL="457200" lvl="2" indent="-265176" defTabSz="1218026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lang="x-none" sz="1600" baseline="0">
                    <a:latin typeface="+mn-lt"/>
                  </a:defRPr>
                </a:lvl3pPr>
                <a:lvl4pPr marL="612648" lvl="3" indent="-155448" defTabSz="1218026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lang="x-none" sz="1600" baseline="0">
                    <a:latin typeface="+mn-lt"/>
                  </a:defRPr>
                </a:lvl4pPr>
                <a:lvl5pPr marL="749808" lvl="4" indent="-128016" defTabSz="1218026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1600" baseline="0">
                    <a:latin typeface="+mn-lt"/>
                  </a:defRPr>
                </a:lvl5pPr>
                <a:lvl6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6pPr>
                <a:lvl7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7pPr>
                <a:lvl8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8pPr>
                <a:lvl9pPr marL="1020030" indent="-177089" defTabSz="12180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2176" baseline="0">
                    <a:latin typeface="+mn-lt"/>
                  </a:defRPr>
                </a:lvl9pPr>
              </a:lstStyle>
              <a:p>
                <a:r>
                  <a:rPr lang="en-GB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Apply for funding</a:t>
                </a:r>
              </a:p>
            </p:txBody>
          </p:sp>
          <p:grpSp>
            <p:nvGrpSpPr>
              <p:cNvPr id="174" name="Group 173">
                <a:extLst>
                  <a:ext uri="{FF2B5EF4-FFF2-40B4-BE49-F238E27FC236}">
                    <a16:creationId xmlns:a16="http://schemas.microsoft.com/office/drawing/2014/main" id="{A0392239-34D6-4E73-B60F-E083B0106C55}"/>
                  </a:ext>
                </a:extLst>
              </p:cNvPr>
              <p:cNvGrpSpPr/>
              <p:nvPr/>
            </p:nvGrpSpPr>
            <p:grpSpPr>
              <a:xfrm>
                <a:off x="4247873" y="2886913"/>
                <a:ext cx="1622032" cy="1501468"/>
                <a:chOff x="4396828" y="2886913"/>
                <a:chExt cx="1622032" cy="1501468"/>
              </a:xfrm>
            </p:grpSpPr>
            <p:grpSp>
              <p:nvGrpSpPr>
                <p:cNvPr id="166" name="Graphic 45">
                  <a:extLst>
                    <a:ext uri="{FF2B5EF4-FFF2-40B4-BE49-F238E27FC236}">
                      <a16:creationId xmlns:a16="http://schemas.microsoft.com/office/drawing/2014/main" id="{6C255E1D-2FDC-4982-8215-1B84D1097CB4}"/>
                    </a:ext>
                  </a:extLst>
                </p:cNvPr>
                <p:cNvGrpSpPr/>
                <p:nvPr/>
              </p:nvGrpSpPr>
              <p:grpSpPr>
                <a:xfrm>
                  <a:off x="4396828" y="2984117"/>
                  <a:ext cx="1622032" cy="1380397"/>
                  <a:chOff x="4396828" y="2984117"/>
                  <a:chExt cx="1622032" cy="1380397"/>
                </a:xfrm>
              </p:grpSpPr>
              <p:sp>
                <p:nvSpPr>
                  <p:cNvPr id="167" name="Freeform: Shape 166">
                    <a:extLst>
                      <a:ext uri="{FF2B5EF4-FFF2-40B4-BE49-F238E27FC236}">
                        <a16:creationId xmlns:a16="http://schemas.microsoft.com/office/drawing/2014/main" id="{7753760B-01E5-4FF7-8EC2-636CA7A51460}"/>
                      </a:ext>
                    </a:extLst>
                  </p:cNvPr>
                  <p:cNvSpPr/>
                  <p:nvPr/>
                </p:nvSpPr>
                <p:spPr>
                  <a:xfrm>
                    <a:off x="4452407" y="3073752"/>
                    <a:ext cx="1475802" cy="1290762"/>
                  </a:xfrm>
                  <a:custGeom>
                    <a:avLst/>
                    <a:gdLst>
                      <a:gd name="connsiteX0" fmla="*/ 1476428 w 1475801"/>
                      <a:gd name="connsiteY0" fmla="*/ 457677 h 1290761"/>
                      <a:gd name="connsiteX1" fmla="*/ 1246753 w 1475801"/>
                      <a:gd name="connsiteY1" fmla="*/ 112647 h 1290761"/>
                      <a:gd name="connsiteX2" fmla="*/ 856095 w 1475801"/>
                      <a:gd name="connsiteY2" fmla="*/ 450 h 1290761"/>
                      <a:gd name="connsiteX3" fmla="*/ 667445 w 1475801"/>
                      <a:gd name="connsiteY3" fmla="*/ 43686 h 1290761"/>
                      <a:gd name="connsiteX4" fmla="*/ 490981 w 1475801"/>
                      <a:gd name="connsiteY4" fmla="*/ 176192 h 1290761"/>
                      <a:gd name="connsiteX5" fmla="*/ 355270 w 1475801"/>
                      <a:gd name="connsiteY5" fmla="*/ 336409 h 1290761"/>
                      <a:gd name="connsiteX6" fmla="*/ 322369 w 1475801"/>
                      <a:gd name="connsiteY6" fmla="*/ 369897 h 1290761"/>
                      <a:gd name="connsiteX7" fmla="*/ 313207 w 1475801"/>
                      <a:gd name="connsiteY7" fmla="*/ 378652 h 1290761"/>
                      <a:gd name="connsiteX8" fmla="*/ 310229 w 1475801"/>
                      <a:gd name="connsiteY8" fmla="*/ 381495 h 1290761"/>
                      <a:gd name="connsiteX9" fmla="*/ 307160 w 1475801"/>
                      <a:gd name="connsiteY9" fmla="*/ 384248 h 1290761"/>
                      <a:gd name="connsiteX10" fmla="*/ 294523 w 1475801"/>
                      <a:gd name="connsiteY10" fmla="*/ 395622 h 1290761"/>
                      <a:gd name="connsiteX11" fmla="*/ 220868 w 1475801"/>
                      <a:gd name="connsiteY11" fmla="*/ 460295 h 1290761"/>
                      <a:gd name="connsiteX12" fmla="*/ 79742 w 1475801"/>
                      <a:gd name="connsiteY12" fmla="*/ 608191 h 1290761"/>
                      <a:gd name="connsiteX13" fmla="*/ 1168 w 1475801"/>
                      <a:gd name="connsiteY13" fmla="*/ 814668 h 1290761"/>
                      <a:gd name="connsiteX14" fmla="*/ 50813 w 1475801"/>
                      <a:gd name="connsiteY14" fmla="*/ 1051428 h 1290761"/>
                      <a:gd name="connsiteX15" fmla="*/ 208141 w 1475801"/>
                      <a:gd name="connsiteY15" fmla="*/ 1205868 h 1290761"/>
                      <a:gd name="connsiteX16" fmla="*/ 313162 w 1475801"/>
                      <a:gd name="connsiteY16" fmla="*/ 1242064 h 1290761"/>
                      <a:gd name="connsiteX17" fmla="*/ 360957 w 1475801"/>
                      <a:gd name="connsiteY17" fmla="*/ 1260387 h 1290761"/>
                      <a:gd name="connsiteX18" fmla="*/ 583816 w 1475801"/>
                      <a:gd name="connsiteY18" fmla="*/ 1294190 h 1290761"/>
                      <a:gd name="connsiteX19" fmla="*/ 1025203 w 1475801"/>
                      <a:gd name="connsiteY19" fmla="*/ 1188673 h 1290761"/>
                      <a:gd name="connsiteX20" fmla="*/ 1206541 w 1475801"/>
                      <a:gd name="connsiteY20" fmla="*/ 1048224 h 1290761"/>
                      <a:gd name="connsiteX21" fmla="*/ 1343515 w 1475801"/>
                      <a:gd name="connsiteY21" fmla="*/ 882816 h 1290761"/>
                      <a:gd name="connsiteX22" fmla="*/ 1476428 w 1475801"/>
                      <a:gd name="connsiteY22" fmla="*/ 457677 h 12907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</a:cxnLst>
                    <a:rect l="l" t="t" r="r" b="b"/>
                    <a:pathLst>
                      <a:path w="1475801" h="1290761">
                        <a:moveTo>
                          <a:pt x="1476428" y="457677"/>
                        </a:moveTo>
                        <a:cubicBezTo>
                          <a:pt x="1459278" y="313302"/>
                          <a:pt x="1366487" y="191131"/>
                          <a:pt x="1246753" y="112647"/>
                        </a:cubicBezTo>
                        <a:cubicBezTo>
                          <a:pt x="1130675" y="36600"/>
                          <a:pt x="995461" y="-4830"/>
                          <a:pt x="856095" y="450"/>
                        </a:cubicBezTo>
                        <a:cubicBezTo>
                          <a:pt x="791827" y="2887"/>
                          <a:pt x="726026" y="17058"/>
                          <a:pt x="667445" y="43686"/>
                        </a:cubicBezTo>
                        <a:cubicBezTo>
                          <a:pt x="598845" y="74872"/>
                          <a:pt x="541754" y="120996"/>
                          <a:pt x="490981" y="176192"/>
                        </a:cubicBezTo>
                        <a:cubicBezTo>
                          <a:pt x="443547" y="227777"/>
                          <a:pt x="402929" y="285094"/>
                          <a:pt x="355270" y="336409"/>
                        </a:cubicBezTo>
                        <a:cubicBezTo>
                          <a:pt x="344619" y="347872"/>
                          <a:pt x="333607" y="359020"/>
                          <a:pt x="322369" y="369897"/>
                        </a:cubicBezTo>
                        <a:cubicBezTo>
                          <a:pt x="319345" y="372830"/>
                          <a:pt x="316276" y="375764"/>
                          <a:pt x="313207" y="378652"/>
                        </a:cubicBezTo>
                        <a:cubicBezTo>
                          <a:pt x="312124" y="379690"/>
                          <a:pt x="301879" y="389439"/>
                          <a:pt x="310229" y="381495"/>
                        </a:cubicBezTo>
                        <a:cubicBezTo>
                          <a:pt x="318578" y="373507"/>
                          <a:pt x="308288" y="383256"/>
                          <a:pt x="307160" y="384248"/>
                        </a:cubicBezTo>
                        <a:cubicBezTo>
                          <a:pt x="302963" y="388085"/>
                          <a:pt x="298765" y="391876"/>
                          <a:pt x="294523" y="395622"/>
                        </a:cubicBezTo>
                        <a:cubicBezTo>
                          <a:pt x="270152" y="417420"/>
                          <a:pt x="245330" y="438632"/>
                          <a:pt x="220868" y="460295"/>
                        </a:cubicBezTo>
                        <a:cubicBezTo>
                          <a:pt x="169960" y="505427"/>
                          <a:pt x="118781" y="552093"/>
                          <a:pt x="79742" y="608191"/>
                        </a:cubicBezTo>
                        <a:cubicBezTo>
                          <a:pt x="37047" y="669480"/>
                          <a:pt x="6313" y="739434"/>
                          <a:pt x="1168" y="814668"/>
                        </a:cubicBezTo>
                        <a:cubicBezTo>
                          <a:pt x="-4519" y="898206"/>
                          <a:pt x="10330" y="977728"/>
                          <a:pt x="50813" y="1051428"/>
                        </a:cubicBezTo>
                        <a:cubicBezTo>
                          <a:pt x="87008" y="1117365"/>
                          <a:pt x="142881" y="1169131"/>
                          <a:pt x="208141" y="1205868"/>
                        </a:cubicBezTo>
                        <a:cubicBezTo>
                          <a:pt x="240816" y="1224282"/>
                          <a:pt x="276109" y="1236106"/>
                          <a:pt x="313162" y="1242064"/>
                        </a:cubicBezTo>
                        <a:cubicBezTo>
                          <a:pt x="328642" y="1249149"/>
                          <a:pt x="344303" y="1255603"/>
                          <a:pt x="360957" y="1260387"/>
                        </a:cubicBezTo>
                        <a:cubicBezTo>
                          <a:pt x="432580" y="1280967"/>
                          <a:pt x="509304" y="1292791"/>
                          <a:pt x="583816" y="1294190"/>
                        </a:cubicBezTo>
                        <a:cubicBezTo>
                          <a:pt x="736677" y="1297034"/>
                          <a:pt x="890846" y="1261425"/>
                          <a:pt x="1025203" y="1188673"/>
                        </a:cubicBezTo>
                        <a:cubicBezTo>
                          <a:pt x="1093216" y="1151846"/>
                          <a:pt x="1152293" y="1102923"/>
                          <a:pt x="1206541" y="1048224"/>
                        </a:cubicBezTo>
                        <a:cubicBezTo>
                          <a:pt x="1256908" y="997405"/>
                          <a:pt x="1303303" y="941939"/>
                          <a:pt x="1343515" y="882816"/>
                        </a:cubicBezTo>
                        <a:cubicBezTo>
                          <a:pt x="1427460" y="759382"/>
                          <a:pt x="1494616" y="610538"/>
                          <a:pt x="1476428" y="457677"/>
                        </a:cubicBezTo>
                        <a:close/>
                      </a:path>
                    </a:pathLst>
                  </a:custGeom>
                  <a:solidFill>
                    <a:schemeClr val="accent6">
                      <a:lumMod val="20000"/>
                      <a:lumOff val="80000"/>
                    </a:schemeClr>
                  </a:solidFill>
                  <a:ln w="225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69" name="Freeform: Shape 168">
                    <a:extLst>
                      <a:ext uri="{FF2B5EF4-FFF2-40B4-BE49-F238E27FC236}">
                        <a16:creationId xmlns:a16="http://schemas.microsoft.com/office/drawing/2014/main" id="{16A61008-74AE-476D-A0BD-8823D51BBAEC}"/>
                      </a:ext>
                    </a:extLst>
                  </p:cNvPr>
                  <p:cNvSpPr/>
                  <p:nvPr/>
                </p:nvSpPr>
                <p:spPr>
                  <a:xfrm>
                    <a:off x="4396828" y="3453413"/>
                    <a:ext cx="212118" cy="121855"/>
                  </a:xfrm>
                  <a:custGeom>
                    <a:avLst/>
                    <a:gdLst>
                      <a:gd name="connsiteX0" fmla="*/ 207336 w 212118"/>
                      <a:gd name="connsiteY0" fmla="*/ 35951 h 121855"/>
                      <a:gd name="connsiteX1" fmla="*/ 174300 w 212118"/>
                      <a:gd name="connsiteY1" fmla="*/ 12437 h 121855"/>
                      <a:gd name="connsiteX2" fmla="*/ 42065 w 212118"/>
                      <a:gd name="connsiteY2" fmla="*/ 19297 h 121855"/>
                      <a:gd name="connsiteX3" fmla="*/ 408 w 212118"/>
                      <a:gd name="connsiteY3" fmla="*/ 89522 h 121855"/>
                      <a:gd name="connsiteX4" fmla="*/ 67790 w 212118"/>
                      <a:gd name="connsiteY4" fmla="*/ 124544 h 121855"/>
                      <a:gd name="connsiteX5" fmla="*/ 173984 w 212118"/>
                      <a:gd name="connsiteY5" fmla="*/ 98503 h 121855"/>
                      <a:gd name="connsiteX6" fmla="*/ 211082 w 212118"/>
                      <a:gd name="connsiteY6" fmla="*/ 77336 h 121855"/>
                      <a:gd name="connsiteX7" fmla="*/ 207336 w 212118"/>
                      <a:gd name="connsiteY7" fmla="*/ 35951 h 12185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212118" h="121855">
                        <a:moveTo>
                          <a:pt x="207336" y="35951"/>
                        </a:moveTo>
                        <a:cubicBezTo>
                          <a:pt x="197723" y="24803"/>
                          <a:pt x="186486" y="17176"/>
                          <a:pt x="174300" y="12437"/>
                        </a:cubicBezTo>
                        <a:cubicBezTo>
                          <a:pt x="135667" y="-8459"/>
                          <a:pt x="74243" y="-877"/>
                          <a:pt x="42065" y="19297"/>
                        </a:cubicBezTo>
                        <a:cubicBezTo>
                          <a:pt x="20492" y="32791"/>
                          <a:pt x="-3428" y="62127"/>
                          <a:pt x="408" y="89522"/>
                        </a:cubicBezTo>
                        <a:cubicBezTo>
                          <a:pt x="4876" y="121520"/>
                          <a:pt x="41433" y="128470"/>
                          <a:pt x="67790" y="124544"/>
                        </a:cubicBezTo>
                        <a:cubicBezTo>
                          <a:pt x="103444" y="119218"/>
                          <a:pt x="139233" y="107980"/>
                          <a:pt x="173984" y="98503"/>
                        </a:cubicBezTo>
                        <a:cubicBezTo>
                          <a:pt x="188652" y="94486"/>
                          <a:pt x="202462" y="90785"/>
                          <a:pt x="211082" y="77336"/>
                        </a:cubicBezTo>
                        <a:cubicBezTo>
                          <a:pt x="219702" y="63842"/>
                          <a:pt x="217717" y="48001"/>
                          <a:pt x="207336" y="35951"/>
                        </a:cubicBezTo>
                        <a:close/>
                      </a:path>
                    </a:pathLst>
                  </a:custGeom>
                  <a:solidFill>
                    <a:schemeClr val="accent6">
                      <a:lumMod val="20000"/>
                      <a:lumOff val="80000"/>
                    </a:schemeClr>
                  </a:solidFill>
                  <a:ln w="225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70" name="Freeform: Shape 169">
                    <a:extLst>
                      <a:ext uri="{FF2B5EF4-FFF2-40B4-BE49-F238E27FC236}">
                        <a16:creationId xmlns:a16="http://schemas.microsoft.com/office/drawing/2014/main" id="{A83D5976-3D2F-4EAF-BFA0-C117EC4DC017}"/>
                      </a:ext>
                    </a:extLst>
                  </p:cNvPr>
                  <p:cNvSpPr/>
                  <p:nvPr/>
                </p:nvSpPr>
                <p:spPr>
                  <a:xfrm>
                    <a:off x="5434543" y="2984117"/>
                    <a:ext cx="582197" cy="519013"/>
                  </a:xfrm>
                  <a:custGeom>
                    <a:avLst/>
                    <a:gdLst>
                      <a:gd name="connsiteX0" fmla="*/ 521867 w 582196"/>
                      <a:gd name="connsiteY0" fmla="*/ 312583 h 519012"/>
                      <a:gd name="connsiteX1" fmla="*/ 396537 w 582196"/>
                      <a:gd name="connsiteY1" fmla="*/ 150606 h 519012"/>
                      <a:gd name="connsiteX2" fmla="*/ 5111 w 582196"/>
                      <a:gd name="connsiteY2" fmla="*/ 2 h 519012"/>
                      <a:gd name="connsiteX3" fmla="*/ 5111 w 582196"/>
                      <a:gd name="connsiteY3" fmla="*/ 10608 h 519012"/>
                      <a:gd name="connsiteX4" fmla="*/ 383404 w 582196"/>
                      <a:gd name="connsiteY4" fmla="*/ 169426 h 519012"/>
                      <a:gd name="connsiteX5" fmla="*/ 500836 w 582196"/>
                      <a:gd name="connsiteY5" fmla="*/ 324859 h 519012"/>
                      <a:gd name="connsiteX6" fmla="*/ 561989 w 582196"/>
                      <a:gd name="connsiteY6" fmla="*/ 513870 h 519012"/>
                      <a:gd name="connsiteX7" fmla="*/ 584826 w 582196"/>
                      <a:gd name="connsiteY7" fmla="*/ 510801 h 519012"/>
                      <a:gd name="connsiteX8" fmla="*/ 521867 w 582196"/>
                      <a:gd name="connsiteY8" fmla="*/ 312583 h 51901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582196" h="519012">
                        <a:moveTo>
                          <a:pt x="521867" y="312583"/>
                        </a:moveTo>
                        <a:cubicBezTo>
                          <a:pt x="489914" y="251972"/>
                          <a:pt x="447355" y="196595"/>
                          <a:pt x="396537" y="150606"/>
                        </a:cubicBezTo>
                        <a:cubicBezTo>
                          <a:pt x="289350" y="53619"/>
                          <a:pt x="149352" y="-404"/>
                          <a:pt x="5111" y="2"/>
                        </a:cubicBezTo>
                        <a:cubicBezTo>
                          <a:pt x="-1749" y="2"/>
                          <a:pt x="-1659" y="10202"/>
                          <a:pt x="5111" y="10608"/>
                        </a:cubicBezTo>
                        <a:cubicBezTo>
                          <a:pt x="144297" y="18596"/>
                          <a:pt x="281497" y="73747"/>
                          <a:pt x="383404" y="169426"/>
                        </a:cubicBezTo>
                        <a:cubicBezTo>
                          <a:pt x="431018" y="214106"/>
                          <a:pt x="470643" y="267000"/>
                          <a:pt x="500836" y="324859"/>
                        </a:cubicBezTo>
                        <a:cubicBezTo>
                          <a:pt x="532654" y="385787"/>
                          <a:pt x="546058" y="447933"/>
                          <a:pt x="561989" y="513870"/>
                        </a:cubicBezTo>
                        <a:cubicBezTo>
                          <a:pt x="565013" y="526462"/>
                          <a:pt x="585503" y="523979"/>
                          <a:pt x="584826" y="510801"/>
                        </a:cubicBezTo>
                        <a:cubicBezTo>
                          <a:pt x="581441" y="442968"/>
                          <a:pt x="553234" y="372067"/>
                          <a:pt x="521867" y="312583"/>
                        </a:cubicBezTo>
                        <a:close/>
                      </a:path>
                    </a:pathLst>
                  </a:custGeom>
                  <a:solidFill>
                    <a:schemeClr val="accent6">
                      <a:lumMod val="20000"/>
                      <a:lumOff val="80000"/>
                    </a:schemeClr>
                  </a:solidFill>
                  <a:ln w="225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71" name="Freeform: Shape 170">
                    <a:extLst>
                      <a:ext uri="{FF2B5EF4-FFF2-40B4-BE49-F238E27FC236}">
                        <a16:creationId xmlns:a16="http://schemas.microsoft.com/office/drawing/2014/main" id="{FE28F44E-327F-407C-A17B-7350AE138754}"/>
                      </a:ext>
                    </a:extLst>
                  </p:cNvPr>
                  <p:cNvSpPr/>
                  <p:nvPr/>
                </p:nvSpPr>
                <p:spPr>
                  <a:xfrm>
                    <a:off x="5996294" y="3609755"/>
                    <a:ext cx="22566" cy="67697"/>
                  </a:xfrm>
                  <a:custGeom>
                    <a:avLst/>
                    <a:gdLst>
                      <a:gd name="connsiteX0" fmla="*/ 17208 w 22565"/>
                      <a:gd name="connsiteY0" fmla="*/ 3453 h 67697"/>
                      <a:gd name="connsiteX1" fmla="*/ 7820 w 22565"/>
                      <a:gd name="connsiteY1" fmla="*/ 3453 h 67697"/>
                      <a:gd name="connsiteX2" fmla="*/ 13 w 22565"/>
                      <a:gd name="connsiteY2" fmla="*/ 57746 h 67697"/>
                      <a:gd name="connsiteX3" fmla="*/ 24970 w 22565"/>
                      <a:gd name="connsiteY3" fmla="*/ 57746 h 67697"/>
                      <a:gd name="connsiteX4" fmla="*/ 17208 w 22565"/>
                      <a:gd name="connsiteY4" fmla="*/ 3453 h 676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2565" h="67697">
                        <a:moveTo>
                          <a:pt x="17208" y="3453"/>
                        </a:moveTo>
                        <a:cubicBezTo>
                          <a:pt x="15764" y="-1151"/>
                          <a:pt x="9310" y="-1151"/>
                          <a:pt x="7820" y="3453"/>
                        </a:cubicBezTo>
                        <a:cubicBezTo>
                          <a:pt x="2585" y="19971"/>
                          <a:pt x="-213" y="40415"/>
                          <a:pt x="13" y="57746"/>
                        </a:cubicBezTo>
                        <a:cubicBezTo>
                          <a:pt x="238" y="73813"/>
                          <a:pt x="24745" y="73813"/>
                          <a:pt x="24970" y="57746"/>
                        </a:cubicBezTo>
                        <a:cubicBezTo>
                          <a:pt x="25241" y="40415"/>
                          <a:pt x="22398" y="19926"/>
                          <a:pt x="17208" y="3453"/>
                        </a:cubicBezTo>
                        <a:close/>
                      </a:path>
                    </a:pathLst>
                  </a:custGeom>
                  <a:solidFill>
                    <a:schemeClr val="accent6">
                      <a:lumMod val="20000"/>
                      <a:lumOff val="80000"/>
                    </a:schemeClr>
                  </a:solidFill>
                  <a:ln w="2251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sp>
              <p:nvSpPr>
                <p:cNvPr id="134" name="Freeform: Shape 133">
                  <a:extLst>
                    <a:ext uri="{FF2B5EF4-FFF2-40B4-BE49-F238E27FC236}">
                      <a16:creationId xmlns:a16="http://schemas.microsoft.com/office/drawing/2014/main" id="{08F9C0D0-DD3E-410A-92B2-9077D0F6618F}"/>
                    </a:ext>
                  </a:extLst>
                </p:cNvPr>
                <p:cNvSpPr/>
                <p:nvPr/>
              </p:nvSpPr>
              <p:spPr>
                <a:xfrm>
                  <a:off x="4846320" y="2976880"/>
                  <a:ext cx="972820" cy="1393771"/>
                </a:xfrm>
                <a:custGeom>
                  <a:avLst/>
                  <a:gdLst>
                    <a:gd name="connsiteX0" fmla="*/ 972820 w 972820"/>
                    <a:gd name="connsiteY0" fmla="*/ 949960 h 1366520"/>
                    <a:gd name="connsiteX1" fmla="*/ 972820 w 972820"/>
                    <a:gd name="connsiteY1" fmla="*/ 0 h 1366520"/>
                    <a:gd name="connsiteX2" fmla="*/ 0 w 972820"/>
                    <a:gd name="connsiteY2" fmla="*/ 0 h 1366520"/>
                    <a:gd name="connsiteX3" fmla="*/ 0 w 972820"/>
                    <a:gd name="connsiteY3" fmla="*/ 1366520 h 1366520"/>
                    <a:gd name="connsiteX4" fmla="*/ 769620 w 972820"/>
                    <a:gd name="connsiteY4" fmla="*/ 1366520 h 1366520"/>
                    <a:gd name="connsiteX5" fmla="*/ 972820 w 972820"/>
                    <a:gd name="connsiteY5" fmla="*/ 949960 h 1366520"/>
                    <a:gd name="connsiteX0" fmla="*/ 972820 w 972820"/>
                    <a:gd name="connsiteY0" fmla="*/ 949960 h 1366520"/>
                    <a:gd name="connsiteX1" fmla="*/ 972820 w 972820"/>
                    <a:gd name="connsiteY1" fmla="*/ 0 h 1366520"/>
                    <a:gd name="connsiteX2" fmla="*/ 0 w 972820"/>
                    <a:gd name="connsiteY2" fmla="*/ 0 h 1366520"/>
                    <a:gd name="connsiteX3" fmla="*/ 0 w 972820"/>
                    <a:gd name="connsiteY3" fmla="*/ 1366520 h 1366520"/>
                    <a:gd name="connsiteX4" fmla="*/ 454660 w 972820"/>
                    <a:gd name="connsiteY4" fmla="*/ 1353820 h 1366520"/>
                    <a:gd name="connsiteX5" fmla="*/ 972820 w 972820"/>
                    <a:gd name="connsiteY5" fmla="*/ 949960 h 1366520"/>
                    <a:gd name="connsiteX0" fmla="*/ 972820 w 972820"/>
                    <a:gd name="connsiteY0" fmla="*/ 949960 h 1366520"/>
                    <a:gd name="connsiteX1" fmla="*/ 972820 w 972820"/>
                    <a:gd name="connsiteY1" fmla="*/ 0 h 1366520"/>
                    <a:gd name="connsiteX2" fmla="*/ 0 w 972820"/>
                    <a:gd name="connsiteY2" fmla="*/ 0 h 1366520"/>
                    <a:gd name="connsiteX3" fmla="*/ 0 w 972820"/>
                    <a:gd name="connsiteY3" fmla="*/ 1366520 h 1366520"/>
                    <a:gd name="connsiteX4" fmla="*/ 454660 w 972820"/>
                    <a:gd name="connsiteY4" fmla="*/ 1353820 h 1366520"/>
                    <a:gd name="connsiteX5" fmla="*/ 972820 w 972820"/>
                    <a:gd name="connsiteY5" fmla="*/ 949960 h 1366520"/>
                    <a:gd name="connsiteX0" fmla="*/ 972820 w 972820"/>
                    <a:gd name="connsiteY0" fmla="*/ 949960 h 1366520"/>
                    <a:gd name="connsiteX1" fmla="*/ 972820 w 972820"/>
                    <a:gd name="connsiteY1" fmla="*/ 0 h 1366520"/>
                    <a:gd name="connsiteX2" fmla="*/ 0 w 972820"/>
                    <a:gd name="connsiteY2" fmla="*/ 0 h 1366520"/>
                    <a:gd name="connsiteX3" fmla="*/ 0 w 972820"/>
                    <a:gd name="connsiteY3" fmla="*/ 1366520 h 1366520"/>
                    <a:gd name="connsiteX4" fmla="*/ 454660 w 972820"/>
                    <a:gd name="connsiteY4" fmla="*/ 1353820 h 1366520"/>
                    <a:gd name="connsiteX5" fmla="*/ 972820 w 972820"/>
                    <a:gd name="connsiteY5" fmla="*/ 949960 h 1366520"/>
                    <a:gd name="connsiteX0" fmla="*/ 972820 w 972820"/>
                    <a:gd name="connsiteY0" fmla="*/ 949960 h 1366520"/>
                    <a:gd name="connsiteX1" fmla="*/ 972820 w 972820"/>
                    <a:gd name="connsiteY1" fmla="*/ 0 h 1366520"/>
                    <a:gd name="connsiteX2" fmla="*/ 0 w 972820"/>
                    <a:gd name="connsiteY2" fmla="*/ 0 h 1366520"/>
                    <a:gd name="connsiteX3" fmla="*/ 0 w 972820"/>
                    <a:gd name="connsiteY3" fmla="*/ 1366520 h 1366520"/>
                    <a:gd name="connsiteX4" fmla="*/ 454660 w 972820"/>
                    <a:gd name="connsiteY4" fmla="*/ 1353820 h 1366520"/>
                    <a:gd name="connsiteX5" fmla="*/ 972820 w 972820"/>
                    <a:gd name="connsiteY5" fmla="*/ 949960 h 1366520"/>
                    <a:gd name="connsiteX0" fmla="*/ 972820 w 972820"/>
                    <a:gd name="connsiteY0" fmla="*/ 949960 h 1390979"/>
                    <a:gd name="connsiteX1" fmla="*/ 972820 w 972820"/>
                    <a:gd name="connsiteY1" fmla="*/ 0 h 1390979"/>
                    <a:gd name="connsiteX2" fmla="*/ 0 w 972820"/>
                    <a:gd name="connsiteY2" fmla="*/ 0 h 1390979"/>
                    <a:gd name="connsiteX3" fmla="*/ 0 w 972820"/>
                    <a:gd name="connsiteY3" fmla="*/ 1366520 h 1390979"/>
                    <a:gd name="connsiteX4" fmla="*/ 454660 w 972820"/>
                    <a:gd name="connsiteY4" fmla="*/ 1353820 h 1390979"/>
                    <a:gd name="connsiteX5" fmla="*/ 972820 w 972820"/>
                    <a:gd name="connsiteY5" fmla="*/ 949960 h 1390979"/>
                    <a:gd name="connsiteX0" fmla="*/ 972820 w 972820"/>
                    <a:gd name="connsiteY0" fmla="*/ 949960 h 1398991"/>
                    <a:gd name="connsiteX1" fmla="*/ 972820 w 972820"/>
                    <a:gd name="connsiteY1" fmla="*/ 0 h 1398991"/>
                    <a:gd name="connsiteX2" fmla="*/ 0 w 972820"/>
                    <a:gd name="connsiteY2" fmla="*/ 0 h 1398991"/>
                    <a:gd name="connsiteX3" fmla="*/ 0 w 972820"/>
                    <a:gd name="connsiteY3" fmla="*/ 1366520 h 1398991"/>
                    <a:gd name="connsiteX4" fmla="*/ 454660 w 972820"/>
                    <a:gd name="connsiteY4" fmla="*/ 1353820 h 1398991"/>
                    <a:gd name="connsiteX5" fmla="*/ 972820 w 972820"/>
                    <a:gd name="connsiteY5" fmla="*/ 949960 h 1398991"/>
                    <a:gd name="connsiteX0" fmla="*/ 972820 w 972820"/>
                    <a:gd name="connsiteY0" fmla="*/ 949960 h 1393771"/>
                    <a:gd name="connsiteX1" fmla="*/ 972820 w 972820"/>
                    <a:gd name="connsiteY1" fmla="*/ 0 h 1393771"/>
                    <a:gd name="connsiteX2" fmla="*/ 0 w 972820"/>
                    <a:gd name="connsiteY2" fmla="*/ 0 h 1393771"/>
                    <a:gd name="connsiteX3" fmla="*/ 0 w 972820"/>
                    <a:gd name="connsiteY3" fmla="*/ 1366520 h 1393771"/>
                    <a:gd name="connsiteX4" fmla="*/ 454660 w 972820"/>
                    <a:gd name="connsiteY4" fmla="*/ 1353820 h 1393771"/>
                    <a:gd name="connsiteX5" fmla="*/ 972820 w 972820"/>
                    <a:gd name="connsiteY5" fmla="*/ 949960 h 1393771"/>
                    <a:gd name="connsiteX0" fmla="*/ 972820 w 972820"/>
                    <a:gd name="connsiteY0" fmla="*/ 949960 h 1393771"/>
                    <a:gd name="connsiteX1" fmla="*/ 972820 w 972820"/>
                    <a:gd name="connsiteY1" fmla="*/ 0 h 1393771"/>
                    <a:gd name="connsiteX2" fmla="*/ 0 w 972820"/>
                    <a:gd name="connsiteY2" fmla="*/ 0 h 1393771"/>
                    <a:gd name="connsiteX3" fmla="*/ 0 w 972820"/>
                    <a:gd name="connsiteY3" fmla="*/ 1366520 h 1393771"/>
                    <a:gd name="connsiteX4" fmla="*/ 454660 w 972820"/>
                    <a:gd name="connsiteY4" fmla="*/ 1353820 h 1393771"/>
                    <a:gd name="connsiteX5" fmla="*/ 972820 w 972820"/>
                    <a:gd name="connsiteY5" fmla="*/ 949960 h 13937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972820" h="1393771">
                      <a:moveTo>
                        <a:pt x="972820" y="949960"/>
                      </a:moveTo>
                      <a:lnTo>
                        <a:pt x="972820" y="0"/>
                      </a:lnTo>
                      <a:lnTo>
                        <a:pt x="0" y="0"/>
                      </a:lnTo>
                      <a:lnTo>
                        <a:pt x="0" y="1366520"/>
                      </a:lnTo>
                      <a:cubicBezTo>
                        <a:pt x="108373" y="1390227"/>
                        <a:pt x="196427" y="1419013"/>
                        <a:pt x="454660" y="1353820"/>
                      </a:cubicBezTo>
                      <a:cubicBezTo>
                        <a:pt x="782320" y="1252220"/>
                        <a:pt x="911860" y="1018540"/>
                        <a:pt x="972820" y="949960"/>
                      </a:cubicBezTo>
                      <a:close/>
                    </a:path>
                  </a:pathLst>
                </a:custGeom>
                <a:solidFill>
                  <a:srgbClr val="BCB5AF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38" name="Freeform: Shape 137">
                  <a:extLst>
                    <a:ext uri="{FF2B5EF4-FFF2-40B4-BE49-F238E27FC236}">
                      <a16:creationId xmlns:a16="http://schemas.microsoft.com/office/drawing/2014/main" id="{BCB17351-0C6F-49F1-9C59-D4481E26A89E}"/>
                    </a:ext>
                  </a:extLst>
                </p:cNvPr>
                <p:cNvSpPr/>
                <p:nvPr/>
              </p:nvSpPr>
              <p:spPr>
                <a:xfrm>
                  <a:off x="4814414" y="2976881"/>
                  <a:ext cx="972820" cy="1399960"/>
                </a:xfrm>
                <a:custGeom>
                  <a:avLst/>
                  <a:gdLst>
                    <a:gd name="connsiteX0" fmla="*/ 972820 w 972820"/>
                    <a:gd name="connsiteY0" fmla="*/ 949960 h 1366520"/>
                    <a:gd name="connsiteX1" fmla="*/ 972820 w 972820"/>
                    <a:gd name="connsiteY1" fmla="*/ 0 h 1366520"/>
                    <a:gd name="connsiteX2" fmla="*/ 0 w 972820"/>
                    <a:gd name="connsiteY2" fmla="*/ 0 h 1366520"/>
                    <a:gd name="connsiteX3" fmla="*/ 0 w 972820"/>
                    <a:gd name="connsiteY3" fmla="*/ 1366520 h 1366520"/>
                    <a:gd name="connsiteX4" fmla="*/ 769620 w 972820"/>
                    <a:gd name="connsiteY4" fmla="*/ 1366520 h 1366520"/>
                    <a:gd name="connsiteX5" fmla="*/ 972820 w 972820"/>
                    <a:gd name="connsiteY5" fmla="*/ 949960 h 1366520"/>
                    <a:gd name="connsiteX0" fmla="*/ 972820 w 972820"/>
                    <a:gd name="connsiteY0" fmla="*/ 949960 h 1366520"/>
                    <a:gd name="connsiteX1" fmla="*/ 972820 w 972820"/>
                    <a:gd name="connsiteY1" fmla="*/ 0 h 1366520"/>
                    <a:gd name="connsiteX2" fmla="*/ 0 w 972820"/>
                    <a:gd name="connsiteY2" fmla="*/ 0 h 1366520"/>
                    <a:gd name="connsiteX3" fmla="*/ 0 w 972820"/>
                    <a:gd name="connsiteY3" fmla="*/ 1366520 h 1366520"/>
                    <a:gd name="connsiteX4" fmla="*/ 454660 w 972820"/>
                    <a:gd name="connsiteY4" fmla="*/ 1353820 h 1366520"/>
                    <a:gd name="connsiteX5" fmla="*/ 972820 w 972820"/>
                    <a:gd name="connsiteY5" fmla="*/ 949960 h 1366520"/>
                    <a:gd name="connsiteX0" fmla="*/ 972820 w 972820"/>
                    <a:gd name="connsiteY0" fmla="*/ 949960 h 1366520"/>
                    <a:gd name="connsiteX1" fmla="*/ 972820 w 972820"/>
                    <a:gd name="connsiteY1" fmla="*/ 0 h 1366520"/>
                    <a:gd name="connsiteX2" fmla="*/ 0 w 972820"/>
                    <a:gd name="connsiteY2" fmla="*/ 0 h 1366520"/>
                    <a:gd name="connsiteX3" fmla="*/ 0 w 972820"/>
                    <a:gd name="connsiteY3" fmla="*/ 1366520 h 1366520"/>
                    <a:gd name="connsiteX4" fmla="*/ 454660 w 972820"/>
                    <a:gd name="connsiteY4" fmla="*/ 1353820 h 1366520"/>
                    <a:gd name="connsiteX5" fmla="*/ 972820 w 972820"/>
                    <a:gd name="connsiteY5" fmla="*/ 949960 h 1366520"/>
                    <a:gd name="connsiteX0" fmla="*/ 972820 w 972820"/>
                    <a:gd name="connsiteY0" fmla="*/ 949960 h 1366520"/>
                    <a:gd name="connsiteX1" fmla="*/ 972820 w 972820"/>
                    <a:gd name="connsiteY1" fmla="*/ 0 h 1366520"/>
                    <a:gd name="connsiteX2" fmla="*/ 0 w 972820"/>
                    <a:gd name="connsiteY2" fmla="*/ 0 h 1366520"/>
                    <a:gd name="connsiteX3" fmla="*/ 0 w 972820"/>
                    <a:gd name="connsiteY3" fmla="*/ 1366520 h 1366520"/>
                    <a:gd name="connsiteX4" fmla="*/ 454660 w 972820"/>
                    <a:gd name="connsiteY4" fmla="*/ 1353820 h 1366520"/>
                    <a:gd name="connsiteX5" fmla="*/ 972820 w 972820"/>
                    <a:gd name="connsiteY5" fmla="*/ 949960 h 1366520"/>
                    <a:gd name="connsiteX0" fmla="*/ 972820 w 972820"/>
                    <a:gd name="connsiteY0" fmla="*/ 949960 h 1366520"/>
                    <a:gd name="connsiteX1" fmla="*/ 972820 w 972820"/>
                    <a:gd name="connsiteY1" fmla="*/ 0 h 1366520"/>
                    <a:gd name="connsiteX2" fmla="*/ 0 w 972820"/>
                    <a:gd name="connsiteY2" fmla="*/ 0 h 1366520"/>
                    <a:gd name="connsiteX3" fmla="*/ 0 w 972820"/>
                    <a:gd name="connsiteY3" fmla="*/ 1366520 h 1366520"/>
                    <a:gd name="connsiteX4" fmla="*/ 454660 w 972820"/>
                    <a:gd name="connsiteY4" fmla="*/ 1353820 h 1366520"/>
                    <a:gd name="connsiteX5" fmla="*/ 972820 w 972820"/>
                    <a:gd name="connsiteY5" fmla="*/ 949960 h 1366520"/>
                    <a:gd name="connsiteX0" fmla="*/ 972820 w 972820"/>
                    <a:gd name="connsiteY0" fmla="*/ 949960 h 1390979"/>
                    <a:gd name="connsiteX1" fmla="*/ 972820 w 972820"/>
                    <a:gd name="connsiteY1" fmla="*/ 0 h 1390979"/>
                    <a:gd name="connsiteX2" fmla="*/ 0 w 972820"/>
                    <a:gd name="connsiteY2" fmla="*/ 0 h 1390979"/>
                    <a:gd name="connsiteX3" fmla="*/ 0 w 972820"/>
                    <a:gd name="connsiteY3" fmla="*/ 1366520 h 1390979"/>
                    <a:gd name="connsiteX4" fmla="*/ 454660 w 972820"/>
                    <a:gd name="connsiteY4" fmla="*/ 1353820 h 1390979"/>
                    <a:gd name="connsiteX5" fmla="*/ 972820 w 972820"/>
                    <a:gd name="connsiteY5" fmla="*/ 949960 h 1390979"/>
                    <a:gd name="connsiteX0" fmla="*/ 972820 w 972820"/>
                    <a:gd name="connsiteY0" fmla="*/ 949960 h 1398991"/>
                    <a:gd name="connsiteX1" fmla="*/ 972820 w 972820"/>
                    <a:gd name="connsiteY1" fmla="*/ 0 h 1398991"/>
                    <a:gd name="connsiteX2" fmla="*/ 0 w 972820"/>
                    <a:gd name="connsiteY2" fmla="*/ 0 h 1398991"/>
                    <a:gd name="connsiteX3" fmla="*/ 0 w 972820"/>
                    <a:gd name="connsiteY3" fmla="*/ 1366520 h 1398991"/>
                    <a:gd name="connsiteX4" fmla="*/ 454660 w 972820"/>
                    <a:gd name="connsiteY4" fmla="*/ 1353820 h 1398991"/>
                    <a:gd name="connsiteX5" fmla="*/ 972820 w 972820"/>
                    <a:gd name="connsiteY5" fmla="*/ 949960 h 1398991"/>
                    <a:gd name="connsiteX0" fmla="*/ 972820 w 972820"/>
                    <a:gd name="connsiteY0" fmla="*/ 949960 h 1393771"/>
                    <a:gd name="connsiteX1" fmla="*/ 972820 w 972820"/>
                    <a:gd name="connsiteY1" fmla="*/ 0 h 1393771"/>
                    <a:gd name="connsiteX2" fmla="*/ 0 w 972820"/>
                    <a:gd name="connsiteY2" fmla="*/ 0 h 1393771"/>
                    <a:gd name="connsiteX3" fmla="*/ 0 w 972820"/>
                    <a:gd name="connsiteY3" fmla="*/ 1366520 h 1393771"/>
                    <a:gd name="connsiteX4" fmla="*/ 454660 w 972820"/>
                    <a:gd name="connsiteY4" fmla="*/ 1353820 h 1393771"/>
                    <a:gd name="connsiteX5" fmla="*/ 972820 w 972820"/>
                    <a:gd name="connsiteY5" fmla="*/ 949960 h 1393771"/>
                    <a:gd name="connsiteX0" fmla="*/ 972820 w 972820"/>
                    <a:gd name="connsiteY0" fmla="*/ 949960 h 1393771"/>
                    <a:gd name="connsiteX1" fmla="*/ 972820 w 972820"/>
                    <a:gd name="connsiteY1" fmla="*/ 0 h 1393771"/>
                    <a:gd name="connsiteX2" fmla="*/ 0 w 972820"/>
                    <a:gd name="connsiteY2" fmla="*/ 0 h 1393771"/>
                    <a:gd name="connsiteX3" fmla="*/ 0 w 972820"/>
                    <a:gd name="connsiteY3" fmla="*/ 1366520 h 1393771"/>
                    <a:gd name="connsiteX4" fmla="*/ 454660 w 972820"/>
                    <a:gd name="connsiteY4" fmla="*/ 1353820 h 1393771"/>
                    <a:gd name="connsiteX5" fmla="*/ 972820 w 972820"/>
                    <a:gd name="connsiteY5" fmla="*/ 949960 h 13937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972820" h="1393771">
                      <a:moveTo>
                        <a:pt x="972820" y="949960"/>
                      </a:moveTo>
                      <a:lnTo>
                        <a:pt x="972820" y="0"/>
                      </a:lnTo>
                      <a:lnTo>
                        <a:pt x="0" y="0"/>
                      </a:lnTo>
                      <a:lnTo>
                        <a:pt x="0" y="1366520"/>
                      </a:lnTo>
                      <a:cubicBezTo>
                        <a:pt x="108373" y="1390227"/>
                        <a:pt x="196427" y="1419013"/>
                        <a:pt x="454660" y="1353820"/>
                      </a:cubicBezTo>
                      <a:cubicBezTo>
                        <a:pt x="782320" y="1252220"/>
                        <a:pt x="911860" y="1018540"/>
                        <a:pt x="972820" y="949960"/>
                      </a:cubicBezTo>
                      <a:close/>
                    </a:path>
                  </a:pathLst>
                </a:custGeom>
                <a:solidFill>
                  <a:srgbClr val="C9BAAF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37" name="Freeform: Shape 136">
                  <a:extLst>
                    <a:ext uri="{FF2B5EF4-FFF2-40B4-BE49-F238E27FC236}">
                      <a16:creationId xmlns:a16="http://schemas.microsoft.com/office/drawing/2014/main" id="{16ACB7B4-9ECA-4B64-9617-73EDDB5CD70C}"/>
                    </a:ext>
                  </a:extLst>
                </p:cNvPr>
                <p:cNvSpPr/>
                <p:nvPr/>
              </p:nvSpPr>
              <p:spPr>
                <a:xfrm>
                  <a:off x="4926330" y="3064832"/>
                  <a:ext cx="816610" cy="1323549"/>
                </a:xfrm>
                <a:custGeom>
                  <a:avLst/>
                  <a:gdLst>
                    <a:gd name="connsiteX0" fmla="*/ 972820 w 972820"/>
                    <a:gd name="connsiteY0" fmla="*/ 949960 h 1366520"/>
                    <a:gd name="connsiteX1" fmla="*/ 972820 w 972820"/>
                    <a:gd name="connsiteY1" fmla="*/ 0 h 1366520"/>
                    <a:gd name="connsiteX2" fmla="*/ 0 w 972820"/>
                    <a:gd name="connsiteY2" fmla="*/ 0 h 1366520"/>
                    <a:gd name="connsiteX3" fmla="*/ 0 w 972820"/>
                    <a:gd name="connsiteY3" fmla="*/ 1366520 h 1366520"/>
                    <a:gd name="connsiteX4" fmla="*/ 769620 w 972820"/>
                    <a:gd name="connsiteY4" fmla="*/ 1366520 h 1366520"/>
                    <a:gd name="connsiteX5" fmla="*/ 972820 w 972820"/>
                    <a:gd name="connsiteY5" fmla="*/ 949960 h 1366520"/>
                    <a:gd name="connsiteX0" fmla="*/ 972820 w 972820"/>
                    <a:gd name="connsiteY0" fmla="*/ 949960 h 1366520"/>
                    <a:gd name="connsiteX1" fmla="*/ 972820 w 972820"/>
                    <a:gd name="connsiteY1" fmla="*/ 0 h 1366520"/>
                    <a:gd name="connsiteX2" fmla="*/ 0 w 972820"/>
                    <a:gd name="connsiteY2" fmla="*/ 0 h 1366520"/>
                    <a:gd name="connsiteX3" fmla="*/ 0 w 972820"/>
                    <a:gd name="connsiteY3" fmla="*/ 1366520 h 1366520"/>
                    <a:gd name="connsiteX4" fmla="*/ 454660 w 972820"/>
                    <a:gd name="connsiteY4" fmla="*/ 1353820 h 1366520"/>
                    <a:gd name="connsiteX5" fmla="*/ 972820 w 972820"/>
                    <a:gd name="connsiteY5" fmla="*/ 949960 h 1366520"/>
                    <a:gd name="connsiteX0" fmla="*/ 972820 w 972820"/>
                    <a:gd name="connsiteY0" fmla="*/ 949960 h 1366520"/>
                    <a:gd name="connsiteX1" fmla="*/ 972820 w 972820"/>
                    <a:gd name="connsiteY1" fmla="*/ 0 h 1366520"/>
                    <a:gd name="connsiteX2" fmla="*/ 0 w 972820"/>
                    <a:gd name="connsiteY2" fmla="*/ 0 h 1366520"/>
                    <a:gd name="connsiteX3" fmla="*/ 0 w 972820"/>
                    <a:gd name="connsiteY3" fmla="*/ 1366520 h 1366520"/>
                    <a:gd name="connsiteX4" fmla="*/ 454660 w 972820"/>
                    <a:gd name="connsiteY4" fmla="*/ 1353820 h 1366520"/>
                    <a:gd name="connsiteX5" fmla="*/ 972820 w 972820"/>
                    <a:gd name="connsiteY5" fmla="*/ 949960 h 1366520"/>
                    <a:gd name="connsiteX0" fmla="*/ 972820 w 972820"/>
                    <a:gd name="connsiteY0" fmla="*/ 949960 h 1366520"/>
                    <a:gd name="connsiteX1" fmla="*/ 972820 w 972820"/>
                    <a:gd name="connsiteY1" fmla="*/ 0 h 1366520"/>
                    <a:gd name="connsiteX2" fmla="*/ 0 w 972820"/>
                    <a:gd name="connsiteY2" fmla="*/ 0 h 1366520"/>
                    <a:gd name="connsiteX3" fmla="*/ 0 w 972820"/>
                    <a:gd name="connsiteY3" fmla="*/ 1366520 h 1366520"/>
                    <a:gd name="connsiteX4" fmla="*/ 454660 w 972820"/>
                    <a:gd name="connsiteY4" fmla="*/ 1353820 h 1366520"/>
                    <a:gd name="connsiteX5" fmla="*/ 972820 w 972820"/>
                    <a:gd name="connsiteY5" fmla="*/ 949960 h 1366520"/>
                    <a:gd name="connsiteX0" fmla="*/ 972820 w 972820"/>
                    <a:gd name="connsiteY0" fmla="*/ 949960 h 1366520"/>
                    <a:gd name="connsiteX1" fmla="*/ 972820 w 972820"/>
                    <a:gd name="connsiteY1" fmla="*/ 0 h 1366520"/>
                    <a:gd name="connsiteX2" fmla="*/ 0 w 972820"/>
                    <a:gd name="connsiteY2" fmla="*/ 0 h 1366520"/>
                    <a:gd name="connsiteX3" fmla="*/ 0 w 972820"/>
                    <a:gd name="connsiteY3" fmla="*/ 1366520 h 1366520"/>
                    <a:gd name="connsiteX4" fmla="*/ 454660 w 972820"/>
                    <a:gd name="connsiteY4" fmla="*/ 1353820 h 1366520"/>
                    <a:gd name="connsiteX5" fmla="*/ 972820 w 972820"/>
                    <a:gd name="connsiteY5" fmla="*/ 949960 h 1366520"/>
                    <a:gd name="connsiteX0" fmla="*/ 972820 w 972820"/>
                    <a:gd name="connsiteY0" fmla="*/ 949960 h 1390979"/>
                    <a:gd name="connsiteX1" fmla="*/ 972820 w 972820"/>
                    <a:gd name="connsiteY1" fmla="*/ 0 h 1390979"/>
                    <a:gd name="connsiteX2" fmla="*/ 0 w 972820"/>
                    <a:gd name="connsiteY2" fmla="*/ 0 h 1390979"/>
                    <a:gd name="connsiteX3" fmla="*/ 0 w 972820"/>
                    <a:gd name="connsiteY3" fmla="*/ 1366520 h 1390979"/>
                    <a:gd name="connsiteX4" fmla="*/ 454660 w 972820"/>
                    <a:gd name="connsiteY4" fmla="*/ 1353820 h 1390979"/>
                    <a:gd name="connsiteX5" fmla="*/ 972820 w 972820"/>
                    <a:gd name="connsiteY5" fmla="*/ 949960 h 1390979"/>
                    <a:gd name="connsiteX0" fmla="*/ 972820 w 972820"/>
                    <a:gd name="connsiteY0" fmla="*/ 949960 h 1398991"/>
                    <a:gd name="connsiteX1" fmla="*/ 972820 w 972820"/>
                    <a:gd name="connsiteY1" fmla="*/ 0 h 1398991"/>
                    <a:gd name="connsiteX2" fmla="*/ 0 w 972820"/>
                    <a:gd name="connsiteY2" fmla="*/ 0 h 1398991"/>
                    <a:gd name="connsiteX3" fmla="*/ 0 w 972820"/>
                    <a:gd name="connsiteY3" fmla="*/ 1366520 h 1398991"/>
                    <a:gd name="connsiteX4" fmla="*/ 454660 w 972820"/>
                    <a:gd name="connsiteY4" fmla="*/ 1353820 h 1398991"/>
                    <a:gd name="connsiteX5" fmla="*/ 972820 w 972820"/>
                    <a:gd name="connsiteY5" fmla="*/ 949960 h 1398991"/>
                    <a:gd name="connsiteX0" fmla="*/ 972820 w 972820"/>
                    <a:gd name="connsiteY0" fmla="*/ 949960 h 1393771"/>
                    <a:gd name="connsiteX1" fmla="*/ 972820 w 972820"/>
                    <a:gd name="connsiteY1" fmla="*/ 0 h 1393771"/>
                    <a:gd name="connsiteX2" fmla="*/ 0 w 972820"/>
                    <a:gd name="connsiteY2" fmla="*/ 0 h 1393771"/>
                    <a:gd name="connsiteX3" fmla="*/ 0 w 972820"/>
                    <a:gd name="connsiteY3" fmla="*/ 1366520 h 1393771"/>
                    <a:gd name="connsiteX4" fmla="*/ 454660 w 972820"/>
                    <a:gd name="connsiteY4" fmla="*/ 1353820 h 1393771"/>
                    <a:gd name="connsiteX5" fmla="*/ 972820 w 972820"/>
                    <a:gd name="connsiteY5" fmla="*/ 949960 h 1393771"/>
                    <a:gd name="connsiteX0" fmla="*/ 972820 w 972820"/>
                    <a:gd name="connsiteY0" fmla="*/ 949960 h 1393771"/>
                    <a:gd name="connsiteX1" fmla="*/ 972820 w 972820"/>
                    <a:gd name="connsiteY1" fmla="*/ 0 h 1393771"/>
                    <a:gd name="connsiteX2" fmla="*/ 0 w 972820"/>
                    <a:gd name="connsiteY2" fmla="*/ 0 h 1393771"/>
                    <a:gd name="connsiteX3" fmla="*/ 0 w 972820"/>
                    <a:gd name="connsiteY3" fmla="*/ 1366520 h 1393771"/>
                    <a:gd name="connsiteX4" fmla="*/ 454660 w 972820"/>
                    <a:gd name="connsiteY4" fmla="*/ 1353820 h 1393771"/>
                    <a:gd name="connsiteX5" fmla="*/ 972820 w 972820"/>
                    <a:gd name="connsiteY5" fmla="*/ 949960 h 1393771"/>
                    <a:gd name="connsiteX0" fmla="*/ 972820 w 972820"/>
                    <a:gd name="connsiteY0" fmla="*/ 949960 h 1393771"/>
                    <a:gd name="connsiteX1" fmla="*/ 885190 w 972820"/>
                    <a:gd name="connsiteY1" fmla="*/ 99060 h 1393771"/>
                    <a:gd name="connsiteX2" fmla="*/ 0 w 972820"/>
                    <a:gd name="connsiteY2" fmla="*/ 0 h 1393771"/>
                    <a:gd name="connsiteX3" fmla="*/ 0 w 972820"/>
                    <a:gd name="connsiteY3" fmla="*/ 1366520 h 1393771"/>
                    <a:gd name="connsiteX4" fmla="*/ 454660 w 972820"/>
                    <a:gd name="connsiteY4" fmla="*/ 1353820 h 1393771"/>
                    <a:gd name="connsiteX5" fmla="*/ 972820 w 972820"/>
                    <a:gd name="connsiteY5" fmla="*/ 949960 h 1393771"/>
                    <a:gd name="connsiteX0" fmla="*/ 900430 w 900430"/>
                    <a:gd name="connsiteY0" fmla="*/ 1049020 h 1393771"/>
                    <a:gd name="connsiteX1" fmla="*/ 885190 w 900430"/>
                    <a:gd name="connsiteY1" fmla="*/ 99060 h 1393771"/>
                    <a:gd name="connsiteX2" fmla="*/ 0 w 900430"/>
                    <a:gd name="connsiteY2" fmla="*/ 0 h 1393771"/>
                    <a:gd name="connsiteX3" fmla="*/ 0 w 900430"/>
                    <a:gd name="connsiteY3" fmla="*/ 1366520 h 1393771"/>
                    <a:gd name="connsiteX4" fmla="*/ 454660 w 900430"/>
                    <a:gd name="connsiteY4" fmla="*/ 1353820 h 1393771"/>
                    <a:gd name="connsiteX5" fmla="*/ 900430 w 900430"/>
                    <a:gd name="connsiteY5" fmla="*/ 1049020 h 1393771"/>
                    <a:gd name="connsiteX0" fmla="*/ 900430 w 900430"/>
                    <a:gd name="connsiteY0" fmla="*/ 1049020 h 1393771"/>
                    <a:gd name="connsiteX1" fmla="*/ 877570 w 900430"/>
                    <a:gd name="connsiteY1" fmla="*/ 80010 h 1393771"/>
                    <a:gd name="connsiteX2" fmla="*/ 0 w 900430"/>
                    <a:gd name="connsiteY2" fmla="*/ 0 h 1393771"/>
                    <a:gd name="connsiteX3" fmla="*/ 0 w 900430"/>
                    <a:gd name="connsiteY3" fmla="*/ 1366520 h 1393771"/>
                    <a:gd name="connsiteX4" fmla="*/ 454660 w 900430"/>
                    <a:gd name="connsiteY4" fmla="*/ 1353820 h 1393771"/>
                    <a:gd name="connsiteX5" fmla="*/ 900430 w 900430"/>
                    <a:gd name="connsiteY5" fmla="*/ 1049020 h 1393771"/>
                    <a:gd name="connsiteX0" fmla="*/ 900430 w 900430"/>
                    <a:gd name="connsiteY0" fmla="*/ 1049020 h 1393771"/>
                    <a:gd name="connsiteX1" fmla="*/ 892810 w 900430"/>
                    <a:gd name="connsiteY1" fmla="*/ 80010 h 1393771"/>
                    <a:gd name="connsiteX2" fmla="*/ 0 w 900430"/>
                    <a:gd name="connsiteY2" fmla="*/ 0 h 1393771"/>
                    <a:gd name="connsiteX3" fmla="*/ 0 w 900430"/>
                    <a:gd name="connsiteY3" fmla="*/ 1366520 h 1393771"/>
                    <a:gd name="connsiteX4" fmla="*/ 454660 w 900430"/>
                    <a:gd name="connsiteY4" fmla="*/ 1353820 h 1393771"/>
                    <a:gd name="connsiteX5" fmla="*/ 900430 w 900430"/>
                    <a:gd name="connsiteY5" fmla="*/ 1049020 h 1393771"/>
                    <a:gd name="connsiteX0" fmla="*/ 900430 w 900430"/>
                    <a:gd name="connsiteY0" fmla="*/ 969010 h 1313761"/>
                    <a:gd name="connsiteX1" fmla="*/ 892810 w 900430"/>
                    <a:gd name="connsiteY1" fmla="*/ 0 h 1313761"/>
                    <a:gd name="connsiteX2" fmla="*/ 80010 w 900430"/>
                    <a:gd name="connsiteY2" fmla="*/ 30480 h 1313761"/>
                    <a:gd name="connsiteX3" fmla="*/ 0 w 900430"/>
                    <a:gd name="connsiteY3" fmla="*/ 1286510 h 1313761"/>
                    <a:gd name="connsiteX4" fmla="*/ 454660 w 900430"/>
                    <a:gd name="connsiteY4" fmla="*/ 1273810 h 1313761"/>
                    <a:gd name="connsiteX5" fmla="*/ 900430 w 900430"/>
                    <a:gd name="connsiteY5" fmla="*/ 969010 h 1313761"/>
                    <a:gd name="connsiteX0" fmla="*/ 820420 w 820420"/>
                    <a:gd name="connsiteY0" fmla="*/ 969010 h 1323549"/>
                    <a:gd name="connsiteX1" fmla="*/ 812800 w 820420"/>
                    <a:gd name="connsiteY1" fmla="*/ 0 h 1323549"/>
                    <a:gd name="connsiteX2" fmla="*/ 0 w 820420"/>
                    <a:gd name="connsiteY2" fmla="*/ 30480 h 1323549"/>
                    <a:gd name="connsiteX3" fmla="*/ 7620 w 820420"/>
                    <a:gd name="connsiteY3" fmla="*/ 1305560 h 1323549"/>
                    <a:gd name="connsiteX4" fmla="*/ 374650 w 820420"/>
                    <a:gd name="connsiteY4" fmla="*/ 1273810 h 1323549"/>
                    <a:gd name="connsiteX5" fmla="*/ 820420 w 820420"/>
                    <a:gd name="connsiteY5" fmla="*/ 969010 h 1323549"/>
                    <a:gd name="connsiteX0" fmla="*/ 820420 w 820420"/>
                    <a:gd name="connsiteY0" fmla="*/ 969010 h 1323549"/>
                    <a:gd name="connsiteX1" fmla="*/ 812800 w 820420"/>
                    <a:gd name="connsiteY1" fmla="*/ 0 h 1323549"/>
                    <a:gd name="connsiteX2" fmla="*/ 0 w 820420"/>
                    <a:gd name="connsiteY2" fmla="*/ 15240 h 1323549"/>
                    <a:gd name="connsiteX3" fmla="*/ 7620 w 820420"/>
                    <a:gd name="connsiteY3" fmla="*/ 1305560 h 1323549"/>
                    <a:gd name="connsiteX4" fmla="*/ 374650 w 820420"/>
                    <a:gd name="connsiteY4" fmla="*/ 1273810 h 1323549"/>
                    <a:gd name="connsiteX5" fmla="*/ 820420 w 820420"/>
                    <a:gd name="connsiteY5" fmla="*/ 969010 h 1323549"/>
                    <a:gd name="connsiteX0" fmla="*/ 820420 w 820420"/>
                    <a:gd name="connsiteY0" fmla="*/ 969010 h 1323549"/>
                    <a:gd name="connsiteX1" fmla="*/ 812800 w 820420"/>
                    <a:gd name="connsiteY1" fmla="*/ 0 h 1323549"/>
                    <a:gd name="connsiteX2" fmla="*/ 0 w 820420"/>
                    <a:gd name="connsiteY2" fmla="*/ 7620 h 1323549"/>
                    <a:gd name="connsiteX3" fmla="*/ 7620 w 820420"/>
                    <a:gd name="connsiteY3" fmla="*/ 1305560 h 1323549"/>
                    <a:gd name="connsiteX4" fmla="*/ 374650 w 820420"/>
                    <a:gd name="connsiteY4" fmla="*/ 1273810 h 1323549"/>
                    <a:gd name="connsiteX5" fmla="*/ 820420 w 820420"/>
                    <a:gd name="connsiteY5" fmla="*/ 969010 h 1323549"/>
                    <a:gd name="connsiteX0" fmla="*/ 820420 w 820420"/>
                    <a:gd name="connsiteY0" fmla="*/ 969010 h 1323549"/>
                    <a:gd name="connsiteX1" fmla="*/ 812800 w 820420"/>
                    <a:gd name="connsiteY1" fmla="*/ 0 h 1323549"/>
                    <a:gd name="connsiteX2" fmla="*/ 0 w 820420"/>
                    <a:gd name="connsiteY2" fmla="*/ 0 h 1323549"/>
                    <a:gd name="connsiteX3" fmla="*/ 7620 w 820420"/>
                    <a:gd name="connsiteY3" fmla="*/ 1305560 h 1323549"/>
                    <a:gd name="connsiteX4" fmla="*/ 374650 w 820420"/>
                    <a:gd name="connsiteY4" fmla="*/ 1273810 h 1323549"/>
                    <a:gd name="connsiteX5" fmla="*/ 820420 w 820420"/>
                    <a:gd name="connsiteY5" fmla="*/ 969010 h 1323549"/>
                    <a:gd name="connsiteX0" fmla="*/ 816610 w 816610"/>
                    <a:gd name="connsiteY0" fmla="*/ 976630 h 1323549"/>
                    <a:gd name="connsiteX1" fmla="*/ 812800 w 816610"/>
                    <a:gd name="connsiteY1" fmla="*/ 0 h 1323549"/>
                    <a:gd name="connsiteX2" fmla="*/ 0 w 816610"/>
                    <a:gd name="connsiteY2" fmla="*/ 0 h 1323549"/>
                    <a:gd name="connsiteX3" fmla="*/ 7620 w 816610"/>
                    <a:gd name="connsiteY3" fmla="*/ 1305560 h 1323549"/>
                    <a:gd name="connsiteX4" fmla="*/ 374650 w 816610"/>
                    <a:gd name="connsiteY4" fmla="*/ 1273810 h 1323549"/>
                    <a:gd name="connsiteX5" fmla="*/ 816610 w 816610"/>
                    <a:gd name="connsiteY5" fmla="*/ 976630 h 13235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816610" h="1323549">
                      <a:moveTo>
                        <a:pt x="816610" y="976630"/>
                      </a:moveTo>
                      <a:lnTo>
                        <a:pt x="812800" y="0"/>
                      </a:lnTo>
                      <a:lnTo>
                        <a:pt x="0" y="0"/>
                      </a:lnTo>
                      <a:lnTo>
                        <a:pt x="7620" y="1305560"/>
                      </a:lnTo>
                      <a:cubicBezTo>
                        <a:pt x="115993" y="1329267"/>
                        <a:pt x="116417" y="1339003"/>
                        <a:pt x="374650" y="1273810"/>
                      </a:cubicBezTo>
                      <a:cubicBezTo>
                        <a:pt x="702310" y="1172210"/>
                        <a:pt x="755650" y="1045210"/>
                        <a:pt x="816610" y="97663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141" name="Group 140">
                  <a:extLst>
                    <a:ext uri="{FF2B5EF4-FFF2-40B4-BE49-F238E27FC236}">
                      <a16:creationId xmlns:a16="http://schemas.microsoft.com/office/drawing/2014/main" id="{84689F3C-BBB6-4D50-B7F0-38E20FB44ACA}"/>
                    </a:ext>
                  </a:extLst>
                </p:cNvPr>
                <p:cNvGrpSpPr/>
                <p:nvPr/>
              </p:nvGrpSpPr>
              <p:grpSpPr>
                <a:xfrm>
                  <a:off x="5140025" y="2886913"/>
                  <a:ext cx="387768" cy="243310"/>
                  <a:chOff x="5124984" y="2886287"/>
                  <a:chExt cx="387768" cy="146897"/>
                </a:xfrm>
              </p:grpSpPr>
              <p:sp>
                <p:nvSpPr>
                  <p:cNvPr id="140" name="Rectangle: Top Corners Rounded 139">
                    <a:extLst>
                      <a:ext uri="{FF2B5EF4-FFF2-40B4-BE49-F238E27FC236}">
                        <a16:creationId xmlns:a16="http://schemas.microsoft.com/office/drawing/2014/main" id="{DE78829A-AA9C-4C03-A88D-5FFBA8216CBC}"/>
                      </a:ext>
                    </a:extLst>
                  </p:cNvPr>
                  <p:cNvSpPr/>
                  <p:nvPr/>
                </p:nvSpPr>
                <p:spPr>
                  <a:xfrm>
                    <a:off x="5152707" y="2886287"/>
                    <a:ext cx="360045" cy="146897"/>
                  </a:xfrm>
                  <a:prstGeom prst="round2SameRect">
                    <a:avLst/>
                  </a:prstGeom>
                  <a:solidFill>
                    <a:srgbClr val="999999"/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60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39" name="Rectangle: Top Corners Rounded 138">
                    <a:extLst>
                      <a:ext uri="{FF2B5EF4-FFF2-40B4-BE49-F238E27FC236}">
                        <a16:creationId xmlns:a16="http://schemas.microsoft.com/office/drawing/2014/main" id="{7D3D624A-246E-43C1-8586-849014C07E00}"/>
                      </a:ext>
                    </a:extLst>
                  </p:cNvPr>
                  <p:cNvSpPr/>
                  <p:nvPr/>
                </p:nvSpPr>
                <p:spPr>
                  <a:xfrm>
                    <a:off x="5124984" y="2886287"/>
                    <a:ext cx="360045" cy="146897"/>
                  </a:xfrm>
                  <a:prstGeom prst="round2SameRect">
                    <a:avLst/>
                  </a:prstGeom>
                  <a:solidFill>
                    <a:srgbClr val="CCCCCC"/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600">
                      <a:solidFill>
                        <a:schemeClr val="tx1"/>
                      </a:solidFill>
                    </a:endParaRPr>
                  </a:p>
                </p:txBody>
              </p:sp>
            </p:grpSp>
            <p:sp>
              <p:nvSpPr>
                <p:cNvPr id="144" name="Rectangle 143">
                  <a:extLst>
                    <a:ext uri="{FF2B5EF4-FFF2-40B4-BE49-F238E27FC236}">
                      <a16:creationId xmlns:a16="http://schemas.microsoft.com/office/drawing/2014/main" id="{3B1D1D32-18FB-4890-9609-914770C62FE1}"/>
                    </a:ext>
                  </a:extLst>
                </p:cNvPr>
                <p:cNvSpPr/>
                <p:nvPr/>
              </p:nvSpPr>
              <p:spPr>
                <a:xfrm>
                  <a:off x="5527793" y="3236096"/>
                  <a:ext cx="97713" cy="97712"/>
                </a:xfrm>
                <a:prstGeom prst="rect">
                  <a:avLst/>
                </a:prstGeom>
                <a:solidFill>
                  <a:schemeClr val="accent1"/>
                </a:solidFill>
                <a:ln w="19050" cap="rnd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5" name="Freeform: Shape 144">
                  <a:extLst>
                    <a:ext uri="{FF2B5EF4-FFF2-40B4-BE49-F238E27FC236}">
                      <a16:creationId xmlns:a16="http://schemas.microsoft.com/office/drawing/2014/main" id="{7ADA1C14-716E-49DE-8B7B-759A61CD513A}"/>
                    </a:ext>
                  </a:extLst>
                </p:cNvPr>
                <p:cNvSpPr/>
                <p:nvPr/>
              </p:nvSpPr>
              <p:spPr>
                <a:xfrm>
                  <a:off x="5553639" y="3230255"/>
                  <a:ext cx="111440" cy="72678"/>
                </a:xfrm>
                <a:custGeom>
                  <a:avLst/>
                  <a:gdLst>
                    <a:gd name="connsiteX0" fmla="*/ 0 w 350520"/>
                    <a:gd name="connsiteY0" fmla="*/ 121920 h 228600"/>
                    <a:gd name="connsiteX1" fmla="*/ 121920 w 350520"/>
                    <a:gd name="connsiteY1" fmla="*/ 228600 h 228600"/>
                    <a:gd name="connsiteX2" fmla="*/ 350520 w 350520"/>
                    <a:gd name="connsiteY2" fmla="*/ 0 h 2286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50520" h="228600">
                      <a:moveTo>
                        <a:pt x="0" y="121920"/>
                      </a:moveTo>
                      <a:lnTo>
                        <a:pt x="121920" y="228600"/>
                      </a:lnTo>
                      <a:lnTo>
                        <a:pt x="350520" y="0"/>
                      </a:lnTo>
                    </a:path>
                  </a:pathLst>
                </a:custGeom>
                <a:noFill/>
                <a:ln w="19050" cap="rnd">
                  <a:solidFill>
                    <a:schemeClr val="accent4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48" name="Rectangle 147">
                  <a:extLst>
                    <a:ext uri="{FF2B5EF4-FFF2-40B4-BE49-F238E27FC236}">
                      <a16:creationId xmlns:a16="http://schemas.microsoft.com/office/drawing/2014/main" id="{6737A846-3E10-4091-B81E-B91D0F86B8A9}"/>
                    </a:ext>
                  </a:extLst>
                </p:cNvPr>
                <p:cNvSpPr/>
                <p:nvPr/>
              </p:nvSpPr>
              <p:spPr>
                <a:xfrm>
                  <a:off x="5527793" y="3426730"/>
                  <a:ext cx="97713" cy="97712"/>
                </a:xfrm>
                <a:prstGeom prst="rect">
                  <a:avLst/>
                </a:prstGeom>
                <a:solidFill>
                  <a:schemeClr val="accent1"/>
                </a:solidFill>
                <a:ln w="19050" cap="rnd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9" name="Freeform: Shape 148">
                  <a:extLst>
                    <a:ext uri="{FF2B5EF4-FFF2-40B4-BE49-F238E27FC236}">
                      <a16:creationId xmlns:a16="http://schemas.microsoft.com/office/drawing/2014/main" id="{8DEB7851-06B7-45F2-9140-C5AD01C71B61}"/>
                    </a:ext>
                  </a:extLst>
                </p:cNvPr>
                <p:cNvSpPr/>
                <p:nvPr/>
              </p:nvSpPr>
              <p:spPr>
                <a:xfrm>
                  <a:off x="5553639" y="3420889"/>
                  <a:ext cx="111440" cy="72678"/>
                </a:xfrm>
                <a:custGeom>
                  <a:avLst/>
                  <a:gdLst>
                    <a:gd name="connsiteX0" fmla="*/ 0 w 350520"/>
                    <a:gd name="connsiteY0" fmla="*/ 121920 h 228600"/>
                    <a:gd name="connsiteX1" fmla="*/ 121920 w 350520"/>
                    <a:gd name="connsiteY1" fmla="*/ 228600 h 228600"/>
                    <a:gd name="connsiteX2" fmla="*/ 350520 w 350520"/>
                    <a:gd name="connsiteY2" fmla="*/ 0 h 2286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50520" h="228600">
                      <a:moveTo>
                        <a:pt x="0" y="121920"/>
                      </a:moveTo>
                      <a:lnTo>
                        <a:pt x="121920" y="228600"/>
                      </a:lnTo>
                      <a:lnTo>
                        <a:pt x="350520" y="0"/>
                      </a:lnTo>
                    </a:path>
                  </a:pathLst>
                </a:custGeom>
                <a:noFill/>
                <a:ln w="19050" cap="rnd">
                  <a:solidFill>
                    <a:schemeClr val="accent4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51" name="Rectangle 150">
                  <a:extLst>
                    <a:ext uri="{FF2B5EF4-FFF2-40B4-BE49-F238E27FC236}">
                      <a16:creationId xmlns:a16="http://schemas.microsoft.com/office/drawing/2014/main" id="{12D2FED5-4A91-4519-8ADA-426D597B876D}"/>
                    </a:ext>
                  </a:extLst>
                </p:cNvPr>
                <p:cNvSpPr/>
                <p:nvPr/>
              </p:nvSpPr>
              <p:spPr>
                <a:xfrm>
                  <a:off x="5527793" y="3617365"/>
                  <a:ext cx="97713" cy="97712"/>
                </a:xfrm>
                <a:prstGeom prst="rect">
                  <a:avLst/>
                </a:prstGeom>
                <a:solidFill>
                  <a:schemeClr val="accent1"/>
                </a:solidFill>
                <a:ln w="19050" cap="rnd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52" name="Freeform: Shape 151">
                  <a:extLst>
                    <a:ext uri="{FF2B5EF4-FFF2-40B4-BE49-F238E27FC236}">
                      <a16:creationId xmlns:a16="http://schemas.microsoft.com/office/drawing/2014/main" id="{6F1BCEEB-E17D-4988-AE73-7E675D921BC2}"/>
                    </a:ext>
                  </a:extLst>
                </p:cNvPr>
                <p:cNvSpPr/>
                <p:nvPr/>
              </p:nvSpPr>
              <p:spPr>
                <a:xfrm>
                  <a:off x="5553639" y="3611524"/>
                  <a:ext cx="111440" cy="72678"/>
                </a:xfrm>
                <a:custGeom>
                  <a:avLst/>
                  <a:gdLst>
                    <a:gd name="connsiteX0" fmla="*/ 0 w 350520"/>
                    <a:gd name="connsiteY0" fmla="*/ 121920 h 228600"/>
                    <a:gd name="connsiteX1" fmla="*/ 121920 w 350520"/>
                    <a:gd name="connsiteY1" fmla="*/ 228600 h 228600"/>
                    <a:gd name="connsiteX2" fmla="*/ 350520 w 350520"/>
                    <a:gd name="connsiteY2" fmla="*/ 0 h 2286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50520" h="228600">
                      <a:moveTo>
                        <a:pt x="0" y="121920"/>
                      </a:moveTo>
                      <a:lnTo>
                        <a:pt x="121920" y="228600"/>
                      </a:lnTo>
                      <a:lnTo>
                        <a:pt x="350520" y="0"/>
                      </a:lnTo>
                    </a:path>
                  </a:pathLst>
                </a:custGeom>
                <a:noFill/>
                <a:ln w="19050" cap="rnd">
                  <a:solidFill>
                    <a:schemeClr val="accent4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54" name="Rectangle 153">
                  <a:extLst>
                    <a:ext uri="{FF2B5EF4-FFF2-40B4-BE49-F238E27FC236}">
                      <a16:creationId xmlns:a16="http://schemas.microsoft.com/office/drawing/2014/main" id="{A2C8DEDE-1A7A-40EC-915C-0E4AA497641E}"/>
                    </a:ext>
                  </a:extLst>
                </p:cNvPr>
                <p:cNvSpPr/>
                <p:nvPr/>
              </p:nvSpPr>
              <p:spPr>
                <a:xfrm>
                  <a:off x="5527793" y="3808000"/>
                  <a:ext cx="97713" cy="97712"/>
                </a:xfrm>
                <a:prstGeom prst="rect">
                  <a:avLst/>
                </a:prstGeom>
                <a:solidFill>
                  <a:schemeClr val="accent1"/>
                </a:solidFill>
                <a:ln w="19050" cap="rnd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55" name="Freeform: Shape 154">
                  <a:extLst>
                    <a:ext uri="{FF2B5EF4-FFF2-40B4-BE49-F238E27FC236}">
                      <a16:creationId xmlns:a16="http://schemas.microsoft.com/office/drawing/2014/main" id="{27338AEB-C7A7-400D-B986-A41296F72BD5}"/>
                    </a:ext>
                  </a:extLst>
                </p:cNvPr>
                <p:cNvSpPr/>
                <p:nvPr/>
              </p:nvSpPr>
              <p:spPr>
                <a:xfrm>
                  <a:off x="5553639" y="3802159"/>
                  <a:ext cx="111440" cy="72678"/>
                </a:xfrm>
                <a:custGeom>
                  <a:avLst/>
                  <a:gdLst>
                    <a:gd name="connsiteX0" fmla="*/ 0 w 350520"/>
                    <a:gd name="connsiteY0" fmla="*/ 121920 h 228600"/>
                    <a:gd name="connsiteX1" fmla="*/ 121920 w 350520"/>
                    <a:gd name="connsiteY1" fmla="*/ 228600 h 228600"/>
                    <a:gd name="connsiteX2" fmla="*/ 350520 w 350520"/>
                    <a:gd name="connsiteY2" fmla="*/ 0 h 2286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50520" h="228600">
                      <a:moveTo>
                        <a:pt x="0" y="121920"/>
                      </a:moveTo>
                      <a:lnTo>
                        <a:pt x="121920" y="228600"/>
                      </a:lnTo>
                      <a:lnTo>
                        <a:pt x="350520" y="0"/>
                      </a:lnTo>
                    </a:path>
                  </a:pathLst>
                </a:custGeom>
                <a:noFill/>
                <a:ln w="19050" cap="rnd">
                  <a:solidFill>
                    <a:schemeClr val="accent4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57" name="Rectangle 156">
                  <a:extLst>
                    <a:ext uri="{FF2B5EF4-FFF2-40B4-BE49-F238E27FC236}">
                      <a16:creationId xmlns:a16="http://schemas.microsoft.com/office/drawing/2014/main" id="{448086BF-78A4-4DFE-9F1B-26287C21CA4D}"/>
                    </a:ext>
                  </a:extLst>
                </p:cNvPr>
                <p:cNvSpPr/>
                <p:nvPr/>
              </p:nvSpPr>
              <p:spPr>
                <a:xfrm>
                  <a:off x="5527793" y="3998634"/>
                  <a:ext cx="97713" cy="97712"/>
                </a:xfrm>
                <a:prstGeom prst="rect">
                  <a:avLst/>
                </a:prstGeom>
                <a:solidFill>
                  <a:schemeClr val="accent1"/>
                </a:solidFill>
                <a:ln w="19050" cap="rnd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58" name="Freeform: Shape 157">
                  <a:extLst>
                    <a:ext uri="{FF2B5EF4-FFF2-40B4-BE49-F238E27FC236}">
                      <a16:creationId xmlns:a16="http://schemas.microsoft.com/office/drawing/2014/main" id="{1DD3F226-25E5-4BA0-BBB7-EAFCCC8A47F3}"/>
                    </a:ext>
                  </a:extLst>
                </p:cNvPr>
                <p:cNvSpPr/>
                <p:nvPr/>
              </p:nvSpPr>
              <p:spPr>
                <a:xfrm>
                  <a:off x="5553639" y="3992793"/>
                  <a:ext cx="111440" cy="72678"/>
                </a:xfrm>
                <a:custGeom>
                  <a:avLst/>
                  <a:gdLst>
                    <a:gd name="connsiteX0" fmla="*/ 0 w 350520"/>
                    <a:gd name="connsiteY0" fmla="*/ 121920 h 228600"/>
                    <a:gd name="connsiteX1" fmla="*/ 121920 w 350520"/>
                    <a:gd name="connsiteY1" fmla="*/ 228600 h 228600"/>
                    <a:gd name="connsiteX2" fmla="*/ 350520 w 350520"/>
                    <a:gd name="connsiteY2" fmla="*/ 0 h 2286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50520" h="228600">
                      <a:moveTo>
                        <a:pt x="0" y="121920"/>
                      </a:moveTo>
                      <a:lnTo>
                        <a:pt x="121920" y="228600"/>
                      </a:lnTo>
                      <a:lnTo>
                        <a:pt x="350520" y="0"/>
                      </a:lnTo>
                    </a:path>
                  </a:pathLst>
                </a:custGeom>
                <a:noFill/>
                <a:ln w="19050" cap="rnd">
                  <a:solidFill>
                    <a:schemeClr val="accent4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60" name="Rectangle 159">
                  <a:extLst>
                    <a:ext uri="{FF2B5EF4-FFF2-40B4-BE49-F238E27FC236}">
                      <a16:creationId xmlns:a16="http://schemas.microsoft.com/office/drawing/2014/main" id="{FA9E06EE-640B-43BA-BDA2-78879EC7D0AC}"/>
                    </a:ext>
                  </a:extLst>
                </p:cNvPr>
                <p:cNvSpPr/>
                <p:nvPr/>
              </p:nvSpPr>
              <p:spPr>
                <a:xfrm>
                  <a:off x="5011629" y="3243411"/>
                  <a:ext cx="410572" cy="62524"/>
                </a:xfrm>
                <a:prstGeom prst="rect">
                  <a:avLst/>
                </a:prstGeom>
                <a:solidFill>
                  <a:schemeClr val="accent6">
                    <a:lumMod val="20000"/>
                    <a:lumOff val="80000"/>
                  </a:schemeClr>
                </a:solidFill>
                <a:ln w="2251" cap="flat">
                  <a:noFill/>
                  <a:prstDash val="solid"/>
                  <a:miter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61" name="Rectangle 160">
                  <a:extLst>
                    <a:ext uri="{FF2B5EF4-FFF2-40B4-BE49-F238E27FC236}">
                      <a16:creationId xmlns:a16="http://schemas.microsoft.com/office/drawing/2014/main" id="{D6F16C9D-8BD8-4938-B942-F028D220A72B}"/>
                    </a:ext>
                  </a:extLst>
                </p:cNvPr>
                <p:cNvSpPr/>
                <p:nvPr/>
              </p:nvSpPr>
              <p:spPr>
                <a:xfrm>
                  <a:off x="5011629" y="3434096"/>
                  <a:ext cx="410572" cy="62524"/>
                </a:xfrm>
                <a:prstGeom prst="rect">
                  <a:avLst/>
                </a:prstGeom>
                <a:solidFill>
                  <a:schemeClr val="accent6">
                    <a:lumMod val="20000"/>
                    <a:lumOff val="80000"/>
                  </a:schemeClr>
                </a:solidFill>
                <a:ln w="2251" cap="flat">
                  <a:noFill/>
                  <a:prstDash val="solid"/>
                  <a:miter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62" name="Rectangle 161">
                  <a:extLst>
                    <a:ext uri="{FF2B5EF4-FFF2-40B4-BE49-F238E27FC236}">
                      <a16:creationId xmlns:a16="http://schemas.microsoft.com/office/drawing/2014/main" id="{15BA9C0B-8044-4807-A4E2-2FA11C08AE55}"/>
                    </a:ext>
                  </a:extLst>
                </p:cNvPr>
                <p:cNvSpPr/>
                <p:nvPr/>
              </p:nvSpPr>
              <p:spPr>
                <a:xfrm>
                  <a:off x="5011629" y="3624781"/>
                  <a:ext cx="410572" cy="62524"/>
                </a:xfrm>
                <a:prstGeom prst="rect">
                  <a:avLst/>
                </a:prstGeom>
                <a:solidFill>
                  <a:schemeClr val="accent6">
                    <a:lumMod val="20000"/>
                    <a:lumOff val="80000"/>
                  </a:schemeClr>
                </a:solidFill>
                <a:ln w="2251" cap="flat">
                  <a:noFill/>
                  <a:prstDash val="solid"/>
                  <a:miter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63" name="Rectangle 162">
                  <a:extLst>
                    <a:ext uri="{FF2B5EF4-FFF2-40B4-BE49-F238E27FC236}">
                      <a16:creationId xmlns:a16="http://schemas.microsoft.com/office/drawing/2014/main" id="{79C05406-6651-4D65-9135-3F24CB08FC69}"/>
                    </a:ext>
                  </a:extLst>
                </p:cNvPr>
                <p:cNvSpPr/>
                <p:nvPr/>
              </p:nvSpPr>
              <p:spPr>
                <a:xfrm>
                  <a:off x="5011629" y="3815466"/>
                  <a:ext cx="410572" cy="62524"/>
                </a:xfrm>
                <a:prstGeom prst="rect">
                  <a:avLst/>
                </a:prstGeom>
                <a:solidFill>
                  <a:schemeClr val="accent6">
                    <a:lumMod val="20000"/>
                    <a:lumOff val="80000"/>
                  </a:schemeClr>
                </a:solidFill>
                <a:ln w="2251" cap="flat">
                  <a:noFill/>
                  <a:prstDash val="solid"/>
                  <a:miter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64" name="Rectangle 163">
                  <a:extLst>
                    <a:ext uri="{FF2B5EF4-FFF2-40B4-BE49-F238E27FC236}">
                      <a16:creationId xmlns:a16="http://schemas.microsoft.com/office/drawing/2014/main" id="{3FBD56BA-5431-4EEF-AE7E-11F5403815B3}"/>
                    </a:ext>
                  </a:extLst>
                </p:cNvPr>
                <p:cNvSpPr/>
                <p:nvPr/>
              </p:nvSpPr>
              <p:spPr>
                <a:xfrm>
                  <a:off x="5011629" y="4006150"/>
                  <a:ext cx="410572" cy="62524"/>
                </a:xfrm>
                <a:prstGeom prst="rect">
                  <a:avLst/>
                </a:prstGeom>
                <a:solidFill>
                  <a:schemeClr val="accent6">
                    <a:lumMod val="20000"/>
                    <a:lumOff val="80000"/>
                  </a:schemeClr>
                </a:solidFill>
                <a:ln w="2251" cap="flat">
                  <a:noFill/>
                  <a:prstDash val="solid"/>
                  <a:miter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72" name="Freeform: Shape 171">
                  <a:extLst>
                    <a:ext uri="{FF2B5EF4-FFF2-40B4-BE49-F238E27FC236}">
                      <a16:creationId xmlns:a16="http://schemas.microsoft.com/office/drawing/2014/main" id="{9BE96DA0-D5F5-4A7E-8604-FFECB1D56671}"/>
                    </a:ext>
                  </a:extLst>
                </p:cNvPr>
                <p:cNvSpPr/>
                <p:nvPr/>
              </p:nvSpPr>
              <p:spPr>
                <a:xfrm>
                  <a:off x="4665952" y="3067398"/>
                  <a:ext cx="212118" cy="352026"/>
                </a:xfrm>
                <a:custGeom>
                  <a:avLst/>
                  <a:gdLst>
                    <a:gd name="connsiteX0" fmla="*/ 65804 w 212118"/>
                    <a:gd name="connsiteY0" fmla="*/ 17260 h 352025"/>
                    <a:gd name="connsiteX1" fmla="*/ 183507 w 212118"/>
                    <a:gd name="connsiteY1" fmla="*/ 20690 h 352025"/>
                    <a:gd name="connsiteX2" fmla="*/ 191631 w 212118"/>
                    <a:gd name="connsiteY2" fmla="*/ 144441 h 352025"/>
                    <a:gd name="connsiteX3" fmla="*/ 181070 w 212118"/>
                    <a:gd name="connsiteY3" fmla="*/ 153918 h 352025"/>
                    <a:gd name="connsiteX4" fmla="*/ 179264 w 212118"/>
                    <a:gd name="connsiteY4" fmla="*/ 155543 h 352025"/>
                    <a:gd name="connsiteX5" fmla="*/ 165048 w 212118"/>
                    <a:gd name="connsiteY5" fmla="*/ 168857 h 352025"/>
                    <a:gd name="connsiteX6" fmla="*/ 89001 w 212118"/>
                    <a:gd name="connsiteY6" fmla="*/ 244813 h 352025"/>
                    <a:gd name="connsiteX7" fmla="*/ 39131 w 212118"/>
                    <a:gd name="connsiteY7" fmla="*/ 352136 h 352025"/>
                    <a:gd name="connsiteX8" fmla="*/ 4289 w 212118"/>
                    <a:gd name="connsiteY8" fmla="*/ 257495 h 352025"/>
                    <a:gd name="connsiteX9" fmla="*/ 950 w 212118"/>
                    <a:gd name="connsiteY9" fmla="*/ 171745 h 352025"/>
                    <a:gd name="connsiteX10" fmla="*/ 65804 w 212118"/>
                    <a:gd name="connsiteY10" fmla="*/ 17260 h 3520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212118" h="352025">
                      <a:moveTo>
                        <a:pt x="65804" y="17260"/>
                      </a:moveTo>
                      <a:cubicBezTo>
                        <a:pt x="102812" y="-6209"/>
                        <a:pt x="148259" y="-6389"/>
                        <a:pt x="183507" y="20690"/>
                      </a:cubicBezTo>
                      <a:cubicBezTo>
                        <a:pt x="222275" y="50477"/>
                        <a:pt x="225615" y="110050"/>
                        <a:pt x="191631" y="144441"/>
                      </a:cubicBezTo>
                      <a:cubicBezTo>
                        <a:pt x="192804" y="143267"/>
                        <a:pt x="171818" y="162313"/>
                        <a:pt x="181070" y="153918"/>
                      </a:cubicBezTo>
                      <a:cubicBezTo>
                        <a:pt x="187027" y="148502"/>
                        <a:pt x="180122" y="154776"/>
                        <a:pt x="179264" y="155543"/>
                      </a:cubicBezTo>
                      <a:cubicBezTo>
                        <a:pt x="174481" y="159921"/>
                        <a:pt x="169742" y="164344"/>
                        <a:pt x="165048" y="168857"/>
                      </a:cubicBezTo>
                      <a:cubicBezTo>
                        <a:pt x="160354" y="173370"/>
                        <a:pt x="113192" y="191738"/>
                        <a:pt x="89001" y="244813"/>
                      </a:cubicBezTo>
                      <a:cubicBezTo>
                        <a:pt x="67699" y="291569"/>
                        <a:pt x="57635" y="351730"/>
                        <a:pt x="39131" y="352136"/>
                      </a:cubicBezTo>
                      <a:cubicBezTo>
                        <a:pt x="8442" y="352858"/>
                        <a:pt x="8893" y="286605"/>
                        <a:pt x="4289" y="257495"/>
                      </a:cubicBezTo>
                      <a:cubicBezTo>
                        <a:pt x="-269" y="228566"/>
                        <a:pt x="-856" y="200990"/>
                        <a:pt x="950" y="171745"/>
                      </a:cubicBezTo>
                      <a:cubicBezTo>
                        <a:pt x="4515" y="115150"/>
                        <a:pt x="13541" y="50341"/>
                        <a:pt x="65804" y="17260"/>
                      </a:cubicBezTo>
                      <a:close/>
                    </a:path>
                  </a:pathLst>
                </a:custGeom>
                <a:solidFill>
                  <a:schemeClr val="accent6">
                    <a:lumMod val="20000"/>
                    <a:lumOff val="80000"/>
                  </a:schemeClr>
                </a:solidFill>
                <a:ln w="22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dirty="0"/>
                </a:p>
              </p:txBody>
            </p:sp>
          </p:grpSp>
          <p:grpSp>
            <p:nvGrpSpPr>
              <p:cNvPr id="1826" name="Group 1825">
                <a:extLst>
                  <a:ext uri="{FF2B5EF4-FFF2-40B4-BE49-F238E27FC236}">
                    <a16:creationId xmlns:a16="http://schemas.microsoft.com/office/drawing/2014/main" id="{1AD37DF3-0173-48E0-A8CA-26F7FA6157A3}"/>
                  </a:ext>
                </a:extLst>
              </p:cNvPr>
              <p:cNvGrpSpPr/>
              <p:nvPr/>
            </p:nvGrpSpPr>
            <p:grpSpPr>
              <a:xfrm>
                <a:off x="6063218" y="3035831"/>
                <a:ext cx="1830199" cy="1352550"/>
                <a:chOff x="6083672" y="3074214"/>
                <a:chExt cx="1830199" cy="1352550"/>
              </a:xfrm>
            </p:grpSpPr>
            <p:pic>
              <p:nvPicPr>
                <p:cNvPr id="45" name="Graphic 44">
                  <a:extLst>
                    <a:ext uri="{FF2B5EF4-FFF2-40B4-BE49-F238E27FC236}">
                      <a16:creationId xmlns:a16="http://schemas.microsoft.com/office/drawing/2014/main" id="{CA392935-3816-4D01-AC00-6996E5588B5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7">
                  <a:extLst>
                    <a:ext uri="{96DAC541-7B7A-43D3-8B79-37D633B846F1}">
                      <asvg:svgBlip xmlns:asvg="http://schemas.microsoft.com/office/drawing/2016/SVG/main" xmlns="" r:embed="rId18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189846" y="3074214"/>
                  <a:ext cx="1724025" cy="1352550"/>
                </a:xfrm>
                <a:prstGeom prst="rect">
                  <a:avLst/>
                </a:prstGeom>
              </p:spPr>
            </p:pic>
            <p:grpSp>
              <p:nvGrpSpPr>
                <p:cNvPr id="176" name="Graphic 174">
                  <a:extLst>
                    <a:ext uri="{FF2B5EF4-FFF2-40B4-BE49-F238E27FC236}">
                      <a16:creationId xmlns:a16="http://schemas.microsoft.com/office/drawing/2014/main" id="{4045A780-E4ED-4946-BB38-1D6737CA17D1}"/>
                    </a:ext>
                  </a:extLst>
                </p:cNvPr>
                <p:cNvGrpSpPr/>
                <p:nvPr/>
              </p:nvGrpSpPr>
              <p:grpSpPr>
                <a:xfrm>
                  <a:off x="6083672" y="3296365"/>
                  <a:ext cx="1813252" cy="946752"/>
                  <a:chOff x="5937027" y="3296365"/>
                  <a:chExt cx="1813252" cy="946752"/>
                </a:xfrm>
              </p:grpSpPr>
              <p:grpSp>
                <p:nvGrpSpPr>
                  <p:cNvPr id="177" name="Graphic 174">
                    <a:extLst>
                      <a:ext uri="{FF2B5EF4-FFF2-40B4-BE49-F238E27FC236}">
                        <a16:creationId xmlns:a16="http://schemas.microsoft.com/office/drawing/2014/main" id="{4045A780-E4ED-4946-BB38-1D6737CA17D1}"/>
                      </a:ext>
                    </a:extLst>
                  </p:cNvPr>
                  <p:cNvGrpSpPr/>
                  <p:nvPr/>
                </p:nvGrpSpPr>
                <p:grpSpPr>
                  <a:xfrm>
                    <a:off x="5937027" y="3296365"/>
                    <a:ext cx="1807434" cy="946752"/>
                    <a:chOff x="5937027" y="3296365"/>
                    <a:chExt cx="1807434" cy="946752"/>
                  </a:xfrm>
                  <a:solidFill>
                    <a:schemeClr val="accent1"/>
                  </a:solidFill>
                </p:grpSpPr>
                <p:sp>
                  <p:nvSpPr>
                    <p:cNvPr id="178" name="Freeform: Shape 177">
                      <a:extLst>
                        <a:ext uri="{FF2B5EF4-FFF2-40B4-BE49-F238E27FC236}">
                          <a16:creationId xmlns:a16="http://schemas.microsoft.com/office/drawing/2014/main" id="{58A7328A-0F83-4BCE-8A21-D31E940399E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06747" y="3296365"/>
                      <a:ext cx="1107257" cy="925816"/>
                    </a:xfrm>
                    <a:custGeom>
                      <a:avLst/>
                      <a:gdLst>
                        <a:gd name="connsiteX0" fmla="*/ 97683 w 1107257"/>
                        <a:gd name="connsiteY0" fmla="*/ 882084 h 925816"/>
                        <a:gd name="connsiteX1" fmla="*/ 99591 w 1107257"/>
                        <a:gd name="connsiteY1" fmla="*/ 881549 h 925816"/>
                        <a:gd name="connsiteX2" fmla="*/ 101521 w 1107257"/>
                        <a:gd name="connsiteY2" fmla="*/ 881363 h 925816"/>
                        <a:gd name="connsiteX3" fmla="*/ 815028 w 1107257"/>
                        <a:gd name="connsiteY3" fmla="*/ 881363 h 925816"/>
                        <a:gd name="connsiteX4" fmla="*/ 813097 w 1107257"/>
                        <a:gd name="connsiteY4" fmla="*/ 881549 h 925816"/>
                        <a:gd name="connsiteX5" fmla="*/ 811189 w 1107257"/>
                        <a:gd name="connsiteY5" fmla="*/ 882084 h 925816"/>
                        <a:gd name="connsiteX6" fmla="*/ 810352 w 1107257"/>
                        <a:gd name="connsiteY6" fmla="*/ 882480 h 925816"/>
                        <a:gd name="connsiteX7" fmla="*/ 819936 w 1107257"/>
                        <a:gd name="connsiteY7" fmla="*/ 882480 h 925816"/>
                        <a:gd name="connsiteX8" fmla="*/ 901259 w 1107257"/>
                        <a:gd name="connsiteY8" fmla="*/ 882480 h 925816"/>
                        <a:gd name="connsiteX9" fmla="*/ 905585 w 1107257"/>
                        <a:gd name="connsiteY9" fmla="*/ 886806 h 925816"/>
                        <a:gd name="connsiteX10" fmla="*/ 905585 w 1107257"/>
                        <a:gd name="connsiteY10" fmla="*/ 913767 h 925816"/>
                        <a:gd name="connsiteX11" fmla="*/ 894932 w 1107257"/>
                        <a:gd name="connsiteY11" fmla="*/ 924421 h 925816"/>
                        <a:gd name="connsiteX12" fmla="*/ 873391 w 1107257"/>
                        <a:gd name="connsiteY12" fmla="*/ 924421 h 925816"/>
                        <a:gd name="connsiteX13" fmla="*/ 873391 w 1107257"/>
                        <a:gd name="connsiteY13" fmla="*/ 927328 h 925816"/>
                        <a:gd name="connsiteX14" fmla="*/ 893606 w 1107257"/>
                        <a:gd name="connsiteY14" fmla="*/ 927328 h 925816"/>
                        <a:gd name="connsiteX15" fmla="*/ 959157 w 1107257"/>
                        <a:gd name="connsiteY15" fmla="*/ 856171 h 925816"/>
                        <a:gd name="connsiteX16" fmla="*/ 1107893 w 1107257"/>
                        <a:gd name="connsiteY16" fmla="*/ 71134 h 925816"/>
                        <a:gd name="connsiteX17" fmla="*/ 1075977 w 1107257"/>
                        <a:gd name="connsiteY17" fmla="*/ 605 h 925816"/>
                        <a:gd name="connsiteX18" fmla="*/ 1069325 w 1107257"/>
                        <a:gd name="connsiteY18" fmla="*/ 0 h 925816"/>
                        <a:gd name="connsiteX19" fmla="*/ 215969 w 1107257"/>
                        <a:gd name="connsiteY19" fmla="*/ 0 h 925816"/>
                        <a:gd name="connsiteX20" fmla="*/ 150394 w 1107257"/>
                        <a:gd name="connsiteY20" fmla="*/ 71134 h 925816"/>
                        <a:gd name="connsiteX21" fmla="*/ 1659 w 1107257"/>
                        <a:gd name="connsiteY21" fmla="*/ 856171 h 925816"/>
                        <a:gd name="connsiteX22" fmla="*/ 240 w 1107257"/>
                        <a:gd name="connsiteY22" fmla="*/ 879735 h 925816"/>
                        <a:gd name="connsiteX23" fmla="*/ 403 w 1107257"/>
                        <a:gd name="connsiteY23" fmla="*/ 882480 h 925816"/>
                        <a:gd name="connsiteX24" fmla="*/ 96822 w 1107257"/>
                        <a:gd name="connsiteY24" fmla="*/ 882480 h 925816"/>
                        <a:gd name="connsiteX25" fmla="*/ 97683 w 1107257"/>
                        <a:gd name="connsiteY25" fmla="*/ 882084 h 925816"/>
                        <a:gd name="connsiteX26" fmla="*/ 51602 w 1107257"/>
                        <a:gd name="connsiteY26" fmla="*/ 810438 h 925816"/>
                        <a:gd name="connsiteX27" fmla="*/ 191312 w 1107257"/>
                        <a:gd name="connsiteY27" fmla="*/ 72995 h 925816"/>
                        <a:gd name="connsiteX28" fmla="*/ 206641 w 1107257"/>
                        <a:gd name="connsiteY28" fmla="*/ 56363 h 925816"/>
                        <a:gd name="connsiteX29" fmla="*/ 1057275 w 1107257"/>
                        <a:gd name="connsiteY29" fmla="*/ 56363 h 925816"/>
                        <a:gd name="connsiteX30" fmla="*/ 1066301 w 1107257"/>
                        <a:gd name="connsiteY30" fmla="*/ 72995 h 925816"/>
                        <a:gd name="connsiteX31" fmla="*/ 926591 w 1107257"/>
                        <a:gd name="connsiteY31" fmla="*/ 810438 h 925816"/>
                        <a:gd name="connsiteX32" fmla="*/ 911261 w 1107257"/>
                        <a:gd name="connsiteY32" fmla="*/ 827070 h 925816"/>
                        <a:gd name="connsiteX33" fmla="*/ 60627 w 1107257"/>
                        <a:gd name="connsiteY33" fmla="*/ 827070 h 925816"/>
                        <a:gd name="connsiteX34" fmla="*/ 51602 w 1107257"/>
                        <a:gd name="connsiteY34" fmla="*/ 810438 h 92581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</a:cxnLst>
                      <a:rect l="l" t="t" r="r" b="b"/>
                      <a:pathLst>
                        <a:path w="1107257" h="925816">
                          <a:moveTo>
                            <a:pt x="97683" y="882084"/>
                          </a:moveTo>
                          <a:lnTo>
                            <a:pt x="99591" y="881549"/>
                          </a:lnTo>
                          <a:lnTo>
                            <a:pt x="101521" y="881363"/>
                          </a:lnTo>
                          <a:lnTo>
                            <a:pt x="815028" y="881363"/>
                          </a:lnTo>
                          <a:lnTo>
                            <a:pt x="813097" y="881549"/>
                          </a:lnTo>
                          <a:lnTo>
                            <a:pt x="811189" y="882084"/>
                          </a:lnTo>
                          <a:lnTo>
                            <a:pt x="810352" y="882480"/>
                          </a:lnTo>
                          <a:lnTo>
                            <a:pt x="819936" y="882480"/>
                          </a:lnTo>
                          <a:cubicBezTo>
                            <a:pt x="853479" y="882480"/>
                            <a:pt x="870623" y="882480"/>
                            <a:pt x="901259" y="882480"/>
                          </a:cubicBezTo>
                          <a:cubicBezTo>
                            <a:pt x="903655" y="882480"/>
                            <a:pt x="905585" y="884410"/>
                            <a:pt x="905585" y="886806"/>
                          </a:cubicBezTo>
                          <a:lnTo>
                            <a:pt x="905585" y="913767"/>
                          </a:lnTo>
                          <a:cubicBezTo>
                            <a:pt x="905585" y="919652"/>
                            <a:pt x="900817" y="924421"/>
                            <a:pt x="894932" y="924421"/>
                          </a:cubicBezTo>
                          <a:cubicBezTo>
                            <a:pt x="845105" y="924421"/>
                            <a:pt x="937454" y="924421"/>
                            <a:pt x="873391" y="924421"/>
                          </a:cubicBezTo>
                          <a:lnTo>
                            <a:pt x="873391" y="927328"/>
                          </a:lnTo>
                          <a:lnTo>
                            <a:pt x="893606" y="927328"/>
                          </a:lnTo>
                          <a:cubicBezTo>
                            <a:pt x="929708" y="924141"/>
                            <a:pt x="950760" y="891598"/>
                            <a:pt x="959157" y="856171"/>
                          </a:cubicBezTo>
                          <a:lnTo>
                            <a:pt x="1107893" y="71134"/>
                          </a:lnTo>
                          <a:cubicBezTo>
                            <a:pt x="1112382" y="39312"/>
                            <a:pt x="1106846" y="9444"/>
                            <a:pt x="1075977" y="605"/>
                          </a:cubicBezTo>
                          <a:lnTo>
                            <a:pt x="1069325" y="0"/>
                          </a:lnTo>
                          <a:lnTo>
                            <a:pt x="215969" y="0"/>
                          </a:lnTo>
                          <a:cubicBezTo>
                            <a:pt x="179750" y="3187"/>
                            <a:pt x="158861" y="35544"/>
                            <a:pt x="150394" y="71134"/>
                          </a:cubicBezTo>
                          <a:lnTo>
                            <a:pt x="1659" y="856171"/>
                          </a:lnTo>
                          <a:cubicBezTo>
                            <a:pt x="263" y="865964"/>
                            <a:pt x="-388" y="869058"/>
                            <a:pt x="240" y="879735"/>
                          </a:cubicBezTo>
                          <a:lnTo>
                            <a:pt x="403" y="882480"/>
                          </a:lnTo>
                          <a:lnTo>
                            <a:pt x="96822" y="882480"/>
                          </a:lnTo>
                          <a:lnTo>
                            <a:pt x="97683" y="882084"/>
                          </a:lnTo>
                          <a:close/>
                          <a:moveTo>
                            <a:pt x="51602" y="810438"/>
                          </a:moveTo>
                          <a:lnTo>
                            <a:pt x="191312" y="72995"/>
                          </a:lnTo>
                          <a:cubicBezTo>
                            <a:pt x="193568" y="63504"/>
                            <a:pt x="197080" y="57224"/>
                            <a:pt x="206641" y="56363"/>
                          </a:cubicBezTo>
                          <a:cubicBezTo>
                            <a:pt x="308411" y="56363"/>
                            <a:pt x="954016" y="56363"/>
                            <a:pt x="1057275" y="56363"/>
                          </a:cubicBezTo>
                          <a:cubicBezTo>
                            <a:pt x="1066789" y="57247"/>
                            <a:pt x="1067627" y="63574"/>
                            <a:pt x="1066301" y="72995"/>
                          </a:cubicBezTo>
                          <a:lnTo>
                            <a:pt x="926591" y="810438"/>
                          </a:lnTo>
                          <a:cubicBezTo>
                            <a:pt x="924288" y="820092"/>
                            <a:pt x="921147" y="826210"/>
                            <a:pt x="911261" y="827070"/>
                          </a:cubicBezTo>
                          <a:cubicBezTo>
                            <a:pt x="806514" y="827070"/>
                            <a:pt x="162793" y="827070"/>
                            <a:pt x="60627" y="827070"/>
                          </a:cubicBezTo>
                          <a:cubicBezTo>
                            <a:pt x="51346" y="826233"/>
                            <a:pt x="50276" y="819789"/>
                            <a:pt x="51602" y="810438"/>
                          </a:cubicBezTo>
                          <a:close/>
                        </a:path>
                      </a:pathLst>
                    </a:custGeom>
                    <a:solidFill>
                      <a:srgbClr val="999999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79" name="Freeform: Shape 178">
                      <a:extLst>
                        <a:ext uri="{FF2B5EF4-FFF2-40B4-BE49-F238E27FC236}">
                          <a16:creationId xmlns:a16="http://schemas.microsoft.com/office/drawing/2014/main" id="{D4DB4DEA-237E-43BD-88DD-74D26E0D2D8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03593" y="4177914"/>
                      <a:ext cx="714134" cy="2326"/>
                    </a:xfrm>
                    <a:custGeom>
                      <a:avLst/>
                      <a:gdLst>
                        <a:gd name="connsiteX0" fmla="*/ 716251 w 714134"/>
                        <a:gd name="connsiteY0" fmla="*/ 0 h 0"/>
                        <a:gd name="connsiteX1" fmla="*/ 2745 w 714134"/>
                        <a:gd name="connsiteY1" fmla="*/ 0 h 0"/>
                        <a:gd name="connsiteX2" fmla="*/ 837 w 714134"/>
                        <a:gd name="connsiteY2" fmla="*/ 535 h 0"/>
                        <a:gd name="connsiteX3" fmla="*/ 0 w 714134"/>
                        <a:gd name="connsiteY3" fmla="*/ 930 h 0"/>
                        <a:gd name="connsiteX4" fmla="*/ 713506 w 714134"/>
                        <a:gd name="connsiteY4" fmla="*/ 930 h 0"/>
                        <a:gd name="connsiteX5" fmla="*/ 714344 w 714134"/>
                        <a:gd name="connsiteY5" fmla="*/ 535 h 0"/>
                        <a:gd name="connsiteX6" fmla="*/ 716251 w 714134"/>
                        <a:gd name="connsiteY6" fmla="*/ 0 h 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714134">
                          <a:moveTo>
                            <a:pt x="716251" y="0"/>
                          </a:moveTo>
                          <a:lnTo>
                            <a:pt x="2745" y="0"/>
                          </a:lnTo>
                          <a:lnTo>
                            <a:pt x="837" y="535"/>
                          </a:lnTo>
                          <a:lnTo>
                            <a:pt x="0" y="930"/>
                          </a:lnTo>
                          <a:cubicBezTo>
                            <a:pt x="23169" y="930"/>
                            <a:pt x="685127" y="930"/>
                            <a:pt x="713506" y="930"/>
                          </a:cubicBezTo>
                          <a:lnTo>
                            <a:pt x="714344" y="535"/>
                          </a:lnTo>
                          <a:lnTo>
                            <a:pt x="716251" y="0"/>
                          </a:lnTo>
                          <a:close/>
                        </a:path>
                      </a:pathLst>
                    </a:custGeom>
                    <a:solidFill>
                      <a:srgbClr val="5C3E66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80" name="Freeform: Shape 179">
                      <a:extLst>
                        <a:ext uri="{FF2B5EF4-FFF2-40B4-BE49-F238E27FC236}">
                          <a16:creationId xmlns:a16="http://schemas.microsoft.com/office/drawing/2014/main" id="{491F7BF5-7413-4836-A4A0-B0D7A285815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565951" y="3298784"/>
                      <a:ext cx="176789" cy="863010"/>
                    </a:xfrm>
                    <a:custGeom>
                      <a:avLst/>
                      <a:gdLst>
                        <a:gd name="connsiteX0" fmla="*/ 151783 w 176788"/>
                        <a:gd name="connsiteY0" fmla="*/ 10863 h 863009"/>
                        <a:gd name="connsiteX1" fmla="*/ 123147 w 176788"/>
                        <a:gd name="connsiteY1" fmla="*/ 0 h 863009"/>
                        <a:gd name="connsiteX2" fmla="*/ 148735 w 176788"/>
                        <a:gd name="connsiteY2" fmla="*/ 68715 h 863009"/>
                        <a:gd name="connsiteX3" fmla="*/ 0 w 176788"/>
                        <a:gd name="connsiteY3" fmla="*/ 853752 h 863009"/>
                        <a:gd name="connsiteX4" fmla="*/ 28635 w 176788"/>
                        <a:gd name="connsiteY4" fmla="*/ 864615 h 863009"/>
                        <a:gd name="connsiteX5" fmla="*/ 177371 w 176788"/>
                        <a:gd name="connsiteY5" fmla="*/ 79578 h 863009"/>
                        <a:gd name="connsiteX6" fmla="*/ 151783 w 176788"/>
                        <a:gd name="connsiteY6" fmla="*/ 10863 h 86300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176788" h="863009">
                          <a:moveTo>
                            <a:pt x="151783" y="10863"/>
                          </a:moveTo>
                          <a:lnTo>
                            <a:pt x="123147" y="0"/>
                          </a:lnTo>
                          <a:cubicBezTo>
                            <a:pt x="149410" y="13352"/>
                            <a:pt x="152806" y="39894"/>
                            <a:pt x="148735" y="68715"/>
                          </a:cubicBezTo>
                          <a:lnTo>
                            <a:pt x="0" y="853752"/>
                          </a:lnTo>
                          <a:lnTo>
                            <a:pt x="28635" y="864615"/>
                          </a:lnTo>
                          <a:lnTo>
                            <a:pt x="177371" y="79578"/>
                          </a:lnTo>
                          <a:cubicBezTo>
                            <a:pt x="181488" y="50431"/>
                            <a:pt x="177789" y="24076"/>
                            <a:pt x="151783" y="10863"/>
                          </a:cubicBezTo>
                          <a:close/>
                        </a:path>
                      </a:pathLst>
                    </a:custGeom>
                    <a:solidFill>
                      <a:srgbClr val="DDD6DD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81" name="Freeform: Shape 180">
                      <a:extLst>
                        <a:ext uri="{FF2B5EF4-FFF2-40B4-BE49-F238E27FC236}">
                          <a16:creationId xmlns:a16="http://schemas.microsoft.com/office/drawing/2014/main" id="{EC5EC664-4B6B-4AD2-8325-2F5CA3195F4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480138" y="4152536"/>
                      <a:ext cx="113982" cy="81416"/>
                    </a:xfrm>
                    <a:custGeom>
                      <a:avLst/>
                      <a:gdLst>
                        <a:gd name="connsiteX0" fmla="*/ 20214 w 113982"/>
                        <a:gd name="connsiteY0" fmla="*/ 71158 h 81416"/>
                        <a:gd name="connsiteX1" fmla="*/ 0 w 113982"/>
                        <a:gd name="connsiteY1" fmla="*/ 71158 h 81416"/>
                        <a:gd name="connsiteX2" fmla="*/ 0 w 113982"/>
                        <a:gd name="connsiteY2" fmla="*/ 71832 h 81416"/>
                        <a:gd name="connsiteX3" fmla="*/ 0 w 113982"/>
                        <a:gd name="connsiteY3" fmla="*/ 82021 h 81416"/>
                        <a:gd name="connsiteX4" fmla="*/ 48850 w 113982"/>
                        <a:gd name="connsiteY4" fmla="*/ 82021 h 81416"/>
                        <a:gd name="connsiteX5" fmla="*/ 114401 w 113982"/>
                        <a:gd name="connsiteY5" fmla="*/ 10863 h 81416"/>
                        <a:gd name="connsiteX6" fmla="*/ 85766 w 113982"/>
                        <a:gd name="connsiteY6" fmla="*/ 0 h 81416"/>
                        <a:gd name="connsiteX7" fmla="*/ 20214 w 113982"/>
                        <a:gd name="connsiteY7" fmla="*/ 71158 h 8141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113982" h="81416">
                          <a:moveTo>
                            <a:pt x="20214" y="71158"/>
                          </a:moveTo>
                          <a:lnTo>
                            <a:pt x="0" y="71158"/>
                          </a:lnTo>
                          <a:lnTo>
                            <a:pt x="0" y="71832"/>
                          </a:lnTo>
                          <a:cubicBezTo>
                            <a:pt x="46" y="73274"/>
                            <a:pt x="23" y="75903"/>
                            <a:pt x="0" y="82021"/>
                          </a:cubicBezTo>
                          <a:lnTo>
                            <a:pt x="48850" y="82021"/>
                          </a:lnTo>
                          <a:cubicBezTo>
                            <a:pt x="84859" y="78857"/>
                            <a:pt x="105934" y="46640"/>
                            <a:pt x="114401" y="10863"/>
                          </a:cubicBezTo>
                          <a:lnTo>
                            <a:pt x="85766" y="0"/>
                          </a:lnTo>
                          <a:cubicBezTo>
                            <a:pt x="77485" y="35055"/>
                            <a:pt x="56526" y="67947"/>
                            <a:pt x="20214" y="71158"/>
                          </a:cubicBezTo>
                          <a:close/>
                        </a:path>
                      </a:pathLst>
                    </a:custGeom>
                    <a:solidFill>
                      <a:srgbClr val="CCC2CC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82" name="Freeform: Shape 181">
                      <a:extLst>
                        <a:ext uri="{FF2B5EF4-FFF2-40B4-BE49-F238E27FC236}">
                          <a16:creationId xmlns:a16="http://schemas.microsoft.com/office/drawing/2014/main" id="{A4C11CFA-F663-4855-86CD-17CD35692EE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937027" y="4178845"/>
                      <a:ext cx="1574817" cy="41871"/>
                    </a:xfrm>
                    <a:custGeom>
                      <a:avLst/>
                      <a:gdLst>
                        <a:gd name="connsiteX0" fmla="*/ 1564675 w 1574817"/>
                        <a:gd name="connsiteY0" fmla="*/ 41941 h 41871"/>
                        <a:gd name="connsiteX1" fmla="*/ 1575329 w 1574817"/>
                        <a:gd name="connsiteY1" fmla="*/ 31287 h 41871"/>
                        <a:gd name="connsiteX2" fmla="*/ 1575329 w 1574817"/>
                        <a:gd name="connsiteY2" fmla="*/ 4327 h 41871"/>
                        <a:gd name="connsiteX3" fmla="*/ 1571003 w 1574817"/>
                        <a:gd name="connsiteY3" fmla="*/ 0 h 41871"/>
                        <a:gd name="connsiteX4" fmla="*/ 1489680 w 1574817"/>
                        <a:gd name="connsiteY4" fmla="*/ 0 h 41871"/>
                        <a:gd name="connsiteX5" fmla="*/ 1480096 w 1574817"/>
                        <a:gd name="connsiteY5" fmla="*/ 0 h 41871"/>
                        <a:gd name="connsiteX6" fmla="*/ 766590 w 1574817"/>
                        <a:gd name="connsiteY6" fmla="*/ 0 h 41871"/>
                        <a:gd name="connsiteX7" fmla="*/ 670170 w 1574817"/>
                        <a:gd name="connsiteY7" fmla="*/ 0 h 41871"/>
                        <a:gd name="connsiteX8" fmla="*/ 532251 w 1574817"/>
                        <a:gd name="connsiteY8" fmla="*/ 0 h 41871"/>
                        <a:gd name="connsiteX9" fmla="*/ 532251 w 1574817"/>
                        <a:gd name="connsiteY9" fmla="*/ 20959 h 41871"/>
                        <a:gd name="connsiteX10" fmla="*/ 383655 w 1574817"/>
                        <a:gd name="connsiteY10" fmla="*/ 20959 h 41871"/>
                        <a:gd name="connsiteX11" fmla="*/ 383655 w 1574817"/>
                        <a:gd name="connsiteY11" fmla="*/ 0 h 41871"/>
                        <a:gd name="connsiteX12" fmla="*/ 4327 w 1574817"/>
                        <a:gd name="connsiteY12" fmla="*/ 0 h 41871"/>
                        <a:gd name="connsiteX13" fmla="*/ 0 w 1574817"/>
                        <a:gd name="connsiteY13" fmla="*/ 4327 h 41871"/>
                        <a:gd name="connsiteX14" fmla="*/ 0 w 1574817"/>
                        <a:gd name="connsiteY14" fmla="*/ 31287 h 41871"/>
                        <a:gd name="connsiteX15" fmla="*/ 10654 w 1574817"/>
                        <a:gd name="connsiteY15" fmla="*/ 41941 h 41871"/>
                        <a:gd name="connsiteX16" fmla="*/ 32543 w 1574817"/>
                        <a:gd name="connsiteY16" fmla="*/ 41941 h 41871"/>
                        <a:gd name="connsiteX17" fmla="*/ 1542833 w 1574817"/>
                        <a:gd name="connsiteY17" fmla="*/ 41941 h 41871"/>
                        <a:gd name="connsiteX18" fmla="*/ 1543182 w 1574817"/>
                        <a:gd name="connsiteY18" fmla="*/ 41941 h 41871"/>
                        <a:gd name="connsiteX19" fmla="*/ 1564675 w 1574817"/>
                        <a:gd name="connsiteY19" fmla="*/ 41941 h 4187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</a:cxnLst>
                      <a:rect l="l" t="t" r="r" b="b"/>
                      <a:pathLst>
                        <a:path w="1574817" h="41871">
                          <a:moveTo>
                            <a:pt x="1564675" y="41941"/>
                          </a:moveTo>
                          <a:cubicBezTo>
                            <a:pt x="1570561" y="41941"/>
                            <a:pt x="1575329" y="37172"/>
                            <a:pt x="1575329" y="31287"/>
                          </a:cubicBezTo>
                          <a:lnTo>
                            <a:pt x="1575329" y="4327"/>
                          </a:lnTo>
                          <a:cubicBezTo>
                            <a:pt x="1575329" y="1931"/>
                            <a:pt x="1573398" y="0"/>
                            <a:pt x="1571003" y="0"/>
                          </a:cubicBezTo>
                          <a:cubicBezTo>
                            <a:pt x="1540367" y="0"/>
                            <a:pt x="1523223" y="0"/>
                            <a:pt x="1489680" y="0"/>
                          </a:cubicBezTo>
                          <a:lnTo>
                            <a:pt x="1480096" y="0"/>
                          </a:lnTo>
                          <a:cubicBezTo>
                            <a:pt x="1451716" y="0"/>
                            <a:pt x="789758" y="0"/>
                            <a:pt x="766590" y="0"/>
                          </a:cubicBezTo>
                          <a:lnTo>
                            <a:pt x="670170" y="0"/>
                          </a:lnTo>
                          <a:lnTo>
                            <a:pt x="532251" y="0"/>
                          </a:lnTo>
                          <a:lnTo>
                            <a:pt x="532251" y="20959"/>
                          </a:lnTo>
                          <a:lnTo>
                            <a:pt x="383655" y="20959"/>
                          </a:lnTo>
                          <a:lnTo>
                            <a:pt x="383655" y="0"/>
                          </a:lnTo>
                          <a:cubicBezTo>
                            <a:pt x="307520" y="0"/>
                            <a:pt x="368023" y="0"/>
                            <a:pt x="4327" y="0"/>
                          </a:cubicBezTo>
                          <a:cubicBezTo>
                            <a:pt x="1931" y="0"/>
                            <a:pt x="0" y="1931"/>
                            <a:pt x="0" y="4327"/>
                          </a:cubicBezTo>
                          <a:lnTo>
                            <a:pt x="0" y="31287"/>
                          </a:lnTo>
                          <a:cubicBezTo>
                            <a:pt x="0" y="37172"/>
                            <a:pt x="4769" y="41941"/>
                            <a:pt x="10654" y="41941"/>
                          </a:cubicBezTo>
                          <a:cubicBezTo>
                            <a:pt x="17772" y="41941"/>
                            <a:pt x="25076" y="41941"/>
                            <a:pt x="32543" y="41941"/>
                          </a:cubicBezTo>
                          <a:cubicBezTo>
                            <a:pt x="398520" y="41941"/>
                            <a:pt x="1191837" y="41941"/>
                            <a:pt x="1542833" y="41941"/>
                          </a:cubicBezTo>
                          <a:cubicBezTo>
                            <a:pt x="1542949" y="41941"/>
                            <a:pt x="1543065" y="41941"/>
                            <a:pt x="1543182" y="41941"/>
                          </a:cubicBezTo>
                          <a:cubicBezTo>
                            <a:pt x="1606919" y="41941"/>
                            <a:pt x="1554370" y="41941"/>
                            <a:pt x="1564675" y="41941"/>
                          </a:cubicBezTo>
                          <a:close/>
                        </a:path>
                      </a:pathLst>
                    </a:custGeom>
                    <a:solidFill>
                      <a:srgbClr val="CCC2CC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83" name="Freeform: Shape 182">
                      <a:extLst>
                        <a:ext uri="{FF2B5EF4-FFF2-40B4-BE49-F238E27FC236}">
                          <a16:creationId xmlns:a16="http://schemas.microsoft.com/office/drawing/2014/main" id="{9889A9B1-42FF-437F-B594-DB290445BC6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20659" y="4178845"/>
                      <a:ext cx="146549" cy="20936"/>
                    </a:xfrm>
                    <a:custGeom>
                      <a:avLst/>
                      <a:gdLst>
                        <a:gd name="connsiteX0" fmla="*/ 0 w 146548"/>
                        <a:gd name="connsiteY0" fmla="*/ 0 h 20935"/>
                        <a:gd name="connsiteX1" fmla="*/ 148596 w 146548"/>
                        <a:gd name="connsiteY1" fmla="*/ 0 h 20935"/>
                        <a:gd name="connsiteX2" fmla="*/ 148596 w 146548"/>
                        <a:gd name="connsiteY2" fmla="*/ 20959 h 20935"/>
                        <a:gd name="connsiteX3" fmla="*/ 0 w 146548"/>
                        <a:gd name="connsiteY3" fmla="*/ 20959 h 2093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146548" h="20935">
                          <a:moveTo>
                            <a:pt x="0" y="0"/>
                          </a:moveTo>
                          <a:lnTo>
                            <a:pt x="148596" y="0"/>
                          </a:lnTo>
                          <a:lnTo>
                            <a:pt x="148596" y="20959"/>
                          </a:lnTo>
                          <a:lnTo>
                            <a:pt x="0" y="20959"/>
                          </a:lnTo>
                          <a:close/>
                        </a:path>
                      </a:pathLst>
                    </a:custGeom>
                    <a:solidFill>
                      <a:srgbClr val="E3DDE3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84" name="Freeform: Shape 183">
                      <a:extLst>
                        <a:ext uri="{FF2B5EF4-FFF2-40B4-BE49-F238E27FC236}">
                          <a16:creationId xmlns:a16="http://schemas.microsoft.com/office/drawing/2014/main" id="{6CDA769A-BFA7-49F2-946A-C2F9CDFB281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969523" y="4220786"/>
                      <a:ext cx="1509685" cy="23262"/>
                    </a:xfrm>
                    <a:custGeom>
                      <a:avLst/>
                      <a:gdLst>
                        <a:gd name="connsiteX0" fmla="*/ 0 w 1509684"/>
                        <a:gd name="connsiteY0" fmla="*/ 13771 h 23261"/>
                        <a:gd name="connsiteX1" fmla="*/ 10654 w 1509684"/>
                        <a:gd name="connsiteY1" fmla="*/ 24425 h 23261"/>
                        <a:gd name="connsiteX2" fmla="*/ 1499659 w 1509684"/>
                        <a:gd name="connsiteY2" fmla="*/ 24425 h 23261"/>
                        <a:gd name="connsiteX3" fmla="*/ 1510313 w 1509684"/>
                        <a:gd name="connsiteY3" fmla="*/ 13771 h 23261"/>
                        <a:gd name="connsiteX4" fmla="*/ 1510313 w 1509684"/>
                        <a:gd name="connsiteY4" fmla="*/ 0 h 23261"/>
                        <a:gd name="connsiteX5" fmla="*/ 23 w 1509684"/>
                        <a:gd name="connsiteY5" fmla="*/ 0 h 23261"/>
                        <a:gd name="connsiteX6" fmla="*/ 23 w 1509684"/>
                        <a:gd name="connsiteY6" fmla="*/ 13771 h 2326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1509684" h="23261">
                          <a:moveTo>
                            <a:pt x="0" y="13771"/>
                          </a:moveTo>
                          <a:cubicBezTo>
                            <a:pt x="0" y="19656"/>
                            <a:pt x="4769" y="24425"/>
                            <a:pt x="10654" y="24425"/>
                          </a:cubicBezTo>
                          <a:cubicBezTo>
                            <a:pt x="146223" y="24425"/>
                            <a:pt x="1343689" y="24425"/>
                            <a:pt x="1499659" y="24425"/>
                          </a:cubicBezTo>
                          <a:cubicBezTo>
                            <a:pt x="1505544" y="24425"/>
                            <a:pt x="1510313" y="19656"/>
                            <a:pt x="1510313" y="13771"/>
                          </a:cubicBezTo>
                          <a:lnTo>
                            <a:pt x="1510313" y="0"/>
                          </a:lnTo>
                          <a:cubicBezTo>
                            <a:pt x="1159317" y="0"/>
                            <a:pt x="366000" y="0"/>
                            <a:pt x="23" y="0"/>
                          </a:cubicBezTo>
                          <a:lnTo>
                            <a:pt x="23" y="13771"/>
                          </a:lnTo>
                          <a:close/>
                        </a:path>
                      </a:pathLst>
                    </a:custGeom>
                    <a:solidFill>
                      <a:srgbClr val="AE9EAE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85" name="Freeform: Shape 184">
                      <a:extLst>
                        <a:ext uri="{FF2B5EF4-FFF2-40B4-BE49-F238E27FC236}">
                          <a16:creationId xmlns:a16="http://schemas.microsoft.com/office/drawing/2014/main" id="{C7FA3ADE-773B-4F08-A32B-45FBA8D29B4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57881" y="3352728"/>
                      <a:ext cx="1014210" cy="769963"/>
                    </a:xfrm>
                    <a:custGeom>
                      <a:avLst/>
                      <a:gdLst>
                        <a:gd name="connsiteX0" fmla="*/ 1006141 w 1014210"/>
                        <a:gd name="connsiteY0" fmla="*/ 0 h 769962"/>
                        <a:gd name="connsiteX1" fmla="*/ 155507 w 1014210"/>
                        <a:gd name="connsiteY1" fmla="*/ 0 h 769962"/>
                        <a:gd name="connsiteX2" fmla="*/ 140178 w 1014210"/>
                        <a:gd name="connsiteY2" fmla="*/ 16632 h 769962"/>
                        <a:gd name="connsiteX3" fmla="*/ 468 w 1014210"/>
                        <a:gd name="connsiteY3" fmla="*/ 754075 h 769962"/>
                        <a:gd name="connsiteX4" fmla="*/ 9493 w 1014210"/>
                        <a:gd name="connsiteY4" fmla="*/ 770707 h 769962"/>
                        <a:gd name="connsiteX5" fmla="*/ 860128 w 1014210"/>
                        <a:gd name="connsiteY5" fmla="*/ 770707 h 769962"/>
                        <a:gd name="connsiteX6" fmla="*/ 875457 w 1014210"/>
                        <a:gd name="connsiteY6" fmla="*/ 754075 h 769962"/>
                        <a:gd name="connsiteX7" fmla="*/ 1015190 w 1014210"/>
                        <a:gd name="connsiteY7" fmla="*/ 16632 h 769962"/>
                        <a:gd name="connsiteX8" fmla="*/ 1006141 w 1014210"/>
                        <a:gd name="connsiteY8" fmla="*/ 0 h 76996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1014210" h="769962">
                          <a:moveTo>
                            <a:pt x="1006141" y="0"/>
                          </a:moveTo>
                          <a:cubicBezTo>
                            <a:pt x="902883" y="0"/>
                            <a:pt x="257277" y="0"/>
                            <a:pt x="155507" y="0"/>
                          </a:cubicBezTo>
                          <a:cubicBezTo>
                            <a:pt x="145854" y="861"/>
                            <a:pt x="142434" y="7165"/>
                            <a:pt x="140178" y="16632"/>
                          </a:cubicBezTo>
                          <a:lnTo>
                            <a:pt x="468" y="754075"/>
                          </a:lnTo>
                          <a:cubicBezTo>
                            <a:pt x="-858" y="763357"/>
                            <a:pt x="189" y="769870"/>
                            <a:pt x="9493" y="770707"/>
                          </a:cubicBezTo>
                          <a:cubicBezTo>
                            <a:pt x="111636" y="770707"/>
                            <a:pt x="755380" y="770707"/>
                            <a:pt x="860128" y="770707"/>
                          </a:cubicBezTo>
                          <a:cubicBezTo>
                            <a:pt x="869967" y="769846"/>
                            <a:pt x="873154" y="763729"/>
                            <a:pt x="875457" y="754075"/>
                          </a:cubicBezTo>
                          <a:lnTo>
                            <a:pt x="1015190" y="16632"/>
                          </a:lnTo>
                          <a:cubicBezTo>
                            <a:pt x="1016493" y="7211"/>
                            <a:pt x="1015679" y="861"/>
                            <a:pt x="1006141" y="0"/>
                          </a:cubicBezTo>
                          <a:close/>
                        </a:path>
                      </a:pathLst>
                    </a:custGeom>
                    <a:solidFill>
                      <a:srgbClr val="C2D9ED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186" name="Graphic 174">
                    <a:extLst>
                      <a:ext uri="{FF2B5EF4-FFF2-40B4-BE49-F238E27FC236}">
                        <a16:creationId xmlns:a16="http://schemas.microsoft.com/office/drawing/2014/main" id="{4045A780-E4ED-4946-BB38-1D6737CA17D1}"/>
                      </a:ext>
                    </a:extLst>
                  </p:cNvPr>
                  <p:cNvGrpSpPr/>
                  <p:nvPr/>
                </p:nvGrpSpPr>
                <p:grpSpPr>
                  <a:xfrm>
                    <a:off x="6347200" y="3768648"/>
                    <a:ext cx="216729" cy="410173"/>
                    <a:chOff x="6347200" y="3768648"/>
                    <a:chExt cx="216729" cy="410173"/>
                  </a:xfrm>
                  <a:solidFill>
                    <a:schemeClr val="accent1"/>
                  </a:solidFill>
                </p:grpSpPr>
                <p:grpSp>
                  <p:nvGrpSpPr>
                    <p:cNvPr id="187" name="Graphic 174">
                      <a:extLst>
                        <a:ext uri="{FF2B5EF4-FFF2-40B4-BE49-F238E27FC236}">
                          <a16:creationId xmlns:a16="http://schemas.microsoft.com/office/drawing/2014/main" id="{4045A780-E4ED-4946-BB38-1D6737CA17D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6347200" y="3973746"/>
                      <a:ext cx="196305" cy="205075"/>
                      <a:chOff x="6347200" y="3973746"/>
                      <a:chExt cx="196305" cy="205075"/>
                    </a:xfrm>
                    <a:solidFill>
                      <a:schemeClr val="accent1"/>
                    </a:solidFill>
                  </p:grpSpPr>
                  <p:grpSp>
                    <p:nvGrpSpPr>
                      <p:cNvPr id="188" name="Graphic 174">
                        <a:extLst>
                          <a:ext uri="{FF2B5EF4-FFF2-40B4-BE49-F238E27FC236}">
                            <a16:creationId xmlns:a16="http://schemas.microsoft.com/office/drawing/2014/main" id="{4045A780-E4ED-4946-BB38-1D6737CA17D1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6350736" y="4160212"/>
                        <a:ext cx="181441" cy="18609"/>
                        <a:chOff x="6350736" y="4160212"/>
                        <a:chExt cx="181441" cy="18609"/>
                      </a:xfrm>
                      <a:solidFill>
                        <a:schemeClr val="accent1"/>
                      </a:solidFill>
                    </p:grpSpPr>
                    <p:sp>
                      <p:nvSpPr>
                        <p:cNvPr id="189" name="Freeform: Shape 188">
                          <a:extLst>
                            <a:ext uri="{FF2B5EF4-FFF2-40B4-BE49-F238E27FC236}">
                              <a16:creationId xmlns:a16="http://schemas.microsoft.com/office/drawing/2014/main" id="{93E68440-91C4-444B-99D9-E920512647E4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50736" y="4160212"/>
                          <a:ext cx="181441" cy="18609"/>
                        </a:xfrm>
                        <a:custGeom>
                          <a:avLst/>
                          <a:gdLst>
                            <a:gd name="connsiteX0" fmla="*/ 181441 w 181441"/>
                            <a:gd name="connsiteY0" fmla="*/ 18633 h 18609"/>
                            <a:gd name="connsiteX1" fmla="*/ 1605 w 181441"/>
                            <a:gd name="connsiteY1" fmla="*/ 18633 h 18609"/>
                            <a:gd name="connsiteX2" fmla="*/ 0 w 181441"/>
                            <a:gd name="connsiteY2" fmla="*/ 17028 h 18609"/>
                            <a:gd name="connsiteX3" fmla="*/ 0 w 181441"/>
                            <a:gd name="connsiteY3" fmla="*/ 1605 h 18609"/>
                            <a:gd name="connsiteX4" fmla="*/ 1605 w 181441"/>
                            <a:gd name="connsiteY4" fmla="*/ 0 h 18609"/>
                            <a:gd name="connsiteX5" fmla="*/ 181441 w 181441"/>
                            <a:gd name="connsiteY5" fmla="*/ 0 h 18609"/>
                            <a:gd name="connsiteX6" fmla="*/ 183046 w 181441"/>
                            <a:gd name="connsiteY6" fmla="*/ 1605 h 18609"/>
                            <a:gd name="connsiteX7" fmla="*/ 183046 w 181441"/>
                            <a:gd name="connsiteY7" fmla="*/ 17028 h 18609"/>
                            <a:gd name="connsiteX8" fmla="*/ 181441 w 181441"/>
                            <a:gd name="connsiteY8" fmla="*/ 18633 h 18609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181441" h="18609">
                              <a:moveTo>
                                <a:pt x="181441" y="18633"/>
                              </a:moveTo>
                              <a:lnTo>
                                <a:pt x="1605" y="18633"/>
                              </a:lnTo>
                              <a:cubicBezTo>
                                <a:pt x="721" y="18633"/>
                                <a:pt x="0" y="17912"/>
                                <a:pt x="0" y="17028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181441" y="0"/>
                              </a:lnTo>
                              <a:cubicBezTo>
                                <a:pt x="182325" y="0"/>
                                <a:pt x="183046" y="721"/>
                                <a:pt x="183046" y="1605"/>
                              </a:cubicBezTo>
                              <a:lnTo>
                                <a:pt x="183046" y="17028"/>
                              </a:lnTo>
                              <a:cubicBezTo>
                                <a:pt x="183046" y="17912"/>
                                <a:pt x="182325" y="18633"/>
                                <a:pt x="181441" y="18633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19439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90" name="Freeform: Shape 189">
                          <a:extLst>
                            <a:ext uri="{FF2B5EF4-FFF2-40B4-BE49-F238E27FC236}">
                              <a16:creationId xmlns:a16="http://schemas.microsoft.com/office/drawing/2014/main" id="{F2A1246F-B467-4659-AF89-44CEADD635D5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38712" y="4161003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91" name="Freeform: Shape 190">
                          <a:extLst>
                            <a:ext uri="{FF2B5EF4-FFF2-40B4-BE49-F238E27FC236}">
                              <a16:creationId xmlns:a16="http://schemas.microsoft.com/office/drawing/2014/main" id="{E45D0B82-5550-4925-8FE4-92902B9BBE60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47388" y="4161003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92" name="Freeform: Shape 191">
                          <a:extLst>
                            <a:ext uri="{FF2B5EF4-FFF2-40B4-BE49-F238E27FC236}">
                              <a16:creationId xmlns:a16="http://schemas.microsoft.com/office/drawing/2014/main" id="{7A3227C5-8EAF-40AD-B43A-34CA7F45C9C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56088" y="4161003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93" name="Freeform: Shape 192">
                          <a:extLst>
                            <a:ext uri="{FF2B5EF4-FFF2-40B4-BE49-F238E27FC236}">
                              <a16:creationId xmlns:a16="http://schemas.microsoft.com/office/drawing/2014/main" id="{C802E9D6-DC7E-442D-BB35-8A70995D095E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64765" y="4161003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94" name="Freeform: Shape 193">
                          <a:extLst>
                            <a:ext uri="{FF2B5EF4-FFF2-40B4-BE49-F238E27FC236}">
                              <a16:creationId xmlns:a16="http://schemas.microsoft.com/office/drawing/2014/main" id="{E2CAD318-393E-4F4D-8705-B4092DC439B2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73441" y="4161003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95" name="Freeform: Shape 194">
                          <a:extLst>
                            <a:ext uri="{FF2B5EF4-FFF2-40B4-BE49-F238E27FC236}">
                              <a16:creationId xmlns:a16="http://schemas.microsoft.com/office/drawing/2014/main" id="{A3B9C8EF-8BF0-4634-9787-B44137FD6A1D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82141" y="4161003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96" name="Freeform: Shape 195">
                          <a:extLst>
                            <a:ext uri="{FF2B5EF4-FFF2-40B4-BE49-F238E27FC236}">
                              <a16:creationId xmlns:a16="http://schemas.microsoft.com/office/drawing/2014/main" id="{AF90FFF3-6D0F-4DB3-9B1C-C1995FA0710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90818" y="4161003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97" name="Freeform: Shape 196">
                          <a:extLst>
                            <a:ext uri="{FF2B5EF4-FFF2-40B4-BE49-F238E27FC236}">
                              <a16:creationId xmlns:a16="http://schemas.microsoft.com/office/drawing/2014/main" id="{59D93A2C-5B6F-40FF-BDF9-1CDE361CE843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99495" y="4161003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98" name="Freeform: Shape 197">
                          <a:extLst>
                            <a:ext uri="{FF2B5EF4-FFF2-40B4-BE49-F238E27FC236}">
                              <a16:creationId xmlns:a16="http://schemas.microsoft.com/office/drawing/2014/main" id="{146A007C-13CB-4C1D-B49E-CF30550DF12E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08194" y="4161003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99" name="Freeform: Shape 198">
                          <a:extLst>
                            <a:ext uri="{FF2B5EF4-FFF2-40B4-BE49-F238E27FC236}">
                              <a16:creationId xmlns:a16="http://schemas.microsoft.com/office/drawing/2014/main" id="{3CC3FF2A-6CAE-4572-BD30-4A32415FE77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16871" y="4161003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200" name="Freeform: Shape 199">
                          <a:extLst>
                            <a:ext uri="{FF2B5EF4-FFF2-40B4-BE49-F238E27FC236}">
                              <a16:creationId xmlns:a16="http://schemas.microsoft.com/office/drawing/2014/main" id="{892BFCCD-193E-48FF-8E74-0F37D0B353AE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25548" y="4161003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201" name="Freeform: Shape 200">
                          <a:extLst>
                            <a:ext uri="{FF2B5EF4-FFF2-40B4-BE49-F238E27FC236}">
                              <a16:creationId xmlns:a16="http://schemas.microsoft.com/office/drawing/2014/main" id="{523ADEDE-37D2-4D0A-B7E5-FC1D7D0AE558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69229" y="4161003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202" name="Freeform: Shape 201">
                          <a:extLst>
                            <a:ext uri="{FF2B5EF4-FFF2-40B4-BE49-F238E27FC236}">
                              <a16:creationId xmlns:a16="http://schemas.microsoft.com/office/drawing/2014/main" id="{C682C970-EDAE-4D67-A626-6479F4CA9908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77929" y="4161003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203" name="Freeform: Shape 202">
                          <a:extLst>
                            <a:ext uri="{FF2B5EF4-FFF2-40B4-BE49-F238E27FC236}">
                              <a16:creationId xmlns:a16="http://schemas.microsoft.com/office/drawing/2014/main" id="{D193277B-14F8-4C07-8974-E49026E1D822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86605" y="4161003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204" name="Freeform: Shape 203">
                          <a:extLst>
                            <a:ext uri="{FF2B5EF4-FFF2-40B4-BE49-F238E27FC236}">
                              <a16:creationId xmlns:a16="http://schemas.microsoft.com/office/drawing/2014/main" id="{343AAF59-7259-4B89-91B3-BA6943FB767C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51876" y="4161003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205" name="Freeform: Shape 204">
                          <a:extLst>
                            <a:ext uri="{FF2B5EF4-FFF2-40B4-BE49-F238E27FC236}">
                              <a16:creationId xmlns:a16="http://schemas.microsoft.com/office/drawing/2014/main" id="{19417949-765F-4F55-8BB5-EB461E616965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60552" y="4161003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206" name="Freeform: Shape 205">
                          <a:extLst>
                            <a:ext uri="{FF2B5EF4-FFF2-40B4-BE49-F238E27FC236}">
                              <a16:creationId xmlns:a16="http://schemas.microsoft.com/office/drawing/2014/main" id="{DC4300A6-AE2E-47F9-BAA9-B93585953FEE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69229" y="4161003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207" name="Freeform: Shape 206">
                          <a:extLst>
                            <a:ext uri="{FF2B5EF4-FFF2-40B4-BE49-F238E27FC236}">
                              <a16:creationId xmlns:a16="http://schemas.microsoft.com/office/drawing/2014/main" id="{F6ADAB1F-EA28-4A0D-A30B-E7A270190A5D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95282" y="4161003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208" name="Freeform: Shape 207">
                          <a:extLst>
                            <a:ext uri="{FF2B5EF4-FFF2-40B4-BE49-F238E27FC236}">
                              <a16:creationId xmlns:a16="http://schemas.microsoft.com/office/drawing/2014/main" id="{2CE94143-F23F-4454-956D-E29DEE59133E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03982" y="4161003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209" name="Freeform: Shape 208">
                          <a:extLst>
                            <a:ext uri="{FF2B5EF4-FFF2-40B4-BE49-F238E27FC236}">
                              <a16:creationId xmlns:a16="http://schemas.microsoft.com/office/drawing/2014/main" id="{F2E9E008-0F6F-40B6-B643-6E1D6FA106DD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12659" y="4161003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210" name="Freeform: Shape 209">
                          <a:extLst>
                            <a:ext uri="{FF2B5EF4-FFF2-40B4-BE49-F238E27FC236}">
                              <a16:creationId xmlns:a16="http://schemas.microsoft.com/office/drawing/2014/main" id="{02518B39-1023-4521-9D71-1B061500F0B7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21335" y="4161003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211" name="Freeform: Shape 210">
                          <a:extLst>
                            <a:ext uri="{FF2B5EF4-FFF2-40B4-BE49-F238E27FC236}">
                              <a16:creationId xmlns:a16="http://schemas.microsoft.com/office/drawing/2014/main" id="{993C7857-ED69-4C6C-A4D4-150079B4B03A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30035" y="4161003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</p:grpSp>
                  <p:grpSp>
                    <p:nvGrpSpPr>
                      <p:cNvPr id="212" name="Graphic 174">
                        <a:extLst>
                          <a:ext uri="{FF2B5EF4-FFF2-40B4-BE49-F238E27FC236}">
                            <a16:creationId xmlns:a16="http://schemas.microsoft.com/office/drawing/2014/main" id="{4045A780-E4ED-4946-BB38-1D6737CA17D1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6355877" y="4141579"/>
                        <a:ext cx="181441" cy="18609"/>
                        <a:chOff x="6355877" y="4141579"/>
                        <a:chExt cx="181441" cy="18609"/>
                      </a:xfrm>
                      <a:solidFill>
                        <a:schemeClr val="accent1"/>
                      </a:solidFill>
                    </p:grpSpPr>
                    <p:sp>
                      <p:nvSpPr>
                        <p:cNvPr id="213" name="Freeform: Shape 212">
                          <a:extLst>
                            <a:ext uri="{FF2B5EF4-FFF2-40B4-BE49-F238E27FC236}">
                              <a16:creationId xmlns:a16="http://schemas.microsoft.com/office/drawing/2014/main" id="{CC26CC81-5DF3-4A10-AA45-6E4281A1C7B9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55877" y="4141579"/>
                          <a:ext cx="181441" cy="18609"/>
                        </a:xfrm>
                        <a:custGeom>
                          <a:avLst/>
                          <a:gdLst>
                            <a:gd name="connsiteX0" fmla="*/ 181441 w 181441"/>
                            <a:gd name="connsiteY0" fmla="*/ 18633 h 18609"/>
                            <a:gd name="connsiteX1" fmla="*/ 1605 w 181441"/>
                            <a:gd name="connsiteY1" fmla="*/ 18633 h 18609"/>
                            <a:gd name="connsiteX2" fmla="*/ 0 w 181441"/>
                            <a:gd name="connsiteY2" fmla="*/ 17028 h 18609"/>
                            <a:gd name="connsiteX3" fmla="*/ 0 w 181441"/>
                            <a:gd name="connsiteY3" fmla="*/ 1605 h 18609"/>
                            <a:gd name="connsiteX4" fmla="*/ 1605 w 181441"/>
                            <a:gd name="connsiteY4" fmla="*/ 0 h 18609"/>
                            <a:gd name="connsiteX5" fmla="*/ 181441 w 181441"/>
                            <a:gd name="connsiteY5" fmla="*/ 0 h 18609"/>
                            <a:gd name="connsiteX6" fmla="*/ 183046 w 181441"/>
                            <a:gd name="connsiteY6" fmla="*/ 1605 h 18609"/>
                            <a:gd name="connsiteX7" fmla="*/ 183046 w 181441"/>
                            <a:gd name="connsiteY7" fmla="*/ 17028 h 18609"/>
                            <a:gd name="connsiteX8" fmla="*/ 181441 w 181441"/>
                            <a:gd name="connsiteY8" fmla="*/ 18633 h 18609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181441" h="18609">
                              <a:moveTo>
                                <a:pt x="181441" y="18633"/>
                              </a:moveTo>
                              <a:lnTo>
                                <a:pt x="1605" y="18633"/>
                              </a:lnTo>
                              <a:cubicBezTo>
                                <a:pt x="721" y="18633"/>
                                <a:pt x="0" y="17911"/>
                                <a:pt x="0" y="17028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181441" y="0"/>
                              </a:lnTo>
                              <a:cubicBezTo>
                                <a:pt x="182325" y="0"/>
                                <a:pt x="183046" y="721"/>
                                <a:pt x="183046" y="1605"/>
                              </a:cubicBezTo>
                              <a:lnTo>
                                <a:pt x="183046" y="17028"/>
                              </a:lnTo>
                              <a:cubicBezTo>
                                <a:pt x="183046" y="17911"/>
                                <a:pt x="182325" y="18633"/>
                                <a:pt x="181441" y="18633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19439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214" name="Freeform: Shape 213">
                          <a:extLst>
                            <a:ext uri="{FF2B5EF4-FFF2-40B4-BE49-F238E27FC236}">
                              <a16:creationId xmlns:a16="http://schemas.microsoft.com/office/drawing/2014/main" id="{FA06ACA6-C5D6-4B9E-9634-603541AD8E6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43876" y="4142370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48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215" name="Freeform: Shape 214">
                          <a:extLst>
                            <a:ext uri="{FF2B5EF4-FFF2-40B4-BE49-F238E27FC236}">
                              <a16:creationId xmlns:a16="http://schemas.microsoft.com/office/drawing/2014/main" id="{37E030C7-E913-49B0-8199-B9DFA0AD7E57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52552" y="4142370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216" name="Freeform: Shape 215">
                          <a:extLst>
                            <a:ext uri="{FF2B5EF4-FFF2-40B4-BE49-F238E27FC236}">
                              <a16:creationId xmlns:a16="http://schemas.microsoft.com/office/drawing/2014/main" id="{C4E05606-616E-4E71-9BFB-07915DD4A9BD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61229" y="4142370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217" name="Freeform: Shape 216">
                          <a:extLst>
                            <a:ext uri="{FF2B5EF4-FFF2-40B4-BE49-F238E27FC236}">
                              <a16:creationId xmlns:a16="http://schemas.microsoft.com/office/drawing/2014/main" id="{DA339C7B-6C15-42AB-AB6C-081E0CF9F53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69929" y="4142370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48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218" name="Freeform: Shape 217">
                          <a:extLst>
                            <a:ext uri="{FF2B5EF4-FFF2-40B4-BE49-F238E27FC236}">
                              <a16:creationId xmlns:a16="http://schemas.microsoft.com/office/drawing/2014/main" id="{EEA0897E-E40E-478D-9531-B4C5581588D1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78606" y="4142370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219" name="Freeform: Shape 218">
                          <a:extLst>
                            <a:ext uri="{FF2B5EF4-FFF2-40B4-BE49-F238E27FC236}">
                              <a16:creationId xmlns:a16="http://schemas.microsoft.com/office/drawing/2014/main" id="{36353908-3D13-4A39-AA70-DFE6C5317755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87282" y="4142370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220" name="Freeform: Shape 219">
                          <a:extLst>
                            <a:ext uri="{FF2B5EF4-FFF2-40B4-BE49-F238E27FC236}">
                              <a16:creationId xmlns:a16="http://schemas.microsoft.com/office/drawing/2014/main" id="{673E8703-4911-4DE3-98EF-918F9A87B9F8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95982" y="4142370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48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221" name="Freeform: Shape 220">
                          <a:extLst>
                            <a:ext uri="{FF2B5EF4-FFF2-40B4-BE49-F238E27FC236}">
                              <a16:creationId xmlns:a16="http://schemas.microsoft.com/office/drawing/2014/main" id="{AE47F336-B777-41C5-B047-F140F63BB55E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04659" y="4142370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222" name="Freeform: Shape 221">
                          <a:extLst>
                            <a:ext uri="{FF2B5EF4-FFF2-40B4-BE49-F238E27FC236}">
                              <a16:creationId xmlns:a16="http://schemas.microsoft.com/office/drawing/2014/main" id="{A0A173F0-8F38-4472-9206-CBFAF93EF2CC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13335" y="4142370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223" name="Freeform: Shape 222">
                          <a:extLst>
                            <a:ext uri="{FF2B5EF4-FFF2-40B4-BE49-F238E27FC236}">
                              <a16:creationId xmlns:a16="http://schemas.microsoft.com/office/drawing/2014/main" id="{AA88EC57-AE29-4EAB-BF36-ED23178C567C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22035" y="4142370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48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224" name="Freeform: Shape 223">
                          <a:extLst>
                            <a:ext uri="{FF2B5EF4-FFF2-40B4-BE49-F238E27FC236}">
                              <a16:creationId xmlns:a16="http://schemas.microsoft.com/office/drawing/2014/main" id="{25E835C1-FECB-4E04-A006-92BDEC7488E4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30712" y="4142370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225" name="Freeform: Shape 224">
                          <a:extLst>
                            <a:ext uri="{FF2B5EF4-FFF2-40B4-BE49-F238E27FC236}">
                              <a16:creationId xmlns:a16="http://schemas.microsoft.com/office/drawing/2014/main" id="{4F880343-11B5-4223-B267-3BEBD6A8DC33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74393" y="4142370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226" name="Freeform: Shape 225">
                          <a:extLst>
                            <a:ext uri="{FF2B5EF4-FFF2-40B4-BE49-F238E27FC236}">
                              <a16:creationId xmlns:a16="http://schemas.microsoft.com/office/drawing/2014/main" id="{98E14EA6-9EFA-4998-B065-FEC20622BB5D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83070" y="4142370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227" name="Freeform: Shape 226">
                          <a:extLst>
                            <a:ext uri="{FF2B5EF4-FFF2-40B4-BE49-F238E27FC236}">
                              <a16:creationId xmlns:a16="http://schemas.microsoft.com/office/drawing/2014/main" id="{49457787-3DB2-4843-8AFA-55F01591C282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91770" y="4142370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48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228" name="Freeform: Shape 227">
                          <a:extLst>
                            <a:ext uri="{FF2B5EF4-FFF2-40B4-BE49-F238E27FC236}">
                              <a16:creationId xmlns:a16="http://schemas.microsoft.com/office/drawing/2014/main" id="{CF032356-0998-4659-B53E-DE13D3E8077E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57017" y="4142370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229" name="Freeform: Shape 228">
                          <a:extLst>
                            <a:ext uri="{FF2B5EF4-FFF2-40B4-BE49-F238E27FC236}">
                              <a16:creationId xmlns:a16="http://schemas.microsoft.com/office/drawing/2014/main" id="{0DA79B4E-DC45-4154-8D14-D11292286AB0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65716" y="4142370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48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230" name="Freeform: Shape 229">
                          <a:extLst>
                            <a:ext uri="{FF2B5EF4-FFF2-40B4-BE49-F238E27FC236}">
                              <a16:creationId xmlns:a16="http://schemas.microsoft.com/office/drawing/2014/main" id="{A5CC6433-3C0B-4126-9CB4-81DB256864BE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74393" y="4142370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231" name="Freeform: Shape 230">
                          <a:extLst>
                            <a:ext uri="{FF2B5EF4-FFF2-40B4-BE49-F238E27FC236}">
                              <a16:creationId xmlns:a16="http://schemas.microsoft.com/office/drawing/2014/main" id="{0D3EAD02-CB40-4077-95F3-88A042FFD14C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00446" y="4142370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232" name="Freeform: Shape 231">
                          <a:extLst>
                            <a:ext uri="{FF2B5EF4-FFF2-40B4-BE49-F238E27FC236}">
                              <a16:creationId xmlns:a16="http://schemas.microsoft.com/office/drawing/2014/main" id="{848184D5-C3C7-432F-AF50-3FA6228D1299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09123" y="4142370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233" name="Freeform: Shape 232">
                          <a:extLst>
                            <a:ext uri="{FF2B5EF4-FFF2-40B4-BE49-F238E27FC236}">
                              <a16:creationId xmlns:a16="http://schemas.microsoft.com/office/drawing/2014/main" id="{AD0C527C-A26A-4F04-8404-76643F748022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17823" y="4142370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48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234" name="Freeform: Shape 233">
                          <a:extLst>
                            <a:ext uri="{FF2B5EF4-FFF2-40B4-BE49-F238E27FC236}">
                              <a16:creationId xmlns:a16="http://schemas.microsoft.com/office/drawing/2014/main" id="{E002E2E2-921C-4AAD-B064-A62FBC11BA28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26499" y="4142370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235" name="Freeform: Shape 234">
                          <a:extLst>
                            <a:ext uri="{FF2B5EF4-FFF2-40B4-BE49-F238E27FC236}">
                              <a16:creationId xmlns:a16="http://schemas.microsoft.com/office/drawing/2014/main" id="{4B7D94CE-839E-4DD9-9108-D4CD2DCF2869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35176" y="4142370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</p:grpSp>
                  <p:grpSp>
                    <p:nvGrpSpPr>
                      <p:cNvPr id="236" name="Graphic 174">
                        <a:extLst>
                          <a:ext uri="{FF2B5EF4-FFF2-40B4-BE49-F238E27FC236}">
                            <a16:creationId xmlns:a16="http://schemas.microsoft.com/office/drawing/2014/main" id="{4045A780-E4ED-4946-BB38-1D6737CA17D1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6355877" y="4104314"/>
                        <a:ext cx="181441" cy="18609"/>
                        <a:chOff x="6355877" y="4104314"/>
                        <a:chExt cx="181441" cy="18609"/>
                      </a:xfrm>
                      <a:solidFill>
                        <a:schemeClr val="accent1"/>
                      </a:solidFill>
                    </p:grpSpPr>
                    <p:sp>
                      <p:nvSpPr>
                        <p:cNvPr id="237" name="Freeform: Shape 236">
                          <a:extLst>
                            <a:ext uri="{FF2B5EF4-FFF2-40B4-BE49-F238E27FC236}">
                              <a16:creationId xmlns:a16="http://schemas.microsoft.com/office/drawing/2014/main" id="{9718B5FA-1EFE-4982-A4B1-AF26AB848018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55877" y="4104314"/>
                          <a:ext cx="181441" cy="18609"/>
                        </a:xfrm>
                        <a:custGeom>
                          <a:avLst/>
                          <a:gdLst>
                            <a:gd name="connsiteX0" fmla="*/ 181441 w 181441"/>
                            <a:gd name="connsiteY0" fmla="*/ 18633 h 18609"/>
                            <a:gd name="connsiteX1" fmla="*/ 1605 w 181441"/>
                            <a:gd name="connsiteY1" fmla="*/ 18633 h 18609"/>
                            <a:gd name="connsiteX2" fmla="*/ 0 w 181441"/>
                            <a:gd name="connsiteY2" fmla="*/ 17028 h 18609"/>
                            <a:gd name="connsiteX3" fmla="*/ 0 w 181441"/>
                            <a:gd name="connsiteY3" fmla="*/ 1605 h 18609"/>
                            <a:gd name="connsiteX4" fmla="*/ 1605 w 181441"/>
                            <a:gd name="connsiteY4" fmla="*/ 0 h 18609"/>
                            <a:gd name="connsiteX5" fmla="*/ 181441 w 181441"/>
                            <a:gd name="connsiteY5" fmla="*/ 0 h 18609"/>
                            <a:gd name="connsiteX6" fmla="*/ 183046 w 181441"/>
                            <a:gd name="connsiteY6" fmla="*/ 1605 h 18609"/>
                            <a:gd name="connsiteX7" fmla="*/ 183046 w 181441"/>
                            <a:gd name="connsiteY7" fmla="*/ 17028 h 18609"/>
                            <a:gd name="connsiteX8" fmla="*/ 181441 w 181441"/>
                            <a:gd name="connsiteY8" fmla="*/ 18633 h 18609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181441" h="18609">
                              <a:moveTo>
                                <a:pt x="181441" y="18633"/>
                              </a:moveTo>
                              <a:lnTo>
                                <a:pt x="1605" y="18633"/>
                              </a:lnTo>
                              <a:cubicBezTo>
                                <a:pt x="721" y="18633"/>
                                <a:pt x="0" y="17912"/>
                                <a:pt x="0" y="17028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181441" y="0"/>
                              </a:lnTo>
                              <a:cubicBezTo>
                                <a:pt x="182325" y="0"/>
                                <a:pt x="183046" y="721"/>
                                <a:pt x="183046" y="1605"/>
                              </a:cubicBezTo>
                              <a:lnTo>
                                <a:pt x="183046" y="17028"/>
                              </a:lnTo>
                              <a:cubicBezTo>
                                <a:pt x="183046" y="17912"/>
                                <a:pt x="182325" y="18633"/>
                                <a:pt x="181441" y="18633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19439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238" name="Freeform: Shape 237">
                          <a:extLst>
                            <a:ext uri="{FF2B5EF4-FFF2-40B4-BE49-F238E27FC236}">
                              <a16:creationId xmlns:a16="http://schemas.microsoft.com/office/drawing/2014/main" id="{03E0300B-9156-4224-9015-53762B670125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43876" y="4105105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48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239" name="Freeform: Shape 238">
                          <a:extLst>
                            <a:ext uri="{FF2B5EF4-FFF2-40B4-BE49-F238E27FC236}">
                              <a16:creationId xmlns:a16="http://schemas.microsoft.com/office/drawing/2014/main" id="{A8118C58-DFC7-49EB-8E28-A837F8E95EEE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52552" y="4105105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240" name="Freeform: Shape 239">
                          <a:extLst>
                            <a:ext uri="{FF2B5EF4-FFF2-40B4-BE49-F238E27FC236}">
                              <a16:creationId xmlns:a16="http://schemas.microsoft.com/office/drawing/2014/main" id="{7247806F-111E-4674-B517-1EB9C276C801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61229" y="4105105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241" name="Freeform: Shape 240">
                          <a:extLst>
                            <a:ext uri="{FF2B5EF4-FFF2-40B4-BE49-F238E27FC236}">
                              <a16:creationId xmlns:a16="http://schemas.microsoft.com/office/drawing/2014/main" id="{5B47C597-5F79-4B7E-BB9C-AA6B38301E7A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69929" y="4105105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48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242" name="Freeform: Shape 241">
                          <a:extLst>
                            <a:ext uri="{FF2B5EF4-FFF2-40B4-BE49-F238E27FC236}">
                              <a16:creationId xmlns:a16="http://schemas.microsoft.com/office/drawing/2014/main" id="{2375392F-9D5F-46CD-8D91-4164980CB998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78606" y="4105105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243" name="Freeform: Shape 242">
                          <a:extLst>
                            <a:ext uri="{FF2B5EF4-FFF2-40B4-BE49-F238E27FC236}">
                              <a16:creationId xmlns:a16="http://schemas.microsoft.com/office/drawing/2014/main" id="{CAC3F9AC-DDBA-4D8F-8529-DA3A80E74333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87282" y="4105105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244" name="Freeform: Shape 243">
                          <a:extLst>
                            <a:ext uri="{FF2B5EF4-FFF2-40B4-BE49-F238E27FC236}">
                              <a16:creationId xmlns:a16="http://schemas.microsoft.com/office/drawing/2014/main" id="{1423067E-0A1C-4A53-A8DD-B94040128E1E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95982" y="4105105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48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245" name="Freeform: Shape 244">
                          <a:extLst>
                            <a:ext uri="{FF2B5EF4-FFF2-40B4-BE49-F238E27FC236}">
                              <a16:creationId xmlns:a16="http://schemas.microsoft.com/office/drawing/2014/main" id="{964DE65B-5039-4FF3-81FE-8F3CBE37929D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04659" y="4105105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246" name="Freeform: Shape 245">
                          <a:extLst>
                            <a:ext uri="{FF2B5EF4-FFF2-40B4-BE49-F238E27FC236}">
                              <a16:creationId xmlns:a16="http://schemas.microsoft.com/office/drawing/2014/main" id="{C65366B8-8C5F-4787-8B9B-C830D4DA1DE1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13335" y="4105105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247" name="Freeform: Shape 246">
                          <a:extLst>
                            <a:ext uri="{FF2B5EF4-FFF2-40B4-BE49-F238E27FC236}">
                              <a16:creationId xmlns:a16="http://schemas.microsoft.com/office/drawing/2014/main" id="{1BCFE02E-F774-434B-B58D-3A755E9713A1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22035" y="4105105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48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248" name="Freeform: Shape 247">
                          <a:extLst>
                            <a:ext uri="{FF2B5EF4-FFF2-40B4-BE49-F238E27FC236}">
                              <a16:creationId xmlns:a16="http://schemas.microsoft.com/office/drawing/2014/main" id="{A8722570-7707-46DF-8ED7-25914B1E885E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30712" y="4105105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249" name="Freeform: Shape 248">
                          <a:extLst>
                            <a:ext uri="{FF2B5EF4-FFF2-40B4-BE49-F238E27FC236}">
                              <a16:creationId xmlns:a16="http://schemas.microsoft.com/office/drawing/2014/main" id="{48769F7D-145A-423A-8FD7-34E7C9A64885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74393" y="4105105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250" name="Freeform: Shape 249">
                          <a:extLst>
                            <a:ext uri="{FF2B5EF4-FFF2-40B4-BE49-F238E27FC236}">
                              <a16:creationId xmlns:a16="http://schemas.microsoft.com/office/drawing/2014/main" id="{765F810E-5441-4B95-B472-C029D359E0E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83070" y="4105105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251" name="Freeform: Shape 250">
                          <a:extLst>
                            <a:ext uri="{FF2B5EF4-FFF2-40B4-BE49-F238E27FC236}">
                              <a16:creationId xmlns:a16="http://schemas.microsoft.com/office/drawing/2014/main" id="{BC4C1DE3-08B5-4CC1-B134-3A2438D8CAF1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91770" y="4105105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48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252" name="Freeform: Shape 251">
                          <a:extLst>
                            <a:ext uri="{FF2B5EF4-FFF2-40B4-BE49-F238E27FC236}">
                              <a16:creationId xmlns:a16="http://schemas.microsoft.com/office/drawing/2014/main" id="{60B770FE-7784-41AE-857E-4C12C1E2718A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57017" y="4105105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253" name="Freeform: Shape 252">
                          <a:extLst>
                            <a:ext uri="{FF2B5EF4-FFF2-40B4-BE49-F238E27FC236}">
                              <a16:creationId xmlns:a16="http://schemas.microsoft.com/office/drawing/2014/main" id="{03D2169D-51B5-4AC6-9CA0-17F178628590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65716" y="4105105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48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254" name="Freeform: Shape 253">
                          <a:extLst>
                            <a:ext uri="{FF2B5EF4-FFF2-40B4-BE49-F238E27FC236}">
                              <a16:creationId xmlns:a16="http://schemas.microsoft.com/office/drawing/2014/main" id="{20A928DD-E0A6-4DB5-95B4-F39DC3C077CB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74393" y="4105105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255" name="Freeform: Shape 254">
                          <a:extLst>
                            <a:ext uri="{FF2B5EF4-FFF2-40B4-BE49-F238E27FC236}">
                              <a16:creationId xmlns:a16="http://schemas.microsoft.com/office/drawing/2014/main" id="{E08B907C-7FDB-4094-994A-BC2F853ED58D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00446" y="4105105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256" name="Freeform: Shape 255">
                          <a:extLst>
                            <a:ext uri="{FF2B5EF4-FFF2-40B4-BE49-F238E27FC236}">
                              <a16:creationId xmlns:a16="http://schemas.microsoft.com/office/drawing/2014/main" id="{52958BF3-510D-4A0B-A973-A27B33B9461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09123" y="4105105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257" name="Freeform: Shape 256">
                          <a:extLst>
                            <a:ext uri="{FF2B5EF4-FFF2-40B4-BE49-F238E27FC236}">
                              <a16:creationId xmlns:a16="http://schemas.microsoft.com/office/drawing/2014/main" id="{9538A2A4-C0C8-4693-9C2D-0CCD12A63204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17823" y="4105105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48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258" name="Freeform: Shape 257">
                          <a:extLst>
                            <a:ext uri="{FF2B5EF4-FFF2-40B4-BE49-F238E27FC236}">
                              <a16:creationId xmlns:a16="http://schemas.microsoft.com/office/drawing/2014/main" id="{0453BC38-2422-43C5-A0F9-081A341AA3C3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26499" y="4105105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259" name="Freeform: Shape 258">
                          <a:extLst>
                            <a:ext uri="{FF2B5EF4-FFF2-40B4-BE49-F238E27FC236}">
                              <a16:creationId xmlns:a16="http://schemas.microsoft.com/office/drawing/2014/main" id="{C6CC7477-E1BA-442F-95ED-1EAB17DDECD2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35176" y="4105105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</p:grpSp>
                  <p:grpSp>
                    <p:nvGrpSpPr>
                      <p:cNvPr id="260" name="Graphic 174">
                        <a:extLst>
                          <a:ext uri="{FF2B5EF4-FFF2-40B4-BE49-F238E27FC236}">
                            <a16:creationId xmlns:a16="http://schemas.microsoft.com/office/drawing/2014/main" id="{4045A780-E4ED-4946-BB38-1D6737CA17D1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6347200" y="4122947"/>
                        <a:ext cx="181441" cy="18609"/>
                        <a:chOff x="6347200" y="4122947"/>
                        <a:chExt cx="181441" cy="18609"/>
                      </a:xfrm>
                      <a:solidFill>
                        <a:schemeClr val="accent1"/>
                      </a:solidFill>
                    </p:grpSpPr>
                    <p:sp>
                      <p:nvSpPr>
                        <p:cNvPr id="261" name="Freeform: Shape 260">
                          <a:extLst>
                            <a:ext uri="{FF2B5EF4-FFF2-40B4-BE49-F238E27FC236}">
                              <a16:creationId xmlns:a16="http://schemas.microsoft.com/office/drawing/2014/main" id="{8019D154-01ED-4AFC-B125-E2C5D1836866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47200" y="4122947"/>
                          <a:ext cx="181441" cy="18609"/>
                        </a:xfrm>
                        <a:custGeom>
                          <a:avLst/>
                          <a:gdLst>
                            <a:gd name="connsiteX0" fmla="*/ 181441 w 181441"/>
                            <a:gd name="connsiteY0" fmla="*/ 18633 h 18609"/>
                            <a:gd name="connsiteX1" fmla="*/ 1605 w 181441"/>
                            <a:gd name="connsiteY1" fmla="*/ 18633 h 18609"/>
                            <a:gd name="connsiteX2" fmla="*/ 0 w 181441"/>
                            <a:gd name="connsiteY2" fmla="*/ 17028 h 18609"/>
                            <a:gd name="connsiteX3" fmla="*/ 0 w 181441"/>
                            <a:gd name="connsiteY3" fmla="*/ 1605 h 18609"/>
                            <a:gd name="connsiteX4" fmla="*/ 1605 w 181441"/>
                            <a:gd name="connsiteY4" fmla="*/ 0 h 18609"/>
                            <a:gd name="connsiteX5" fmla="*/ 181441 w 181441"/>
                            <a:gd name="connsiteY5" fmla="*/ 0 h 18609"/>
                            <a:gd name="connsiteX6" fmla="*/ 183046 w 181441"/>
                            <a:gd name="connsiteY6" fmla="*/ 1605 h 18609"/>
                            <a:gd name="connsiteX7" fmla="*/ 183046 w 181441"/>
                            <a:gd name="connsiteY7" fmla="*/ 17028 h 18609"/>
                            <a:gd name="connsiteX8" fmla="*/ 181441 w 181441"/>
                            <a:gd name="connsiteY8" fmla="*/ 18633 h 18609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181441" h="18609">
                              <a:moveTo>
                                <a:pt x="181441" y="18633"/>
                              </a:moveTo>
                              <a:lnTo>
                                <a:pt x="1605" y="18633"/>
                              </a:lnTo>
                              <a:cubicBezTo>
                                <a:pt x="721" y="18633"/>
                                <a:pt x="0" y="17912"/>
                                <a:pt x="0" y="17028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181441" y="0"/>
                              </a:lnTo>
                              <a:cubicBezTo>
                                <a:pt x="182325" y="0"/>
                                <a:pt x="183046" y="721"/>
                                <a:pt x="183046" y="1605"/>
                              </a:cubicBezTo>
                              <a:lnTo>
                                <a:pt x="183046" y="17028"/>
                              </a:lnTo>
                              <a:cubicBezTo>
                                <a:pt x="183046" y="17912"/>
                                <a:pt x="182325" y="18633"/>
                                <a:pt x="181441" y="18633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19439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262" name="Freeform: Shape 261">
                          <a:extLst>
                            <a:ext uri="{FF2B5EF4-FFF2-40B4-BE49-F238E27FC236}">
                              <a16:creationId xmlns:a16="http://schemas.microsoft.com/office/drawing/2014/main" id="{66841D1B-EA73-485A-985B-CC1F574343CD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35176" y="4123738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263" name="Freeform: Shape 262">
                          <a:extLst>
                            <a:ext uri="{FF2B5EF4-FFF2-40B4-BE49-F238E27FC236}">
                              <a16:creationId xmlns:a16="http://schemas.microsoft.com/office/drawing/2014/main" id="{67A66ED0-2964-43AD-871E-1C6A291AF717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43876" y="4123738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48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264" name="Freeform: Shape 263">
                          <a:extLst>
                            <a:ext uri="{FF2B5EF4-FFF2-40B4-BE49-F238E27FC236}">
                              <a16:creationId xmlns:a16="http://schemas.microsoft.com/office/drawing/2014/main" id="{5EA136AF-D3D9-476C-84F2-DEFEB6683431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52552" y="4123738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265" name="Freeform: Shape 264">
                          <a:extLst>
                            <a:ext uri="{FF2B5EF4-FFF2-40B4-BE49-F238E27FC236}">
                              <a16:creationId xmlns:a16="http://schemas.microsoft.com/office/drawing/2014/main" id="{9C622BCD-2231-4590-957D-A869F849FA46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61229" y="4123738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266" name="Freeform: Shape 265">
                          <a:extLst>
                            <a:ext uri="{FF2B5EF4-FFF2-40B4-BE49-F238E27FC236}">
                              <a16:creationId xmlns:a16="http://schemas.microsoft.com/office/drawing/2014/main" id="{C748EFF5-3DA8-4AD5-BE12-B5D3863EF38C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69929" y="4123738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48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267" name="Freeform: Shape 266">
                          <a:extLst>
                            <a:ext uri="{FF2B5EF4-FFF2-40B4-BE49-F238E27FC236}">
                              <a16:creationId xmlns:a16="http://schemas.microsoft.com/office/drawing/2014/main" id="{DB1C0527-3F82-48D0-B3B4-97379C2F5E1A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78606" y="4123738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268" name="Freeform: Shape 267">
                          <a:extLst>
                            <a:ext uri="{FF2B5EF4-FFF2-40B4-BE49-F238E27FC236}">
                              <a16:creationId xmlns:a16="http://schemas.microsoft.com/office/drawing/2014/main" id="{BD1658EA-2362-4622-9B48-06D84088BE27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87282" y="4123738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269" name="Freeform: Shape 268">
                          <a:extLst>
                            <a:ext uri="{FF2B5EF4-FFF2-40B4-BE49-F238E27FC236}">
                              <a16:creationId xmlns:a16="http://schemas.microsoft.com/office/drawing/2014/main" id="{745734AF-95F8-4F8A-B8D9-67679265E7D7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95982" y="4123738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48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270" name="Freeform: Shape 269">
                          <a:extLst>
                            <a:ext uri="{FF2B5EF4-FFF2-40B4-BE49-F238E27FC236}">
                              <a16:creationId xmlns:a16="http://schemas.microsoft.com/office/drawing/2014/main" id="{76421A85-3C13-496A-B251-CECE95A7D30A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04659" y="4123738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271" name="Freeform: Shape 270">
                          <a:extLst>
                            <a:ext uri="{FF2B5EF4-FFF2-40B4-BE49-F238E27FC236}">
                              <a16:creationId xmlns:a16="http://schemas.microsoft.com/office/drawing/2014/main" id="{44D9336D-EFBE-44E5-8834-6A55BB453456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13335" y="4123738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272" name="Freeform: Shape 271">
                          <a:extLst>
                            <a:ext uri="{FF2B5EF4-FFF2-40B4-BE49-F238E27FC236}">
                              <a16:creationId xmlns:a16="http://schemas.microsoft.com/office/drawing/2014/main" id="{8BF5D985-E947-458A-AB8F-0E6566A65711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22035" y="4123738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48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273" name="Freeform: Shape 272">
                          <a:extLst>
                            <a:ext uri="{FF2B5EF4-FFF2-40B4-BE49-F238E27FC236}">
                              <a16:creationId xmlns:a16="http://schemas.microsoft.com/office/drawing/2014/main" id="{832C0E5A-AAE1-4D6E-9981-850DDCCADFE2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65716" y="4123738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48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274" name="Freeform: Shape 273">
                          <a:extLst>
                            <a:ext uri="{FF2B5EF4-FFF2-40B4-BE49-F238E27FC236}">
                              <a16:creationId xmlns:a16="http://schemas.microsoft.com/office/drawing/2014/main" id="{90191482-87CE-4EF9-9080-4088E8B1D9DC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74393" y="4123738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275" name="Freeform: Shape 274">
                          <a:extLst>
                            <a:ext uri="{FF2B5EF4-FFF2-40B4-BE49-F238E27FC236}">
                              <a16:creationId xmlns:a16="http://schemas.microsoft.com/office/drawing/2014/main" id="{08494486-4D06-4CA5-8641-A3C03AB7E54B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83070" y="4123738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276" name="Freeform: Shape 275">
                          <a:extLst>
                            <a:ext uri="{FF2B5EF4-FFF2-40B4-BE49-F238E27FC236}">
                              <a16:creationId xmlns:a16="http://schemas.microsoft.com/office/drawing/2014/main" id="{61063862-7181-45C3-B25D-E6240BE0205B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48340" y="4123738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277" name="Freeform: Shape 276">
                          <a:extLst>
                            <a:ext uri="{FF2B5EF4-FFF2-40B4-BE49-F238E27FC236}">
                              <a16:creationId xmlns:a16="http://schemas.microsoft.com/office/drawing/2014/main" id="{B2082123-F8AB-416B-94D9-269F78989F0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57017" y="4123738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278" name="Freeform: Shape 277">
                          <a:extLst>
                            <a:ext uri="{FF2B5EF4-FFF2-40B4-BE49-F238E27FC236}">
                              <a16:creationId xmlns:a16="http://schemas.microsoft.com/office/drawing/2014/main" id="{4329A499-79E4-4FE2-8C72-C3490EAD296B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65716" y="4123738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48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279" name="Freeform: Shape 278">
                          <a:extLst>
                            <a:ext uri="{FF2B5EF4-FFF2-40B4-BE49-F238E27FC236}">
                              <a16:creationId xmlns:a16="http://schemas.microsoft.com/office/drawing/2014/main" id="{EC43D8AD-4F0D-4B58-AC81-A87B07CC8F8E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91770" y="4123738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48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280" name="Freeform: Shape 279">
                          <a:extLst>
                            <a:ext uri="{FF2B5EF4-FFF2-40B4-BE49-F238E27FC236}">
                              <a16:creationId xmlns:a16="http://schemas.microsoft.com/office/drawing/2014/main" id="{D89C6CF7-D305-4BF2-BDCE-29865C6240A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00446" y="4123738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281" name="Freeform: Shape 280">
                          <a:extLst>
                            <a:ext uri="{FF2B5EF4-FFF2-40B4-BE49-F238E27FC236}">
                              <a16:creationId xmlns:a16="http://schemas.microsoft.com/office/drawing/2014/main" id="{43767384-C45B-46D4-9995-74F8C812B81C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09123" y="4123738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282" name="Freeform: Shape 281">
                          <a:extLst>
                            <a:ext uri="{FF2B5EF4-FFF2-40B4-BE49-F238E27FC236}">
                              <a16:creationId xmlns:a16="http://schemas.microsoft.com/office/drawing/2014/main" id="{C639FF6F-9B43-4432-94FF-3E6F116E4E91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17823" y="4123738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48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283" name="Freeform: Shape 282">
                          <a:extLst>
                            <a:ext uri="{FF2B5EF4-FFF2-40B4-BE49-F238E27FC236}">
                              <a16:creationId xmlns:a16="http://schemas.microsoft.com/office/drawing/2014/main" id="{2F9EF1A4-4816-45E6-8F34-85B4EAD04F2D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26499" y="4123738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</p:grpSp>
                  <p:grpSp>
                    <p:nvGrpSpPr>
                      <p:cNvPr id="284" name="Graphic 174">
                        <a:extLst>
                          <a:ext uri="{FF2B5EF4-FFF2-40B4-BE49-F238E27FC236}">
                            <a16:creationId xmlns:a16="http://schemas.microsoft.com/office/drawing/2014/main" id="{4045A780-E4ED-4946-BB38-1D6737CA17D1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6350736" y="4085682"/>
                        <a:ext cx="181441" cy="18609"/>
                        <a:chOff x="6350736" y="4085682"/>
                        <a:chExt cx="181441" cy="18609"/>
                      </a:xfrm>
                      <a:solidFill>
                        <a:schemeClr val="accent1"/>
                      </a:solidFill>
                    </p:grpSpPr>
                    <p:sp>
                      <p:nvSpPr>
                        <p:cNvPr id="285" name="Freeform: Shape 284">
                          <a:extLst>
                            <a:ext uri="{FF2B5EF4-FFF2-40B4-BE49-F238E27FC236}">
                              <a16:creationId xmlns:a16="http://schemas.microsoft.com/office/drawing/2014/main" id="{2987CD3A-575A-4B3F-A673-CAA5F9DF7454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50736" y="4085682"/>
                          <a:ext cx="181441" cy="18609"/>
                        </a:xfrm>
                        <a:custGeom>
                          <a:avLst/>
                          <a:gdLst>
                            <a:gd name="connsiteX0" fmla="*/ 181441 w 181441"/>
                            <a:gd name="connsiteY0" fmla="*/ 18633 h 18609"/>
                            <a:gd name="connsiteX1" fmla="*/ 1605 w 181441"/>
                            <a:gd name="connsiteY1" fmla="*/ 18633 h 18609"/>
                            <a:gd name="connsiteX2" fmla="*/ 0 w 181441"/>
                            <a:gd name="connsiteY2" fmla="*/ 17028 h 18609"/>
                            <a:gd name="connsiteX3" fmla="*/ 0 w 181441"/>
                            <a:gd name="connsiteY3" fmla="*/ 1605 h 18609"/>
                            <a:gd name="connsiteX4" fmla="*/ 1605 w 181441"/>
                            <a:gd name="connsiteY4" fmla="*/ 0 h 18609"/>
                            <a:gd name="connsiteX5" fmla="*/ 181441 w 181441"/>
                            <a:gd name="connsiteY5" fmla="*/ 0 h 18609"/>
                            <a:gd name="connsiteX6" fmla="*/ 183046 w 181441"/>
                            <a:gd name="connsiteY6" fmla="*/ 1605 h 18609"/>
                            <a:gd name="connsiteX7" fmla="*/ 183046 w 181441"/>
                            <a:gd name="connsiteY7" fmla="*/ 17028 h 18609"/>
                            <a:gd name="connsiteX8" fmla="*/ 181441 w 181441"/>
                            <a:gd name="connsiteY8" fmla="*/ 18633 h 18609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181441" h="18609">
                              <a:moveTo>
                                <a:pt x="181441" y="18633"/>
                              </a:moveTo>
                              <a:lnTo>
                                <a:pt x="1605" y="18633"/>
                              </a:lnTo>
                              <a:cubicBezTo>
                                <a:pt x="721" y="18633"/>
                                <a:pt x="0" y="17911"/>
                                <a:pt x="0" y="17028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181441" y="0"/>
                              </a:lnTo>
                              <a:cubicBezTo>
                                <a:pt x="182325" y="0"/>
                                <a:pt x="183046" y="721"/>
                                <a:pt x="183046" y="1605"/>
                              </a:cubicBezTo>
                              <a:lnTo>
                                <a:pt x="183046" y="17028"/>
                              </a:lnTo>
                              <a:cubicBezTo>
                                <a:pt x="183046" y="17911"/>
                                <a:pt x="182325" y="18633"/>
                                <a:pt x="181441" y="18633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19439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286" name="Freeform: Shape 285">
                          <a:extLst>
                            <a:ext uri="{FF2B5EF4-FFF2-40B4-BE49-F238E27FC236}">
                              <a16:creationId xmlns:a16="http://schemas.microsoft.com/office/drawing/2014/main" id="{7CB3BC37-A580-4E06-9E62-061FE38D17C0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38712" y="4086472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287" name="Freeform: Shape 286">
                          <a:extLst>
                            <a:ext uri="{FF2B5EF4-FFF2-40B4-BE49-F238E27FC236}">
                              <a16:creationId xmlns:a16="http://schemas.microsoft.com/office/drawing/2014/main" id="{F58FE879-53D8-4BA4-92D6-02C83437AC3A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47388" y="4086472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288" name="Freeform: Shape 287">
                          <a:extLst>
                            <a:ext uri="{FF2B5EF4-FFF2-40B4-BE49-F238E27FC236}">
                              <a16:creationId xmlns:a16="http://schemas.microsoft.com/office/drawing/2014/main" id="{B9494ABB-F529-4065-BFA6-B1E3532D3514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56088" y="4086472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289" name="Freeform: Shape 288">
                          <a:extLst>
                            <a:ext uri="{FF2B5EF4-FFF2-40B4-BE49-F238E27FC236}">
                              <a16:creationId xmlns:a16="http://schemas.microsoft.com/office/drawing/2014/main" id="{DBC0A182-A321-45A6-A023-D4A4BE175204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64765" y="4086472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290" name="Freeform: Shape 289">
                          <a:extLst>
                            <a:ext uri="{FF2B5EF4-FFF2-40B4-BE49-F238E27FC236}">
                              <a16:creationId xmlns:a16="http://schemas.microsoft.com/office/drawing/2014/main" id="{8621824A-872A-416A-B391-E3EEFFDB2369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73441" y="4086472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291" name="Freeform: Shape 290">
                          <a:extLst>
                            <a:ext uri="{FF2B5EF4-FFF2-40B4-BE49-F238E27FC236}">
                              <a16:creationId xmlns:a16="http://schemas.microsoft.com/office/drawing/2014/main" id="{F27DCCF6-FC4D-44F9-817C-47A87D8C485D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82141" y="4086472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292" name="Freeform: Shape 291">
                          <a:extLst>
                            <a:ext uri="{FF2B5EF4-FFF2-40B4-BE49-F238E27FC236}">
                              <a16:creationId xmlns:a16="http://schemas.microsoft.com/office/drawing/2014/main" id="{598E4E15-85E7-48E2-A119-7C0D41CB2056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90818" y="4086472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293" name="Freeform: Shape 292">
                          <a:extLst>
                            <a:ext uri="{FF2B5EF4-FFF2-40B4-BE49-F238E27FC236}">
                              <a16:creationId xmlns:a16="http://schemas.microsoft.com/office/drawing/2014/main" id="{300360DC-B190-4E89-B616-124AB6D30818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99495" y="4086472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294" name="Freeform: Shape 293">
                          <a:extLst>
                            <a:ext uri="{FF2B5EF4-FFF2-40B4-BE49-F238E27FC236}">
                              <a16:creationId xmlns:a16="http://schemas.microsoft.com/office/drawing/2014/main" id="{044829E8-5914-4571-886B-6966C5219195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08194" y="4086472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295" name="Freeform: Shape 294">
                          <a:extLst>
                            <a:ext uri="{FF2B5EF4-FFF2-40B4-BE49-F238E27FC236}">
                              <a16:creationId xmlns:a16="http://schemas.microsoft.com/office/drawing/2014/main" id="{F0D5E10C-B716-46BE-8721-F2B3EB19B936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16871" y="4086472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296" name="Freeform: Shape 295">
                          <a:extLst>
                            <a:ext uri="{FF2B5EF4-FFF2-40B4-BE49-F238E27FC236}">
                              <a16:creationId xmlns:a16="http://schemas.microsoft.com/office/drawing/2014/main" id="{5B821B03-EDD5-415F-B79B-250829D1A242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25548" y="4086472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297" name="Freeform: Shape 296">
                          <a:extLst>
                            <a:ext uri="{FF2B5EF4-FFF2-40B4-BE49-F238E27FC236}">
                              <a16:creationId xmlns:a16="http://schemas.microsoft.com/office/drawing/2014/main" id="{6F6079E8-197C-4B4A-9190-0B17CD7510FA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69229" y="4086472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298" name="Freeform: Shape 297">
                          <a:extLst>
                            <a:ext uri="{FF2B5EF4-FFF2-40B4-BE49-F238E27FC236}">
                              <a16:creationId xmlns:a16="http://schemas.microsoft.com/office/drawing/2014/main" id="{9C9B624C-172F-4A19-8433-E9308DA3502B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77929" y="4086472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299" name="Freeform: Shape 298">
                          <a:extLst>
                            <a:ext uri="{FF2B5EF4-FFF2-40B4-BE49-F238E27FC236}">
                              <a16:creationId xmlns:a16="http://schemas.microsoft.com/office/drawing/2014/main" id="{7C6115FD-134F-4C2B-9CE3-33347B2DBA77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86605" y="4086472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300" name="Freeform: Shape 299">
                          <a:extLst>
                            <a:ext uri="{FF2B5EF4-FFF2-40B4-BE49-F238E27FC236}">
                              <a16:creationId xmlns:a16="http://schemas.microsoft.com/office/drawing/2014/main" id="{D10DA5CB-32FB-4ED9-85BC-2A81F86645B6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51876" y="4086472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301" name="Freeform: Shape 300">
                          <a:extLst>
                            <a:ext uri="{FF2B5EF4-FFF2-40B4-BE49-F238E27FC236}">
                              <a16:creationId xmlns:a16="http://schemas.microsoft.com/office/drawing/2014/main" id="{6BDD299E-A96A-49D3-A319-0150B3CC1D11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60552" y="4086472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302" name="Freeform: Shape 301">
                          <a:extLst>
                            <a:ext uri="{FF2B5EF4-FFF2-40B4-BE49-F238E27FC236}">
                              <a16:creationId xmlns:a16="http://schemas.microsoft.com/office/drawing/2014/main" id="{3662C395-210F-42F1-BF00-C0E47F69442B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69229" y="4086472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303" name="Freeform: Shape 302">
                          <a:extLst>
                            <a:ext uri="{FF2B5EF4-FFF2-40B4-BE49-F238E27FC236}">
                              <a16:creationId xmlns:a16="http://schemas.microsoft.com/office/drawing/2014/main" id="{100E124C-3B1C-4A6F-9807-FF0E9FC977BC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95282" y="4086472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304" name="Freeform: Shape 303">
                          <a:extLst>
                            <a:ext uri="{FF2B5EF4-FFF2-40B4-BE49-F238E27FC236}">
                              <a16:creationId xmlns:a16="http://schemas.microsoft.com/office/drawing/2014/main" id="{0AC27568-DC7F-4A2D-B13E-367757FCD4BD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03982" y="4086472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305" name="Freeform: Shape 304">
                          <a:extLst>
                            <a:ext uri="{FF2B5EF4-FFF2-40B4-BE49-F238E27FC236}">
                              <a16:creationId xmlns:a16="http://schemas.microsoft.com/office/drawing/2014/main" id="{E94A5511-727F-4CEE-B33D-8F33D2A77ACC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12659" y="4086472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306" name="Freeform: Shape 305">
                          <a:extLst>
                            <a:ext uri="{FF2B5EF4-FFF2-40B4-BE49-F238E27FC236}">
                              <a16:creationId xmlns:a16="http://schemas.microsoft.com/office/drawing/2014/main" id="{049E2262-D373-4099-8BBC-5B12D5AE859C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21335" y="4086472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307" name="Freeform: Shape 306">
                          <a:extLst>
                            <a:ext uri="{FF2B5EF4-FFF2-40B4-BE49-F238E27FC236}">
                              <a16:creationId xmlns:a16="http://schemas.microsoft.com/office/drawing/2014/main" id="{4295E294-A06B-4DEE-8BAC-28FE3AAE3150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30035" y="4086472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</p:grpSp>
                  <p:grpSp>
                    <p:nvGrpSpPr>
                      <p:cNvPr id="308" name="Graphic 174">
                        <a:extLst>
                          <a:ext uri="{FF2B5EF4-FFF2-40B4-BE49-F238E27FC236}">
                            <a16:creationId xmlns:a16="http://schemas.microsoft.com/office/drawing/2014/main" id="{4045A780-E4ED-4946-BB38-1D6737CA17D1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6355877" y="4067049"/>
                        <a:ext cx="181441" cy="18609"/>
                        <a:chOff x="6355877" y="4067049"/>
                        <a:chExt cx="181441" cy="18609"/>
                      </a:xfrm>
                      <a:solidFill>
                        <a:schemeClr val="accent1"/>
                      </a:solidFill>
                    </p:grpSpPr>
                    <p:sp>
                      <p:nvSpPr>
                        <p:cNvPr id="309" name="Freeform: Shape 308">
                          <a:extLst>
                            <a:ext uri="{FF2B5EF4-FFF2-40B4-BE49-F238E27FC236}">
                              <a16:creationId xmlns:a16="http://schemas.microsoft.com/office/drawing/2014/main" id="{9D2091B4-F64F-4352-9F41-6D75EA6F6893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55877" y="4067049"/>
                          <a:ext cx="181441" cy="18609"/>
                        </a:xfrm>
                        <a:custGeom>
                          <a:avLst/>
                          <a:gdLst>
                            <a:gd name="connsiteX0" fmla="*/ 181441 w 181441"/>
                            <a:gd name="connsiteY0" fmla="*/ 18633 h 18609"/>
                            <a:gd name="connsiteX1" fmla="*/ 1605 w 181441"/>
                            <a:gd name="connsiteY1" fmla="*/ 18633 h 18609"/>
                            <a:gd name="connsiteX2" fmla="*/ 0 w 181441"/>
                            <a:gd name="connsiteY2" fmla="*/ 17028 h 18609"/>
                            <a:gd name="connsiteX3" fmla="*/ 0 w 181441"/>
                            <a:gd name="connsiteY3" fmla="*/ 1605 h 18609"/>
                            <a:gd name="connsiteX4" fmla="*/ 1605 w 181441"/>
                            <a:gd name="connsiteY4" fmla="*/ 0 h 18609"/>
                            <a:gd name="connsiteX5" fmla="*/ 181441 w 181441"/>
                            <a:gd name="connsiteY5" fmla="*/ 0 h 18609"/>
                            <a:gd name="connsiteX6" fmla="*/ 183046 w 181441"/>
                            <a:gd name="connsiteY6" fmla="*/ 1605 h 18609"/>
                            <a:gd name="connsiteX7" fmla="*/ 183046 w 181441"/>
                            <a:gd name="connsiteY7" fmla="*/ 17028 h 18609"/>
                            <a:gd name="connsiteX8" fmla="*/ 181441 w 181441"/>
                            <a:gd name="connsiteY8" fmla="*/ 18633 h 18609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181441" h="18609">
                              <a:moveTo>
                                <a:pt x="181441" y="18633"/>
                              </a:moveTo>
                              <a:lnTo>
                                <a:pt x="1605" y="18633"/>
                              </a:lnTo>
                              <a:cubicBezTo>
                                <a:pt x="721" y="18633"/>
                                <a:pt x="0" y="17912"/>
                                <a:pt x="0" y="17028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181441" y="0"/>
                              </a:lnTo>
                              <a:cubicBezTo>
                                <a:pt x="182325" y="0"/>
                                <a:pt x="183046" y="721"/>
                                <a:pt x="183046" y="1605"/>
                              </a:cubicBezTo>
                              <a:lnTo>
                                <a:pt x="183046" y="17028"/>
                              </a:lnTo>
                              <a:cubicBezTo>
                                <a:pt x="183046" y="17912"/>
                                <a:pt x="182325" y="18633"/>
                                <a:pt x="181441" y="18633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19439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310" name="Freeform: Shape 309">
                          <a:extLst>
                            <a:ext uri="{FF2B5EF4-FFF2-40B4-BE49-F238E27FC236}">
                              <a16:creationId xmlns:a16="http://schemas.microsoft.com/office/drawing/2014/main" id="{BD3253A1-C9CF-447A-9A50-88277EFD23D4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43876" y="4067840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48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311" name="Freeform: Shape 310">
                          <a:extLst>
                            <a:ext uri="{FF2B5EF4-FFF2-40B4-BE49-F238E27FC236}">
                              <a16:creationId xmlns:a16="http://schemas.microsoft.com/office/drawing/2014/main" id="{AE805E54-1234-4081-B3F6-0A1B5EEAF5FE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52552" y="4067840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312" name="Freeform: Shape 311">
                          <a:extLst>
                            <a:ext uri="{FF2B5EF4-FFF2-40B4-BE49-F238E27FC236}">
                              <a16:creationId xmlns:a16="http://schemas.microsoft.com/office/drawing/2014/main" id="{F4F2FF5E-644F-430A-8F4E-ACEFA080316E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61229" y="4067840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313" name="Freeform: Shape 312">
                          <a:extLst>
                            <a:ext uri="{FF2B5EF4-FFF2-40B4-BE49-F238E27FC236}">
                              <a16:creationId xmlns:a16="http://schemas.microsoft.com/office/drawing/2014/main" id="{6E74C76F-9E4A-410F-BFB7-391A2ABD67ED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69929" y="4067840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48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314" name="Freeform: Shape 313">
                          <a:extLst>
                            <a:ext uri="{FF2B5EF4-FFF2-40B4-BE49-F238E27FC236}">
                              <a16:creationId xmlns:a16="http://schemas.microsoft.com/office/drawing/2014/main" id="{1D950D55-F377-4D5B-B949-B698869A8DED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78606" y="4067840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315" name="Freeform: Shape 314">
                          <a:extLst>
                            <a:ext uri="{FF2B5EF4-FFF2-40B4-BE49-F238E27FC236}">
                              <a16:creationId xmlns:a16="http://schemas.microsoft.com/office/drawing/2014/main" id="{77253FBF-2724-4145-ABEE-17301872C0F3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87282" y="4067840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316" name="Freeform: Shape 315">
                          <a:extLst>
                            <a:ext uri="{FF2B5EF4-FFF2-40B4-BE49-F238E27FC236}">
                              <a16:creationId xmlns:a16="http://schemas.microsoft.com/office/drawing/2014/main" id="{A0972C55-5240-4EFE-A04A-4548E0DC67DD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95982" y="4067840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48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317" name="Freeform: Shape 316">
                          <a:extLst>
                            <a:ext uri="{FF2B5EF4-FFF2-40B4-BE49-F238E27FC236}">
                              <a16:creationId xmlns:a16="http://schemas.microsoft.com/office/drawing/2014/main" id="{DF6FA60B-88BC-42CE-BA12-7B89275A5E63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04659" y="4067840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318" name="Freeform: Shape 317">
                          <a:extLst>
                            <a:ext uri="{FF2B5EF4-FFF2-40B4-BE49-F238E27FC236}">
                              <a16:creationId xmlns:a16="http://schemas.microsoft.com/office/drawing/2014/main" id="{1532CCC5-7700-46D7-9EED-963EDCE10D3A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13335" y="4067840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319" name="Freeform: Shape 318">
                          <a:extLst>
                            <a:ext uri="{FF2B5EF4-FFF2-40B4-BE49-F238E27FC236}">
                              <a16:creationId xmlns:a16="http://schemas.microsoft.com/office/drawing/2014/main" id="{5FFDBABD-8098-446B-8F80-39E26D95227E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22035" y="4067840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48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320" name="Freeform: Shape 319">
                          <a:extLst>
                            <a:ext uri="{FF2B5EF4-FFF2-40B4-BE49-F238E27FC236}">
                              <a16:creationId xmlns:a16="http://schemas.microsoft.com/office/drawing/2014/main" id="{B047326C-8712-42F1-AA47-701DDC115007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30712" y="4067840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321" name="Freeform: Shape 320">
                          <a:extLst>
                            <a:ext uri="{FF2B5EF4-FFF2-40B4-BE49-F238E27FC236}">
                              <a16:creationId xmlns:a16="http://schemas.microsoft.com/office/drawing/2014/main" id="{00F1946A-E70A-49A7-B55F-CCEE604F9DDD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74393" y="4067840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322" name="Freeform: Shape 321">
                          <a:extLst>
                            <a:ext uri="{FF2B5EF4-FFF2-40B4-BE49-F238E27FC236}">
                              <a16:creationId xmlns:a16="http://schemas.microsoft.com/office/drawing/2014/main" id="{EC6118FA-E955-4E16-B2A5-63CB169F0025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83070" y="4067840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323" name="Freeform: Shape 322">
                          <a:extLst>
                            <a:ext uri="{FF2B5EF4-FFF2-40B4-BE49-F238E27FC236}">
                              <a16:creationId xmlns:a16="http://schemas.microsoft.com/office/drawing/2014/main" id="{AA0EC864-4A23-4016-8060-2BD6CCEFF304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91770" y="4067840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48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324" name="Freeform: Shape 323">
                          <a:extLst>
                            <a:ext uri="{FF2B5EF4-FFF2-40B4-BE49-F238E27FC236}">
                              <a16:creationId xmlns:a16="http://schemas.microsoft.com/office/drawing/2014/main" id="{8B0165AD-16BE-4F5B-ACB9-F2A436D8AE9A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57017" y="4067840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325" name="Freeform: Shape 324">
                          <a:extLst>
                            <a:ext uri="{FF2B5EF4-FFF2-40B4-BE49-F238E27FC236}">
                              <a16:creationId xmlns:a16="http://schemas.microsoft.com/office/drawing/2014/main" id="{CCCB868E-DB98-4B60-B234-940D1F922FC3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65716" y="4067840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48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326" name="Freeform: Shape 325">
                          <a:extLst>
                            <a:ext uri="{FF2B5EF4-FFF2-40B4-BE49-F238E27FC236}">
                              <a16:creationId xmlns:a16="http://schemas.microsoft.com/office/drawing/2014/main" id="{E093B45D-1654-4E8A-8B14-77AB171452B5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74393" y="4067840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327" name="Freeform: Shape 326">
                          <a:extLst>
                            <a:ext uri="{FF2B5EF4-FFF2-40B4-BE49-F238E27FC236}">
                              <a16:creationId xmlns:a16="http://schemas.microsoft.com/office/drawing/2014/main" id="{CC315A11-9E94-456C-A1A2-FF597E8C18ED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00446" y="4067840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328" name="Freeform: Shape 327">
                          <a:extLst>
                            <a:ext uri="{FF2B5EF4-FFF2-40B4-BE49-F238E27FC236}">
                              <a16:creationId xmlns:a16="http://schemas.microsoft.com/office/drawing/2014/main" id="{DE8CBAE6-61E1-4D3F-BBB9-DBBA437D3927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09123" y="4067840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329" name="Freeform: Shape 328">
                          <a:extLst>
                            <a:ext uri="{FF2B5EF4-FFF2-40B4-BE49-F238E27FC236}">
                              <a16:creationId xmlns:a16="http://schemas.microsoft.com/office/drawing/2014/main" id="{90439B90-831B-4D3C-9669-20A77918381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17823" y="4067840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48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330" name="Freeform: Shape 329">
                          <a:extLst>
                            <a:ext uri="{FF2B5EF4-FFF2-40B4-BE49-F238E27FC236}">
                              <a16:creationId xmlns:a16="http://schemas.microsoft.com/office/drawing/2014/main" id="{F296EF16-0240-4CC2-8CAB-96F7D535B9E3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26499" y="4067840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331" name="Freeform: Shape 330">
                          <a:extLst>
                            <a:ext uri="{FF2B5EF4-FFF2-40B4-BE49-F238E27FC236}">
                              <a16:creationId xmlns:a16="http://schemas.microsoft.com/office/drawing/2014/main" id="{74E9761C-0254-45AF-86A9-C7B25C857E2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35176" y="4067840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</p:grpSp>
                  <p:grpSp>
                    <p:nvGrpSpPr>
                      <p:cNvPr id="332" name="Graphic 174">
                        <a:extLst>
                          <a:ext uri="{FF2B5EF4-FFF2-40B4-BE49-F238E27FC236}">
                            <a16:creationId xmlns:a16="http://schemas.microsoft.com/office/drawing/2014/main" id="{4045A780-E4ED-4946-BB38-1D6737CA17D1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6347200" y="4048416"/>
                        <a:ext cx="181441" cy="18609"/>
                        <a:chOff x="6347200" y="4048416"/>
                        <a:chExt cx="181441" cy="18609"/>
                      </a:xfrm>
                      <a:solidFill>
                        <a:schemeClr val="accent1"/>
                      </a:solidFill>
                    </p:grpSpPr>
                    <p:sp>
                      <p:nvSpPr>
                        <p:cNvPr id="333" name="Freeform: Shape 332">
                          <a:extLst>
                            <a:ext uri="{FF2B5EF4-FFF2-40B4-BE49-F238E27FC236}">
                              <a16:creationId xmlns:a16="http://schemas.microsoft.com/office/drawing/2014/main" id="{6408E5DA-C199-42C1-812A-8D7D693C201A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47200" y="4048416"/>
                          <a:ext cx="181441" cy="18609"/>
                        </a:xfrm>
                        <a:custGeom>
                          <a:avLst/>
                          <a:gdLst>
                            <a:gd name="connsiteX0" fmla="*/ 181441 w 181441"/>
                            <a:gd name="connsiteY0" fmla="*/ 18633 h 18609"/>
                            <a:gd name="connsiteX1" fmla="*/ 1605 w 181441"/>
                            <a:gd name="connsiteY1" fmla="*/ 18633 h 18609"/>
                            <a:gd name="connsiteX2" fmla="*/ 0 w 181441"/>
                            <a:gd name="connsiteY2" fmla="*/ 17028 h 18609"/>
                            <a:gd name="connsiteX3" fmla="*/ 0 w 181441"/>
                            <a:gd name="connsiteY3" fmla="*/ 1605 h 18609"/>
                            <a:gd name="connsiteX4" fmla="*/ 1605 w 181441"/>
                            <a:gd name="connsiteY4" fmla="*/ 0 h 18609"/>
                            <a:gd name="connsiteX5" fmla="*/ 181441 w 181441"/>
                            <a:gd name="connsiteY5" fmla="*/ 0 h 18609"/>
                            <a:gd name="connsiteX6" fmla="*/ 183046 w 181441"/>
                            <a:gd name="connsiteY6" fmla="*/ 1605 h 18609"/>
                            <a:gd name="connsiteX7" fmla="*/ 183046 w 181441"/>
                            <a:gd name="connsiteY7" fmla="*/ 17028 h 18609"/>
                            <a:gd name="connsiteX8" fmla="*/ 181441 w 181441"/>
                            <a:gd name="connsiteY8" fmla="*/ 18633 h 18609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181441" h="18609">
                              <a:moveTo>
                                <a:pt x="181441" y="18633"/>
                              </a:moveTo>
                              <a:lnTo>
                                <a:pt x="1605" y="18633"/>
                              </a:lnTo>
                              <a:cubicBezTo>
                                <a:pt x="721" y="18633"/>
                                <a:pt x="0" y="17912"/>
                                <a:pt x="0" y="17028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181441" y="0"/>
                              </a:lnTo>
                              <a:cubicBezTo>
                                <a:pt x="182325" y="0"/>
                                <a:pt x="183046" y="721"/>
                                <a:pt x="183046" y="1605"/>
                              </a:cubicBezTo>
                              <a:lnTo>
                                <a:pt x="183046" y="17028"/>
                              </a:lnTo>
                              <a:cubicBezTo>
                                <a:pt x="183046" y="17935"/>
                                <a:pt x="182325" y="18633"/>
                                <a:pt x="181441" y="18633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19439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334" name="Freeform: Shape 333">
                          <a:extLst>
                            <a:ext uri="{FF2B5EF4-FFF2-40B4-BE49-F238E27FC236}">
                              <a16:creationId xmlns:a16="http://schemas.microsoft.com/office/drawing/2014/main" id="{9256EA8D-DD5F-417C-AC17-46E97D1C81DE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35176" y="4049207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335" name="Freeform: Shape 334">
                          <a:extLst>
                            <a:ext uri="{FF2B5EF4-FFF2-40B4-BE49-F238E27FC236}">
                              <a16:creationId xmlns:a16="http://schemas.microsoft.com/office/drawing/2014/main" id="{6A4317B7-C494-437F-95FE-772E265E7A07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43876" y="4049207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48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336" name="Freeform: Shape 335">
                          <a:extLst>
                            <a:ext uri="{FF2B5EF4-FFF2-40B4-BE49-F238E27FC236}">
                              <a16:creationId xmlns:a16="http://schemas.microsoft.com/office/drawing/2014/main" id="{B029B9DD-98B2-4D0B-ADA2-7E3A2C933C05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52552" y="4049207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337" name="Freeform: Shape 336">
                          <a:extLst>
                            <a:ext uri="{FF2B5EF4-FFF2-40B4-BE49-F238E27FC236}">
                              <a16:creationId xmlns:a16="http://schemas.microsoft.com/office/drawing/2014/main" id="{8EC35020-C4DB-4DD2-8CA8-109794E5EABB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61229" y="4049207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338" name="Freeform: Shape 337">
                          <a:extLst>
                            <a:ext uri="{FF2B5EF4-FFF2-40B4-BE49-F238E27FC236}">
                              <a16:creationId xmlns:a16="http://schemas.microsoft.com/office/drawing/2014/main" id="{F7C94AC9-65D3-484E-843A-DBEFAD754BF7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69929" y="4049207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48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339" name="Freeform: Shape 338">
                          <a:extLst>
                            <a:ext uri="{FF2B5EF4-FFF2-40B4-BE49-F238E27FC236}">
                              <a16:creationId xmlns:a16="http://schemas.microsoft.com/office/drawing/2014/main" id="{AC6F8FEE-271F-4003-82F6-6E8806A21B53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78606" y="4049207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340" name="Freeform: Shape 339">
                          <a:extLst>
                            <a:ext uri="{FF2B5EF4-FFF2-40B4-BE49-F238E27FC236}">
                              <a16:creationId xmlns:a16="http://schemas.microsoft.com/office/drawing/2014/main" id="{6EFB1689-0E39-4728-B30F-D20730DB7969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87282" y="4049207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341" name="Freeform: Shape 340">
                          <a:extLst>
                            <a:ext uri="{FF2B5EF4-FFF2-40B4-BE49-F238E27FC236}">
                              <a16:creationId xmlns:a16="http://schemas.microsoft.com/office/drawing/2014/main" id="{BE0FBC0E-1784-4495-B868-C758E3FFBC7D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95982" y="4049207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48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342" name="Freeform: Shape 341">
                          <a:extLst>
                            <a:ext uri="{FF2B5EF4-FFF2-40B4-BE49-F238E27FC236}">
                              <a16:creationId xmlns:a16="http://schemas.microsoft.com/office/drawing/2014/main" id="{035CA4E9-C3C4-44FA-B261-15104FD85B3D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04659" y="4049207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343" name="Freeform: Shape 342">
                          <a:extLst>
                            <a:ext uri="{FF2B5EF4-FFF2-40B4-BE49-F238E27FC236}">
                              <a16:creationId xmlns:a16="http://schemas.microsoft.com/office/drawing/2014/main" id="{A3B1B349-0ED7-45FF-B343-18BD44200DF4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13335" y="4049207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344" name="Freeform: Shape 343">
                          <a:extLst>
                            <a:ext uri="{FF2B5EF4-FFF2-40B4-BE49-F238E27FC236}">
                              <a16:creationId xmlns:a16="http://schemas.microsoft.com/office/drawing/2014/main" id="{34F7AD77-0C82-4BE2-8CC1-7397C2EFF132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22035" y="4049207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48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345" name="Freeform: Shape 344">
                          <a:extLst>
                            <a:ext uri="{FF2B5EF4-FFF2-40B4-BE49-F238E27FC236}">
                              <a16:creationId xmlns:a16="http://schemas.microsoft.com/office/drawing/2014/main" id="{C34F2C3A-F6C9-435E-A88F-408914B1E92E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65716" y="4049207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48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346" name="Freeform: Shape 345">
                          <a:extLst>
                            <a:ext uri="{FF2B5EF4-FFF2-40B4-BE49-F238E27FC236}">
                              <a16:creationId xmlns:a16="http://schemas.microsoft.com/office/drawing/2014/main" id="{7CB10E42-7075-47AE-9D86-D14C08903B8D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74393" y="4049207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347" name="Freeform: Shape 346">
                          <a:extLst>
                            <a:ext uri="{FF2B5EF4-FFF2-40B4-BE49-F238E27FC236}">
                              <a16:creationId xmlns:a16="http://schemas.microsoft.com/office/drawing/2014/main" id="{AFBE66D4-82AB-41CF-B72E-793D581CD5A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83070" y="4049207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348" name="Freeform: Shape 347">
                          <a:extLst>
                            <a:ext uri="{FF2B5EF4-FFF2-40B4-BE49-F238E27FC236}">
                              <a16:creationId xmlns:a16="http://schemas.microsoft.com/office/drawing/2014/main" id="{4AF14CF6-1B48-4F41-BE7A-900E543D95DB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48340" y="4049207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349" name="Freeform: Shape 348">
                          <a:extLst>
                            <a:ext uri="{FF2B5EF4-FFF2-40B4-BE49-F238E27FC236}">
                              <a16:creationId xmlns:a16="http://schemas.microsoft.com/office/drawing/2014/main" id="{8AACDF04-AEB0-4575-A749-B1BC04538425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57017" y="4049207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350" name="Freeform: Shape 349">
                          <a:extLst>
                            <a:ext uri="{FF2B5EF4-FFF2-40B4-BE49-F238E27FC236}">
                              <a16:creationId xmlns:a16="http://schemas.microsoft.com/office/drawing/2014/main" id="{4F4F11AF-6614-42ED-B799-26F6E79FD5D2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65716" y="4049207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48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351" name="Freeform: Shape 350">
                          <a:extLst>
                            <a:ext uri="{FF2B5EF4-FFF2-40B4-BE49-F238E27FC236}">
                              <a16:creationId xmlns:a16="http://schemas.microsoft.com/office/drawing/2014/main" id="{C47CC91F-CD2F-4D7A-A22C-E3DA656F4EC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91770" y="4049207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48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352" name="Freeform: Shape 351">
                          <a:extLst>
                            <a:ext uri="{FF2B5EF4-FFF2-40B4-BE49-F238E27FC236}">
                              <a16:creationId xmlns:a16="http://schemas.microsoft.com/office/drawing/2014/main" id="{0E9EC000-AFAF-4A1A-AF5B-4C6717F59331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00446" y="4049207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353" name="Freeform: Shape 352">
                          <a:extLst>
                            <a:ext uri="{FF2B5EF4-FFF2-40B4-BE49-F238E27FC236}">
                              <a16:creationId xmlns:a16="http://schemas.microsoft.com/office/drawing/2014/main" id="{9F9F4825-59B0-4337-8C5B-373B59EC48C6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09123" y="4049207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354" name="Freeform: Shape 353">
                          <a:extLst>
                            <a:ext uri="{FF2B5EF4-FFF2-40B4-BE49-F238E27FC236}">
                              <a16:creationId xmlns:a16="http://schemas.microsoft.com/office/drawing/2014/main" id="{C036F683-8E98-4555-811D-77FD780AF697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17823" y="4049207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48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355" name="Freeform: Shape 354">
                          <a:extLst>
                            <a:ext uri="{FF2B5EF4-FFF2-40B4-BE49-F238E27FC236}">
                              <a16:creationId xmlns:a16="http://schemas.microsoft.com/office/drawing/2014/main" id="{C8A0E0B4-9A1A-45A5-A887-3453BFD96545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26499" y="4049207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</p:grpSp>
                  <p:grpSp>
                    <p:nvGrpSpPr>
                      <p:cNvPr id="356" name="Graphic 174">
                        <a:extLst>
                          <a:ext uri="{FF2B5EF4-FFF2-40B4-BE49-F238E27FC236}">
                            <a16:creationId xmlns:a16="http://schemas.microsoft.com/office/drawing/2014/main" id="{4045A780-E4ED-4946-BB38-1D6737CA17D1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6355877" y="4029784"/>
                        <a:ext cx="181441" cy="18609"/>
                        <a:chOff x="6355877" y="4029784"/>
                        <a:chExt cx="181441" cy="18609"/>
                      </a:xfrm>
                      <a:solidFill>
                        <a:schemeClr val="accent1"/>
                      </a:solidFill>
                    </p:grpSpPr>
                    <p:sp>
                      <p:nvSpPr>
                        <p:cNvPr id="357" name="Freeform: Shape 356">
                          <a:extLst>
                            <a:ext uri="{FF2B5EF4-FFF2-40B4-BE49-F238E27FC236}">
                              <a16:creationId xmlns:a16="http://schemas.microsoft.com/office/drawing/2014/main" id="{C6D96176-A343-44EA-A9E7-63B056C0E2D8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55877" y="4029784"/>
                          <a:ext cx="181441" cy="18609"/>
                        </a:xfrm>
                        <a:custGeom>
                          <a:avLst/>
                          <a:gdLst>
                            <a:gd name="connsiteX0" fmla="*/ 181441 w 181441"/>
                            <a:gd name="connsiteY0" fmla="*/ 18633 h 18609"/>
                            <a:gd name="connsiteX1" fmla="*/ 1605 w 181441"/>
                            <a:gd name="connsiteY1" fmla="*/ 18633 h 18609"/>
                            <a:gd name="connsiteX2" fmla="*/ 0 w 181441"/>
                            <a:gd name="connsiteY2" fmla="*/ 17028 h 18609"/>
                            <a:gd name="connsiteX3" fmla="*/ 0 w 181441"/>
                            <a:gd name="connsiteY3" fmla="*/ 1605 h 18609"/>
                            <a:gd name="connsiteX4" fmla="*/ 1605 w 181441"/>
                            <a:gd name="connsiteY4" fmla="*/ 0 h 18609"/>
                            <a:gd name="connsiteX5" fmla="*/ 181441 w 181441"/>
                            <a:gd name="connsiteY5" fmla="*/ 0 h 18609"/>
                            <a:gd name="connsiteX6" fmla="*/ 183046 w 181441"/>
                            <a:gd name="connsiteY6" fmla="*/ 1605 h 18609"/>
                            <a:gd name="connsiteX7" fmla="*/ 183046 w 181441"/>
                            <a:gd name="connsiteY7" fmla="*/ 17028 h 18609"/>
                            <a:gd name="connsiteX8" fmla="*/ 181441 w 181441"/>
                            <a:gd name="connsiteY8" fmla="*/ 18633 h 18609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181441" h="18609">
                              <a:moveTo>
                                <a:pt x="181441" y="18633"/>
                              </a:moveTo>
                              <a:lnTo>
                                <a:pt x="1605" y="18633"/>
                              </a:lnTo>
                              <a:cubicBezTo>
                                <a:pt x="721" y="18633"/>
                                <a:pt x="0" y="17911"/>
                                <a:pt x="0" y="17028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181441" y="0"/>
                              </a:lnTo>
                              <a:cubicBezTo>
                                <a:pt x="182325" y="0"/>
                                <a:pt x="183046" y="721"/>
                                <a:pt x="183046" y="1605"/>
                              </a:cubicBezTo>
                              <a:lnTo>
                                <a:pt x="183046" y="17028"/>
                              </a:lnTo>
                              <a:cubicBezTo>
                                <a:pt x="183046" y="17935"/>
                                <a:pt x="182325" y="18633"/>
                                <a:pt x="181441" y="18633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19439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358" name="Freeform: Shape 357">
                          <a:extLst>
                            <a:ext uri="{FF2B5EF4-FFF2-40B4-BE49-F238E27FC236}">
                              <a16:creationId xmlns:a16="http://schemas.microsoft.com/office/drawing/2014/main" id="{CE860C68-CB75-4BA0-92E7-06F7F4E2AD22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43876" y="4030575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48" y="16353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359" name="Freeform: Shape 358">
                          <a:extLst>
                            <a:ext uri="{FF2B5EF4-FFF2-40B4-BE49-F238E27FC236}">
                              <a16:creationId xmlns:a16="http://schemas.microsoft.com/office/drawing/2014/main" id="{8D312AFA-EF65-4420-86E0-4F5F6E8B03B9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52552" y="4030575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53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360" name="Freeform: Shape 359">
                          <a:extLst>
                            <a:ext uri="{FF2B5EF4-FFF2-40B4-BE49-F238E27FC236}">
                              <a16:creationId xmlns:a16="http://schemas.microsoft.com/office/drawing/2014/main" id="{2BCC06D5-2455-49C0-9273-1DA748B98FFD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61229" y="4030575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53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361" name="Freeform: Shape 360">
                          <a:extLst>
                            <a:ext uri="{FF2B5EF4-FFF2-40B4-BE49-F238E27FC236}">
                              <a16:creationId xmlns:a16="http://schemas.microsoft.com/office/drawing/2014/main" id="{B73749F3-C4C5-42B3-9A37-65AABBDBFA0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69929" y="4030575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48" y="16353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362" name="Freeform: Shape 361">
                          <a:extLst>
                            <a:ext uri="{FF2B5EF4-FFF2-40B4-BE49-F238E27FC236}">
                              <a16:creationId xmlns:a16="http://schemas.microsoft.com/office/drawing/2014/main" id="{649A85EA-885E-4009-89A1-003360B2DB2B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78606" y="4030575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53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363" name="Freeform: Shape 362">
                          <a:extLst>
                            <a:ext uri="{FF2B5EF4-FFF2-40B4-BE49-F238E27FC236}">
                              <a16:creationId xmlns:a16="http://schemas.microsoft.com/office/drawing/2014/main" id="{633DFD3B-DDB7-4778-9356-2409F3F78FFC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87282" y="4030575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53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364" name="Freeform: Shape 363">
                          <a:extLst>
                            <a:ext uri="{FF2B5EF4-FFF2-40B4-BE49-F238E27FC236}">
                              <a16:creationId xmlns:a16="http://schemas.microsoft.com/office/drawing/2014/main" id="{9FF37F89-AF73-451C-BB5D-3BCCDFEA7680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95982" y="4030575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48" y="16353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365" name="Freeform: Shape 364">
                          <a:extLst>
                            <a:ext uri="{FF2B5EF4-FFF2-40B4-BE49-F238E27FC236}">
                              <a16:creationId xmlns:a16="http://schemas.microsoft.com/office/drawing/2014/main" id="{8C48FB69-4C37-4E09-B47F-FEF11A66FCFB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04659" y="4030575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53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366" name="Freeform: Shape 365">
                          <a:extLst>
                            <a:ext uri="{FF2B5EF4-FFF2-40B4-BE49-F238E27FC236}">
                              <a16:creationId xmlns:a16="http://schemas.microsoft.com/office/drawing/2014/main" id="{25279D0E-4F6D-4B13-A832-09F1407A10DA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13335" y="4030575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53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367" name="Freeform: Shape 366">
                          <a:extLst>
                            <a:ext uri="{FF2B5EF4-FFF2-40B4-BE49-F238E27FC236}">
                              <a16:creationId xmlns:a16="http://schemas.microsoft.com/office/drawing/2014/main" id="{378CD9F7-6605-4559-A774-B1F2FF60CCEB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22035" y="4030575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48" y="16353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368" name="Freeform: Shape 367">
                          <a:extLst>
                            <a:ext uri="{FF2B5EF4-FFF2-40B4-BE49-F238E27FC236}">
                              <a16:creationId xmlns:a16="http://schemas.microsoft.com/office/drawing/2014/main" id="{250B24E3-C646-49AC-A6F9-014716FBA4AB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30712" y="4030575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53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369" name="Freeform: Shape 368">
                          <a:extLst>
                            <a:ext uri="{FF2B5EF4-FFF2-40B4-BE49-F238E27FC236}">
                              <a16:creationId xmlns:a16="http://schemas.microsoft.com/office/drawing/2014/main" id="{C3FCEDC4-2314-48B2-B5AB-BE92F639E88B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74393" y="4030575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53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370" name="Freeform: Shape 369">
                          <a:extLst>
                            <a:ext uri="{FF2B5EF4-FFF2-40B4-BE49-F238E27FC236}">
                              <a16:creationId xmlns:a16="http://schemas.microsoft.com/office/drawing/2014/main" id="{4E27C7CF-9490-4875-B642-B3E966EDF467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83070" y="4030575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53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371" name="Freeform: Shape 370">
                          <a:extLst>
                            <a:ext uri="{FF2B5EF4-FFF2-40B4-BE49-F238E27FC236}">
                              <a16:creationId xmlns:a16="http://schemas.microsoft.com/office/drawing/2014/main" id="{2BC03CD5-3CA8-49AD-9628-F6D73BC7CE9A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91770" y="4030575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48" y="16353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372" name="Freeform: Shape 371">
                          <a:extLst>
                            <a:ext uri="{FF2B5EF4-FFF2-40B4-BE49-F238E27FC236}">
                              <a16:creationId xmlns:a16="http://schemas.microsoft.com/office/drawing/2014/main" id="{E535E286-AD3B-44EC-8E7E-B74C3B22B27E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57017" y="4030575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53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373" name="Freeform: Shape 372">
                          <a:extLst>
                            <a:ext uri="{FF2B5EF4-FFF2-40B4-BE49-F238E27FC236}">
                              <a16:creationId xmlns:a16="http://schemas.microsoft.com/office/drawing/2014/main" id="{80713EEF-01A8-4483-AC01-8C3E153746CE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65716" y="4030575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48" y="16353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374" name="Freeform: Shape 373">
                          <a:extLst>
                            <a:ext uri="{FF2B5EF4-FFF2-40B4-BE49-F238E27FC236}">
                              <a16:creationId xmlns:a16="http://schemas.microsoft.com/office/drawing/2014/main" id="{80F3B76C-A4AC-4FB7-98A1-787BA7249252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74393" y="4030575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53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375" name="Freeform: Shape 374">
                          <a:extLst>
                            <a:ext uri="{FF2B5EF4-FFF2-40B4-BE49-F238E27FC236}">
                              <a16:creationId xmlns:a16="http://schemas.microsoft.com/office/drawing/2014/main" id="{746FBE64-2A01-453B-B0B9-E48707786DA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00446" y="4030575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53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376" name="Freeform: Shape 375">
                          <a:extLst>
                            <a:ext uri="{FF2B5EF4-FFF2-40B4-BE49-F238E27FC236}">
                              <a16:creationId xmlns:a16="http://schemas.microsoft.com/office/drawing/2014/main" id="{E88BA68B-E9F4-49AD-B2BC-9744BAC2797D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09123" y="4030575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53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377" name="Freeform: Shape 376">
                          <a:extLst>
                            <a:ext uri="{FF2B5EF4-FFF2-40B4-BE49-F238E27FC236}">
                              <a16:creationId xmlns:a16="http://schemas.microsoft.com/office/drawing/2014/main" id="{C640C86A-DDAA-4AF4-91D0-F27EDA936C50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17823" y="4030575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48" y="16353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378" name="Freeform: Shape 377">
                          <a:extLst>
                            <a:ext uri="{FF2B5EF4-FFF2-40B4-BE49-F238E27FC236}">
                              <a16:creationId xmlns:a16="http://schemas.microsoft.com/office/drawing/2014/main" id="{A1C60D05-8898-4867-A09B-D5C3E5EA101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26499" y="4030575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53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379" name="Freeform: Shape 378">
                          <a:extLst>
                            <a:ext uri="{FF2B5EF4-FFF2-40B4-BE49-F238E27FC236}">
                              <a16:creationId xmlns:a16="http://schemas.microsoft.com/office/drawing/2014/main" id="{D1FCDF69-B384-4BE2-9F11-1DCDE6224F85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35176" y="4030575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53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</p:grpSp>
                  <p:grpSp>
                    <p:nvGrpSpPr>
                      <p:cNvPr id="380" name="Graphic 174">
                        <a:extLst>
                          <a:ext uri="{FF2B5EF4-FFF2-40B4-BE49-F238E27FC236}">
                            <a16:creationId xmlns:a16="http://schemas.microsoft.com/office/drawing/2014/main" id="{4045A780-E4ED-4946-BB38-1D6737CA17D1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6347200" y="4011174"/>
                        <a:ext cx="181441" cy="18609"/>
                        <a:chOff x="6347200" y="4011174"/>
                        <a:chExt cx="181441" cy="18609"/>
                      </a:xfrm>
                      <a:solidFill>
                        <a:schemeClr val="accent1"/>
                      </a:solidFill>
                    </p:grpSpPr>
                    <p:sp>
                      <p:nvSpPr>
                        <p:cNvPr id="381" name="Freeform: Shape 380">
                          <a:extLst>
                            <a:ext uri="{FF2B5EF4-FFF2-40B4-BE49-F238E27FC236}">
                              <a16:creationId xmlns:a16="http://schemas.microsoft.com/office/drawing/2014/main" id="{2FAD43C2-DB31-4403-9F9E-A5F5DD42BB06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47200" y="4011174"/>
                          <a:ext cx="181441" cy="18609"/>
                        </a:xfrm>
                        <a:custGeom>
                          <a:avLst/>
                          <a:gdLst>
                            <a:gd name="connsiteX0" fmla="*/ 181441 w 181441"/>
                            <a:gd name="connsiteY0" fmla="*/ 18633 h 18609"/>
                            <a:gd name="connsiteX1" fmla="*/ 1605 w 181441"/>
                            <a:gd name="connsiteY1" fmla="*/ 18633 h 18609"/>
                            <a:gd name="connsiteX2" fmla="*/ 0 w 181441"/>
                            <a:gd name="connsiteY2" fmla="*/ 17028 h 18609"/>
                            <a:gd name="connsiteX3" fmla="*/ 0 w 181441"/>
                            <a:gd name="connsiteY3" fmla="*/ 1605 h 18609"/>
                            <a:gd name="connsiteX4" fmla="*/ 1605 w 181441"/>
                            <a:gd name="connsiteY4" fmla="*/ 0 h 18609"/>
                            <a:gd name="connsiteX5" fmla="*/ 181441 w 181441"/>
                            <a:gd name="connsiteY5" fmla="*/ 0 h 18609"/>
                            <a:gd name="connsiteX6" fmla="*/ 183046 w 181441"/>
                            <a:gd name="connsiteY6" fmla="*/ 1605 h 18609"/>
                            <a:gd name="connsiteX7" fmla="*/ 183046 w 181441"/>
                            <a:gd name="connsiteY7" fmla="*/ 17028 h 18609"/>
                            <a:gd name="connsiteX8" fmla="*/ 181441 w 181441"/>
                            <a:gd name="connsiteY8" fmla="*/ 18633 h 18609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181441" h="18609">
                              <a:moveTo>
                                <a:pt x="181441" y="18633"/>
                              </a:moveTo>
                              <a:lnTo>
                                <a:pt x="1605" y="18633"/>
                              </a:lnTo>
                              <a:cubicBezTo>
                                <a:pt x="721" y="18633"/>
                                <a:pt x="0" y="17911"/>
                                <a:pt x="0" y="17028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181441" y="0"/>
                              </a:lnTo>
                              <a:cubicBezTo>
                                <a:pt x="182325" y="0"/>
                                <a:pt x="183046" y="721"/>
                                <a:pt x="183046" y="1605"/>
                              </a:cubicBezTo>
                              <a:lnTo>
                                <a:pt x="183046" y="17028"/>
                              </a:lnTo>
                              <a:cubicBezTo>
                                <a:pt x="183046" y="17911"/>
                                <a:pt x="182325" y="18633"/>
                                <a:pt x="181441" y="18633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19439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382" name="Freeform: Shape 381">
                          <a:extLst>
                            <a:ext uri="{FF2B5EF4-FFF2-40B4-BE49-F238E27FC236}">
                              <a16:creationId xmlns:a16="http://schemas.microsoft.com/office/drawing/2014/main" id="{377CAB0A-E7AA-4585-A0A9-92C67884F301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35176" y="4011942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53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383" name="Freeform: Shape 382">
                          <a:extLst>
                            <a:ext uri="{FF2B5EF4-FFF2-40B4-BE49-F238E27FC236}">
                              <a16:creationId xmlns:a16="http://schemas.microsoft.com/office/drawing/2014/main" id="{350557E5-B41B-436B-858C-5EA9CDDF8F44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43876" y="4011942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48" y="16353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384" name="Freeform: Shape 383">
                          <a:extLst>
                            <a:ext uri="{FF2B5EF4-FFF2-40B4-BE49-F238E27FC236}">
                              <a16:creationId xmlns:a16="http://schemas.microsoft.com/office/drawing/2014/main" id="{32023474-E9C6-42A3-9F88-8E3EFA7EAF66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52552" y="4011942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53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385" name="Freeform: Shape 384">
                          <a:extLst>
                            <a:ext uri="{FF2B5EF4-FFF2-40B4-BE49-F238E27FC236}">
                              <a16:creationId xmlns:a16="http://schemas.microsoft.com/office/drawing/2014/main" id="{C25864BA-266F-486B-A781-0616558243DB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61229" y="4011942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53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386" name="Freeform: Shape 385">
                          <a:extLst>
                            <a:ext uri="{FF2B5EF4-FFF2-40B4-BE49-F238E27FC236}">
                              <a16:creationId xmlns:a16="http://schemas.microsoft.com/office/drawing/2014/main" id="{46B686E0-0C6A-4B11-AF20-90009095F05A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69929" y="4011942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48" y="16353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387" name="Freeform: Shape 386">
                          <a:extLst>
                            <a:ext uri="{FF2B5EF4-FFF2-40B4-BE49-F238E27FC236}">
                              <a16:creationId xmlns:a16="http://schemas.microsoft.com/office/drawing/2014/main" id="{30654861-D084-4EFD-971F-256E8FD37D81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78606" y="4011942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53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388" name="Freeform: Shape 387">
                          <a:extLst>
                            <a:ext uri="{FF2B5EF4-FFF2-40B4-BE49-F238E27FC236}">
                              <a16:creationId xmlns:a16="http://schemas.microsoft.com/office/drawing/2014/main" id="{79D9AFDA-2FF1-4DF8-B751-287AF07F5994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87282" y="4011942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53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389" name="Freeform: Shape 388">
                          <a:extLst>
                            <a:ext uri="{FF2B5EF4-FFF2-40B4-BE49-F238E27FC236}">
                              <a16:creationId xmlns:a16="http://schemas.microsoft.com/office/drawing/2014/main" id="{8765BEC4-F6BB-4C5B-A193-580C4B3712C4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95982" y="4011942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48" y="16353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390" name="Freeform: Shape 389">
                          <a:extLst>
                            <a:ext uri="{FF2B5EF4-FFF2-40B4-BE49-F238E27FC236}">
                              <a16:creationId xmlns:a16="http://schemas.microsoft.com/office/drawing/2014/main" id="{77D6FE6F-E2B8-4BF2-A50D-233B28BB2A79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04659" y="4011942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53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391" name="Freeform: Shape 390">
                          <a:extLst>
                            <a:ext uri="{FF2B5EF4-FFF2-40B4-BE49-F238E27FC236}">
                              <a16:creationId xmlns:a16="http://schemas.microsoft.com/office/drawing/2014/main" id="{FBD01F4F-C8FD-4ADF-8CD5-3584E108FA49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13335" y="4011942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53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392" name="Freeform: Shape 391">
                          <a:extLst>
                            <a:ext uri="{FF2B5EF4-FFF2-40B4-BE49-F238E27FC236}">
                              <a16:creationId xmlns:a16="http://schemas.microsoft.com/office/drawing/2014/main" id="{424680ED-E798-48B6-BF38-2CA333084D50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22035" y="4011942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48" y="16353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393" name="Freeform: Shape 392">
                          <a:extLst>
                            <a:ext uri="{FF2B5EF4-FFF2-40B4-BE49-F238E27FC236}">
                              <a16:creationId xmlns:a16="http://schemas.microsoft.com/office/drawing/2014/main" id="{35CFF36C-145D-4976-8C8C-0D9015A3E402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65716" y="4011942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48" y="16353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394" name="Freeform: Shape 393">
                          <a:extLst>
                            <a:ext uri="{FF2B5EF4-FFF2-40B4-BE49-F238E27FC236}">
                              <a16:creationId xmlns:a16="http://schemas.microsoft.com/office/drawing/2014/main" id="{5FFFC0CA-F60D-4170-8F3A-B70E204FF5F2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74393" y="4011942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53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395" name="Freeform: Shape 394">
                          <a:extLst>
                            <a:ext uri="{FF2B5EF4-FFF2-40B4-BE49-F238E27FC236}">
                              <a16:creationId xmlns:a16="http://schemas.microsoft.com/office/drawing/2014/main" id="{2852A161-03BA-4AD5-98C7-BA60061B9F3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83070" y="4011942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53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396" name="Freeform: Shape 395">
                          <a:extLst>
                            <a:ext uri="{FF2B5EF4-FFF2-40B4-BE49-F238E27FC236}">
                              <a16:creationId xmlns:a16="http://schemas.microsoft.com/office/drawing/2014/main" id="{B48E910B-47F7-4295-A57A-13B9C977A14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48340" y="4011942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53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397" name="Freeform: Shape 396">
                          <a:extLst>
                            <a:ext uri="{FF2B5EF4-FFF2-40B4-BE49-F238E27FC236}">
                              <a16:creationId xmlns:a16="http://schemas.microsoft.com/office/drawing/2014/main" id="{9ECBF6FC-7200-4473-B05F-8965C08DFC3C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57017" y="4011942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53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398" name="Freeform: Shape 397">
                          <a:extLst>
                            <a:ext uri="{FF2B5EF4-FFF2-40B4-BE49-F238E27FC236}">
                              <a16:creationId xmlns:a16="http://schemas.microsoft.com/office/drawing/2014/main" id="{F48F7F71-B8A9-4203-BF62-E5BC6EEB7042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65716" y="4011942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48" y="16353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399" name="Freeform: Shape 398">
                          <a:extLst>
                            <a:ext uri="{FF2B5EF4-FFF2-40B4-BE49-F238E27FC236}">
                              <a16:creationId xmlns:a16="http://schemas.microsoft.com/office/drawing/2014/main" id="{F69AE051-2560-4B42-AD1D-1659FA038DC3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91770" y="4011942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48" y="16353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400" name="Freeform: Shape 399">
                          <a:extLst>
                            <a:ext uri="{FF2B5EF4-FFF2-40B4-BE49-F238E27FC236}">
                              <a16:creationId xmlns:a16="http://schemas.microsoft.com/office/drawing/2014/main" id="{3EF2B580-4E51-4AE1-84AA-6ECDCD971543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00446" y="4011942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53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401" name="Freeform: Shape 400">
                          <a:extLst>
                            <a:ext uri="{FF2B5EF4-FFF2-40B4-BE49-F238E27FC236}">
                              <a16:creationId xmlns:a16="http://schemas.microsoft.com/office/drawing/2014/main" id="{C673D122-08C7-4A96-B87F-412B0C512F39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09123" y="4011942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53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402" name="Freeform: Shape 401">
                          <a:extLst>
                            <a:ext uri="{FF2B5EF4-FFF2-40B4-BE49-F238E27FC236}">
                              <a16:creationId xmlns:a16="http://schemas.microsoft.com/office/drawing/2014/main" id="{CE786E60-F8BA-41B2-9963-AFB66BE116C0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17823" y="4011942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48" y="16353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403" name="Freeform: Shape 402">
                          <a:extLst>
                            <a:ext uri="{FF2B5EF4-FFF2-40B4-BE49-F238E27FC236}">
                              <a16:creationId xmlns:a16="http://schemas.microsoft.com/office/drawing/2014/main" id="{EB5ADB1D-A8FD-4B7D-B247-0EB689EF5131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26499" y="4011942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53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</p:grpSp>
                  <p:grpSp>
                    <p:nvGrpSpPr>
                      <p:cNvPr id="404" name="Graphic 174">
                        <a:extLst>
                          <a:ext uri="{FF2B5EF4-FFF2-40B4-BE49-F238E27FC236}">
                            <a16:creationId xmlns:a16="http://schemas.microsoft.com/office/drawing/2014/main" id="{4045A780-E4ED-4946-BB38-1D6737CA17D1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6353388" y="3992379"/>
                        <a:ext cx="181441" cy="18609"/>
                        <a:chOff x="6353388" y="3992379"/>
                        <a:chExt cx="181441" cy="18609"/>
                      </a:xfrm>
                      <a:solidFill>
                        <a:schemeClr val="accent1"/>
                      </a:solidFill>
                    </p:grpSpPr>
                    <p:sp>
                      <p:nvSpPr>
                        <p:cNvPr id="405" name="Freeform: Shape 404">
                          <a:extLst>
                            <a:ext uri="{FF2B5EF4-FFF2-40B4-BE49-F238E27FC236}">
                              <a16:creationId xmlns:a16="http://schemas.microsoft.com/office/drawing/2014/main" id="{1CCA118D-D0E2-406C-8F37-CC2E4345623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53388" y="3992379"/>
                          <a:ext cx="181441" cy="18609"/>
                        </a:xfrm>
                        <a:custGeom>
                          <a:avLst/>
                          <a:gdLst>
                            <a:gd name="connsiteX0" fmla="*/ 181441 w 181441"/>
                            <a:gd name="connsiteY0" fmla="*/ 18633 h 18609"/>
                            <a:gd name="connsiteX1" fmla="*/ 1605 w 181441"/>
                            <a:gd name="connsiteY1" fmla="*/ 18633 h 18609"/>
                            <a:gd name="connsiteX2" fmla="*/ 0 w 181441"/>
                            <a:gd name="connsiteY2" fmla="*/ 17028 h 18609"/>
                            <a:gd name="connsiteX3" fmla="*/ 0 w 181441"/>
                            <a:gd name="connsiteY3" fmla="*/ 1605 h 18609"/>
                            <a:gd name="connsiteX4" fmla="*/ 1605 w 181441"/>
                            <a:gd name="connsiteY4" fmla="*/ 0 h 18609"/>
                            <a:gd name="connsiteX5" fmla="*/ 181441 w 181441"/>
                            <a:gd name="connsiteY5" fmla="*/ 0 h 18609"/>
                            <a:gd name="connsiteX6" fmla="*/ 183046 w 181441"/>
                            <a:gd name="connsiteY6" fmla="*/ 1605 h 18609"/>
                            <a:gd name="connsiteX7" fmla="*/ 183046 w 181441"/>
                            <a:gd name="connsiteY7" fmla="*/ 17028 h 18609"/>
                            <a:gd name="connsiteX8" fmla="*/ 181441 w 181441"/>
                            <a:gd name="connsiteY8" fmla="*/ 18633 h 18609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181441" h="18609">
                              <a:moveTo>
                                <a:pt x="181441" y="18633"/>
                              </a:moveTo>
                              <a:lnTo>
                                <a:pt x="1605" y="18633"/>
                              </a:lnTo>
                              <a:cubicBezTo>
                                <a:pt x="721" y="18633"/>
                                <a:pt x="0" y="17912"/>
                                <a:pt x="0" y="17028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181441" y="0"/>
                              </a:lnTo>
                              <a:cubicBezTo>
                                <a:pt x="182325" y="0"/>
                                <a:pt x="183046" y="721"/>
                                <a:pt x="183046" y="1605"/>
                              </a:cubicBezTo>
                              <a:lnTo>
                                <a:pt x="183046" y="17028"/>
                              </a:lnTo>
                              <a:cubicBezTo>
                                <a:pt x="183046" y="17912"/>
                                <a:pt x="182325" y="18633"/>
                                <a:pt x="181441" y="18633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19439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406" name="Freeform: Shape 405">
                          <a:extLst>
                            <a:ext uri="{FF2B5EF4-FFF2-40B4-BE49-F238E27FC236}">
                              <a16:creationId xmlns:a16="http://schemas.microsoft.com/office/drawing/2014/main" id="{4BADC8DF-381F-4018-99FD-C22F8C276693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41364" y="3993170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74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407" name="Freeform: Shape 406">
                          <a:extLst>
                            <a:ext uri="{FF2B5EF4-FFF2-40B4-BE49-F238E27FC236}">
                              <a16:creationId xmlns:a16="http://schemas.microsoft.com/office/drawing/2014/main" id="{AC678193-CE4F-431E-BE8E-0399474C9C3C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50063" y="3993170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408" name="Freeform: Shape 407">
                          <a:extLst>
                            <a:ext uri="{FF2B5EF4-FFF2-40B4-BE49-F238E27FC236}">
                              <a16:creationId xmlns:a16="http://schemas.microsoft.com/office/drawing/2014/main" id="{6101DC7A-5A5F-4882-A36C-5CCCAEC84D96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58740" y="3993170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409" name="Freeform: Shape 408">
                          <a:extLst>
                            <a:ext uri="{FF2B5EF4-FFF2-40B4-BE49-F238E27FC236}">
                              <a16:creationId xmlns:a16="http://schemas.microsoft.com/office/drawing/2014/main" id="{609B5AA9-2C25-48F4-A333-B1332405F21C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67417" y="3993170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74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410" name="Freeform: Shape 409">
                          <a:extLst>
                            <a:ext uri="{FF2B5EF4-FFF2-40B4-BE49-F238E27FC236}">
                              <a16:creationId xmlns:a16="http://schemas.microsoft.com/office/drawing/2014/main" id="{F1276493-C9FF-417B-A4D8-11BCE611ABFE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76117" y="3993170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411" name="Freeform: Shape 410">
                          <a:extLst>
                            <a:ext uri="{FF2B5EF4-FFF2-40B4-BE49-F238E27FC236}">
                              <a16:creationId xmlns:a16="http://schemas.microsoft.com/office/drawing/2014/main" id="{51694A90-B0E4-41CC-B4E6-2F1F88DCF955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84793" y="3993170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412" name="Freeform: Shape 411">
                          <a:extLst>
                            <a:ext uri="{FF2B5EF4-FFF2-40B4-BE49-F238E27FC236}">
                              <a16:creationId xmlns:a16="http://schemas.microsoft.com/office/drawing/2014/main" id="{F76E0D35-E051-489D-B0E2-70452442479C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93470" y="3993170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74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413" name="Freeform: Shape 412">
                          <a:extLst>
                            <a:ext uri="{FF2B5EF4-FFF2-40B4-BE49-F238E27FC236}">
                              <a16:creationId xmlns:a16="http://schemas.microsoft.com/office/drawing/2014/main" id="{8E469BCC-994C-41ED-BEC7-7D7FDBF9A7FE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02170" y="3993170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414" name="Freeform: Shape 413">
                          <a:extLst>
                            <a:ext uri="{FF2B5EF4-FFF2-40B4-BE49-F238E27FC236}">
                              <a16:creationId xmlns:a16="http://schemas.microsoft.com/office/drawing/2014/main" id="{998523AC-541D-4231-8288-0EE93FD592CE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10846" y="3993170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415" name="Freeform: Shape 414">
                          <a:extLst>
                            <a:ext uri="{FF2B5EF4-FFF2-40B4-BE49-F238E27FC236}">
                              <a16:creationId xmlns:a16="http://schemas.microsoft.com/office/drawing/2014/main" id="{1AB25190-2C75-462B-A433-8927BCE0D554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19523" y="3993170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74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416" name="Freeform: Shape 415">
                          <a:extLst>
                            <a:ext uri="{FF2B5EF4-FFF2-40B4-BE49-F238E27FC236}">
                              <a16:creationId xmlns:a16="http://schemas.microsoft.com/office/drawing/2014/main" id="{DAB68AE1-DA54-47F9-B5D2-AB8EDC2E6718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28223" y="3993170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417" name="Freeform: Shape 416">
                          <a:extLst>
                            <a:ext uri="{FF2B5EF4-FFF2-40B4-BE49-F238E27FC236}">
                              <a16:creationId xmlns:a16="http://schemas.microsoft.com/office/drawing/2014/main" id="{7AA1930F-C96B-4233-BBF0-01F08946DE9A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71904" y="3993170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418" name="Freeform: Shape 417">
                          <a:extLst>
                            <a:ext uri="{FF2B5EF4-FFF2-40B4-BE49-F238E27FC236}">
                              <a16:creationId xmlns:a16="http://schemas.microsoft.com/office/drawing/2014/main" id="{984F5F8B-F6C0-4E0F-9290-533B50456434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80581" y="3993170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419" name="Freeform: Shape 418">
                          <a:extLst>
                            <a:ext uri="{FF2B5EF4-FFF2-40B4-BE49-F238E27FC236}">
                              <a16:creationId xmlns:a16="http://schemas.microsoft.com/office/drawing/2014/main" id="{B1170039-C610-4F1A-A184-08BA1DEB95EA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89257" y="3993170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74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420" name="Freeform: Shape 419">
                          <a:extLst>
                            <a:ext uri="{FF2B5EF4-FFF2-40B4-BE49-F238E27FC236}">
                              <a16:creationId xmlns:a16="http://schemas.microsoft.com/office/drawing/2014/main" id="{6B20A8E0-75CE-4048-AAC1-8273EB9E17D8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54528" y="3993170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421" name="Freeform: Shape 420">
                          <a:extLst>
                            <a:ext uri="{FF2B5EF4-FFF2-40B4-BE49-F238E27FC236}">
                              <a16:creationId xmlns:a16="http://schemas.microsoft.com/office/drawing/2014/main" id="{F1B7A428-126D-47E5-B14A-9015219EDE8A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63204" y="3993170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74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422" name="Freeform: Shape 421">
                          <a:extLst>
                            <a:ext uri="{FF2B5EF4-FFF2-40B4-BE49-F238E27FC236}">
                              <a16:creationId xmlns:a16="http://schemas.microsoft.com/office/drawing/2014/main" id="{0E111231-F322-4BF1-A59A-72FDDDD46F7D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71904" y="3993170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423" name="Freeform: Shape 422">
                          <a:extLst>
                            <a:ext uri="{FF2B5EF4-FFF2-40B4-BE49-F238E27FC236}">
                              <a16:creationId xmlns:a16="http://schemas.microsoft.com/office/drawing/2014/main" id="{A668DEAA-ABB8-4A57-B763-7FF383524029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97957" y="3993170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424" name="Freeform: Shape 423">
                          <a:extLst>
                            <a:ext uri="{FF2B5EF4-FFF2-40B4-BE49-F238E27FC236}">
                              <a16:creationId xmlns:a16="http://schemas.microsoft.com/office/drawing/2014/main" id="{B192C8BC-61C9-4516-906C-5A531B44C3F8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06634" y="3993170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425" name="Freeform: Shape 424">
                          <a:extLst>
                            <a:ext uri="{FF2B5EF4-FFF2-40B4-BE49-F238E27FC236}">
                              <a16:creationId xmlns:a16="http://schemas.microsoft.com/office/drawing/2014/main" id="{900B5150-9D16-4C73-8D07-3B3138C4A514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15310" y="3993170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74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426" name="Freeform: Shape 425">
                          <a:extLst>
                            <a:ext uri="{FF2B5EF4-FFF2-40B4-BE49-F238E27FC236}">
                              <a16:creationId xmlns:a16="http://schemas.microsoft.com/office/drawing/2014/main" id="{6EEA9D69-1E45-4A76-87F5-196B9176D91B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24010" y="3993170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427" name="Freeform: Shape 426">
                          <a:extLst>
                            <a:ext uri="{FF2B5EF4-FFF2-40B4-BE49-F238E27FC236}">
                              <a16:creationId xmlns:a16="http://schemas.microsoft.com/office/drawing/2014/main" id="{9C70B311-4025-45EE-94AF-7D5DCFBAB360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32687" y="3993170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</p:grpSp>
                  <p:grpSp>
                    <p:nvGrpSpPr>
                      <p:cNvPr id="428" name="Graphic 174">
                        <a:extLst>
                          <a:ext uri="{FF2B5EF4-FFF2-40B4-BE49-F238E27FC236}">
                            <a16:creationId xmlns:a16="http://schemas.microsoft.com/office/drawing/2014/main" id="{4045A780-E4ED-4946-BB38-1D6737CA17D1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6362064" y="3973746"/>
                        <a:ext cx="181441" cy="18609"/>
                        <a:chOff x="6362064" y="3973746"/>
                        <a:chExt cx="181441" cy="18609"/>
                      </a:xfrm>
                      <a:solidFill>
                        <a:schemeClr val="accent1"/>
                      </a:solidFill>
                    </p:grpSpPr>
                    <p:sp>
                      <p:nvSpPr>
                        <p:cNvPr id="429" name="Freeform: Shape 428">
                          <a:extLst>
                            <a:ext uri="{FF2B5EF4-FFF2-40B4-BE49-F238E27FC236}">
                              <a16:creationId xmlns:a16="http://schemas.microsoft.com/office/drawing/2014/main" id="{4DBBA42F-C94F-4FA4-B967-6F386C0C129C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62064" y="3973746"/>
                          <a:ext cx="181441" cy="18609"/>
                        </a:xfrm>
                        <a:custGeom>
                          <a:avLst/>
                          <a:gdLst>
                            <a:gd name="connsiteX0" fmla="*/ 181441 w 181441"/>
                            <a:gd name="connsiteY0" fmla="*/ 18633 h 18609"/>
                            <a:gd name="connsiteX1" fmla="*/ 1605 w 181441"/>
                            <a:gd name="connsiteY1" fmla="*/ 18633 h 18609"/>
                            <a:gd name="connsiteX2" fmla="*/ 0 w 181441"/>
                            <a:gd name="connsiteY2" fmla="*/ 17028 h 18609"/>
                            <a:gd name="connsiteX3" fmla="*/ 0 w 181441"/>
                            <a:gd name="connsiteY3" fmla="*/ 1605 h 18609"/>
                            <a:gd name="connsiteX4" fmla="*/ 1605 w 181441"/>
                            <a:gd name="connsiteY4" fmla="*/ 0 h 18609"/>
                            <a:gd name="connsiteX5" fmla="*/ 181441 w 181441"/>
                            <a:gd name="connsiteY5" fmla="*/ 0 h 18609"/>
                            <a:gd name="connsiteX6" fmla="*/ 183046 w 181441"/>
                            <a:gd name="connsiteY6" fmla="*/ 1605 h 18609"/>
                            <a:gd name="connsiteX7" fmla="*/ 183046 w 181441"/>
                            <a:gd name="connsiteY7" fmla="*/ 17028 h 18609"/>
                            <a:gd name="connsiteX8" fmla="*/ 181441 w 181441"/>
                            <a:gd name="connsiteY8" fmla="*/ 18633 h 18609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181441" h="18609">
                              <a:moveTo>
                                <a:pt x="181441" y="18633"/>
                              </a:moveTo>
                              <a:lnTo>
                                <a:pt x="1605" y="18633"/>
                              </a:lnTo>
                              <a:cubicBezTo>
                                <a:pt x="721" y="18633"/>
                                <a:pt x="0" y="17911"/>
                                <a:pt x="0" y="17028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181441" y="0"/>
                              </a:lnTo>
                              <a:cubicBezTo>
                                <a:pt x="182325" y="0"/>
                                <a:pt x="183046" y="721"/>
                                <a:pt x="183046" y="1605"/>
                              </a:cubicBezTo>
                              <a:lnTo>
                                <a:pt x="183046" y="17028"/>
                              </a:lnTo>
                              <a:cubicBezTo>
                                <a:pt x="183046" y="17911"/>
                                <a:pt x="182325" y="18633"/>
                                <a:pt x="181441" y="18633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19439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430" name="Freeform: Shape 429">
                          <a:extLst>
                            <a:ext uri="{FF2B5EF4-FFF2-40B4-BE49-F238E27FC236}">
                              <a16:creationId xmlns:a16="http://schemas.microsoft.com/office/drawing/2014/main" id="{415290E2-8456-4297-9B03-226CD8E85404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50063" y="3974537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431" name="Freeform: Shape 430">
                          <a:extLst>
                            <a:ext uri="{FF2B5EF4-FFF2-40B4-BE49-F238E27FC236}">
                              <a16:creationId xmlns:a16="http://schemas.microsoft.com/office/drawing/2014/main" id="{E9349A78-DEC3-4290-9A70-D372C6ADA38A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58740" y="3974537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432" name="Freeform: Shape 431">
                          <a:extLst>
                            <a:ext uri="{FF2B5EF4-FFF2-40B4-BE49-F238E27FC236}">
                              <a16:creationId xmlns:a16="http://schemas.microsoft.com/office/drawing/2014/main" id="{7B3835D9-AA34-49E1-A102-C156CE66CD60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67417" y="3974537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74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433" name="Freeform: Shape 432">
                          <a:extLst>
                            <a:ext uri="{FF2B5EF4-FFF2-40B4-BE49-F238E27FC236}">
                              <a16:creationId xmlns:a16="http://schemas.microsoft.com/office/drawing/2014/main" id="{F0C3D6FC-DAAD-4753-A40C-FF1D7C744596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76117" y="3974537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434" name="Freeform: Shape 433">
                          <a:extLst>
                            <a:ext uri="{FF2B5EF4-FFF2-40B4-BE49-F238E27FC236}">
                              <a16:creationId xmlns:a16="http://schemas.microsoft.com/office/drawing/2014/main" id="{A212168A-A6FD-449A-A3B2-ECC81EAE7F9D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84793" y="3974537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435" name="Freeform: Shape 434">
                          <a:extLst>
                            <a:ext uri="{FF2B5EF4-FFF2-40B4-BE49-F238E27FC236}">
                              <a16:creationId xmlns:a16="http://schemas.microsoft.com/office/drawing/2014/main" id="{BDB7E5F3-AE78-4EE8-BD92-5966A6B39F4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93470" y="3974537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74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436" name="Freeform: Shape 435">
                          <a:extLst>
                            <a:ext uri="{FF2B5EF4-FFF2-40B4-BE49-F238E27FC236}">
                              <a16:creationId xmlns:a16="http://schemas.microsoft.com/office/drawing/2014/main" id="{BB1E896E-96F1-4238-89AE-2E9A4ACE7C3B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02170" y="3974537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437" name="Freeform: Shape 436">
                          <a:extLst>
                            <a:ext uri="{FF2B5EF4-FFF2-40B4-BE49-F238E27FC236}">
                              <a16:creationId xmlns:a16="http://schemas.microsoft.com/office/drawing/2014/main" id="{78A280CF-298D-4271-8534-6CA920A60B34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10846" y="3974537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438" name="Freeform: Shape 437">
                          <a:extLst>
                            <a:ext uri="{FF2B5EF4-FFF2-40B4-BE49-F238E27FC236}">
                              <a16:creationId xmlns:a16="http://schemas.microsoft.com/office/drawing/2014/main" id="{46476DDB-4A45-4A58-885A-6D09AACBA6F1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19523" y="3974537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74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439" name="Freeform: Shape 438">
                          <a:extLst>
                            <a:ext uri="{FF2B5EF4-FFF2-40B4-BE49-F238E27FC236}">
                              <a16:creationId xmlns:a16="http://schemas.microsoft.com/office/drawing/2014/main" id="{612FEA9A-1304-462C-936F-AFB4E0748FD6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28223" y="3974537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440" name="Freeform: Shape 439">
                          <a:extLst>
                            <a:ext uri="{FF2B5EF4-FFF2-40B4-BE49-F238E27FC236}">
                              <a16:creationId xmlns:a16="http://schemas.microsoft.com/office/drawing/2014/main" id="{82517E5B-E9BE-46CD-A42E-F6492BACD736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36899" y="3974537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441" name="Freeform: Shape 440">
                          <a:extLst>
                            <a:ext uri="{FF2B5EF4-FFF2-40B4-BE49-F238E27FC236}">
                              <a16:creationId xmlns:a16="http://schemas.microsoft.com/office/drawing/2014/main" id="{CDA3B821-CA5A-4E58-BAB3-74F23FF624FC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80581" y="3974537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442" name="Freeform: Shape 441">
                          <a:extLst>
                            <a:ext uri="{FF2B5EF4-FFF2-40B4-BE49-F238E27FC236}">
                              <a16:creationId xmlns:a16="http://schemas.microsoft.com/office/drawing/2014/main" id="{1A822304-DA6A-451F-B4D3-44D5D823977E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89257" y="3974537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74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443" name="Freeform: Shape 442">
                          <a:extLst>
                            <a:ext uri="{FF2B5EF4-FFF2-40B4-BE49-F238E27FC236}">
                              <a16:creationId xmlns:a16="http://schemas.microsoft.com/office/drawing/2014/main" id="{6B80CEB9-1619-4DB4-B70C-E4711CC72917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97957" y="3974537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444" name="Freeform: Shape 443">
                          <a:extLst>
                            <a:ext uri="{FF2B5EF4-FFF2-40B4-BE49-F238E27FC236}">
                              <a16:creationId xmlns:a16="http://schemas.microsoft.com/office/drawing/2014/main" id="{D45CC264-FEC9-47BD-AE27-892FC190E762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63204" y="3974537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74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445" name="Freeform: Shape 444">
                          <a:extLst>
                            <a:ext uri="{FF2B5EF4-FFF2-40B4-BE49-F238E27FC236}">
                              <a16:creationId xmlns:a16="http://schemas.microsoft.com/office/drawing/2014/main" id="{276E7C36-CDCF-407D-984E-308B560D5736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71904" y="3974537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446" name="Freeform: Shape 445">
                          <a:extLst>
                            <a:ext uri="{FF2B5EF4-FFF2-40B4-BE49-F238E27FC236}">
                              <a16:creationId xmlns:a16="http://schemas.microsoft.com/office/drawing/2014/main" id="{DB0E1EB9-058F-4AC3-8345-0E1177E51A6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80581" y="3974537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447" name="Freeform: Shape 446">
                          <a:extLst>
                            <a:ext uri="{FF2B5EF4-FFF2-40B4-BE49-F238E27FC236}">
                              <a16:creationId xmlns:a16="http://schemas.microsoft.com/office/drawing/2014/main" id="{6E9C2B43-EDFF-41F6-8C7F-EE3F24122AB2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06634" y="3974537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448" name="Freeform: Shape 447">
                          <a:extLst>
                            <a:ext uri="{FF2B5EF4-FFF2-40B4-BE49-F238E27FC236}">
                              <a16:creationId xmlns:a16="http://schemas.microsoft.com/office/drawing/2014/main" id="{0E0FEC28-2B14-420D-ACA1-A092CF88DCAA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15310" y="3974537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74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449" name="Freeform: Shape 448">
                          <a:extLst>
                            <a:ext uri="{FF2B5EF4-FFF2-40B4-BE49-F238E27FC236}">
                              <a16:creationId xmlns:a16="http://schemas.microsoft.com/office/drawing/2014/main" id="{53F60802-F944-4DB0-B0BA-760584ED5401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24010" y="3974537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450" name="Freeform: Shape 449">
                          <a:extLst>
                            <a:ext uri="{FF2B5EF4-FFF2-40B4-BE49-F238E27FC236}">
                              <a16:creationId xmlns:a16="http://schemas.microsoft.com/office/drawing/2014/main" id="{F94FDCCB-8DB6-44AC-961F-DBC7ED2FE395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32687" y="3974537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451" name="Freeform: Shape 450">
                          <a:extLst>
                            <a:ext uri="{FF2B5EF4-FFF2-40B4-BE49-F238E27FC236}">
                              <a16:creationId xmlns:a16="http://schemas.microsoft.com/office/drawing/2014/main" id="{56E77426-5566-4F61-ADBC-8E9627532114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41364" y="3974537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74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</p:grpSp>
                </p:grpSp>
                <p:grpSp>
                  <p:nvGrpSpPr>
                    <p:cNvPr id="452" name="Graphic 174">
                      <a:extLst>
                        <a:ext uri="{FF2B5EF4-FFF2-40B4-BE49-F238E27FC236}">
                          <a16:creationId xmlns:a16="http://schemas.microsoft.com/office/drawing/2014/main" id="{4045A780-E4ED-4946-BB38-1D6737CA17D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6367624" y="3768648"/>
                      <a:ext cx="196305" cy="205075"/>
                      <a:chOff x="6367624" y="3768648"/>
                      <a:chExt cx="196305" cy="205075"/>
                    </a:xfrm>
                    <a:solidFill>
                      <a:schemeClr val="accent1"/>
                    </a:solidFill>
                  </p:grpSpPr>
                  <p:grpSp>
                    <p:nvGrpSpPr>
                      <p:cNvPr id="453" name="Graphic 174">
                        <a:extLst>
                          <a:ext uri="{FF2B5EF4-FFF2-40B4-BE49-F238E27FC236}">
                            <a16:creationId xmlns:a16="http://schemas.microsoft.com/office/drawing/2014/main" id="{4045A780-E4ED-4946-BB38-1D6737CA17D1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6371160" y="3955114"/>
                        <a:ext cx="181441" cy="18609"/>
                        <a:chOff x="6371160" y="3955114"/>
                        <a:chExt cx="181441" cy="18609"/>
                      </a:xfrm>
                      <a:solidFill>
                        <a:schemeClr val="accent1"/>
                      </a:solidFill>
                    </p:grpSpPr>
                    <p:sp>
                      <p:nvSpPr>
                        <p:cNvPr id="454" name="Freeform: Shape 453">
                          <a:extLst>
                            <a:ext uri="{FF2B5EF4-FFF2-40B4-BE49-F238E27FC236}">
                              <a16:creationId xmlns:a16="http://schemas.microsoft.com/office/drawing/2014/main" id="{24E846E6-C998-4913-BBC0-8F2472D22A00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71160" y="3955114"/>
                          <a:ext cx="181441" cy="18609"/>
                        </a:xfrm>
                        <a:custGeom>
                          <a:avLst/>
                          <a:gdLst>
                            <a:gd name="connsiteX0" fmla="*/ 181441 w 181441"/>
                            <a:gd name="connsiteY0" fmla="*/ 18633 h 18609"/>
                            <a:gd name="connsiteX1" fmla="*/ 1605 w 181441"/>
                            <a:gd name="connsiteY1" fmla="*/ 18633 h 18609"/>
                            <a:gd name="connsiteX2" fmla="*/ 0 w 181441"/>
                            <a:gd name="connsiteY2" fmla="*/ 17028 h 18609"/>
                            <a:gd name="connsiteX3" fmla="*/ 0 w 181441"/>
                            <a:gd name="connsiteY3" fmla="*/ 1605 h 18609"/>
                            <a:gd name="connsiteX4" fmla="*/ 1605 w 181441"/>
                            <a:gd name="connsiteY4" fmla="*/ 0 h 18609"/>
                            <a:gd name="connsiteX5" fmla="*/ 181441 w 181441"/>
                            <a:gd name="connsiteY5" fmla="*/ 0 h 18609"/>
                            <a:gd name="connsiteX6" fmla="*/ 183046 w 181441"/>
                            <a:gd name="connsiteY6" fmla="*/ 1605 h 18609"/>
                            <a:gd name="connsiteX7" fmla="*/ 183046 w 181441"/>
                            <a:gd name="connsiteY7" fmla="*/ 17028 h 18609"/>
                            <a:gd name="connsiteX8" fmla="*/ 181441 w 181441"/>
                            <a:gd name="connsiteY8" fmla="*/ 18633 h 18609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181441" h="18609">
                              <a:moveTo>
                                <a:pt x="181441" y="18633"/>
                              </a:moveTo>
                              <a:lnTo>
                                <a:pt x="1605" y="18633"/>
                              </a:lnTo>
                              <a:cubicBezTo>
                                <a:pt x="721" y="18633"/>
                                <a:pt x="0" y="17912"/>
                                <a:pt x="0" y="17028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181441" y="0"/>
                              </a:lnTo>
                              <a:cubicBezTo>
                                <a:pt x="182325" y="0"/>
                                <a:pt x="183046" y="721"/>
                                <a:pt x="183046" y="1605"/>
                              </a:cubicBezTo>
                              <a:lnTo>
                                <a:pt x="183046" y="17028"/>
                              </a:lnTo>
                              <a:cubicBezTo>
                                <a:pt x="183023" y="17912"/>
                                <a:pt x="182325" y="18633"/>
                                <a:pt x="181441" y="18633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19439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455" name="Freeform: Shape 454">
                          <a:extLst>
                            <a:ext uri="{FF2B5EF4-FFF2-40B4-BE49-F238E27FC236}">
                              <a16:creationId xmlns:a16="http://schemas.microsoft.com/office/drawing/2014/main" id="{935D875F-E59F-4CE8-8569-C2A8554BE4B6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59135" y="3955904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456" name="Freeform: Shape 455">
                          <a:extLst>
                            <a:ext uri="{FF2B5EF4-FFF2-40B4-BE49-F238E27FC236}">
                              <a16:creationId xmlns:a16="http://schemas.microsoft.com/office/drawing/2014/main" id="{141CF6A1-715D-4427-8489-3AAD35D49F70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67812" y="3955904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457" name="Freeform: Shape 456">
                          <a:extLst>
                            <a:ext uri="{FF2B5EF4-FFF2-40B4-BE49-F238E27FC236}">
                              <a16:creationId xmlns:a16="http://schemas.microsoft.com/office/drawing/2014/main" id="{F2211DE1-F665-446D-BD5D-FAB6FB17B029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76512" y="3955904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458" name="Freeform: Shape 457">
                          <a:extLst>
                            <a:ext uri="{FF2B5EF4-FFF2-40B4-BE49-F238E27FC236}">
                              <a16:creationId xmlns:a16="http://schemas.microsoft.com/office/drawing/2014/main" id="{A4D38A1B-78AF-4665-B7D3-AB4E2D79C26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85189" y="3955904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459" name="Freeform: Shape 458">
                          <a:extLst>
                            <a:ext uri="{FF2B5EF4-FFF2-40B4-BE49-F238E27FC236}">
                              <a16:creationId xmlns:a16="http://schemas.microsoft.com/office/drawing/2014/main" id="{CB87A866-EA66-4CAF-B228-AE626079FFBC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93865" y="3955904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460" name="Freeform: Shape 459">
                          <a:extLst>
                            <a:ext uri="{FF2B5EF4-FFF2-40B4-BE49-F238E27FC236}">
                              <a16:creationId xmlns:a16="http://schemas.microsoft.com/office/drawing/2014/main" id="{06BDCADF-3E9E-4BA2-BAB3-8B7CD5DD09B0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02565" y="3955904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461" name="Freeform: Shape 460">
                          <a:extLst>
                            <a:ext uri="{FF2B5EF4-FFF2-40B4-BE49-F238E27FC236}">
                              <a16:creationId xmlns:a16="http://schemas.microsoft.com/office/drawing/2014/main" id="{78DBD16F-6665-443E-87BD-1B30249022C6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11242" y="3955904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462" name="Freeform: Shape 461">
                          <a:extLst>
                            <a:ext uri="{FF2B5EF4-FFF2-40B4-BE49-F238E27FC236}">
                              <a16:creationId xmlns:a16="http://schemas.microsoft.com/office/drawing/2014/main" id="{8DE0F160-118A-478F-9079-0936F87274F2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19918" y="3955904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463" name="Freeform: Shape 462">
                          <a:extLst>
                            <a:ext uri="{FF2B5EF4-FFF2-40B4-BE49-F238E27FC236}">
                              <a16:creationId xmlns:a16="http://schemas.microsoft.com/office/drawing/2014/main" id="{37511E47-8AA9-468B-8677-DF5C0006A9AB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28618" y="3955904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464" name="Freeform: Shape 463">
                          <a:extLst>
                            <a:ext uri="{FF2B5EF4-FFF2-40B4-BE49-F238E27FC236}">
                              <a16:creationId xmlns:a16="http://schemas.microsoft.com/office/drawing/2014/main" id="{85B831D0-3736-4A19-8055-EF0EA83CD553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37295" y="3955904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465" name="Freeform: Shape 464">
                          <a:extLst>
                            <a:ext uri="{FF2B5EF4-FFF2-40B4-BE49-F238E27FC236}">
                              <a16:creationId xmlns:a16="http://schemas.microsoft.com/office/drawing/2014/main" id="{876E2637-40CA-4DA0-8D94-871FE0737F92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45971" y="3955904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466" name="Freeform: Shape 465">
                          <a:extLst>
                            <a:ext uri="{FF2B5EF4-FFF2-40B4-BE49-F238E27FC236}">
                              <a16:creationId xmlns:a16="http://schemas.microsoft.com/office/drawing/2014/main" id="{731AB0B8-7347-4600-91EC-CED6FEAECFF6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89653" y="3955904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467" name="Freeform: Shape 466">
                          <a:extLst>
                            <a:ext uri="{FF2B5EF4-FFF2-40B4-BE49-F238E27FC236}">
                              <a16:creationId xmlns:a16="http://schemas.microsoft.com/office/drawing/2014/main" id="{5806A798-3F64-4B36-A02B-70858E58A05E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98353" y="3955904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468" name="Freeform: Shape 467">
                          <a:extLst>
                            <a:ext uri="{FF2B5EF4-FFF2-40B4-BE49-F238E27FC236}">
                              <a16:creationId xmlns:a16="http://schemas.microsoft.com/office/drawing/2014/main" id="{8E5FE56B-E44A-47E3-B563-167BD0261B1B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07029" y="3955904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469" name="Freeform: Shape 468">
                          <a:extLst>
                            <a:ext uri="{FF2B5EF4-FFF2-40B4-BE49-F238E27FC236}">
                              <a16:creationId xmlns:a16="http://schemas.microsoft.com/office/drawing/2014/main" id="{829B3B2C-CBC1-4406-89C5-579ECF0BCFD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72300" y="3955904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470" name="Freeform: Shape 469">
                          <a:extLst>
                            <a:ext uri="{FF2B5EF4-FFF2-40B4-BE49-F238E27FC236}">
                              <a16:creationId xmlns:a16="http://schemas.microsoft.com/office/drawing/2014/main" id="{D9847696-99A9-42A8-951C-6306BBF21DB4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80976" y="3955904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471" name="Freeform: Shape 470">
                          <a:extLst>
                            <a:ext uri="{FF2B5EF4-FFF2-40B4-BE49-F238E27FC236}">
                              <a16:creationId xmlns:a16="http://schemas.microsoft.com/office/drawing/2014/main" id="{4410FC52-E6A1-4E34-92E5-58CC21D89E84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89653" y="3955904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472" name="Freeform: Shape 471">
                          <a:extLst>
                            <a:ext uri="{FF2B5EF4-FFF2-40B4-BE49-F238E27FC236}">
                              <a16:creationId xmlns:a16="http://schemas.microsoft.com/office/drawing/2014/main" id="{49E1D536-3DCB-4592-9AD1-DDA5A3A9B9F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15706" y="3955904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473" name="Freeform: Shape 472">
                          <a:extLst>
                            <a:ext uri="{FF2B5EF4-FFF2-40B4-BE49-F238E27FC236}">
                              <a16:creationId xmlns:a16="http://schemas.microsoft.com/office/drawing/2014/main" id="{FE0051B1-1B24-421A-A7F0-6C5F42211F00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24406" y="3955904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474" name="Freeform: Shape 473">
                          <a:extLst>
                            <a:ext uri="{FF2B5EF4-FFF2-40B4-BE49-F238E27FC236}">
                              <a16:creationId xmlns:a16="http://schemas.microsoft.com/office/drawing/2014/main" id="{89D5ED8B-1316-4455-8758-EBDC5996D425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33082" y="3955904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475" name="Freeform: Shape 474">
                          <a:extLst>
                            <a:ext uri="{FF2B5EF4-FFF2-40B4-BE49-F238E27FC236}">
                              <a16:creationId xmlns:a16="http://schemas.microsoft.com/office/drawing/2014/main" id="{19CBEF28-213B-47E0-A7E6-5AC4CE0A358E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41759" y="3955904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476" name="Freeform: Shape 475">
                          <a:extLst>
                            <a:ext uri="{FF2B5EF4-FFF2-40B4-BE49-F238E27FC236}">
                              <a16:creationId xmlns:a16="http://schemas.microsoft.com/office/drawing/2014/main" id="{D94B2E35-FD1F-4EB0-B7AC-5D644814ACD7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50459" y="3955904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</p:grpSp>
                  <p:grpSp>
                    <p:nvGrpSpPr>
                      <p:cNvPr id="477" name="Graphic 174">
                        <a:extLst>
                          <a:ext uri="{FF2B5EF4-FFF2-40B4-BE49-F238E27FC236}">
                            <a16:creationId xmlns:a16="http://schemas.microsoft.com/office/drawing/2014/main" id="{4045A780-E4ED-4946-BB38-1D6737CA17D1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6376301" y="3936481"/>
                        <a:ext cx="181441" cy="18609"/>
                        <a:chOff x="6376301" y="3936481"/>
                        <a:chExt cx="181441" cy="18609"/>
                      </a:xfrm>
                      <a:solidFill>
                        <a:schemeClr val="accent1"/>
                      </a:solidFill>
                    </p:grpSpPr>
                    <p:sp>
                      <p:nvSpPr>
                        <p:cNvPr id="478" name="Freeform: Shape 477">
                          <a:extLst>
                            <a:ext uri="{FF2B5EF4-FFF2-40B4-BE49-F238E27FC236}">
                              <a16:creationId xmlns:a16="http://schemas.microsoft.com/office/drawing/2014/main" id="{39237A10-9F22-49E4-8D21-145C22A09AB9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76301" y="3936481"/>
                          <a:ext cx="181441" cy="18609"/>
                        </a:xfrm>
                        <a:custGeom>
                          <a:avLst/>
                          <a:gdLst>
                            <a:gd name="connsiteX0" fmla="*/ 181441 w 181441"/>
                            <a:gd name="connsiteY0" fmla="*/ 18633 h 18609"/>
                            <a:gd name="connsiteX1" fmla="*/ 1605 w 181441"/>
                            <a:gd name="connsiteY1" fmla="*/ 18633 h 18609"/>
                            <a:gd name="connsiteX2" fmla="*/ 0 w 181441"/>
                            <a:gd name="connsiteY2" fmla="*/ 17028 h 18609"/>
                            <a:gd name="connsiteX3" fmla="*/ 0 w 181441"/>
                            <a:gd name="connsiteY3" fmla="*/ 1605 h 18609"/>
                            <a:gd name="connsiteX4" fmla="*/ 1605 w 181441"/>
                            <a:gd name="connsiteY4" fmla="*/ 0 h 18609"/>
                            <a:gd name="connsiteX5" fmla="*/ 181441 w 181441"/>
                            <a:gd name="connsiteY5" fmla="*/ 0 h 18609"/>
                            <a:gd name="connsiteX6" fmla="*/ 183046 w 181441"/>
                            <a:gd name="connsiteY6" fmla="*/ 1605 h 18609"/>
                            <a:gd name="connsiteX7" fmla="*/ 183046 w 181441"/>
                            <a:gd name="connsiteY7" fmla="*/ 17028 h 18609"/>
                            <a:gd name="connsiteX8" fmla="*/ 181441 w 181441"/>
                            <a:gd name="connsiteY8" fmla="*/ 18633 h 18609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181441" h="18609">
                              <a:moveTo>
                                <a:pt x="181441" y="18633"/>
                              </a:moveTo>
                              <a:lnTo>
                                <a:pt x="1605" y="18633"/>
                              </a:lnTo>
                              <a:cubicBezTo>
                                <a:pt x="721" y="18633"/>
                                <a:pt x="0" y="17912"/>
                                <a:pt x="0" y="17028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181441" y="0"/>
                              </a:lnTo>
                              <a:cubicBezTo>
                                <a:pt x="182325" y="0"/>
                                <a:pt x="183046" y="721"/>
                                <a:pt x="183046" y="1605"/>
                              </a:cubicBezTo>
                              <a:lnTo>
                                <a:pt x="183046" y="17028"/>
                              </a:lnTo>
                              <a:cubicBezTo>
                                <a:pt x="183046" y="17912"/>
                                <a:pt x="182325" y="18633"/>
                                <a:pt x="181441" y="18633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19439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479" name="Freeform: Shape 478">
                          <a:extLst>
                            <a:ext uri="{FF2B5EF4-FFF2-40B4-BE49-F238E27FC236}">
                              <a16:creationId xmlns:a16="http://schemas.microsoft.com/office/drawing/2014/main" id="{0FEF7853-AB35-4E4B-83DF-A540B8D58B51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64300" y="3937272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48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480" name="Freeform: Shape 479">
                          <a:extLst>
                            <a:ext uri="{FF2B5EF4-FFF2-40B4-BE49-F238E27FC236}">
                              <a16:creationId xmlns:a16="http://schemas.microsoft.com/office/drawing/2014/main" id="{618069E5-D985-4071-B146-DF50DC3CF20A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72976" y="3937272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481" name="Freeform: Shape 480">
                          <a:extLst>
                            <a:ext uri="{FF2B5EF4-FFF2-40B4-BE49-F238E27FC236}">
                              <a16:creationId xmlns:a16="http://schemas.microsoft.com/office/drawing/2014/main" id="{48B220EA-EB40-47F2-8A3F-EBEE58628C77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81653" y="3937272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482" name="Freeform: Shape 481">
                          <a:extLst>
                            <a:ext uri="{FF2B5EF4-FFF2-40B4-BE49-F238E27FC236}">
                              <a16:creationId xmlns:a16="http://schemas.microsoft.com/office/drawing/2014/main" id="{3428294F-DFF6-43EB-86AA-73A350A2C33C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90353" y="3937272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48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483" name="Freeform: Shape 482">
                          <a:extLst>
                            <a:ext uri="{FF2B5EF4-FFF2-40B4-BE49-F238E27FC236}">
                              <a16:creationId xmlns:a16="http://schemas.microsoft.com/office/drawing/2014/main" id="{26C82530-9EB9-4755-A839-ECCA3C79A910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99029" y="3937272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484" name="Freeform: Shape 483">
                          <a:extLst>
                            <a:ext uri="{FF2B5EF4-FFF2-40B4-BE49-F238E27FC236}">
                              <a16:creationId xmlns:a16="http://schemas.microsoft.com/office/drawing/2014/main" id="{E2A71865-4079-4BB8-A7AF-B5F58771CA5D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07706" y="3937272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485" name="Freeform: Shape 484">
                          <a:extLst>
                            <a:ext uri="{FF2B5EF4-FFF2-40B4-BE49-F238E27FC236}">
                              <a16:creationId xmlns:a16="http://schemas.microsoft.com/office/drawing/2014/main" id="{7FD871D6-2052-4F70-9821-2585F671DE3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16383" y="3937272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74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486" name="Freeform: Shape 485">
                          <a:extLst>
                            <a:ext uri="{FF2B5EF4-FFF2-40B4-BE49-F238E27FC236}">
                              <a16:creationId xmlns:a16="http://schemas.microsoft.com/office/drawing/2014/main" id="{9710617E-13BA-465B-9301-5275849826B5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25082" y="3937272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487" name="Freeform: Shape 486">
                          <a:extLst>
                            <a:ext uri="{FF2B5EF4-FFF2-40B4-BE49-F238E27FC236}">
                              <a16:creationId xmlns:a16="http://schemas.microsoft.com/office/drawing/2014/main" id="{E224B756-4B92-4617-ADF6-6AF7F04E6C7C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33759" y="3937272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488" name="Freeform: Shape 487">
                          <a:extLst>
                            <a:ext uri="{FF2B5EF4-FFF2-40B4-BE49-F238E27FC236}">
                              <a16:creationId xmlns:a16="http://schemas.microsoft.com/office/drawing/2014/main" id="{1C7ADDDF-F9A2-425B-ADE5-70111606A689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42436" y="3937272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74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489" name="Freeform: Shape 488">
                          <a:extLst>
                            <a:ext uri="{FF2B5EF4-FFF2-40B4-BE49-F238E27FC236}">
                              <a16:creationId xmlns:a16="http://schemas.microsoft.com/office/drawing/2014/main" id="{1EE011C6-87A8-4AD8-A54C-C043CE4E4AF1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51136" y="3937272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490" name="Freeform: Shape 489">
                          <a:extLst>
                            <a:ext uri="{FF2B5EF4-FFF2-40B4-BE49-F238E27FC236}">
                              <a16:creationId xmlns:a16="http://schemas.microsoft.com/office/drawing/2014/main" id="{1A3643E2-0C3D-4850-9269-AD4EF4EFA0D1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94817" y="3937272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491" name="Freeform: Shape 490">
                          <a:extLst>
                            <a:ext uri="{FF2B5EF4-FFF2-40B4-BE49-F238E27FC236}">
                              <a16:creationId xmlns:a16="http://schemas.microsoft.com/office/drawing/2014/main" id="{4C5DD6E1-BB43-4FE3-8B00-11BC529D1346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03494" y="3937272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492" name="Freeform: Shape 491">
                          <a:extLst>
                            <a:ext uri="{FF2B5EF4-FFF2-40B4-BE49-F238E27FC236}">
                              <a16:creationId xmlns:a16="http://schemas.microsoft.com/office/drawing/2014/main" id="{385040E9-E57D-480C-A403-21E679D0C24E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12193" y="3937272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48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493" name="Freeform: Shape 492">
                          <a:extLst>
                            <a:ext uri="{FF2B5EF4-FFF2-40B4-BE49-F238E27FC236}">
                              <a16:creationId xmlns:a16="http://schemas.microsoft.com/office/drawing/2014/main" id="{B50E38DB-F11F-41CF-9961-0626887A3A5E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77440" y="3937272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494" name="Freeform: Shape 493">
                          <a:extLst>
                            <a:ext uri="{FF2B5EF4-FFF2-40B4-BE49-F238E27FC236}">
                              <a16:creationId xmlns:a16="http://schemas.microsoft.com/office/drawing/2014/main" id="{5CAC75DE-E0FC-4B73-AD95-A85E8C6BC630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86140" y="3937272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48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495" name="Freeform: Shape 494">
                          <a:extLst>
                            <a:ext uri="{FF2B5EF4-FFF2-40B4-BE49-F238E27FC236}">
                              <a16:creationId xmlns:a16="http://schemas.microsoft.com/office/drawing/2014/main" id="{424EEBBE-564B-49CA-BE15-D3524F17E163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94817" y="3937272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496" name="Freeform: Shape 495">
                          <a:extLst>
                            <a:ext uri="{FF2B5EF4-FFF2-40B4-BE49-F238E27FC236}">
                              <a16:creationId xmlns:a16="http://schemas.microsoft.com/office/drawing/2014/main" id="{A5BE749A-73DF-4E1E-B73D-9C5484EDC02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20870" y="3937272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497" name="Freeform: Shape 496">
                          <a:extLst>
                            <a:ext uri="{FF2B5EF4-FFF2-40B4-BE49-F238E27FC236}">
                              <a16:creationId xmlns:a16="http://schemas.microsoft.com/office/drawing/2014/main" id="{60078525-E152-43D3-9B65-8EB89FFC3025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29547" y="3937272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498" name="Freeform: Shape 497">
                          <a:extLst>
                            <a:ext uri="{FF2B5EF4-FFF2-40B4-BE49-F238E27FC236}">
                              <a16:creationId xmlns:a16="http://schemas.microsoft.com/office/drawing/2014/main" id="{9626731F-226D-4247-973C-D1CCDB8DC3E6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38246" y="3937272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48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499" name="Freeform: Shape 498">
                          <a:extLst>
                            <a:ext uri="{FF2B5EF4-FFF2-40B4-BE49-F238E27FC236}">
                              <a16:creationId xmlns:a16="http://schemas.microsoft.com/office/drawing/2014/main" id="{48AC1683-1BC6-49A6-9528-A78BD507741A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46923" y="3937272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500" name="Freeform: Shape 499">
                          <a:extLst>
                            <a:ext uri="{FF2B5EF4-FFF2-40B4-BE49-F238E27FC236}">
                              <a16:creationId xmlns:a16="http://schemas.microsoft.com/office/drawing/2014/main" id="{DDB46490-DB67-4753-A56F-EAFEE2E335DA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55600" y="3937272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</p:grpSp>
                  <p:grpSp>
                    <p:nvGrpSpPr>
                      <p:cNvPr id="501" name="Graphic 174">
                        <a:extLst>
                          <a:ext uri="{FF2B5EF4-FFF2-40B4-BE49-F238E27FC236}">
                            <a16:creationId xmlns:a16="http://schemas.microsoft.com/office/drawing/2014/main" id="{4045A780-E4ED-4946-BB38-1D6737CA17D1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6376301" y="3899216"/>
                        <a:ext cx="181441" cy="18609"/>
                        <a:chOff x="6376301" y="3899216"/>
                        <a:chExt cx="181441" cy="18609"/>
                      </a:xfrm>
                      <a:solidFill>
                        <a:schemeClr val="accent1"/>
                      </a:solidFill>
                    </p:grpSpPr>
                    <p:sp>
                      <p:nvSpPr>
                        <p:cNvPr id="502" name="Freeform: Shape 501">
                          <a:extLst>
                            <a:ext uri="{FF2B5EF4-FFF2-40B4-BE49-F238E27FC236}">
                              <a16:creationId xmlns:a16="http://schemas.microsoft.com/office/drawing/2014/main" id="{F9B0237C-B2A9-49C8-B5CC-90770C4428D0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76301" y="3899216"/>
                          <a:ext cx="181441" cy="18609"/>
                        </a:xfrm>
                        <a:custGeom>
                          <a:avLst/>
                          <a:gdLst>
                            <a:gd name="connsiteX0" fmla="*/ 181441 w 181441"/>
                            <a:gd name="connsiteY0" fmla="*/ 18633 h 18609"/>
                            <a:gd name="connsiteX1" fmla="*/ 1605 w 181441"/>
                            <a:gd name="connsiteY1" fmla="*/ 18633 h 18609"/>
                            <a:gd name="connsiteX2" fmla="*/ 0 w 181441"/>
                            <a:gd name="connsiteY2" fmla="*/ 17028 h 18609"/>
                            <a:gd name="connsiteX3" fmla="*/ 0 w 181441"/>
                            <a:gd name="connsiteY3" fmla="*/ 1605 h 18609"/>
                            <a:gd name="connsiteX4" fmla="*/ 1605 w 181441"/>
                            <a:gd name="connsiteY4" fmla="*/ 0 h 18609"/>
                            <a:gd name="connsiteX5" fmla="*/ 181441 w 181441"/>
                            <a:gd name="connsiteY5" fmla="*/ 0 h 18609"/>
                            <a:gd name="connsiteX6" fmla="*/ 183046 w 181441"/>
                            <a:gd name="connsiteY6" fmla="*/ 1605 h 18609"/>
                            <a:gd name="connsiteX7" fmla="*/ 183046 w 181441"/>
                            <a:gd name="connsiteY7" fmla="*/ 17028 h 18609"/>
                            <a:gd name="connsiteX8" fmla="*/ 181441 w 181441"/>
                            <a:gd name="connsiteY8" fmla="*/ 18633 h 18609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181441" h="18609">
                              <a:moveTo>
                                <a:pt x="181441" y="18633"/>
                              </a:moveTo>
                              <a:lnTo>
                                <a:pt x="1605" y="18633"/>
                              </a:lnTo>
                              <a:cubicBezTo>
                                <a:pt x="721" y="18633"/>
                                <a:pt x="0" y="17911"/>
                                <a:pt x="0" y="17028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181441" y="0"/>
                              </a:lnTo>
                              <a:cubicBezTo>
                                <a:pt x="182325" y="0"/>
                                <a:pt x="183046" y="721"/>
                                <a:pt x="183046" y="1605"/>
                              </a:cubicBezTo>
                              <a:lnTo>
                                <a:pt x="183046" y="17028"/>
                              </a:lnTo>
                              <a:cubicBezTo>
                                <a:pt x="183046" y="17911"/>
                                <a:pt x="182325" y="18633"/>
                                <a:pt x="181441" y="18633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19439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503" name="Freeform: Shape 502">
                          <a:extLst>
                            <a:ext uri="{FF2B5EF4-FFF2-40B4-BE49-F238E27FC236}">
                              <a16:creationId xmlns:a16="http://schemas.microsoft.com/office/drawing/2014/main" id="{890C52AD-80A0-4DBB-9524-B15780F5B3EC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64300" y="3900007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48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504" name="Freeform: Shape 503">
                          <a:extLst>
                            <a:ext uri="{FF2B5EF4-FFF2-40B4-BE49-F238E27FC236}">
                              <a16:creationId xmlns:a16="http://schemas.microsoft.com/office/drawing/2014/main" id="{A6E7546A-4D36-4F87-848E-6D7B6616C257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72976" y="3900007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505" name="Freeform: Shape 504">
                          <a:extLst>
                            <a:ext uri="{FF2B5EF4-FFF2-40B4-BE49-F238E27FC236}">
                              <a16:creationId xmlns:a16="http://schemas.microsoft.com/office/drawing/2014/main" id="{72987D89-F24E-4AEB-9619-58541FEE7A82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81653" y="3900007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506" name="Freeform: Shape 505">
                          <a:extLst>
                            <a:ext uri="{FF2B5EF4-FFF2-40B4-BE49-F238E27FC236}">
                              <a16:creationId xmlns:a16="http://schemas.microsoft.com/office/drawing/2014/main" id="{88D06DBB-C87D-4205-8E60-8794B5C7D1D5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90353" y="3900007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48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507" name="Freeform: Shape 506">
                          <a:extLst>
                            <a:ext uri="{FF2B5EF4-FFF2-40B4-BE49-F238E27FC236}">
                              <a16:creationId xmlns:a16="http://schemas.microsoft.com/office/drawing/2014/main" id="{3D3936F2-96A6-45B0-B753-D8DF1EBE109C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99029" y="3900007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508" name="Freeform: Shape 507">
                          <a:extLst>
                            <a:ext uri="{FF2B5EF4-FFF2-40B4-BE49-F238E27FC236}">
                              <a16:creationId xmlns:a16="http://schemas.microsoft.com/office/drawing/2014/main" id="{967AB254-E9DC-435E-AFF6-90AD4D055442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07706" y="3900007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509" name="Freeform: Shape 508">
                          <a:extLst>
                            <a:ext uri="{FF2B5EF4-FFF2-40B4-BE49-F238E27FC236}">
                              <a16:creationId xmlns:a16="http://schemas.microsoft.com/office/drawing/2014/main" id="{8A54AAE4-F47B-4BAE-90F1-0E42675F0026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16383" y="3900007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74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510" name="Freeform: Shape 509">
                          <a:extLst>
                            <a:ext uri="{FF2B5EF4-FFF2-40B4-BE49-F238E27FC236}">
                              <a16:creationId xmlns:a16="http://schemas.microsoft.com/office/drawing/2014/main" id="{1D3AC0D6-DF51-4906-932E-D3A00F089A94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25082" y="3900007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511" name="Freeform: Shape 510">
                          <a:extLst>
                            <a:ext uri="{FF2B5EF4-FFF2-40B4-BE49-F238E27FC236}">
                              <a16:creationId xmlns:a16="http://schemas.microsoft.com/office/drawing/2014/main" id="{5E84E7E3-E381-49B5-9585-029D77BD345A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33759" y="3900007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512" name="Freeform: Shape 511">
                          <a:extLst>
                            <a:ext uri="{FF2B5EF4-FFF2-40B4-BE49-F238E27FC236}">
                              <a16:creationId xmlns:a16="http://schemas.microsoft.com/office/drawing/2014/main" id="{0E610686-4B5A-479C-927B-90DF6E573BAD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42436" y="3900007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74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513" name="Freeform: Shape 512">
                          <a:extLst>
                            <a:ext uri="{FF2B5EF4-FFF2-40B4-BE49-F238E27FC236}">
                              <a16:creationId xmlns:a16="http://schemas.microsoft.com/office/drawing/2014/main" id="{E2384806-E688-4490-AA7B-1A1F8840071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51136" y="3900007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514" name="Freeform: Shape 513">
                          <a:extLst>
                            <a:ext uri="{FF2B5EF4-FFF2-40B4-BE49-F238E27FC236}">
                              <a16:creationId xmlns:a16="http://schemas.microsoft.com/office/drawing/2014/main" id="{BBA76945-3AE8-4F9E-85CD-F6EB8629F4DC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94817" y="3900007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515" name="Freeform: Shape 514">
                          <a:extLst>
                            <a:ext uri="{FF2B5EF4-FFF2-40B4-BE49-F238E27FC236}">
                              <a16:creationId xmlns:a16="http://schemas.microsoft.com/office/drawing/2014/main" id="{80D296A4-2908-4847-918D-A75B0C6C024D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03494" y="3900007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516" name="Freeform: Shape 515">
                          <a:extLst>
                            <a:ext uri="{FF2B5EF4-FFF2-40B4-BE49-F238E27FC236}">
                              <a16:creationId xmlns:a16="http://schemas.microsoft.com/office/drawing/2014/main" id="{0A3E35D0-9A72-49D9-A390-48849FDF4D13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12193" y="3900007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48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517" name="Freeform: Shape 516">
                          <a:extLst>
                            <a:ext uri="{FF2B5EF4-FFF2-40B4-BE49-F238E27FC236}">
                              <a16:creationId xmlns:a16="http://schemas.microsoft.com/office/drawing/2014/main" id="{D993B5B7-3AAD-46D9-9582-DBCD44D0AF57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77440" y="3900007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518" name="Freeform: Shape 517">
                          <a:extLst>
                            <a:ext uri="{FF2B5EF4-FFF2-40B4-BE49-F238E27FC236}">
                              <a16:creationId xmlns:a16="http://schemas.microsoft.com/office/drawing/2014/main" id="{8BB4555B-0B37-41E7-ACC5-05D5DEBB6BB3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86140" y="3900007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48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519" name="Freeform: Shape 518">
                          <a:extLst>
                            <a:ext uri="{FF2B5EF4-FFF2-40B4-BE49-F238E27FC236}">
                              <a16:creationId xmlns:a16="http://schemas.microsoft.com/office/drawing/2014/main" id="{B766DD5F-9257-4FC0-8D5E-ADC61773F80D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94817" y="3900007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520" name="Freeform: Shape 519">
                          <a:extLst>
                            <a:ext uri="{FF2B5EF4-FFF2-40B4-BE49-F238E27FC236}">
                              <a16:creationId xmlns:a16="http://schemas.microsoft.com/office/drawing/2014/main" id="{ABFB9C9F-4B8A-46C8-A75A-05410197F19B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20870" y="3900007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521" name="Freeform: Shape 520">
                          <a:extLst>
                            <a:ext uri="{FF2B5EF4-FFF2-40B4-BE49-F238E27FC236}">
                              <a16:creationId xmlns:a16="http://schemas.microsoft.com/office/drawing/2014/main" id="{29770B5E-D483-47FE-86CF-1E55BA258C37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29547" y="3900007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522" name="Freeform: Shape 521">
                          <a:extLst>
                            <a:ext uri="{FF2B5EF4-FFF2-40B4-BE49-F238E27FC236}">
                              <a16:creationId xmlns:a16="http://schemas.microsoft.com/office/drawing/2014/main" id="{D324D29D-C696-4D5E-8008-EDB47AC3F81C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38246" y="3900007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48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523" name="Freeform: Shape 522">
                          <a:extLst>
                            <a:ext uri="{FF2B5EF4-FFF2-40B4-BE49-F238E27FC236}">
                              <a16:creationId xmlns:a16="http://schemas.microsoft.com/office/drawing/2014/main" id="{B3033845-C6F5-4F79-9DE4-2875FB5D3024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46923" y="3900007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524" name="Freeform: Shape 523">
                          <a:extLst>
                            <a:ext uri="{FF2B5EF4-FFF2-40B4-BE49-F238E27FC236}">
                              <a16:creationId xmlns:a16="http://schemas.microsoft.com/office/drawing/2014/main" id="{87DC82AD-E99A-4063-AF01-98D98DE43343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55600" y="3900007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</p:grpSp>
                  <p:grpSp>
                    <p:nvGrpSpPr>
                      <p:cNvPr id="525" name="Graphic 174">
                        <a:extLst>
                          <a:ext uri="{FF2B5EF4-FFF2-40B4-BE49-F238E27FC236}">
                            <a16:creationId xmlns:a16="http://schemas.microsoft.com/office/drawing/2014/main" id="{4045A780-E4ED-4946-BB38-1D6737CA17D1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6367624" y="3917848"/>
                        <a:ext cx="181441" cy="18609"/>
                        <a:chOff x="6367624" y="3917848"/>
                        <a:chExt cx="181441" cy="18609"/>
                      </a:xfrm>
                      <a:solidFill>
                        <a:schemeClr val="accent1"/>
                      </a:solidFill>
                    </p:grpSpPr>
                    <p:sp>
                      <p:nvSpPr>
                        <p:cNvPr id="526" name="Freeform: Shape 525">
                          <a:extLst>
                            <a:ext uri="{FF2B5EF4-FFF2-40B4-BE49-F238E27FC236}">
                              <a16:creationId xmlns:a16="http://schemas.microsoft.com/office/drawing/2014/main" id="{2D5986D5-9375-4701-9C27-B960CC2B090E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67624" y="3917848"/>
                          <a:ext cx="181441" cy="18609"/>
                        </a:xfrm>
                        <a:custGeom>
                          <a:avLst/>
                          <a:gdLst>
                            <a:gd name="connsiteX0" fmla="*/ 181441 w 181441"/>
                            <a:gd name="connsiteY0" fmla="*/ 18633 h 18609"/>
                            <a:gd name="connsiteX1" fmla="*/ 1605 w 181441"/>
                            <a:gd name="connsiteY1" fmla="*/ 18633 h 18609"/>
                            <a:gd name="connsiteX2" fmla="*/ 0 w 181441"/>
                            <a:gd name="connsiteY2" fmla="*/ 17028 h 18609"/>
                            <a:gd name="connsiteX3" fmla="*/ 0 w 181441"/>
                            <a:gd name="connsiteY3" fmla="*/ 1605 h 18609"/>
                            <a:gd name="connsiteX4" fmla="*/ 1605 w 181441"/>
                            <a:gd name="connsiteY4" fmla="*/ 0 h 18609"/>
                            <a:gd name="connsiteX5" fmla="*/ 181441 w 181441"/>
                            <a:gd name="connsiteY5" fmla="*/ 0 h 18609"/>
                            <a:gd name="connsiteX6" fmla="*/ 183046 w 181441"/>
                            <a:gd name="connsiteY6" fmla="*/ 1605 h 18609"/>
                            <a:gd name="connsiteX7" fmla="*/ 183046 w 181441"/>
                            <a:gd name="connsiteY7" fmla="*/ 17028 h 18609"/>
                            <a:gd name="connsiteX8" fmla="*/ 181441 w 181441"/>
                            <a:gd name="connsiteY8" fmla="*/ 18633 h 18609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181441" h="18609">
                              <a:moveTo>
                                <a:pt x="181441" y="18633"/>
                              </a:moveTo>
                              <a:lnTo>
                                <a:pt x="1605" y="18633"/>
                              </a:lnTo>
                              <a:cubicBezTo>
                                <a:pt x="721" y="18633"/>
                                <a:pt x="0" y="17911"/>
                                <a:pt x="0" y="17028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181441" y="0"/>
                              </a:lnTo>
                              <a:cubicBezTo>
                                <a:pt x="182325" y="0"/>
                                <a:pt x="183046" y="721"/>
                                <a:pt x="183046" y="1605"/>
                              </a:cubicBezTo>
                              <a:lnTo>
                                <a:pt x="183046" y="17028"/>
                              </a:lnTo>
                              <a:cubicBezTo>
                                <a:pt x="183046" y="17911"/>
                                <a:pt x="182325" y="18633"/>
                                <a:pt x="181441" y="18633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19439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527" name="Freeform: Shape 526">
                          <a:extLst>
                            <a:ext uri="{FF2B5EF4-FFF2-40B4-BE49-F238E27FC236}">
                              <a16:creationId xmlns:a16="http://schemas.microsoft.com/office/drawing/2014/main" id="{5D28EEAE-4CB1-426E-85B5-01EF6062E3A2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55600" y="3918639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528" name="Freeform: Shape 527">
                          <a:extLst>
                            <a:ext uri="{FF2B5EF4-FFF2-40B4-BE49-F238E27FC236}">
                              <a16:creationId xmlns:a16="http://schemas.microsoft.com/office/drawing/2014/main" id="{25E21B8D-F0CE-4C57-A4FC-29FD914DB491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64300" y="3918639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48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529" name="Freeform: Shape 528">
                          <a:extLst>
                            <a:ext uri="{FF2B5EF4-FFF2-40B4-BE49-F238E27FC236}">
                              <a16:creationId xmlns:a16="http://schemas.microsoft.com/office/drawing/2014/main" id="{6B601BA5-24AB-4DF7-BEF2-F16B660B1D51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72976" y="3918639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530" name="Freeform: Shape 529">
                          <a:extLst>
                            <a:ext uri="{FF2B5EF4-FFF2-40B4-BE49-F238E27FC236}">
                              <a16:creationId xmlns:a16="http://schemas.microsoft.com/office/drawing/2014/main" id="{228536B9-A62F-4953-A7EE-6D5C54FEF4D9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81653" y="3918639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531" name="Freeform: Shape 530">
                          <a:extLst>
                            <a:ext uri="{FF2B5EF4-FFF2-40B4-BE49-F238E27FC236}">
                              <a16:creationId xmlns:a16="http://schemas.microsoft.com/office/drawing/2014/main" id="{C6D5DBEB-5FE4-44F9-9D56-0930FEE105A1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90353" y="3918639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48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532" name="Freeform: Shape 531">
                          <a:extLst>
                            <a:ext uri="{FF2B5EF4-FFF2-40B4-BE49-F238E27FC236}">
                              <a16:creationId xmlns:a16="http://schemas.microsoft.com/office/drawing/2014/main" id="{0ABC1A95-8E26-40B1-B4CE-A21763E3E49D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99029" y="3918639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533" name="Freeform: Shape 532">
                          <a:extLst>
                            <a:ext uri="{FF2B5EF4-FFF2-40B4-BE49-F238E27FC236}">
                              <a16:creationId xmlns:a16="http://schemas.microsoft.com/office/drawing/2014/main" id="{9E7D01A5-49F9-4932-9557-71A815BC9E76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07706" y="3918639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534" name="Freeform: Shape 533">
                          <a:extLst>
                            <a:ext uri="{FF2B5EF4-FFF2-40B4-BE49-F238E27FC236}">
                              <a16:creationId xmlns:a16="http://schemas.microsoft.com/office/drawing/2014/main" id="{B684DA81-15ED-412B-AD1B-A6B61A34BF3C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16383" y="3918639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74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535" name="Freeform: Shape 534">
                          <a:extLst>
                            <a:ext uri="{FF2B5EF4-FFF2-40B4-BE49-F238E27FC236}">
                              <a16:creationId xmlns:a16="http://schemas.microsoft.com/office/drawing/2014/main" id="{9F47C3A5-2937-439D-B91E-E011B78CFDB4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25082" y="3918639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536" name="Freeform: Shape 535">
                          <a:extLst>
                            <a:ext uri="{FF2B5EF4-FFF2-40B4-BE49-F238E27FC236}">
                              <a16:creationId xmlns:a16="http://schemas.microsoft.com/office/drawing/2014/main" id="{2C50CDF8-6DFE-44AF-B671-7AB0091823FB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33759" y="3918639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537" name="Freeform: Shape 536">
                          <a:extLst>
                            <a:ext uri="{FF2B5EF4-FFF2-40B4-BE49-F238E27FC236}">
                              <a16:creationId xmlns:a16="http://schemas.microsoft.com/office/drawing/2014/main" id="{93EB8862-2597-4B11-898A-ED13BF58DCCE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42436" y="3918639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74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538" name="Freeform: Shape 537">
                          <a:extLst>
                            <a:ext uri="{FF2B5EF4-FFF2-40B4-BE49-F238E27FC236}">
                              <a16:creationId xmlns:a16="http://schemas.microsoft.com/office/drawing/2014/main" id="{E9F27387-F25C-41D5-933D-C1883FD7BCF4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86140" y="3918639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48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539" name="Freeform: Shape 538">
                          <a:extLst>
                            <a:ext uri="{FF2B5EF4-FFF2-40B4-BE49-F238E27FC236}">
                              <a16:creationId xmlns:a16="http://schemas.microsoft.com/office/drawing/2014/main" id="{90BF8124-736B-4B06-A0CD-A3C8A0F13406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94817" y="3918639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540" name="Freeform: Shape 539">
                          <a:extLst>
                            <a:ext uri="{FF2B5EF4-FFF2-40B4-BE49-F238E27FC236}">
                              <a16:creationId xmlns:a16="http://schemas.microsoft.com/office/drawing/2014/main" id="{CFE0E044-8128-4185-B2D1-8031043C745E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03494" y="3918639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541" name="Freeform: Shape 540">
                          <a:extLst>
                            <a:ext uri="{FF2B5EF4-FFF2-40B4-BE49-F238E27FC236}">
                              <a16:creationId xmlns:a16="http://schemas.microsoft.com/office/drawing/2014/main" id="{6ABF0234-824A-46B4-9090-D14906455872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68764" y="3918639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542" name="Freeform: Shape 541">
                          <a:extLst>
                            <a:ext uri="{FF2B5EF4-FFF2-40B4-BE49-F238E27FC236}">
                              <a16:creationId xmlns:a16="http://schemas.microsoft.com/office/drawing/2014/main" id="{AFC512EF-4FDF-4494-9AB2-746927FAA0A5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77440" y="3918639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543" name="Freeform: Shape 542">
                          <a:extLst>
                            <a:ext uri="{FF2B5EF4-FFF2-40B4-BE49-F238E27FC236}">
                              <a16:creationId xmlns:a16="http://schemas.microsoft.com/office/drawing/2014/main" id="{0DBE28FB-97D3-40A9-9A10-693F6791CBE3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86140" y="3918639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48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544" name="Freeform: Shape 543">
                          <a:extLst>
                            <a:ext uri="{FF2B5EF4-FFF2-40B4-BE49-F238E27FC236}">
                              <a16:creationId xmlns:a16="http://schemas.microsoft.com/office/drawing/2014/main" id="{CE34A39E-EAE3-466E-86A0-E749C451D7CA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12193" y="3918639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48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545" name="Freeform: Shape 544">
                          <a:extLst>
                            <a:ext uri="{FF2B5EF4-FFF2-40B4-BE49-F238E27FC236}">
                              <a16:creationId xmlns:a16="http://schemas.microsoft.com/office/drawing/2014/main" id="{E18FC5E7-1EDF-475A-953A-8D2E6C56628E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20870" y="3918639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546" name="Freeform: Shape 545">
                          <a:extLst>
                            <a:ext uri="{FF2B5EF4-FFF2-40B4-BE49-F238E27FC236}">
                              <a16:creationId xmlns:a16="http://schemas.microsoft.com/office/drawing/2014/main" id="{DD82748B-0E39-4D4F-9281-4223C8EE109C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29547" y="3918639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547" name="Freeform: Shape 546">
                          <a:extLst>
                            <a:ext uri="{FF2B5EF4-FFF2-40B4-BE49-F238E27FC236}">
                              <a16:creationId xmlns:a16="http://schemas.microsoft.com/office/drawing/2014/main" id="{CE33B5B2-B73D-449E-A2A0-4C2DF76B1D77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38246" y="3918639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48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548" name="Freeform: Shape 547">
                          <a:extLst>
                            <a:ext uri="{FF2B5EF4-FFF2-40B4-BE49-F238E27FC236}">
                              <a16:creationId xmlns:a16="http://schemas.microsoft.com/office/drawing/2014/main" id="{A29825F0-7B91-4F7C-968B-B48E6F52291E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46923" y="3918639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</p:grpSp>
                  <p:grpSp>
                    <p:nvGrpSpPr>
                      <p:cNvPr id="549" name="Graphic 174">
                        <a:extLst>
                          <a:ext uri="{FF2B5EF4-FFF2-40B4-BE49-F238E27FC236}">
                            <a16:creationId xmlns:a16="http://schemas.microsoft.com/office/drawing/2014/main" id="{4045A780-E4ED-4946-BB38-1D6737CA17D1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6371160" y="3880583"/>
                        <a:ext cx="181441" cy="18609"/>
                        <a:chOff x="6371160" y="3880583"/>
                        <a:chExt cx="181441" cy="18609"/>
                      </a:xfrm>
                      <a:solidFill>
                        <a:schemeClr val="accent1"/>
                      </a:solidFill>
                    </p:grpSpPr>
                    <p:sp>
                      <p:nvSpPr>
                        <p:cNvPr id="550" name="Freeform: Shape 549">
                          <a:extLst>
                            <a:ext uri="{FF2B5EF4-FFF2-40B4-BE49-F238E27FC236}">
                              <a16:creationId xmlns:a16="http://schemas.microsoft.com/office/drawing/2014/main" id="{7DD1522B-C190-4751-B8BC-B71093C004A8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71160" y="3880583"/>
                          <a:ext cx="181441" cy="18609"/>
                        </a:xfrm>
                        <a:custGeom>
                          <a:avLst/>
                          <a:gdLst>
                            <a:gd name="connsiteX0" fmla="*/ 181441 w 181441"/>
                            <a:gd name="connsiteY0" fmla="*/ 18633 h 18609"/>
                            <a:gd name="connsiteX1" fmla="*/ 1605 w 181441"/>
                            <a:gd name="connsiteY1" fmla="*/ 18633 h 18609"/>
                            <a:gd name="connsiteX2" fmla="*/ 0 w 181441"/>
                            <a:gd name="connsiteY2" fmla="*/ 17028 h 18609"/>
                            <a:gd name="connsiteX3" fmla="*/ 0 w 181441"/>
                            <a:gd name="connsiteY3" fmla="*/ 1605 h 18609"/>
                            <a:gd name="connsiteX4" fmla="*/ 1605 w 181441"/>
                            <a:gd name="connsiteY4" fmla="*/ 0 h 18609"/>
                            <a:gd name="connsiteX5" fmla="*/ 181441 w 181441"/>
                            <a:gd name="connsiteY5" fmla="*/ 0 h 18609"/>
                            <a:gd name="connsiteX6" fmla="*/ 183046 w 181441"/>
                            <a:gd name="connsiteY6" fmla="*/ 1605 h 18609"/>
                            <a:gd name="connsiteX7" fmla="*/ 183046 w 181441"/>
                            <a:gd name="connsiteY7" fmla="*/ 17028 h 18609"/>
                            <a:gd name="connsiteX8" fmla="*/ 181441 w 181441"/>
                            <a:gd name="connsiteY8" fmla="*/ 18633 h 18609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181441" h="18609">
                              <a:moveTo>
                                <a:pt x="181441" y="18633"/>
                              </a:moveTo>
                              <a:lnTo>
                                <a:pt x="1605" y="18633"/>
                              </a:lnTo>
                              <a:cubicBezTo>
                                <a:pt x="721" y="18633"/>
                                <a:pt x="0" y="17912"/>
                                <a:pt x="0" y="17028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181441" y="0"/>
                              </a:lnTo>
                              <a:cubicBezTo>
                                <a:pt x="182325" y="0"/>
                                <a:pt x="183046" y="721"/>
                                <a:pt x="183046" y="1605"/>
                              </a:cubicBezTo>
                              <a:lnTo>
                                <a:pt x="183046" y="17028"/>
                              </a:lnTo>
                              <a:cubicBezTo>
                                <a:pt x="183023" y="17912"/>
                                <a:pt x="182325" y="18633"/>
                                <a:pt x="181441" y="18633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19439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551" name="Freeform: Shape 550">
                          <a:extLst>
                            <a:ext uri="{FF2B5EF4-FFF2-40B4-BE49-F238E27FC236}">
                              <a16:creationId xmlns:a16="http://schemas.microsoft.com/office/drawing/2014/main" id="{320B8C71-2A3E-4851-8E4F-1EFFFA76CE1A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59135" y="3881374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552" name="Freeform: Shape 551">
                          <a:extLst>
                            <a:ext uri="{FF2B5EF4-FFF2-40B4-BE49-F238E27FC236}">
                              <a16:creationId xmlns:a16="http://schemas.microsoft.com/office/drawing/2014/main" id="{9CA63E3A-7952-49BB-8EFA-BC41BAAB600D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67812" y="3881374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553" name="Freeform: Shape 552">
                          <a:extLst>
                            <a:ext uri="{FF2B5EF4-FFF2-40B4-BE49-F238E27FC236}">
                              <a16:creationId xmlns:a16="http://schemas.microsoft.com/office/drawing/2014/main" id="{BD8315FE-ACF3-4D07-9349-7E901C5FC6E3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76512" y="3881374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554" name="Freeform: Shape 553">
                          <a:extLst>
                            <a:ext uri="{FF2B5EF4-FFF2-40B4-BE49-F238E27FC236}">
                              <a16:creationId xmlns:a16="http://schemas.microsoft.com/office/drawing/2014/main" id="{B31E01A6-139B-4118-9FAD-9BD0C8043F8C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85189" y="3881374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555" name="Freeform: Shape 554">
                          <a:extLst>
                            <a:ext uri="{FF2B5EF4-FFF2-40B4-BE49-F238E27FC236}">
                              <a16:creationId xmlns:a16="http://schemas.microsoft.com/office/drawing/2014/main" id="{7C6CFA36-5E26-48CD-A298-374602FE02AB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93865" y="3881374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556" name="Freeform: Shape 555">
                          <a:extLst>
                            <a:ext uri="{FF2B5EF4-FFF2-40B4-BE49-F238E27FC236}">
                              <a16:creationId xmlns:a16="http://schemas.microsoft.com/office/drawing/2014/main" id="{987E3857-863A-47FA-97EF-C337C375B9D5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02565" y="3881374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557" name="Freeform: Shape 556">
                          <a:extLst>
                            <a:ext uri="{FF2B5EF4-FFF2-40B4-BE49-F238E27FC236}">
                              <a16:creationId xmlns:a16="http://schemas.microsoft.com/office/drawing/2014/main" id="{66FA56AC-002F-40FC-986E-95F156B3E1B7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11242" y="3881374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558" name="Freeform: Shape 557">
                          <a:extLst>
                            <a:ext uri="{FF2B5EF4-FFF2-40B4-BE49-F238E27FC236}">
                              <a16:creationId xmlns:a16="http://schemas.microsoft.com/office/drawing/2014/main" id="{129C9336-6757-42A1-B5BC-C4CD92C07EB0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19918" y="3881374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559" name="Freeform: Shape 558">
                          <a:extLst>
                            <a:ext uri="{FF2B5EF4-FFF2-40B4-BE49-F238E27FC236}">
                              <a16:creationId xmlns:a16="http://schemas.microsoft.com/office/drawing/2014/main" id="{D2C60ACB-7C7E-425C-94FC-0068FBACD87B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28618" y="3881374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560" name="Freeform: Shape 559">
                          <a:extLst>
                            <a:ext uri="{FF2B5EF4-FFF2-40B4-BE49-F238E27FC236}">
                              <a16:creationId xmlns:a16="http://schemas.microsoft.com/office/drawing/2014/main" id="{38441581-3B1B-45D6-9946-D8B7DDEA39A0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37295" y="3881374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561" name="Freeform: Shape 560">
                          <a:extLst>
                            <a:ext uri="{FF2B5EF4-FFF2-40B4-BE49-F238E27FC236}">
                              <a16:creationId xmlns:a16="http://schemas.microsoft.com/office/drawing/2014/main" id="{DFCC4C35-35DD-4B1A-BECA-32450764758D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45971" y="3881374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562" name="Freeform: Shape 561">
                          <a:extLst>
                            <a:ext uri="{FF2B5EF4-FFF2-40B4-BE49-F238E27FC236}">
                              <a16:creationId xmlns:a16="http://schemas.microsoft.com/office/drawing/2014/main" id="{BF6CC392-F9DB-420D-A0D9-A75C6AD6B750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89653" y="3881374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563" name="Freeform: Shape 562">
                          <a:extLst>
                            <a:ext uri="{FF2B5EF4-FFF2-40B4-BE49-F238E27FC236}">
                              <a16:creationId xmlns:a16="http://schemas.microsoft.com/office/drawing/2014/main" id="{C3C1331A-CD07-4533-B677-CFF7F6C78576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98353" y="3881374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564" name="Freeform: Shape 563">
                          <a:extLst>
                            <a:ext uri="{FF2B5EF4-FFF2-40B4-BE49-F238E27FC236}">
                              <a16:creationId xmlns:a16="http://schemas.microsoft.com/office/drawing/2014/main" id="{FF5441EF-687D-4E1D-9ECD-E1CBFB6F1E1E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07029" y="3881374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565" name="Freeform: Shape 564">
                          <a:extLst>
                            <a:ext uri="{FF2B5EF4-FFF2-40B4-BE49-F238E27FC236}">
                              <a16:creationId xmlns:a16="http://schemas.microsoft.com/office/drawing/2014/main" id="{15F587C2-FB81-4484-83E1-FE9CEA3C4838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72300" y="3881374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566" name="Freeform: Shape 565">
                          <a:extLst>
                            <a:ext uri="{FF2B5EF4-FFF2-40B4-BE49-F238E27FC236}">
                              <a16:creationId xmlns:a16="http://schemas.microsoft.com/office/drawing/2014/main" id="{C51B5A7C-064B-45A1-9404-806D8C2DB490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80976" y="3881374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567" name="Freeform: Shape 566">
                          <a:extLst>
                            <a:ext uri="{FF2B5EF4-FFF2-40B4-BE49-F238E27FC236}">
                              <a16:creationId xmlns:a16="http://schemas.microsoft.com/office/drawing/2014/main" id="{37372D6B-0584-49A8-8F30-5EF454EC8028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89653" y="3881374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568" name="Freeform: Shape 567">
                          <a:extLst>
                            <a:ext uri="{FF2B5EF4-FFF2-40B4-BE49-F238E27FC236}">
                              <a16:creationId xmlns:a16="http://schemas.microsoft.com/office/drawing/2014/main" id="{B65A61C7-9F8E-45DD-98B9-039AE89B3AD9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15706" y="3881374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569" name="Freeform: Shape 568">
                          <a:extLst>
                            <a:ext uri="{FF2B5EF4-FFF2-40B4-BE49-F238E27FC236}">
                              <a16:creationId xmlns:a16="http://schemas.microsoft.com/office/drawing/2014/main" id="{C75564B7-5BE2-467F-A59C-C0D18F135EBB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24406" y="3881374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570" name="Freeform: Shape 569">
                          <a:extLst>
                            <a:ext uri="{FF2B5EF4-FFF2-40B4-BE49-F238E27FC236}">
                              <a16:creationId xmlns:a16="http://schemas.microsoft.com/office/drawing/2014/main" id="{E06575D3-9142-4146-B78B-C0EE8F4120A9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33082" y="3881374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571" name="Freeform: Shape 570">
                          <a:extLst>
                            <a:ext uri="{FF2B5EF4-FFF2-40B4-BE49-F238E27FC236}">
                              <a16:creationId xmlns:a16="http://schemas.microsoft.com/office/drawing/2014/main" id="{A71CEA4C-2E8E-4DE6-8E26-630956C7CE53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41759" y="3881374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572" name="Freeform: Shape 571">
                          <a:extLst>
                            <a:ext uri="{FF2B5EF4-FFF2-40B4-BE49-F238E27FC236}">
                              <a16:creationId xmlns:a16="http://schemas.microsoft.com/office/drawing/2014/main" id="{54831FFF-A5A2-481E-AD69-1002A8C1505E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50459" y="3881374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</p:grpSp>
                  <p:grpSp>
                    <p:nvGrpSpPr>
                      <p:cNvPr id="573" name="Graphic 174">
                        <a:extLst>
                          <a:ext uri="{FF2B5EF4-FFF2-40B4-BE49-F238E27FC236}">
                            <a16:creationId xmlns:a16="http://schemas.microsoft.com/office/drawing/2014/main" id="{4045A780-E4ED-4946-BB38-1D6737CA17D1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6376301" y="3861950"/>
                        <a:ext cx="181441" cy="18609"/>
                        <a:chOff x="6376301" y="3861950"/>
                        <a:chExt cx="181441" cy="18609"/>
                      </a:xfrm>
                      <a:solidFill>
                        <a:schemeClr val="accent1"/>
                      </a:solidFill>
                    </p:grpSpPr>
                    <p:sp>
                      <p:nvSpPr>
                        <p:cNvPr id="574" name="Freeform: Shape 573">
                          <a:extLst>
                            <a:ext uri="{FF2B5EF4-FFF2-40B4-BE49-F238E27FC236}">
                              <a16:creationId xmlns:a16="http://schemas.microsoft.com/office/drawing/2014/main" id="{96D6DCBA-76B4-4A93-B9E3-088612BB4C87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76301" y="3861950"/>
                          <a:ext cx="181441" cy="18609"/>
                        </a:xfrm>
                        <a:custGeom>
                          <a:avLst/>
                          <a:gdLst>
                            <a:gd name="connsiteX0" fmla="*/ 181441 w 181441"/>
                            <a:gd name="connsiteY0" fmla="*/ 18633 h 18609"/>
                            <a:gd name="connsiteX1" fmla="*/ 1605 w 181441"/>
                            <a:gd name="connsiteY1" fmla="*/ 18633 h 18609"/>
                            <a:gd name="connsiteX2" fmla="*/ 0 w 181441"/>
                            <a:gd name="connsiteY2" fmla="*/ 17028 h 18609"/>
                            <a:gd name="connsiteX3" fmla="*/ 0 w 181441"/>
                            <a:gd name="connsiteY3" fmla="*/ 1605 h 18609"/>
                            <a:gd name="connsiteX4" fmla="*/ 1605 w 181441"/>
                            <a:gd name="connsiteY4" fmla="*/ 0 h 18609"/>
                            <a:gd name="connsiteX5" fmla="*/ 181441 w 181441"/>
                            <a:gd name="connsiteY5" fmla="*/ 0 h 18609"/>
                            <a:gd name="connsiteX6" fmla="*/ 183046 w 181441"/>
                            <a:gd name="connsiteY6" fmla="*/ 1605 h 18609"/>
                            <a:gd name="connsiteX7" fmla="*/ 183046 w 181441"/>
                            <a:gd name="connsiteY7" fmla="*/ 17028 h 18609"/>
                            <a:gd name="connsiteX8" fmla="*/ 181441 w 181441"/>
                            <a:gd name="connsiteY8" fmla="*/ 18633 h 18609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181441" h="18609">
                              <a:moveTo>
                                <a:pt x="181441" y="18633"/>
                              </a:moveTo>
                              <a:lnTo>
                                <a:pt x="1605" y="18633"/>
                              </a:lnTo>
                              <a:cubicBezTo>
                                <a:pt x="721" y="18633"/>
                                <a:pt x="0" y="17912"/>
                                <a:pt x="0" y="17028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181441" y="0"/>
                              </a:lnTo>
                              <a:cubicBezTo>
                                <a:pt x="182325" y="0"/>
                                <a:pt x="183046" y="721"/>
                                <a:pt x="183046" y="1605"/>
                              </a:cubicBezTo>
                              <a:lnTo>
                                <a:pt x="183046" y="17028"/>
                              </a:lnTo>
                              <a:cubicBezTo>
                                <a:pt x="183046" y="17935"/>
                                <a:pt x="182325" y="18633"/>
                                <a:pt x="181441" y="18633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19439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575" name="Freeform: Shape 574">
                          <a:extLst>
                            <a:ext uri="{FF2B5EF4-FFF2-40B4-BE49-F238E27FC236}">
                              <a16:creationId xmlns:a16="http://schemas.microsoft.com/office/drawing/2014/main" id="{45DF96E2-47A5-4521-A0E1-5874978E8CA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64300" y="3862741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48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576" name="Freeform: Shape 575">
                          <a:extLst>
                            <a:ext uri="{FF2B5EF4-FFF2-40B4-BE49-F238E27FC236}">
                              <a16:creationId xmlns:a16="http://schemas.microsoft.com/office/drawing/2014/main" id="{C60F070C-7812-4E68-A0EE-0B5E057D7F41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72976" y="3862741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577" name="Freeform: Shape 576">
                          <a:extLst>
                            <a:ext uri="{FF2B5EF4-FFF2-40B4-BE49-F238E27FC236}">
                              <a16:creationId xmlns:a16="http://schemas.microsoft.com/office/drawing/2014/main" id="{38E83334-FD59-469B-B823-1F5B57C13867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81653" y="3862741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578" name="Freeform: Shape 577">
                          <a:extLst>
                            <a:ext uri="{FF2B5EF4-FFF2-40B4-BE49-F238E27FC236}">
                              <a16:creationId xmlns:a16="http://schemas.microsoft.com/office/drawing/2014/main" id="{6E4CADF4-E2E7-46E0-BB4B-7E00EED09178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90353" y="3862741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48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579" name="Freeform: Shape 578">
                          <a:extLst>
                            <a:ext uri="{FF2B5EF4-FFF2-40B4-BE49-F238E27FC236}">
                              <a16:creationId xmlns:a16="http://schemas.microsoft.com/office/drawing/2014/main" id="{AA2D0A6C-AB43-4AAA-9828-CCF530C0751D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99029" y="3862741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580" name="Freeform: Shape 579">
                          <a:extLst>
                            <a:ext uri="{FF2B5EF4-FFF2-40B4-BE49-F238E27FC236}">
                              <a16:creationId xmlns:a16="http://schemas.microsoft.com/office/drawing/2014/main" id="{EF84D050-FDC7-4B6B-9AB2-DA2A63CE9B41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07706" y="3862741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581" name="Freeform: Shape 580">
                          <a:extLst>
                            <a:ext uri="{FF2B5EF4-FFF2-40B4-BE49-F238E27FC236}">
                              <a16:creationId xmlns:a16="http://schemas.microsoft.com/office/drawing/2014/main" id="{4F255302-E59D-4329-874B-7118015BC6A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16383" y="3862741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74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582" name="Freeform: Shape 581">
                          <a:extLst>
                            <a:ext uri="{FF2B5EF4-FFF2-40B4-BE49-F238E27FC236}">
                              <a16:creationId xmlns:a16="http://schemas.microsoft.com/office/drawing/2014/main" id="{ACFCA935-BCD5-42E9-9D94-1F40CD9D8AE1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25082" y="3862741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583" name="Freeform: Shape 582">
                          <a:extLst>
                            <a:ext uri="{FF2B5EF4-FFF2-40B4-BE49-F238E27FC236}">
                              <a16:creationId xmlns:a16="http://schemas.microsoft.com/office/drawing/2014/main" id="{D21116AC-20D4-4106-AC7A-867D2EAF7D63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33759" y="3862741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584" name="Freeform: Shape 583">
                          <a:extLst>
                            <a:ext uri="{FF2B5EF4-FFF2-40B4-BE49-F238E27FC236}">
                              <a16:creationId xmlns:a16="http://schemas.microsoft.com/office/drawing/2014/main" id="{EEF666A8-CB14-4D21-A79A-A57908F13B50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42436" y="3862741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74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585" name="Freeform: Shape 584">
                          <a:extLst>
                            <a:ext uri="{FF2B5EF4-FFF2-40B4-BE49-F238E27FC236}">
                              <a16:creationId xmlns:a16="http://schemas.microsoft.com/office/drawing/2014/main" id="{89931E5E-0629-490A-A344-B40ABE3C9327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51136" y="3862741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586" name="Freeform: Shape 585">
                          <a:extLst>
                            <a:ext uri="{FF2B5EF4-FFF2-40B4-BE49-F238E27FC236}">
                              <a16:creationId xmlns:a16="http://schemas.microsoft.com/office/drawing/2014/main" id="{75F44367-DAEA-49A7-B026-72845AEC0E7A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94817" y="3862741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587" name="Freeform: Shape 586">
                          <a:extLst>
                            <a:ext uri="{FF2B5EF4-FFF2-40B4-BE49-F238E27FC236}">
                              <a16:creationId xmlns:a16="http://schemas.microsoft.com/office/drawing/2014/main" id="{197D4DB2-FB90-4C73-AA63-91742665A13D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03494" y="3862741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588" name="Freeform: Shape 587">
                          <a:extLst>
                            <a:ext uri="{FF2B5EF4-FFF2-40B4-BE49-F238E27FC236}">
                              <a16:creationId xmlns:a16="http://schemas.microsoft.com/office/drawing/2014/main" id="{D04F6EFD-CD29-4E6A-8FEE-8328B2851562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12193" y="3862741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48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589" name="Freeform: Shape 588">
                          <a:extLst>
                            <a:ext uri="{FF2B5EF4-FFF2-40B4-BE49-F238E27FC236}">
                              <a16:creationId xmlns:a16="http://schemas.microsoft.com/office/drawing/2014/main" id="{C7B724DB-050A-4B72-8021-468D137D4EF7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77440" y="3862741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590" name="Freeform: Shape 589">
                          <a:extLst>
                            <a:ext uri="{FF2B5EF4-FFF2-40B4-BE49-F238E27FC236}">
                              <a16:creationId xmlns:a16="http://schemas.microsoft.com/office/drawing/2014/main" id="{A62E4D6A-1BCF-438A-9B93-B2A6E4469FCB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86140" y="3862741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48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591" name="Freeform: Shape 590">
                          <a:extLst>
                            <a:ext uri="{FF2B5EF4-FFF2-40B4-BE49-F238E27FC236}">
                              <a16:creationId xmlns:a16="http://schemas.microsoft.com/office/drawing/2014/main" id="{627C21FF-875E-467C-BB3D-E70CA79B6E37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94817" y="3862741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592" name="Freeform: Shape 591">
                          <a:extLst>
                            <a:ext uri="{FF2B5EF4-FFF2-40B4-BE49-F238E27FC236}">
                              <a16:creationId xmlns:a16="http://schemas.microsoft.com/office/drawing/2014/main" id="{1E8218DC-36B6-4CBD-B497-F9C86DE8E386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20870" y="3862741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593" name="Freeform: Shape 592">
                          <a:extLst>
                            <a:ext uri="{FF2B5EF4-FFF2-40B4-BE49-F238E27FC236}">
                              <a16:creationId xmlns:a16="http://schemas.microsoft.com/office/drawing/2014/main" id="{49F5E14A-1800-4996-862C-9FB8D4670739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29547" y="3862741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594" name="Freeform: Shape 593">
                          <a:extLst>
                            <a:ext uri="{FF2B5EF4-FFF2-40B4-BE49-F238E27FC236}">
                              <a16:creationId xmlns:a16="http://schemas.microsoft.com/office/drawing/2014/main" id="{F6583B4A-09C5-4D01-936C-5BF97B22EC20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38246" y="3862741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48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595" name="Freeform: Shape 594">
                          <a:extLst>
                            <a:ext uri="{FF2B5EF4-FFF2-40B4-BE49-F238E27FC236}">
                              <a16:creationId xmlns:a16="http://schemas.microsoft.com/office/drawing/2014/main" id="{B0E8CDE1-61CC-4F27-BD04-6FD94B0BFD9E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46923" y="3862741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596" name="Freeform: Shape 595">
                          <a:extLst>
                            <a:ext uri="{FF2B5EF4-FFF2-40B4-BE49-F238E27FC236}">
                              <a16:creationId xmlns:a16="http://schemas.microsoft.com/office/drawing/2014/main" id="{593D8845-0F51-4857-B302-FE65A3A5E082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55600" y="3862741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</p:grpSp>
                  <p:grpSp>
                    <p:nvGrpSpPr>
                      <p:cNvPr id="597" name="Graphic 174">
                        <a:extLst>
                          <a:ext uri="{FF2B5EF4-FFF2-40B4-BE49-F238E27FC236}">
                            <a16:creationId xmlns:a16="http://schemas.microsoft.com/office/drawing/2014/main" id="{4045A780-E4ED-4946-BB38-1D6737CA17D1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6367624" y="3843318"/>
                        <a:ext cx="181441" cy="18609"/>
                        <a:chOff x="6367624" y="3843318"/>
                        <a:chExt cx="181441" cy="18609"/>
                      </a:xfrm>
                      <a:solidFill>
                        <a:schemeClr val="accent1"/>
                      </a:solidFill>
                    </p:grpSpPr>
                    <p:sp>
                      <p:nvSpPr>
                        <p:cNvPr id="598" name="Freeform: Shape 597">
                          <a:extLst>
                            <a:ext uri="{FF2B5EF4-FFF2-40B4-BE49-F238E27FC236}">
                              <a16:creationId xmlns:a16="http://schemas.microsoft.com/office/drawing/2014/main" id="{BA762694-2BC4-4888-89A5-B8DB64E2CED4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67624" y="3843318"/>
                          <a:ext cx="181441" cy="18609"/>
                        </a:xfrm>
                        <a:custGeom>
                          <a:avLst/>
                          <a:gdLst>
                            <a:gd name="connsiteX0" fmla="*/ 181441 w 181441"/>
                            <a:gd name="connsiteY0" fmla="*/ 18633 h 18609"/>
                            <a:gd name="connsiteX1" fmla="*/ 1605 w 181441"/>
                            <a:gd name="connsiteY1" fmla="*/ 18633 h 18609"/>
                            <a:gd name="connsiteX2" fmla="*/ 0 w 181441"/>
                            <a:gd name="connsiteY2" fmla="*/ 17028 h 18609"/>
                            <a:gd name="connsiteX3" fmla="*/ 0 w 181441"/>
                            <a:gd name="connsiteY3" fmla="*/ 1605 h 18609"/>
                            <a:gd name="connsiteX4" fmla="*/ 1605 w 181441"/>
                            <a:gd name="connsiteY4" fmla="*/ 0 h 18609"/>
                            <a:gd name="connsiteX5" fmla="*/ 181441 w 181441"/>
                            <a:gd name="connsiteY5" fmla="*/ 0 h 18609"/>
                            <a:gd name="connsiteX6" fmla="*/ 183046 w 181441"/>
                            <a:gd name="connsiteY6" fmla="*/ 1605 h 18609"/>
                            <a:gd name="connsiteX7" fmla="*/ 183046 w 181441"/>
                            <a:gd name="connsiteY7" fmla="*/ 17028 h 18609"/>
                            <a:gd name="connsiteX8" fmla="*/ 181441 w 181441"/>
                            <a:gd name="connsiteY8" fmla="*/ 18633 h 18609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181441" h="18609">
                              <a:moveTo>
                                <a:pt x="181441" y="18633"/>
                              </a:moveTo>
                              <a:lnTo>
                                <a:pt x="1605" y="18633"/>
                              </a:lnTo>
                              <a:cubicBezTo>
                                <a:pt x="721" y="18633"/>
                                <a:pt x="0" y="17912"/>
                                <a:pt x="0" y="17028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181441" y="0"/>
                              </a:lnTo>
                              <a:cubicBezTo>
                                <a:pt x="182325" y="0"/>
                                <a:pt x="183046" y="721"/>
                                <a:pt x="183046" y="1605"/>
                              </a:cubicBezTo>
                              <a:lnTo>
                                <a:pt x="183046" y="17028"/>
                              </a:lnTo>
                              <a:cubicBezTo>
                                <a:pt x="183046" y="17935"/>
                                <a:pt x="182325" y="18633"/>
                                <a:pt x="181441" y="18633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19439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599" name="Freeform: Shape 598">
                          <a:extLst>
                            <a:ext uri="{FF2B5EF4-FFF2-40B4-BE49-F238E27FC236}">
                              <a16:creationId xmlns:a16="http://schemas.microsoft.com/office/drawing/2014/main" id="{36DF129F-B447-465B-87AF-37927CF3B22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55600" y="3844109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53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00" name="Freeform: Shape 599">
                          <a:extLst>
                            <a:ext uri="{FF2B5EF4-FFF2-40B4-BE49-F238E27FC236}">
                              <a16:creationId xmlns:a16="http://schemas.microsoft.com/office/drawing/2014/main" id="{8FAB328F-69F2-455B-92CE-ABF57A0148D8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64300" y="3844109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48" y="16353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01" name="Freeform: Shape 600">
                          <a:extLst>
                            <a:ext uri="{FF2B5EF4-FFF2-40B4-BE49-F238E27FC236}">
                              <a16:creationId xmlns:a16="http://schemas.microsoft.com/office/drawing/2014/main" id="{9893F8D7-2B6F-4CAE-B7C3-C94A9AA783F2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72976" y="3844109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53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02" name="Freeform: Shape 601">
                          <a:extLst>
                            <a:ext uri="{FF2B5EF4-FFF2-40B4-BE49-F238E27FC236}">
                              <a16:creationId xmlns:a16="http://schemas.microsoft.com/office/drawing/2014/main" id="{BB6B2409-4E7D-415C-83AA-9AD4831C1D8E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81653" y="3844109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53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03" name="Freeform: Shape 602">
                          <a:extLst>
                            <a:ext uri="{FF2B5EF4-FFF2-40B4-BE49-F238E27FC236}">
                              <a16:creationId xmlns:a16="http://schemas.microsoft.com/office/drawing/2014/main" id="{1F6A71BC-16BE-4C13-990B-B519CFBE6311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90353" y="3844109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48" y="16353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04" name="Freeform: Shape 603">
                          <a:extLst>
                            <a:ext uri="{FF2B5EF4-FFF2-40B4-BE49-F238E27FC236}">
                              <a16:creationId xmlns:a16="http://schemas.microsoft.com/office/drawing/2014/main" id="{E0533690-3970-4797-B1C8-F7D3C29BCFE0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99029" y="3844109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53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05" name="Freeform: Shape 604">
                          <a:extLst>
                            <a:ext uri="{FF2B5EF4-FFF2-40B4-BE49-F238E27FC236}">
                              <a16:creationId xmlns:a16="http://schemas.microsoft.com/office/drawing/2014/main" id="{25DAD456-698E-473B-A1BC-690324AA00AE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07706" y="3844109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53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06" name="Freeform: Shape 605">
                          <a:extLst>
                            <a:ext uri="{FF2B5EF4-FFF2-40B4-BE49-F238E27FC236}">
                              <a16:creationId xmlns:a16="http://schemas.microsoft.com/office/drawing/2014/main" id="{47678AFA-77D4-4ABD-8F1E-090AF8956B4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16383" y="3844109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53"/>
                                <a:pt x="6374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07" name="Freeform: Shape 606">
                          <a:extLst>
                            <a:ext uri="{FF2B5EF4-FFF2-40B4-BE49-F238E27FC236}">
                              <a16:creationId xmlns:a16="http://schemas.microsoft.com/office/drawing/2014/main" id="{149022F5-125E-421E-B453-89BC457BECBD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25082" y="3844109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53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08" name="Freeform: Shape 607">
                          <a:extLst>
                            <a:ext uri="{FF2B5EF4-FFF2-40B4-BE49-F238E27FC236}">
                              <a16:creationId xmlns:a16="http://schemas.microsoft.com/office/drawing/2014/main" id="{C14732AB-C7B0-40B8-BD0E-22E8A209DD68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33759" y="3844109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53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09" name="Freeform: Shape 608">
                          <a:extLst>
                            <a:ext uri="{FF2B5EF4-FFF2-40B4-BE49-F238E27FC236}">
                              <a16:creationId xmlns:a16="http://schemas.microsoft.com/office/drawing/2014/main" id="{1C07E126-3E8B-43A3-A233-E84CCFD59723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42436" y="3844109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53"/>
                                <a:pt x="6374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10" name="Freeform: Shape 609">
                          <a:extLst>
                            <a:ext uri="{FF2B5EF4-FFF2-40B4-BE49-F238E27FC236}">
                              <a16:creationId xmlns:a16="http://schemas.microsoft.com/office/drawing/2014/main" id="{6FA5DCB2-2F2B-4164-88B9-21AAD13FD038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86140" y="3844109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48" y="16353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11" name="Freeform: Shape 610">
                          <a:extLst>
                            <a:ext uri="{FF2B5EF4-FFF2-40B4-BE49-F238E27FC236}">
                              <a16:creationId xmlns:a16="http://schemas.microsoft.com/office/drawing/2014/main" id="{8F4FE3CC-6488-4C92-BE11-1BE1CA0763A8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94817" y="3844109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53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12" name="Freeform: Shape 611">
                          <a:extLst>
                            <a:ext uri="{FF2B5EF4-FFF2-40B4-BE49-F238E27FC236}">
                              <a16:creationId xmlns:a16="http://schemas.microsoft.com/office/drawing/2014/main" id="{D97DC9FA-D9FC-4410-BE49-E3D65FBF1657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03494" y="3844109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53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13" name="Freeform: Shape 612">
                          <a:extLst>
                            <a:ext uri="{FF2B5EF4-FFF2-40B4-BE49-F238E27FC236}">
                              <a16:creationId xmlns:a16="http://schemas.microsoft.com/office/drawing/2014/main" id="{51ED2509-28E1-4527-89A0-6F6E5C9E1D30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68764" y="3844109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53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14" name="Freeform: Shape 613">
                          <a:extLst>
                            <a:ext uri="{FF2B5EF4-FFF2-40B4-BE49-F238E27FC236}">
                              <a16:creationId xmlns:a16="http://schemas.microsoft.com/office/drawing/2014/main" id="{1CB5A9EA-404C-4006-B41C-DE7E2305264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77440" y="3844109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53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15" name="Freeform: Shape 614">
                          <a:extLst>
                            <a:ext uri="{FF2B5EF4-FFF2-40B4-BE49-F238E27FC236}">
                              <a16:creationId xmlns:a16="http://schemas.microsoft.com/office/drawing/2014/main" id="{B25FA555-C80C-48B4-BD1D-5988B0590AEC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86140" y="3844109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48" y="16353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16" name="Freeform: Shape 615">
                          <a:extLst>
                            <a:ext uri="{FF2B5EF4-FFF2-40B4-BE49-F238E27FC236}">
                              <a16:creationId xmlns:a16="http://schemas.microsoft.com/office/drawing/2014/main" id="{F95D2C86-DC6B-42BF-93B3-D9FEF442D203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12193" y="3844109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48" y="16353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17" name="Freeform: Shape 616">
                          <a:extLst>
                            <a:ext uri="{FF2B5EF4-FFF2-40B4-BE49-F238E27FC236}">
                              <a16:creationId xmlns:a16="http://schemas.microsoft.com/office/drawing/2014/main" id="{BBEED5A0-A86D-45E4-907F-D24FA61C5774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20870" y="3844109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53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18" name="Freeform: Shape 617">
                          <a:extLst>
                            <a:ext uri="{FF2B5EF4-FFF2-40B4-BE49-F238E27FC236}">
                              <a16:creationId xmlns:a16="http://schemas.microsoft.com/office/drawing/2014/main" id="{04AF2AE5-ED5B-44B5-A234-FB5815FDC895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29547" y="3844109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53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19" name="Freeform: Shape 618">
                          <a:extLst>
                            <a:ext uri="{FF2B5EF4-FFF2-40B4-BE49-F238E27FC236}">
                              <a16:creationId xmlns:a16="http://schemas.microsoft.com/office/drawing/2014/main" id="{25B1694C-5142-49FB-AF22-53AEF74C8B75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38246" y="3844109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48" y="16353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20" name="Freeform: Shape 619">
                          <a:extLst>
                            <a:ext uri="{FF2B5EF4-FFF2-40B4-BE49-F238E27FC236}">
                              <a16:creationId xmlns:a16="http://schemas.microsoft.com/office/drawing/2014/main" id="{8CBCD06E-721B-4820-8314-A0E307BCC421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46923" y="3844109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53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</p:grpSp>
                  <p:grpSp>
                    <p:nvGrpSpPr>
                      <p:cNvPr id="621" name="Graphic 174">
                        <a:extLst>
                          <a:ext uri="{FF2B5EF4-FFF2-40B4-BE49-F238E27FC236}">
                            <a16:creationId xmlns:a16="http://schemas.microsoft.com/office/drawing/2014/main" id="{4045A780-E4ED-4946-BB38-1D6737CA17D1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6376301" y="3824708"/>
                        <a:ext cx="181441" cy="18609"/>
                        <a:chOff x="6376301" y="3824708"/>
                        <a:chExt cx="181441" cy="18609"/>
                      </a:xfrm>
                      <a:solidFill>
                        <a:schemeClr val="accent1"/>
                      </a:solidFill>
                    </p:grpSpPr>
                    <p:sp>
                      <p:nvSpPr>
                        <p:cNvPr id="622" name="Freeform: Shape 621">
                          <a:extLst>
                            <a:ext uri="{FF2B5EF4-FFF2-40B4-BE49-F238E27FC236}">
                              <a16:creationId xmlns:a16="http://schemas.microsoft.com/office/drawing/2014/main" id="{FE63472F-E2BC-4809-91F5-01F3D41FBAB6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76301" y="3824708"/>
                          <a:ext cx="181441" cy="18609"/>
                        </a:xfrm>
                        <a:custGeom>
                          <a:avLst/>
                          <a:gdLst>
                            <a:gd name="connsiteX0" fmla="*/ 181441 w 181441"/>
                            <a:gd name="connsiteY0" fmla="*/ 18633 h 18609"/>
                            <a:gd name="connsiteX1" fmla="*/ 1605 w 181441"/>
                            <a:gd name="connsiteY1" fmla="*/ 18633 h 18609"/>
                            <a:gd name="connsiteX2" fmla="*/ 0 w 181441"/>
                            <a:gd name="connsiteY2" fmla="*/ 17028 h 18609"/>
                            <a:gd name="connsiteX3" fmla="*/ 0 w 181441"/>
                            <a:gd name="connsiteY3" fmla="*/ 1605 h 18609"/>
                            <a:gd name="connsiteX4" fmla="*/ 1605 w 181441"/>
                            <a:gd name="connsiteY4" fmla="*/ 0 h 18609"/>
                            <a:gd name="connsiteX5" fmla="*/ 181441 w 181441"/>
                            <a:gd name="connsiteY5" fmla="*/ 0 h 18609"/>
                            <a:gd name="connsiteX6" fmla="*/ 183046 w 181441"/>
                            <a:gd name="connsiteY6" fmla="*/ 1605 h 18609"/>
                            <a:gd name="connsiteX7" fmla="*/ 183046 w 181441"/>
                            <a:gd name="connsiteY7" fmla="*/ 17028 h 18609"/>
                            <a:gd name="connsiteX8" fmla="*/ 181441 w 181441"/>
                            <a:gd name="connsiteY8" fmla="*/ 18633 h 18609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181441" h="18609">
                              <a:moveTo>
                                <a:pt x="181441" y="18633"/>
                              </a:moveTo>
                              <a:lnTo>
                                <a:pt x="1605" y="18633"/>
                              </a:lnTo>
                              <a:cubicBezTo>
                                <a:pt x="721" y="18633"/>
                                <a:pt x="0" y="17912"/>
                                <a:pt x="0" y="17028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181441" y="0"/>
                              </a:lnTo>
                              <a:cubicBezTo>
                                <a:pt x="182325" y="0"/>
                                <a:pt x="183046" y="721"/>
                                <a:pt x="183046" y="1605"/>
                              </a:cubicBezTo>
                              <a:lnTo>
                                <a:pt x="183046" y="17028"/>
                              </a:lnTo>
                              <a:cubicBezTo>
                                <a:pt x="183046" y="17912"/>
                                <a:pt x="182325" y="18633"/>
                                <a:pt x="181441" y="18633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19439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23" name="Freeform: Shape 622">
                          <a:extLst>
                            <a:ext uri="{FF2B5EF4-FFF2-40B4-BE49-F238E27FC236}">
                              <a16:creationId xmlns:a16="http://schemas.microsoft.com/office/drawing/2014/main" id="{38B2AFE6-FFB7-436E-890E-6A796B79525C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64300" y="3825476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48" y="16353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24" name="Freeform: Shape 623">
                          <a:extLst>
                            <a:ext uri="{FF2B5EF4-FFF2-40B4-BE49-F238E27FC236}">
                              <a16:creationId xmlns:a16="http://schemas.microsoft.com/office/drawing/2014/main" id="{16183EFE-AB17-46FC-BF1B-8FC011FFA831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72976" y="3825476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53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25" name="Freeform: Shape 624">
                          <a:extLst>
                            <a:ext uri="{FF2B5EF4-FFF2-40B4-BE49-F238E27FC236}">
                              <a16:creationId xmlns:a16="http://schemas.microsoft.com/office/drawing/2014/main" id="{68F3B15E-F4A5-49B8-B457-5434B5CC1433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81653" y="3825476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53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26" name="Freeform: Shape 625">
                          <a:extLst>
                            <a:ext uri="{FF2B5EF4-FFF2-40B4-BE49-F238E27FC236}">
                              <a16:creationId xmlns:a16="http://schemas.microsoft.com/office/drawing/2014/main" id="{D9AFA722-F253-4E82-AD2C-A9D0F03BD3C2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90353" y="3825476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48" y="16353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27" name="Freeform: Shape 626">
                          <a:extLst>
                            <a:ext uri="{FF2B5EF4-FFF2-40B4-BE49-F238E27FC236}">
                              <a16:creationId xmlns:a16="http://schemas.microsoft.com/office/drawing/2014/main" id="{B9EFAB3F-CC9F-4495-AB31-0939656188C1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99029" y="3825476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53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28" name="Freeform: Shape 627">
                          <a:extLst>
                            <a:ext uri="{FF2B5EF4-FFF2-40B4-BE49-F238E27FC236}">
                              <a16:creationId xmlns:a16="http://schemas.microsoft.com/office/drawing/2014/main" id="{EBC3A42B-2474-4FD6-8D92-E318C2F33859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07706" y="3825476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53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29" name="Freeform: Shape 628">
                          <a:extLst>
                            <a:ext uri="{FF2B5EF4-FFF2-40B4-BE49-F238E27FC236}">
                              <a16:creationId xmlns:a16="http://schemas.microsoft.com/office/drawing/2014/main" id="{5D8451BE-DF30-4AEA-BCDB-2DF466DD9FEB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16383" y="3825476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53"/>
                                <a:pt x="6374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30" name="Freeform: Shape 629">
                          <a:extLst>
                            <a:ext uri="{FF2B5EF4-FFF2-40B4-BE49-F238E27FC236}">
                              <a16:creationId xmlns:a16="http://schemas.microsoft.com/office/drawing/2014/main" id="{E9D2D3D2-8A23-44CB-9DAC-BEE5D06645F2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25082" y="3825476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53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31" name="Freeform: Shape 630">
                          <a:extLst>
                            <a:ext uri="{FF2B5EF4-FFF2-40B4-BE49-F238E27FC236}">
                              <a16:creationId xmlns:a16="http://schemas.microsoft.com/office/drawing/2014/main" id="{9533352A-EDAE-4CA3-A7F0-58452B2937D2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33759" y="3825476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53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32" name="Freeform: Shape 631">
                          <a:extLst>
                            <a:ext uri="{FF2B5EF4-FFF2-40B4-BE49-F238E27FC236}">
                              <a16:creationId xmlns:a16="http://schemas.microsoft.com/office/drawing/2014/main" id="{2090EB1D-8D66-4DA8-9C9D-6ABADBB1572D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42436" y="3825476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53"/>
                                <a:pt x="6374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33" name="Freeform: Shape 632">
                          <a:extLst>
                            <a:ext uri="{FF2B5EF4-FFF2-40B4-BE49-F238E27FC236}">
                              <a16:creationId xmlns:a16="http://schemas.microsoft.com/office/drawing/2014/main" id="{5B7D1FBE-944F-4EA3-8920-9EB56BF67C83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51136" y="3825476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53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34" name="Freeform: Shape 633">
                          <a:extLst>
                            <a:ext uri="{FF2B5EF4-FFF2-40B4-BE49-F238E27FC236}">
                              <a16:creationId xmlns:a16="http://schemas.microsoft.com/office/drawing/2014/main" id="{AC9310F3-A179-4483-B42D-7FBBD219A949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94817" y="3825476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53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35" name="Freeform: Shape 634">
                          <a:extLst>
                            <a:ext uri="{FF2B5EF4-FFF2-40B4-BE49-F238E27FC236}">
                              <a16:creationId xmlns:a16="http://schemas.microsoft.com/office/drawing/2014/main" id="{88D9B550-0F05-4D5D-8678-DA130F6E140D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03494" y="3825476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53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36" name="Freeform: Shape 635">
                          <a:extLst>
                            <a:ext uri="{FF2B5EF4-FFF2-40B4-BE49-F238E27FC236}">
                              <a16:creationId xmlns:a16="http://schemas.microsoft.com/office/drawing/2014/main" id="{C0F4C905-DAB2-4DB2-A9AD-4825644CE7D9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12193" y="3825476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48" y="16353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37" name="Freeform: Shape 636">
                          <a:extLst>
                            <a:ext uri="{FF2B5EF4-FFF2-40B4-BE49-F238E27FC236}">
                              <a16:creationId xmlns:a16="http://schemas.microsoft.com/office/drawing/2014/main" id="{DB681077-58B2-4028-A7DF-BF2342AEFCD0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77440" y="3825476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53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38" name="Freeform: Shape 637">
                          <a:extLst>
                            <a:ext uri="{FF2B5EF4-FFF2-40B4-BE49-F238E27FC236}">
                              <a16:creationId xmlns:a16="http://schemas.microsoft.com/office/drawing/2014/main" id="{65BE69E0-8A2E-408C-B96D-728D880BD051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86140" y="3825476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48" y="16353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39" name="Freeform: Shape 638">
                          <a:extLst>
                            <a:ext uri="{FF2B5EF4-FFF2-40B4-BE49-F238E27FC236}">
                              <a16:creationId xmlns:a16="http://schemas.microsoft.com/office/drawing/2014/main" id="{A9F64B51-1CC8-4C34-A819-874D5D4116B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94817" y="3825476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53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40" name="Freeform: Shape 639">
                          <a:extLst>
                            <a:ext uri="{FF2B5EF4-FFF2-40B4-BE49-F238E27FC236}">
                              <a16:creationId xmlns:a16="http://schemas.microsoft.com/office/drawing/2014/main" id="{A12F3D2C-D380-4AB9-AA87-BE5E909AFABD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20870" y="3825476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53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41" name="Freeform: Shape 640">
                          <a:extLst>
                            <a:ext uri="{FF2B5EF4-FFF2-40B4-BE49-F238E27FC236}">
                              <a16:creationId xmlns:a16="http://schemas.microsoft.com/office/drawing/2014/main" id="{4CB90F36-F317-4500-8B70-60EADEEBD05D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29547" y="3825476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53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42" name="Freeform: Shape 641">
                          <a:extLst>
                            <a:ext uri="{FF2B5EF4-FFF2-40B4-BE49-F238E27FC236}">
                              <a16:creationId xmlns:a16="http://schemas.microsoft.com/office/drawing/2014/main" id="{3DD619CD-4AC0-4909-883C-3D9FA61AC3CD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38246" y="3825476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48" y="16353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43" name="Freeform: Shape 642">
                          <a:extLst>
                            <a:ext uri="{FF2B5EF4-FFF2-40B4-BE49-F238E27FC236}">
                              <a16:creationId xmlns:a16="http://schemas.microsoft.com/office/drawing/2014/main" id="{67667048-AE8E-43D3-9DF3-7371DC7962E7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46923" y="3825476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53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44" name="Freeform: Shape 643">
                          <a:extLst>
                            <a:ext uri="{FF2B5EF4-FFF2-40B4-BE49-F238E27FC236}">
                              <a16:creationId xmlns:a16="http://schemas.microsoft.com/office/drawing/2014/main" id="{52F9296C-4818-494C-ABCC-D0B7280647D6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55600" y="3825476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53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</p:grpSp>
                  <p:grpSp>
                    <p:nvGrpSpPr>
                      <p:cNvPr id="645" name="Graphic 174">
                        <a:extLst>
                          <a:ext uri="{FF2B5EF4-FFF2-40B4-BE49-F238E27FC236}">
                            <a16:creationId xmlns:a16="http://schemas.microsoft.com/office/drawing/2014/main" id="{4045A780-E4ED-4946-BB38-1D6737CA17D1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6367624" y="3806076"/>
                        <a:ext cx="181441" cy="18609"/>
                        <a:chOff x="6367624" y="3806076"/>
                        <a:chExt cx="181441" cy="18609"/>
                      </a:xfrm>
                      <a:solidFill>
                        <a:schemeClr val="accent1"/>
                      </a:solidFill>
                    </p:grpSpPr>
                    <p:sp>
                      <p:nvSpPr>
                        <p:cNvPr id="646" name="Freeform: Shape 645">
                          <a:extLst>
                            <a:ext uri="{FF2B5EF4-FFF2-40B4-BE49-F238E27FC236}">
                              <a16:creationId xmlns:a16="http://schemas.microsoft.com/office/drawing/2014/main" id="{570D3650-1365-4B57-91F6-CD611891F3B2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67624" y="3806076"/>
                          <a:ext cx="181441" cy="18609"/>
                        </a:xfrm>
                        <a:custGeom>
                          <a:avLst/>
                          <a:gdLst>
                            <a:gd name="connsiteX0" fmla="*/ 181441 w 181441"/>
                            <a:gd name="connsiteY0" fmla="*/ 18633 h 18609"/>
                            <a:gd name="connsiteX1" fmla="*/ 1605 w 181441"/>
                            <a:gd name="connsiteY1" fmla="*/ 18633 h 18609"/>
                            <a:gd name="connsiteX2" fmla="*/ 0 w 181441"/>
                            <a:gd name="connsiteY2" fmla="*/ 17028 h 18609"/>
                            <a:gd name="connsiteX3" fmla="*/ 0 w 181441"/>
                            <a:gd name="connsiteY3" fmla="*/ 1605 h 18609"/>
                            <a:gd name="connsiteX4" fmla="*/ 1605 w 181441"/>
                            <a:gd name="connsiteY4" fmla="*/ 0 h 18609"/>
                            <a:gd name="connsiteX5" fmla="*/ 181441 w 181441"/>
                            <a:gd name="connsiteY5" fmla="*/ 0 h 18609"/>
                            <a:gd name="connsiteX6" fmla="*/ 183046 w 181441"/>
                            <a:gd name="connsiteY6" fmla="*/ 1605 h 18609"/>
                            <a:gd name="connsiteX7" fmla="*/ 183046 w 181441"/>
                            <a:gd name="connsiteY7" fmla="*/ 17028 h 18609"/>
                            <a:gd name="connsiteX8" fmla="*/ 181441 w 181441"/>
                            <a:gd name="connsiteY8" fmla="*/ 18633 h 18609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181441" h="18609">
                              <a:moveTo>
                                <a:pt x="181441" y="18633"/>
                              </a:moveTo>
                              <a:lnTo>
                                <a:pt x="1605" y="18633"/>
                              </a:lnTo>
                              <a:cubicBezTo>
                                <a:pt x="721" y="18633"/>
                                <a:pt x="0" y="17912"/>
                                <a:pt x="0" y="17028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181441" y="0"/>
                              </a:lnTo>
                              <a:cubicBezTo>
                                <a:pt x="182325" y="0"/>
                                <a:pt x="183046" y="721"/>
                                <a:pt x="183046" y="1605"/>
                              </a:cubicBezTo>
                              <a:lnTo>
                                <a:pt x="183046" y="17028"/>
                              </a:lnTo>
                              <a:cubicBezTo>
                                <a:pt x="183046" y="17912"/>
                                <a:pt x="182325" y="18633"/>
                                <a:pt x="181441" y="18633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19439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47" name="Freeform: Shape 646">
                          <a:extLst>
                            <a:ext uri="{FF2B5EF4-FFF2-40B4-BE49-F238E27FC236}">
                              <a16:creationId xmlns:a16="http://schemas.microsoft.com/office/drawing/2014/main" id="{C8967E1B-8B2C-455F-92C5-C1CDF32A3B49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55600" y="3806867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48" name="Freeform: Shape 647">
                          <a:extLst>
                            <a:ext uri="{FF2B5EF4-FFF2-40B4-BE49-F238E27FC236}">
                              <a16:creationId xmlns:a16="http://schemas.microsoft.com/office/drawing/2014/main" id="{C479CA55-0E45-45C7-9995-D98350E8DEB8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64300" y="3806867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48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49" name="Freeform: Shape 648">
                          <a:extLst>
                            <a:ext uri="{FF2B5EF4-FFF2-40B4-BE49-F238E27FC236}">
                              <a16:creationId xmlns:a16="http://schemas.microsoft.com/office/drawing/2014/main" id="{B8BDDBA9-6BED-431A-8150-4D45CEE81DCD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72976" y="3806867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50" name="Freeform: Shape 649">
                          <a:extLst>
                            <a:ext uri="{FF2B5EF4-FFF2-40B4-BE49-F238E27FC236}">
                              <a16:creationId xmlns:a16="http://schemas.microsoft.com/office/drawing/2014/main" id="{982C81E0-EA90-4C7A-9856-DE8C9FC864AE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81653" y="3806867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51" name="Freeform: Shape 650">
                          <a:extLst>
                            <a:ext uri="{FF2B5EF4-FFF2-40B4-BE49-F238E27FC236}">
                              <a16:creationId xmlns:a16="http://schemas.microsoft.com/office/drawing/2014/main" id="{A3477478-DDFB-470B-991A-A095D79866A8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90353" y="3806867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48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52" name="Freeform: Shape 651">
                          <a:extLst>
                            <a:ext uri="{FF2B5EF4-FFF2-40B4-BE49-F238E27FC236}">
                              <a16:creationId xmlns:a16="http://schemas.microsoft.com/office/drawing/2014/main" id="{A2B341E2-A811-4401-B2FD-54CEA00606E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99029" y="3806867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53" name="Freeform: Shape 652">
                          <a:extLst>
                            <a:ext uri="{FF2B5EF4-FFF2-40B4-BE49-F238E27FC236}">
                              <a16:creationId xmlns:a16="http://schemas.microsoft.com/office/drawing/2014/main" id="{4F09CB7A-2E8B-414A-91A1-97239FE72ADC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07706" y="3806867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54" name="Freeform: Shape 653">
                          <a:extLst>
                            <a:ext uri="{FF2B5EF4-FFF2-40B4-BE49-F238E27FC236}">
                              <a16:creationId xmlns:a16="http://schemas.microsoft.com/office/drawing/2014/main" id="{BCED1865-4784-4ECF-8C47-A88E1BDC8855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16383" y="3806867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74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55" name="Freeform: Shape 654">
                          <a:extLst>
                            <a:ext uri="{FF2B5EF4-FFF2-40B4-BE49-F238E27FC236}">
                              <a16:creationId xmlns:a16="http://schemas.microsoft.com/office/drawing/2014/main" id="{5FA28E24-AAF3-4726-A690-D1CB1372ADA1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25082" y="3806867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56" name="Freeform: Shape 655">
                          <a:extLst>
                            <a:ext uri="{FF2B5EF4-FFF2-40B4-BE49-F238E27FC236}">
                              <a16:creationId xmlns:a16="http://schemas.microsoft.com/office/drawing/2014/main" id="{AC8AE532-F253-4C20-864B-1D9C7E0CE05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33759" y="3806867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57" name="Freeform: Shape 656">
                          <a:extLst>
                            <a:ext uri="{FF2B5EF4-FFF2-40B4-BE49-F238E27FC236}">
                              <a16:creationId xmlns:a16="http://schemas.microsoft.com/office/drawing/2014/main" id="{62C64D06-245E-4691-B3A0-E2C50E05EDD0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42436" y="3806867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74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58" name="Freeform: Shape 657">
                          <a:extLst>
                            <a:ext uri="{FF2B5EF4-FFF2-40B4-BE49-F238E27FC236}">
                              <a16:creationId xmlns:a16="http://schemas.microsoft.com/office/drawing/2014/main" id="{79C67A9B-EC9E-4ADF-8A1B-DC5E448234FE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86140" y="3806867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48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59" name="Freeform: Shape 658">
                          <a:extLst>
                            <a:ext uri="{FF2B5EF4-FFF2-40B4-BE49-F238E27FC236}">
                              <a16:creationId xmlns:a16="http://schemas.microsoft.com/office/drawing/2014/main" id="{6532B7E2-3678-4C7F-9D0E-3C00F5C53B52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94817" y="3806867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60" name="Freeform: Shape 659">
                          <a:extLst>
                            <a:ext uri="{FF2B5EF4-FFF2-40B4-BE49-F238E27FC236}">
                              <a16:creationId xmlns:a16="http://schemas.microsoft.com/office/drawing/2014/main" id="{4FC3F080-DCDB-4597-9D99-739926E3D5F2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03494" y="3806867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61" name="Freeform: Shape 660">
                          <a:extLst>
                            <a:ext uri="{FF2B5EF4-FFF2-40B4-BE49-F238E27FC236}">
                              <a16:creationId xmlns:a16="http://schemas.microsoft.com/office/drawing/2014/main" id="{CF0D6C6C-645A-44CA-99DC-4FB2E45B7A8A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68764" y="3806867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62" name="Freeform: Shape 661">
                          <a:extLst>
                            <a:ext uri="{FF2B5EF4-FFF2-40B4-BE49-F238E27FC236}">
                              <a16:creationId xmlns:a16="http://schemas.microsoft.com/office/drawing/2014/main" id="{92D44B04-EA63-4285-87C3-118C5F157D1A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77440" y="3806867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63" name="Freeform: Shape 662">
                          <a:extLst>
                            <a:ext uri="{FF2B5EF4-FFF2-40B4-BE49-F238E27FC236}">
                              <a16:creationId xmlns:a16="http://schemas.microsoft.com/office/drawing/2014/main" id="{6595CCA6-E153-4006-AD4B-E95D07147F18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86140" y="3806867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48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64" name="Freeform: Shape 663">
                          <a:extLst>
                            <a:ext uri="{FF2B5EF4-FFF2-40B4-BE49-F238E27FC236}">
                              <a16:creationId xmlns:a16="http://schemas.microsoft.com/office/drawing/2014/main" id="{11724790-742D-42B5-BBA8-EB9DA2C65DDE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12193" y="3806867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48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65" name="Freeform: Shape 664">
                          <a:extLst>
                            <a:ext uri="{FF2B5EF4-FFF2-40B4-BE49-F238E27FC236}">
                              <a16:creationId xmlns:a16="http://schemas.microsoft.com/office/drawing/2014/main" id="{68660ABE-F719-4037-BC0D-E9E118C7B6BA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20870" y="3806867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66" name="Freeform: Shape 665">
                          <a:extLst>
                            <a:ext uri="{FF2B5EF4-FFF2-40B4-BE49-F238E27FC236}">
                              <a16:creationId xmlns:a16="http://schemas.microsoft.com/office/drawing/2014/main" id="{0D9E6E17-EC47-4DEA-8CA8-FE75CA4C0DB2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29547" y="3806867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67" name="Freeform: Shape 666">
                          <a:extLst>
                            <a:ext uri="{FF2B5EF4-FFF2-40B4-BE49-F238E27FC236}">
                              <a16:creationId xmlns:a16="http://schemas.microsoft.com/office/drawing/2014/main" id="{492788D8-F94B-479C-AC6C-92FB63AB5559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38246" y="3806867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48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68" name="Freeform: Shape 667">
                          <a:extLst>
                            <a:ext uri="{FF2B5EF4-FFF2-40B4-BE49-F238E27FC236}">
                              <a16:creationId xmlns:a16="http://schemas.microsoft.com/office/drawing/2014/main" id="{4E525F02-1E44-44F3-97FE-1026B88DD170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46923" y="3806867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</p:grpSp>
                  <p:grpSp>
                    <p:nvGrpSpPr>
                      <p:cNvPr id="669" name="Graphic 174">
                        <a:extLst>
                          <a:ext uri="{FF2B5EF4-FFF2-40B4-BE49-F238E27FC236}">
                            <a16:creationId xmlns:a16="http://schemas.microsoft.com/office/drawing/2014/main" id="{4045A780-E4ED-4946-BB38-1D6737CA17D1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6373812" y="3787280"/>
                        <a:ext cx="181441" cy="18609"/>
                        <a:chOff x="6373812" y="3787280"/>
                        <a:chExt cx="181441" cy="18609"/>
                      </a:xfrm>
                      <a:solidFill>
                        <a:schemeClr val="accent1"/>
                      </a:solidFill>
                    </p:grpSpPr>
                    <p:sp>
                      <p:nvSpPr>
                        <p:cNvPr id="670" name="Freeform: Shape 669">
                          <a:extLst>
                            <a:ext uri="{FF2B5EF4-FFF2-40B4-BE49-F238E27FC236}">
                              <a16:creationId xmlns:a16="http://schemas.microsoft.com/office/drawing/2014/main" id="{4C174B20-4C08-483C-A70E-D83CEA1F756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73812" y="3787280"/>
                          <a:ext cx="181441" cy="18609"/>
                        </a:xfrm>
                        <a:custGeom>
                          <a:avLst/>
                          <a:gdLst>
                            <a:gd name="connsiteX0" fmla="*/ 181441 w 181441"/>
                            <a:gd name="connsiteY0" fmla="*/ 18633 h 18609"/>
                            <a:gd name="connsiteX1" fmla="*/ 1605 w 181441"/>
                            <a:gd name="connsiteY1" fmla="*/ 18633 h 18609"/>
                            <a:gd name="connsiteX2" fmla="*/ 0 w 181441"/>
                            <a:gd name="connsiteY2" fmla="*/ 17028 h 18609"/>
                            <a:gd name="connsiteX3" fmla="*/ 0 w 181441"/>
                            <a:gd name="connsiteY3" fmla="*/ 1605 h 18609"/>
                            <a:gd name="connsiteX4" fmla="*/ 1605 w 181441"/>
                            <a:gd name="connsiteY4" fmla="*/ 0 h 18609"/>
                            <a:gd name="connsiteX5" fmla="*/ 181441 w 181441"/>
                            <a:gd name="connsiteY5" fmla="*/ 0 h 18609"/>
                            <a:gd name="connsiteX6" fmla="*/ 183046 w 181441"/>
                            <a:gd name="connsiteY6" fmla="*/ 1605 h 18609"/>
                            <a:gd name="connsiteX7" fmla="*/ 183046 w 181441"/>
                            <a:gd name="connsiteY7" fmla="*/ 17028 h 18609"/>
                            <a:gd name="connsiteX8" fmla="*/ 181441 w 181441"/>
                            <a:gd name="connsiteY8" fmla="*/ 18633 h 18609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181441" h="18609">
                              <a:moveTo>
                                <a:pt x="181441" y="18633"/>
                              </a:moveTo>
                              <a:lnTo>
                                <a:pt x="1605" y="18633"/>
                              </a:lnTo>
                              <a:cubicBezTo>
                                <a:pt x="721" y="18633"/>
                                <a:pt x="0" y="17912"/>
                                <a:pt x="0" y="17028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181441" y="0"/>
                              </a:lnTo>
                              <a:cubicBezTo>
                                <a:pt x="182325" y="0"/>
                                <a:pt x="183046" y="721"/>
                                <a:pt x="183046" y="1605"/>
                              </a:cubicBezTo>
                              <a:lnTo>
                                <a:pt x="183046" y="17028"/>
                              </a:lnTo>
                              <a:cubicBezTo>
                                <a:pt x="183046" y="17912"/>
                                <a:pt x="182325" y="18633"/>
                                <a:pt x="181441" y="18633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19439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71" name="Freeform: Shape 670">
                          <a:extLst>
                            <a:ext uri="{FF2B5EF4-FFF2-40B4-BE49-F238E27FC236}">
                              <a16:creationId xmlns:a16="http://schemas.microsoft.com/office/drawing/2014/main" id="{3B4AB8AF-0FAA-4106-84A8-9DF66BFE21A0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61787" y="3788071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72" name="Freeform: Shape 671">
                          <a:extLst>
                            <a:ext uri="{FF2B5EF4-FFF2-40B4-BE49-F238E27FC236}">
                              <a16:creationId xmlns:a16="http://schemas.microsoft.com/office/drawing/2014/main" id="{63EEE33E-4C4B-424A-AC92-293A34B8B30C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70487" y="3788071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73" name="Freeform: Shape 672">
                          <a:extLst>
                            <a:ext uri="{FF2B5EF4-FFF2-40B4-BE49-F238E27FC236}">
                              <a16:creationId xmlns:a16="http://schemas.microsoft.com/office/drawing/2014/main" id="{D8D7B319-B696-48BA-A842-D26BCDFF156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79164" y="3788071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74" name="Freeform: Shape 673">
                          <a:extLst>
                            <a:ext uri="{FF2B5EF4-FFF2-40B4-BE49-F238E27FC236}">
                              <a16:creationId xmlns:a16="http://schemas.microsoft.com/office/drawing/2014/main" id="{9FAB7CF8-447C-46F9-A381-FBD204C0DBC0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87840" y="3788071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75" name="Freeform: Shape 674">
                          <a:extLst>
                            <a:ext uri="{FF2B5EF4-FFF2-40B4-BE49-F238E27FC236}">
                              <a16:creationId xmlns:a16="http://schemas.microsoft.com/office/drawing/2014/main" id="{5568A577-D2AB-4169-AC2E-C6B3F4C050BC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96540" y="3788071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76" name="Freeform: Shape 675">
                          <a:extLst>
                            <a:ext uri="{FF2B5EF4-FFF2-40B4-BE49-F238E27FC236}">
                              <a16:creationId xmlns:a16="http://schemas.microsoft.com/office/drawing/2014/main" id="{3AE6E6F8-52D3-4734-B043-72851A1389B1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05217" y="3788071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77" name="Freeform: Shape 676">
                          <a:extLst>
                            <a:ext uri="{FF2B5EF4-FFF2-40B4-BE49-F238E27FC236}">
                              <a16:creationId xmlns:a16="http://schemas.microsoft.com/office/drawing/2014/main" id="{E4BD1DB5-A81E-49CA-9065-DC350119F32A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13894" y="3788071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78" name="Freeform: Shape 677">
                          <a:extLst>
                            <a:ext uri="{FF2B5EF4-FFF2-40B4-BE49-F238E27FC236}">
                              <a16:creationId xmlns:a16="http://schemas.microsoft.com/office/drawing/2014/main" id="{D78F108D-FC44-45F0-8564-96B371D4B8F0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22593" y="3788071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79" name="Freeform: Shape 678">
                          <a:extLst>
                            <a:ext uri="{FF2B5EF4-FFF2-40B4-BE49-F238E27FC236}">
                              <a16:creationId xmlns:a16="http://schemas.microsoft.com/office/drawing/2014/main" id="{7D63D0F1-518D-4CDB-B150-C350340D1DE8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31270" y="3788071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80" name="Freeform: Shape 679">
                          <a:extLst>
                            <a:ext uri="{FF2B5EF4-FFF2-40B4-BE49-F238E27FC236}">
                              <a16:creationId xmlns:a16="http://schemas.microsoft.com/office/drawing/2014/main" id="{5C9573E2-BFFF-4BB2-92E6-07F584E6CCEA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39947" y="3788071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81" name="Freeform: Shape 680">
                          <a:extLst>
                            <a:ext uri="{FF2B5EF4-FFF2-40B4-BE49-F238E27FC236}">
                              <a16:creationId xmlns:a16="http://schemas.microsoft.com/office/drawing/2014/main" id="{39A1D402-C28A-4570-B2A5-B37EEE7A9EB3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48647" y="3788071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82" name="Freeform: Shape 681">
                          <a:extLst>
                            <a:ext uri="{FF2B5EF4-FFF2-40B4-BE49-F238E27FC236}">
                              <a16:creationId xmlns:a16="http://schemas.microsoft.com/office/drawing/2014/main" id="{C4E6F1B0-4853-4B4B-97CC-49E6E070C4EA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92328" y="3788071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83" name="Freeform: Shape 682">
                          <a:extLst>
                            <a:ext uri="{FF2B5EF4-FFF2-40B4-BE49-F238E27FC236}">
                              <a16:creationId xmlns:a16="http://schemas.microsoft.com/office/drawing/2014/main" id="{78312F50-8A1A-49DC-A2B1-87142E40EC58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01004" y="3788071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84" name="Freeform: Shape 683">
                          <a:extLst>
                            <a:ext uri="{FF2B5EF4-FFF2-40B4-BE49-F238E27FC236}">
                              <a16:creationId xmlns:a16="http://schemas.microsoft.com/office/drawing/2014/main" id="{EAF11B8E-0753-4F66-9CB5-8428C9E9C025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09681" y="3788071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85" name="Freeform: Shape 684">
                          <a:extLst>
                            <a:ext uri="{FF2B5EF4-FFF2-40B4-BE49-F238E27FC236}">
                              <a16:creationId xmlns:a16="http://schemas.microsoft.com/office/drawing/2014/main" id="{03C8D960-A238-4877-BF9C-978294CE8F43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74951" y="3788071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86" name="Freeform: Shape 685">
                          <a:extLst>
                            <a:ext uri="{FF2B5EF4-FFF2-40B4-BE49-F238E27FC236}">
                              <a16:creationId xmlns:a16="http://schemas.microsoft.com/office/drawing/2014/main" id="{2B5E8233-4E3D-4F9C-A2D7-DD7B5D63B8E2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83628" y="3788071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87" name="Freeform: Shape 686">
                          <a:extLst>
                            <a:ext uri="{FF2B5EF4-FFF2-40B4-BE49-F238E27FC236}">
                              <a16:creationId xmlns:a16="http://schemas.microsoft.com/office/drawing/2014/main" id="{CDC644BF-7526-40D5-8836-FA9215AFAA17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92328" y="3788071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88" name="Freeform: Shape 687">
                          <a:extLst>
                            <a:ext uri="{FF2B5EF4-FFF2-40B4-BE49-F238E27FC236}">
                              <a16:creationId xmlns:a16="http://schemas.microsoft.com/office/drawing/2014/main" id="{DF895B19-CABF-4185-BF66-492168DD7015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18381" y="3788071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89" name="Freeform: Shape 688">
                          <a:extLst>
                            <a:ext uri="{FF2B5EF4-FFF2-40B4-BE49-F238E27FC236}">
                              <a16:creationId xmlns:a16="http://schemas.microsoft.com/office/drawing/2014/main" id="{D95E2319-B736-466C-BE04-5C7DADA83252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27058" y="3788071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90" name="Freeform: Shape 689">
                          <a:extLst>
                            <a:ext uri="{FF2B5EF4-FFF2-40B4-BE49-F238E27FC236}">
                              <a16:creationId xmlns:a16="http://schemas.microsoft.com/office/drawing/2014/main" id="{BC09FDB4-7AA9-467B-B8D7-FED97FECBC54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35734" y="3788071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91" name="Freeform: Shape 690">
                          <a:extLst>
                            <a:ext uri="{FF2B5EF4-FFF2-40B4-BE49-F238E27FC236}">
                              <a16:creationId xmlns:a16="http://schemas.microsoft.com/office/drawing/2014/main" id="{E6D45B7C-135C-4CBD-AFB6-EAD1F5BACC06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44434" y="3788071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92" name="Freeform: Shape 691">
                          <a:extLst>
                            <a:ext uri="{FF2B5EF4-FFF2-40B4-BE49-F238E27FC236}">
                              <a16:creationId xmlns:a16="http://schemas.microsoft.com/office/drawing/2014/main" id="{CB0F3F3A-EAA9-4A0A-AB67-4844CAF4B79E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53111" y="3788071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</p:grpSp>
                  <p:grpSp>
                    <p:nvGrpSpPr>
                      <p:cNvPr id="693" name="Graphic 174">
                        <a:extLst>
                          <a:ext uri="{FF2B5EF4-FFF2-40B4-BE49-F238E27FC236}">
                            <a16:creationId xmlns:a16="http://schemas.microsoft.com/office/drawing/2014/main" id="{4045A780-E4ED-4946-BB38-1D6737CA17D1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6382488" y="3768648"/>
                        <a:ext cx="181441" cy="18609"/>
                        <a:chOff x="6382488" y="3768648"/>
                        <a:chExt cx="181441" cy="18609"/>
                      </a:xfrm>
                      <a:solidFill>
                        <a:schemeClr val="accent1"/>
                      </a:solidFill>
                    </p:grpSpPr>
                    <p:sp>
                      <p:nvSpPr>
                        <p:cNvPr id="694" name="Freeform: Shape 693">
                          <a:extLst>
                            <a:ext uri="{FF2B5EF4-FFF2-40B4-BE49-F238E27FC236}">
                              <a16:creationId xmlns:a16="http://schemas.microsoft.com/office/drawing/2014/main" id="{6067D29C-91AC-476F-A200-BD16FD4AD847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82488" y="3768648"/>
                          <a:ext cx="181441" cy="18609"/>
                        </a:xfrm>
                        <a:custGeom>
                          <a:avLst/>
                          <a:gdLst>
                            <a:gd name="connsiteX0" fmla="*/ 181441 w 181441"/>
                            <a:gd name="connsiteY0" fmla="*/ 18633 h 18609"/>
                            <a:gd name="connsiteX1" fmla="*/ 1605 w 181441"/>
                            <a:gd name="connsiteY1" fmla="*/ 18633 h 18609"/>
                            <a:gd name="connsiteX2" fmla="*/ 0 w 181441"/>
                            <a:gd name="connsiteY2" fmla="*/ 17028 h 18609"/>
                            <a:gd name="connsiteX3" fmla="*/ 0 w 181441"/>
                            <a:gd name="connsiteY3" fmla="*/ 1605 h 18609"/>
                            <a:gd name="connsiteX4" fmla="*/ 1605 w 181441"/>
                            <a:gd name="connsiteY4" fmla="*/ 0 h 18609"/>
                            <a:gd name="connsiteX5" fmla="*/ 181441 w 181441"/>
                            <a:gd name="connsiteY5" fmla="*/ 0 h 18609"/>
                            <a:gd name="connsiteX6" fmla="*/ 183046 w 181441"/>
                            <a:gd name="connsiteY6" fmla="*/ 1605 h 18609"/>
                            <a:gd name="connsiteX7" fmla="*/ 183046 w 181441"/>
                            <a:gd name="connsiteY7" fmla="*/ 17028 h 18609"/>
                            <a:gd name="connsiteX8" fmla="*/ 181441 w 181441"/>
                            <a:gd name="connsiteY8" fmla="*/ 18633 h 18609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181441" h="18609">
                              <a:moveTo>
                                <a:pt x="181441" y="18633"/>
                              </a:moveTo>
                              <a:lnTo>
                                <a:pt x="1605" y="18633"/>
                              </a:lnTo>
                              <a:cubicBezTo>
                                <a:pt x="721" y="18633"/>
                                <a:pt x="0" y="17912"/>
                                <a:pt x="0" y="17028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181441" y="0"/>
                              </a:lnTo>
                              <a:cubicBezTo>
                                <a:pt x="182325" y="0"/>
                                <a:pt x="183046" y="721"/>
                                <a:pt x="183046" y="1605"/>
                              </a:cubicBezTo>
                              <a:lnTo>
                                <a:pt x="183046" y="17028"/>
                              </a:lnTo>
                              <a:cubicBezTo>
                                <a:pt x="183046" y="17912"/>
                                <a:pt x="182325" y="18633"/>
                                <a:pt x="181441" y="18633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19439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95" name="Freeform: Shape 694">
                          <a:extLst>
                            <a:ext uri="{FF2B5EF4-FFF2-40B4-BE49-F238E27FC236}">
                              <a16:creationId xmlns:a16="http://schemas.microsoft.com/office/drawing/2014/main" id="{4E82C05D-FF6B-4570-9263-9DA0795A9EB6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70487" y="3769439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96" name="Freeform: Shape 695">
                          <a:extLst>
                            <a:ext uri="{FF2B5EF4-FFF2-40B4-BE49-F238E27FC236}">
                              <a16:creationId xmlns:a16="http://schemas.microsoft.com/office/drawing/2014/main" id="{2AD6CD1D-6881-4678-86F9-64C1C009C27D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79164" y="3769439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97" name="Freeform: Shape 696">
                          <a:extLst>
                            <a:ext uri="{FF2B5EF4-FFF2-40B4-BE49-F238E27FC236}">
                              <a16:creationId xmlns:a16="http://schemas.microsoft.com/office/drawing/2014/main" id="{B6F8BFAD-B28F-4750-B5D1-C501F5D5FE25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87840" y="3769439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98" name="Freeform: Shape 697">
                          <a:extLst>
                            <a:ext uri="{FF2B5EF4-FFF2-40B4-BE49-F238E27FC236}">
                              <a16:creationId xmlns:a16="http://schemas.microsoft.com/office/drawing/2014/main" id="{86AFDAF7-95EA-4936-8BBA-BA0AAAB04BDA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96540" y="3769439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699" name="Freeform: Shape 698">
                          <a:extLst>
                            <a:ext uri="{FF2B5EF4-FFF2-40B4-BE49-F238E27FC236}">
                              <a16:creationId xmlns:a16="http://schemas.microsoft.com/office/drawing/2014/main" id="{7351F978-6BA4-498C-AEFE-766885A8CC15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05217" y="3769439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700" name="Freeform: Shape 699">
                          <a:extLst>
                            <a:ext uri="{FF2B5EF4-FFF2-40B4-BE49-F238E27FC236}">
                              <a16:creationId xmlns:a16="http://schemas.microsoft.com/office/drawing/2014/main" id="{F660AA60-5B50-4D93-B7E3-04A7FB8FF476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13894" y="3769439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701" name="Freeform: Shape 700">
                          <a:extLst>
                            <a:ext uri="{FF2B5EF4-FFF2-40B4-BE49-F238E27FC236}">
                              <a16:creationId xmlns:a16="http://schemas.microsoft.com/office/drawing/2014/main" id="{5F048DCC-BF75-4105-8137-4ACEE6FA7D37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22593" y="3769439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702" name="Freeform: Shape 701">
                          <a:extLst>
                            <a:ext uri="{FF2B5EF4-FFF2-40B4-BE49-F238E27FC236}">
                              <a16:creationId xmlns:a16="http://schemas.microsoft.com/office/drawing/2014/main" id="{1C75A548-457D-4B05-AF80-035C80ABEB4D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31270" y="3769439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703" name="Freeform: Shape 702">
                          <a:extLst>
                            <a:ext uri="{FF2B5EF4-FFF2-40B4-BE49-F238E27FC236}">
                              <a16:creationId xmlns:a16="http://schemas.microsoft.com/office/drawing/2014/main" id="{0ADF06BF-AB32-4D97-A3AA-8BB531CB8A3A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39947" y="3769439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704" name="Freeform: Shape 703">
                          <a:extLst>
                            <a:ext uri="{FF2B5EF4-FFF2-40B4-BE49-F238E27FC236}">
                              <a16:creationId xmlns:a16="http://schemas.microsoft.com/office/drawing/2014/main" id="{9655CFC3-4DB1-4FF9-BC15-A34332509FE6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48647" y="3769439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705" name="Freeform: Shape 704">
                          <a:extLst>
                            <a:ext uri="{FF2B5EF4-FFF2-40B4-BE49-F238E27FC236}">
                              <a16:creationId xmlns:a16="http://schemas.microsoft.com/office/drawing/2014/main" id="{3DB15EAF-71D3-425A-B411-EEF2FE68BCC9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57323" y="3769439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706" name="Freeform: Shape 705">
                          <a:extLst>
                            <a:ext uri="{FF2B5EF4-FFF2-40B4-BE49-F238E27FC236}">
                              <a16:creationId xmlns:a16="http://schemas.microsoft.com/office/drawing/2014/main" id="{ABA0EB1C-2B1A-44E8-8E04-7EF16A874F2D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01004" y="3769439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707" name="Freeform: Shape 706">
                          <a:extLst>
                            <a:ext uri="{FF2B5EF4-FFF2-40B4-BE49-F238E27FC236}">
                              <a16:creationId xmlns:a16="http://schemas.microsoft.com/office/drawing/2014/main" id="{35465FA2-4A46-4875-90AA-EF3ACCFCE199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09681" y="3769439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708" name="Freeform: Shape 707">
                          <a:extLst>
                            <a:ext uri="{FF2B5EF4-FFF2-40B4-BE49-F238E27FC236}">
                              <a16:creationId xmlns:a16="http://schemas.microsoft.com/office/drawing/2014/main" id="{EC4570E1-B9EF-4C8D-AEA7-8C640DA48A66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18381" y="3769439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709" name="Freeform: Shape 708">
                          <a:extLst>
                            <a:ext uri="{FF2B5EF4-FFF2-40B4-BE49-F238E27FC236}">
                              <a16:creationId xmlns:a16="http://schemas.microsoft.com/office/drawing/2014/main" id="{F073351B-EEB9-47B3-B9FF-C99893B94097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83628" y="3769439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710" name="Freeform: Shape 709">
                          <a:extLst>
                            <a:ext uri="{FF2B5EF4-FFF2-40B4-BE49-F238E27FC236}">
                              <a16:creationId xmlns:a16="http://schemas.microsoft.com/office/drawing/2014/main" id="{F4E3644A-14E6-4165-82C5-F3CFE82FDDCE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92328" y="3769439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711" name="Freeform: Shape 710">
                          <a:extLst>
                            <a:ext uri="{FF2B5EF4-FFF2-40B4-BE49-F238E27FC236}">
                              <a16:creationId xmlns:a16="http://schemas.microsoft.com/office/drawing/2014/main" id="{16E69A58-8C69-4762-A8E0-A5C32BDF9A8B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01004" y="3769439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712" name="Freeform: Shape 711">
                          <a:extLst>
                            <a:ext uri="{FF2B5EF4-FFF2-40B4-BE49-F238E27FC236}">
                              <a16:creationId xmlns:a16="http://schemas.microsoft.com/office/drawing/2014/main" id="{A7E2C3DC-0D7D-4A52-8C79-CE99FFBD1B20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27058" y="3769439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713" name="Freeform: Shape 712">
                          <a:extLst>
                            <a:ext uri="{FF2B5EF4-FFF2-40B4-BE49-F238E27FC236}">
                              <a16:creationId xmlns:a16="http://schemas.microsoft.com/office/drawing/2014/main" id="{1F782D38-8F99-46EA-981E-F834B57B7AD1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35734" y="3769439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714" name="Freeform: Shape 713">
                          <a:extLst>
                            <a:ext uri="{FF2B5EF4-FFF2-40B4-BE49-F238E27FC236}">
                              <a16:creationId xmlns:a16="http://schemas.microsoft.com/office/drawing/2014/main" id="{3D1B01E2-E158-43B4-97D2-9CDA5A1624BE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44434" y="3769439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715" name="Freeform: Shape 714">
                          <a:extLst>
                            <a:ext uri="{FF2B5EF4-FFF2-40B4-BE49-F238E27FC236}">
                              <a16:creationId xmlns:a16="http://schemas.microsoft.com/office/drawing/2014/main" id="{57E7DBC0-0B01-419B-9FD0-6D1FF34223C7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53111" y="3769439"/>
                          <a:ext cx="6979" cy="16283"/>
                        </a:xfrm>
                        <a:custGeom>
                          <a:avLst/>
                          <a:gdLst>
                            <a:gd name="connsiteX0" fmla="*/ 5466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6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6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6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6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6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716" name="Freeform: Shape 715">
                          <a:extLst>
                            <a:ext uri="{FF2B5EF4-FFF2-40B4-BE49-F238E27FC236}">
                              <a16:creationId xmlns:a16="http://schemas.microsoft.com/office/drawing/2014/main" id="{91DAA6E1-88DF-4B97-AB4F-7F6EF53BA6F3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61787" y="3769439"/>
                          <a:ext cx="6979" cy="16283"/>
                        </a:xfrm>
                        <a:custGeom>
                          <a:avLst/>
                          <a:gdLst>
                            <a:gd name="connsiteX0" fmla="*/ 5467 w 6978"/>
                            <a:gd name="connsiteY0" fmla="*/ 17051 h 16283"/>
                            <a:gd name="connsiteX1" fmla="*/ 1605 w 6978"/>
                            <a:gd name="connsiteY1" fmla="*/ 17051 h 16283"/>
                            <a:gd name="connsiteX2" fmla="*/ 0 w 6978"/>
                            <a:gd name="connsiteY2" fmla="*/ 15446 h 16283"/>
                            <a:gd name="connsiteX3" fmla="*/ 0 w 6978"/>
                            <a:gd name="connsiteY3" fmla="*/ 1605 h 16283"/>
                            <a:gd name="connsiteX4" fmla="*/ 1605 w 6978"/>
                            <a:gd name="connsiteY4" fmla="*/ 0 h 16283"/>
                            <a:gd name="connsiteX5" fmla="*/ 5467 w 6978"/>
                            <a:gd name="connsiteY5" fmla="*/ 0 h 16283"/>
                            <a:gd name="connsiteX6" fmla="*/ 7072 w 6978"/>
                            <a:gd name="connsiteY6" fmla="*/ 1605 h 16283"/>
                            <a:gd name="connsiteX7" fmla="*/ 7072 w 6978"/>
                            <a:gd name="connsiteY7" fmla="*/ 15446 h 16283"/>
                            <a:gd name="connsiteX8" fmla="*/ 5467 w 6978"/>
                            <a:gd name="connsiteY8" fmla="*/ 1705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6978" h="16283">
                              <a:moveTo>
                                <a:pt x="5467" y="17051"/>
                              </a:moveTo>
                              <a:lnTo>
                                <a:pt x="1605" y="17051"/>
                              </a:lnTo>
                              <a:cubicBezTo>
                                <a:pt x="721" y="17051"/>
                                <a:pt x="0" y="16330"/>
                                <a:pt x="0" y="15446"/>
                              </a:cubicBezTo>
                              <a:lnTo>
                                <a:pt x="0" y="1605"/>
                              </a:lnTo>
                              <a:cubicBezTo>
                                <a:pt x="0" y="721"/>
                                <a:pt x="721" y="0"/>
                                <a:pt x="1605" y="0"/>
                              </a:cubicBezTo>
                              <a:lnTo>
                                <a:pt x="5467" y="0"/>
                              </a:lnTo>
                              <a:cubicBezTo>
                                <a:pt x="6350" y="0"/>
                                <a:pt x="7072" y="721"/>
                                <a:pt x="7072" y="1605"/>
                              </a:cubicBezTo>
                              <a:lnTo>
                                <a:pt x="7072" y="15446"/>
                              </a:lnTo>
                              <a:cubicBezTo>
                                <a:pt x="7072" y="16330"/>
                                <a:pt x="6350" y="17051"/>
                                <a:pt x="5467" y="1705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</p:grpSp>
                </p:grpSp>
              </p:grpSp>
              <p:grpSp>
                <p:nvGrpSpPr>
                  <p:cNvPr id="717" name="Graphic 174">
                    <a:extLst>
                      <a:ext uri="{FF2B5EF4-FFF2-40B4-BE49-F238E27FC236}">
                        <a16:creationId xmlns:a16="http://schemas.microsoft.com/office/drawing/2014/main" id="{4045A780-E4ED-4946-BB38-1D6737CA17D1}"/>
                      </a:ext>
                    </a:extLst>
                  </p:cNvPr>
                  <p:cNvGrpSpPr/>
                  <p:nvPr/>
                </p:nvGrpSpPr>
                <p:grpSpPr>
                  <a:xfrm>
                    <a:off x="6806973" y="3348596"/>
                    <a:ext cx="481500" cy="527305"/>
                    <a:chOff x="6806973" y="3348596"/>
                    <a:chExt cx="481500" cy="527305"/>
                  </a:xfrm>
                  <a:solidFill>
                    <a:schemeClr val="accent1"/>
                  </a:solidFill>
                </p:grpSpPr>
                <p:grpSp>
                  <p:nvGrpSpPr>
                    <p:cNvPr id="718" name="Graphic 174">
                      <a:extLst>
                        <a:ext uri="{FF2B5EF4-FFF2-40B4-BE49-F238E27FC236}">
                          <a16:creationId xmlns:a16="http://schemas.microsoft.com/office/drawing/2014/main" id="{4045A780-E4ED-4946-BB38-1D6737CA17D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6813397" y="3348596"/>
                      <a:ext cx="337295" cy="521062"/>
                      <a:chOff x="6813397" y="3348596"/>
                      <a:chExt cx="337295" cy="521062"/>
                    </a:xfrm>
                    <a:solidFill>
                      <a:schemeClr val="accent1"/>
                    </a:solidFill>
                  </p:grpSpPr>
                  <p:sp>
                    <p:nvSpPr>
                      <p:cNvPr id="719" name="Freeform: Shape 718">
                        <a:extLst>
                          <a:ext uri="{FF2B5EF4-FFF2-40B4-BE49-F238E27FC236}">
                            <a16:creationId xmlns:a16="http://schemas.microsoft.com/office/drawing/2014/main" id="{507940EB-CA87-4D64-B9E5-82078D7437E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813397" y="3348596"/>
                        <a:ext cx="337295" cy="521062"/>
                      </a:xfrm>
                      <a:custGeom>
                        <a:avLst/>
                        <a:gdLst>
                          <a:gd name="connsiteX0" fmla="*/ 130629 w 337294"/>
                          <a:gd name="connsiteY0" fmla="*/ 9645 h 521062"/>
                          <a:gd name="connsiteX1" fmla="*/ 550 w 337294"/>
                          <a:gd name="connsiteY1" fmla="*/ 451571 h 521062"/>
                          <a:gd name="connsiteX2" fmla="*/ 9645 w 337294"/>
                          <a:gd name="connsiteY2" fmla="*/ 468226 h 521062"/>
                          <a:gd name="connsiteX3" fmla="*/ 191738 w 337294"/>
                          <a:gd name="connsiteY3" fmla="*/ 521821 h 521062"/>
                          <a:gd name="connsiteX4" fmla="*/ 208416 w 337294"/>
                          <a:gd name="connsiteY4" fmla="*/ 512726 h 521062"/>
                          <a:gd name="connsiteX5" fmla="*/ 338496 w 337294"/>
                          <a:gd name="connsiteY5" fmla="*/ 70823 h 521062"/>
                          <a:gd name="connsiteX6" fmla="*/ 329400 w 337294"/>
                          <a:gd name="connsiteY6" fmla="*/ 54145 h 521062"/>
                          <a:gd name="connsiteX7" fmla="*/ 147308 w 337294"/>
                          <a:gd name="connsiteY7" fmla="*/ 550 h 521062"/>
                          <a:gd name="connsiteX8" fmla="*/ 130629 w 337294"/>
                          <a:gd name="connsiteY8" fmla="*/ 9645 h 52106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337294" h="521062">
                            <a:moveTo>
                              <a:pt x="130629" y="9645"/>
                            </a:moveTo>
                            <a:lnTo>
                              <a:pt x="550" y="451571"/>
                            </a:lnTo>
                            <a:cubicBezTo>
                              <a:pt x="-1544" y="458689"/>
                              <a:pt x="2527" y="466133"/>
                              <a:pt x="9645" y="468226"/>
                            </a:cubicBezTo>
                            <a:lnTo>
                              <a:pt x="191738" y="521821"/>
                            </a:lnTo>
                            <a:cubicBezTo>
                              <a:pt x="198856" y="523915"/>
                              <a:pt x="206323" y="519844"/>
                              <a:pt x="208416" y="512726"/>
                            </a:cubicBezTo>
                            <a:lnTo>
                              <a:pt x="338496" y="70823"/>
                            </a:lnTo>
                            <a:cubicBezTo>
                              <a:pt x="340589" y="63705"/>
                              <a:pt x="336518" y="56238"/>
                              <a:pt x="329400" y="54145"/>
                            </a:cubicBezTo>
                            <a:lnTo>
                              <a:pt x="147308" y="550"/>
                            </a:lnTo>
                            <a:cubicBezTo>
                              <a:pt x="140190" y="-1544"/>
                              <a:pt x="132746" y="2527"/>
                              <a:pt x="130629" y="9645"/>
                            </a:cubicBezTo>
                            <a:close/>
                          </a:path>
                        </a:pathLst>
                      </a:custGeom>
                      <a:solidFill>
                        <a:srgbClr val="90855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720" name="Freeform: Shape 719">
                        <a:extLst>
                          <a:ext uri="{FF2B5EF4-FFF2-40B4-BE49-F238E27FC236}">
                            <a16:creationId xmlns:a16="http://schemas.microsoft.com/office/drawing/2014/main" id="{057964CC-C036-454C-BCEB-9956F672BB0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913057" y="3388217"/>
                        <a:ext cx="197724" cy="202377"/>
                      </a:xfrm>
                      <a:custGeom>
                        <a:avLst/>
                        <a:gdLst>
                          <a:gd name="connsiteX0" fmla="*/ 95707 w 197724"/>
                          <a:gd name="connsiteY0" fmla="*/ 4451 h 202376"/>
                          <a:gd name="connsiteX1" fmla="*/ 41530 w 197724"/>
                          <a:gd name="connsiteY1" fmla="*/ 33994 h 202376"/>
                          <a:gd name="connsiteX2" fmla="*/ 33179 w 197724"/>
                          <a:gd name="connsiteY2" fmla="*/ 39274 h 202376"/>
                          <a:gd name="connsiteX3" fmla="*/ 171 w 197724"/>
                          <a:gd name="connsiteY3" fmla="*/ 151419 h 202376"/>
                          <a:gd name="connsiteX4" fmla="*/ 1636 w 197724"/>
                          <a:gd name="connsiteY4" fmla="*/ 156071 h 202376"/>
                          <a:gd name="connsiteX5" fmla="*/ 6498 w 197724"/>
                          <a:gd name="connsiteY5" fmla="*/ 156490 h 202376"/>
                          <a:gd name="connsiteX6" fmla="*/ 90891 w 197724"/>
                          <a:gd name="connsiteY6" fmla="*/ 150140 h 202376"/>
                          <a:gd name="connsiteX7" fmla="*/ 158397 w 197724"/>
                          <a:gd name="connsiteY7" fmla="*/ 201222 h 202376"/>
                          <a:gd name="connsiteX8" fmla="*/ 162700 w 197724"/>
                          <a:gd name="connsiteY8" fmla="*/ 203502 h 202376"/>
                          <a:gd name="connsiteX9" fmla="*/ 166445 w 197724"/>
                          <a:gd name="connsiteY9" fmla="*/ 200385 h 202376"/>
                          <a:gd name="connsiteX10" fmla="*/ 199454 w 197724"/>
                          <a:gd name="connsiteY10" fmla="*/ 88240 h 202376"/>
                          <a:gd name="connsiteX11" fmla="*/ 195290 w 197724"/>
                          <a:gd name="connsiteY11" fmla="*/ 79284 h 202376"/>
                          <a:gd name="connsiteX12" fmla="*/ 165748 w 197724"/>
                          <a:gd name="connsiteY12" fmla="*/ 25108 h 202376"/>
                          <a:gd name="connsiteX13" fmla="*/ 160467 w 197724"/>
                          <a:gd name="connsiteY13" fmla="*/ 16757 h 202376"/>
                          <a:gd name="connsiteX14" fmla="*/ 104616 w 197724"/>
                          <a:gd name="connsiteY14" fmla="*/ 311 h 202376"/>
                          <a:gd name="connsiteX15" fmla="*/ 95707 w 197724"/>
                          <a:gd name="connsiteY15" fmla="*/ 4451 h 20237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</a:cxnLst>
                        <a:rect l="l" t="t" r="r" b="b"/>
                        <a:pathLst>
                          <a:path w="197724" h="202376">
                            <a:moveTo>
                              <a:pt x="95707" y="4451"/>
                            </a:moveTo>
                            <a:cubicBezTo>
                              <a:pt x="86495" y="25410"/>
                              <a:pt x="64140" y="37599"/>
                              <a:pt x="41530" y="33994"/>
                            </a:cubicBezTo>
                            <a:cubicBezTo>
                              <a:pt x="37808" y="33389"/>
                              <a:pt x="34249" y="35645"/>
                              <a:pt x="33179" y="39274"/>
                            </a:cubicBezTo>
                            <a:lnTo>
                              <a:pt x="171" y="151419"/>
                            </a:lnTo>
                            <a:cubicBezTo>
                              <a:pt x="-318" y="153117"/>
                              <a:pt x="264" y="154955"/>
                              <a:pt x="1636" y="156071"/>
                            </a:cubicBezTo>
                            <a:cubicBezTo>
                              <a:pt x="3032" y="157188"/>
                              <a:pt x="4939" y="157351"/>
                              <a:pt x="6498" y="156490"/>
                            </a:cubicBezTo>
                            <a:cubicBezTo>
                              <a:pt x="28922" y="144138"/>
                              <a:pt x="59814" y="140974"/>
                              <a:pt x="90891" y="150140"/>
                            </a:cubicBezTo>
                            <a:cubicBezTo>
                              <a:pt x="121969" y="159281"/>
                              <a:pt x="146231" y="178705"/>
                              <a:pt x="158397" y="201222"/>
                            </a:cubicBezTo>
                            <a:cubicBezTo>
                              <a:pt x="159234" y="202781"/>
                              <a:pt x="160932" y="203688"/>
                              <a:pt x="162700" y="203502"/>
                            </a:cubicBezTo>
                            <a:cubicBezTo>
                              <a:pt x="164468" y="203316"/>
                              <a:pt x="165957" y="202083"/>
                              <a:pt x="166445" y="200385"/>
                            </a:cubicBezTo>
                            <a:lnTo>
                              <a:pt x="199454" y="88240"/>
                            </a:lnTo>
                            <a:cubicBezTo>
                              <a:pt x="200524" y="84635"/>
                              <a:pt x="198733" y="80796"/>
                              <a:pt x="195290" y="79284"/>
                            </a:cubicBezTo>
                            <a:cubicBezTo>
                              <a:pt x="174331" y="70073"/>
                              <a:pt x="162142" y="47718"/>
                              <a:pt x="165748" y="25108"/>
                            </a:cubicBezTo>
                            <a:cubicBezTo>
                              <a:pt x="166352" y="21386"/>
                              <a:pt x="164096" y="17827"/>
                              <a:pt x="160467" y="16757"/>
                            </a:cubicBezTo>
                            <a:lnTo>
                              <a:pt x="104616" y="311"/>
                            </a:lnTo>
                            <a:cubicBezTo>
                              <a:pt x="101057" y="-759"/>
                              <a:pt x="97219" y="1009"/>
                              <a:pt x="95707" y="4451"/>
                            </a:cubicBezTo>
                            <a:close/>
                          </a:path>
                        </a:pathLst>
                      </a:custGeom>
                      <a:solidFill>
                        <a:srgbClr val="FFFFB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721" name="Freeform: Shape 720">
                        <a:extLst>
                          <a:ext uri="{FF2B5EF4-FFF2-40B4-BE49-F238E27FC236}">
                            <a16:creationId xmlns:a16="http://schemas.microsoft.com/office/drawing/2014/main" id="{0520A108-7795-409D-9229-F727F82B3B7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853020" y="3627960"/>
                        <a:ext cx="197724" cy="202377"/>
                      </a:xfrm>
                      <a:custGeom>
                        <a:avLst/>
                        <a:gdLst>
                          <a:gd name="connsiteX0" fmla="*/ 37039 w 197724"/>
                          <a:gd name="connsiteY0" fmla="*/ 24 h 202376"/>
                          <a:gd name="connsiteX1" fmla="*/ 33294 w 197724"/>
                          <a:gd name="connsiteY1" fmla="*/ 3141 h 202376"/>
                          <a:gd name="connsiteX2" fmla="*/ 309 w 197724"/>
                          <a:gd name="connsiteY2" fmla="*/ 115193 h 202376"/>
                          <a:gd name="connsiteX3" fmla="*/ 4472 w 197724"/>
                          <a:gd name="connsiteY3" fmla="*/ 124149 h 202376"/>
                          <a:gd name="connsiteX4" fmla="*/ 33992 w 197724"/>
                          <a:gd name="connsiteY4" fmla="*/ 178325 h 202376"/>
                          <a:gd name="connsiteX5" fmla="*/ 39272 w 197724"/>
                          <a:gd name="connsiteY5" fmla="*/ 186676 h 202376"/>
                          <a:gd name="connsiteX6" fmla="*/ 95123 w 197724"/>
                          <a:gd name="connsiteY6" fmla="*/ 203122 h 202376"/>
                          <a:gd name="connsiteX7" fmla="*/ 104079 w 197724"/>
                          <a:gd name="connsiteY7" fmla="*/ 198958 h 202376"/>
                          <a:gd name="connsiteX8" fmla="*/ 158256 w 197724"/>
                          <a:gd name="connsiteY8" fmla="*/ 169416 h 202376"/>
                          <a:gd name="connsiteX9" fmla="*/ 166607 w 197724"/>
                          <a:gd name="connsiteY9" fmla="*/ 164135 h 202376"/>
                          <a:gd name="connsiteX10" fmla="*/ 199592 w 197724"/>
                          <a:gd name="connsiteY10" fmla="*/ 52084 h 202376"/>
                          <a:gd name="connsiteX11" fmla="*/ 198126 w 197724"/>
                          <a:gd name="connsiteY11" fmla="*/ 47431 h 202376"/>
                          <a:gd name="connsiteX12" fmla="*/ 193264 w 197724"/>
                          <a:gd name="connsiteY12" fmla="*/ 47013 h 202376"/>
                          <a:gd name="connsiteX13" fmla="*/ 108848 w 197724"/>
                          <a:gd name="connsiteY13" fmla="*/ 53363 h 202376"/>
                          <a:gd name="connsiteX14" fmla="*/ 41342 w 197724"/>
                          <a:gd name="connsiteY14" fmla="*/ 2304 h 202376"/>
                          <a:gd name="connsiteX15" fmla="*/ 37039 w 197724"/>
                          <a:gd name="connsiteY15" fmla="*/ 24 h 20237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</a:cxnLst>
                        <a:rect l="l" t="t" r="r" b="b"/>
                        <a:pathLst>
                          <a:path w="197724" h="202376">
                            <a:moveTo>
                              <a:pt x="37039" y="24"/>
                            </a:moveTo>
                            <a:cubicBezTo>
                              <a:pt x="35271" y="210"/>
                              <a:pt x="33805" y="1443"/>
                              <a:pt x="33294" y="3141"/>
                            </a:cubicBezTo>
                            <a:lnTo>
                              <a:pt x="309" y="115193"/>
                            </a:lnTo>
                            <a:cubicBezTo>
                              <a:pt x="-761" y="118798"/>
                              <a:pt x="1030" y="122637"/>
                              <a:pt x="4472" y="124149"/>
                            </a:cubicBezTo>
                            <a:cubicBezTo>
                              <a:pt x="25431" y="133360"/>
                              <a:pt x="37620" y="155715"/>
                              <a:pt x="33992" y="178325"/>
                            </a:cubicBezTo>
                            <a:cubicBezTo>
                              <a:pt x="33410" y="182047"/>
                              <a:pt x="35666" y="185606"/>
                              <a:pt x="39272" y="186676"/>
                            </a:cubicBezTo>
                            <a:lnTo>
                              <a:pt x="95123" y="203122"/>
                            </a:lnTo>
                            <a:cubicBezTo>
                              <a:pt x="98729" y="204192"/>
                              <a:pt x="102567" y="202401"/>
                              <a:pt x="104079" y="198958"/>
                            </a:cubicBezTo>
                            <a:cubicBezTo>
                              <a:pt x="113291" y="177999"/>
                              <a:pt x="135645" y="165810"/>
                              <a:pt x="158256" y="169416"/>
                            </a:cubicBezTo>
                            <a:cubicBezTo>
                              <a:pt x="161977" y="170021"/>
                              <a:pt x="165536" y="167764"/>
                              <a:pt x="166607" y="164135"/>
                            </a:cubicBezTo>
                            <a:lnTo>
                              <a:pt x="199592" y="52084"/>
                            </a:lnTo>
                            <a:cubicBezTo>
                              <a:pt x="200103" y="50386"/>
                              <a:pt x="199522" y="48548"/>
                              <a:pt x="198126" y="47431"/>
                            </a:cubicBezTo>
                            <a:cubicBezTo>
                              <a:pt x="196730" y="46315"/>
                              <a:pt x="194823" y="46152"/>
                              <a:pt x="193264" y="47013"/>
                            </a:cubicBezTo>
                            <a:cubicBezTo>
                              <a:pt x="170840" y="59365"/>
                              <a:pt x="139949" y="62528"/>
                              <a:pt x="108848" y="53363"/>
                            </a:cubicBezTo>
                            <a:cubicBezTo>
                              <a:pt x="77770" y="44221"/>
                              <a:pt x="53508" y="24798"/>
                              <a:pt x="41342" y="2304"/>
                            </a:cubicBezTo>
                            <a:cubicBezTo>
                              <a:pt x="40505" y="745"/>
                              <a:pt x="38807" y="-162"/>
                              <a:pt x="37039" y="24"/>
                            </a:cubicBezTo>
                            <a:close/>
                          </a:path>
                        </a:pathLst>
                      </a:custGeom>
                      <a:solidFill>
                        <a:srgbClr val="FFFFB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722" name="Freeform: Shape 721">
                        <a:extLst>
                          <a:ext uri="{FF2B5EF4-FFF2-40B4-BE49-F238E27FC236}">
                            <a16:creationId xmlns:a16="http://schemas.microsoft.com/office/drawing/2014/main" id="{B87FC283-5205-4593-8825-225B8D9129A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899823" y="3562767"/>
                        <a:ext cx="165158" cy="93047"/>
                      </a:xfrm>
                      <a:custGeom>
                        <a:avLst/>
                        <a:gdLst>
                          <a:gd name="connsiteX0" fmla="*/ 76769 w 165158"/>
                          <a:gd name="connsiteY0" fmla="*/ 17228 h 93046"/>
                          <a:gd name="connsiteX1" fmla="*/ 71396 w 165158"/>
                          <a:gd name="connsiteY1" fmla="*/ 2876 h 93046"/>
                          <a:gd name="connsiteX2" fmla="*/ 43854 w 165158"/>
                          <a:gd name="connsiteY2" fmla="*/ 2853 h 93046"/>
                          <a:gd name="connsiteX3" fmla="*/ 27501 w 165158"/>
                          <a:gd name="connsiteY3" fmla="*/ 19369 h 93046"/>
                          <a:gd name="connsiteX4" fmla="*/ 13893 w 165158"/>
                          <a:gd name="connsiteY4" fmla="*/ 15368 h 93046"/>
                          <a:gd name="connsiteX5" fmla="*/ 448 w 165158"/>
                          <a:gd name="connsiteY5" fmla="*/ 22695 h 93046"/>
                          <a:gd name="connsiteX6" fmla="*/ 7775 w 165158"/>
                          <a:gd name="connsiteY6" fmla="*/ 36140 h 93046"/>
                          <a:gd name="connsiteX7" fmla="*/ 21337 w 165158"/>
                          <a:gd name="connsiteY7" fmla="*/ 40141 h 93046"/>
                          <a:gd name="connsiteX8" fmla="*/ 24942 w 165158"/>
                          <a:gd name="connsiteY8" fmla="*/ 61449 h 93046"/>
                          <a:gd name="connsiteX9" fmla="*/ 47832 w 165158"/>
                          <a:gd name="connsiteY9" fmla="*/ 77453 h 93046"/>
                          <a:gd name="connsiteX10" fmla="*/ 91657 w 165158"/>
                          <a:gd name="connsiteY10" fmla="*/ 53633 h 93046"/>
                          <a:gd name="connsiteX11" fmla="*/ 113221 w 165158"/>
                          <a:gd name="connsiteY11" fmla="*/ 37629 h 93046"/>
                          <a:gd name="connsiteX12" fmla="*/ 122293 w 165158"/>
                          <a:gd name="connsiteY12" fmla="*/ 43119 h 93046"/>
                          <a:gd name="connsiteX13" fmla="*/ 121990 w 165158"/>
                          <a:gd name="connsiteY13" fmla="*/ 58448 h 93046"/>
                          <a:gd name="connsiteX14" fmla="*/ 113453 w 165158"/>
                          <a:gd name="connsiteY14" fmla="*/ 71405 h 93046"/>
                          <a:gd name="connsiteX15" fmla="*/ 103660 w 165158"/>
                          <a:gd name="connsiteY15" fmla="*/ 71382 h 93046"/>
                          <a:gd name="connsiteX16" fmla="*/ 89447 w 165158"/>
                          <a:gd name="connsiteY16" fmla="*/ 76802 h 93046"/>
                          <a:gd name="connsiteX17" fmla="*/ 94821 w 165158"/>
                          <a:gd name="connsiteY17" fmla="*/ 91154 h 93046"/>
                          <a:gd name="connsiteX18" fmla="*/ 122362 w 165158"/>
                          <a:gd name="connsiteY18" fmla="*/ 91177 h 93046"/>
                          <a:gd name="connsiteX19" fmla="*/ 138715 w 165158"/>
                          <a:gd name="connsiteY19" fmla="*/ 74662 h 93046"/>
                          <a:gd name="connsiteX20" fmla="*/ 152323 w 165158"/>
                          <a:gd name="connsiteY20" fmla="*/ 78663 h 93046"/>
                          <a:gd name="connsiteX21" fmla="*/ 165769 w 165158"/>
                          <a:gd name="connsiteY21" fmla="*/ 71335 h 93046"/>
                          <a:gd name="connsiteX22" fmla="*/ 158441 w 165158"/>
                          <a:gd name="connsiteY22" fmla="*/ 57890 h 93046"/>
                          <a:gd name="connsiteX23" fmla="*/ 144880 w 165158"/>
                          <a:gd name="connsiteY23" fmla="*/ 53889 h 93046"/>
                          <a:gd name="connsiteX24" fmla="*/ 141251 w 165158"/>
                          <a:gd name="connsiteY24" fmla="*/ 32581 h 93046"/>
                          <a:gd name="connsiteX25" fmla="*/ 118361 w 165158"/>
                          <a:gd name="connsiteY25" fmla="*/ 16577 h 93046"/>
                          <a:gd name="connsiteX26" fmla="*/ 74536 w 165158"/>
                          <a:gd name="connsiteY26" fmla="*/ 40397 h 93046"/>
                          <a:gd name="connsiteX27" fmla="*/ 52973 w 165158"/>
                          <a:gd name="connsiteY27" fmla="*/ 56401 h 93046"/>
                          <a:gd name="connsiteX28" fmla="*/ 43901 w 165158"/>
                          <a:gd name="connsiteY28" fmla="*/ 50911 h 93046"/>
                          <a:gd name="connsiteX29" fmla="*/ 44226 w 165158"/>
                          <a:gd name="connsiteY29" fmla="*/ 35582 h 93046"/>
                          <a:gd name="connsiteX30" fmla="*/ 52763 w 165158"/>
                          <a:gd name="connsiteY30" fmla="*/ 22625 h 93046"/>
                          <a:gd name="connsiteX31" fmla="*/ 62580 w 165158"/>
                          <a:gd name="connsiteY31" fmla="*/ 22648 h 93046"/>
                          <a:gd name="connsiteX32" fmla="*/ 76769 w 165158"/>
                          <a:gd name="connsiteY32" fmla="*/ 17228 h 9304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</a:cxnLst>
                        <a:rect l="l" t="t" r="r" b="b"/>
                        <a:pathLst>
                          <a:path w="165158" h="93046">
                            <a:moveTo>
                              <a:pt x="76769" y="17228"/>
                            </a:moveTo>
                            <a:cubicBezTo>
                              <a:pt x="79258" y="11855"/>
                              <a:pt x="76839" y="5365"/>
                              <a:pt x="71396" y="2876"/>
                            </a:cubicBezTo>
                            <a:cubicBezTo>
                              <a:pt x="69977" y="2225"/>
                              <a:pt x="57183" y="-3242"/>
                              <a:pt x="43854" y="2853"/>
                            </a:cubicBezTo>
                            <a:cubicBezTo>
                              <a:pt x="36922" y="6040"/>
                              <a:pt x="31479" y="11622"/>
                              <a:pt x="27501" y="19369"/>
                            </a:cubicBezTo>
                            <a:lnTo>
                              <a:pt x="13893" y="15368"/>
                            </a:lnTo>
                            <a:cubicBezTo>
                              <a:pt x="8147" y="13669"/>
                              <a:pt x="2123" y="16973"/>
                              <a:pt x="448" y="22695"/>
                            </a:cubicBezTo>
                            <a:cubicBezTo>
                              <a:pt x="-1250" y="28441"/>
                              <a:pt x="2030" y="34442"/>
                              <a:pt x="7775" y="36140"/>
                            </a:cubicBezTo>
                            <a:lnTo>
                              <a:pt x="21337" y="40141"/>
                            </a:lnTo>
                            <a:cubicBezTo>
                              <a:pt x="20476" y="48260"/>
                              <a:pt x="21593" y="55447"/>
                              <a:pt x="24942" y="61449"/>
                            </a:cubicBezTo>
                            <a:cubicBezTo>
                              <a:pt x="31339" y="72940"/>
                              <a:pt x="42877" y="76081"/>
                              <a:pt x="47832" y="77453"/>
                            </a:cubicBezTo>
                            <a:cubicBezTo>
                              <a:pt x="61580" y="81501"/>
                              <a:pt x="76304" y="73475"/>
                              <a:pt x="91657" y="53633"/>
                            </a:cubicBezTo>
                            <a:cubicBezTo>
                              <a:pt x="102776" y="39234"/>
                              <a:pt x="109964" y="36699"/>
                              <a:pt x="113221" y="37629"/>
                            </a:cubicBezTo>
                            <a:cubicBezTo>
                              <a:pt x="115686" y="38304"/>
                              <a:pt x="120315" y="39583"/>
                              <a:pt x="122293" y="43119"/>
                            </a:cubicBezTo>
                            <a:cubicBezTo>
                              <a:pt x="124084" y="46352"/>
                              <a:pt x="123991" y="51656"/>
                              <a:pt x="121990" y="58448"/>
                            </a:cubicBezTo>
                            <a:cubicBezTo>
                              <a:pt x="120595" y="63170"/>
                              <a:pt x="117989" y="69265"/>
                              <a:pt x="113453" y="71405"/>
                            </a:cubicBezTo>
                            <a:cubicBezTo>
                              <a:pt x="109057" y="73475"/>
                              <a:pt x="103986" y="71498"/>
                              <a:pt x="103660" y="71382"/>
                            </a:cubicBezTo>
                            <a:cubicBezTo>
                              <a:pt x="98240" y="68986"/>
                              <a:pt x="91890" y="71405"/>
                              <a:pt x="89447" y="76802"/>
                            </a:cubicBezTo>
                            <a:cubicBezTo>
                              <a:pt x="87005" y="82198"/>
                              <a:pt x="89377" y="88665"/>
                              <a:pt x="94821" y="91154"/>
                            </a:cubicBezTo>
                            <a:cubicBezTo>
                              <a:pt x="96240" y="91806"/>
                              <a:pt x="109033" y="97272"/>
                              <a:pt x="122362" y="91177"/>
                            </a:cubicBezTo>
                            <a:cubicBezTo>
                              <a:pt x="129294" y="88014"/>
                              <a:pt x="134738" y="82408"/>
                              <a:pt x="138715" y="74662"/>
                            </a:cubicBezTo>
                            <a:lnTo>
                              <a:pt x="152323" y="78663"/>
                            </a:lnTo>
                            <a:cubicBezTo>
                              <a:pt x="158069" y="80361"/>
                              <a:pt x="164094" y="77058"/>
                              <a:pt x="165769" y="71335"/>
                            </a:cubicBezTo>
                            <a:cubicBezTo>
                              <a:pt x="167444" y="65590"/>
                              <a:pt x="164187" y="59588"/>
                              <a:pt x="158441" y="57890"/>
                            </a:cubicBezTo>
                            <a:lnTo>
                              <a:pt x="144880" y="53889"/>
                            </a:lnTo>
                            <a:cubicBezTo>
                              <a:pt x="145740" y="45771"/>
                              <a:pt x="144624" y="38583"/>
                              <a:pt x="141251" y="32581"/>
                            </a:cubicBezTo>
                            <a:cubicBezTo>
                              <a:pt x="134854" y="21090"/>
                              <a:pt x="123316" y="17926"/>
                              <a:pt x="118361" y="16577"/>
                            </a:cubicBezTo>
                            <a:cubicBezTo>
                              <a:pt x="104614" y="12530"/>
                              <a:pt x="89866" y="20532"/>
                              <a:pt x="74536" y="40397"/>
                            </a:cubicBezTo>
                            <a:cubicBezTo>
                              <a:pt x="63417" y="54796"/>
                              <a:pt x="56229" y="57355"/>
                              <a:pt x="52973" y="56401"/>
                            </a:cubicBezTo>
                            <a:cubicBezTo>
                              <a:pt x="50484" y="55727"/>
                              <a:pt x="45855" y="54447"/>
                              <a:pt x="43901" y="50911"/>
                            </a:cubicBezTo>
                            <a:cubicBezTo>
                              <a:pt x="42109" y="47678"/>
                              <a:pt x="42203" y="42374"/>
                              <a:pt x="44226" y="35582"/>
                            </a:cubicBezTo>
                            <a:cubicBezTo>
                              <a:pt x="45622" y="30860"/>
                              <a:pt x="48204" y="24789"/>
                              <a:pt x="52763" y="22625"/>
                            </a:cubicBezTo>
                            <a:cubicBezTo>
                              <a:pt x="57160" y="20555"/>
                              <a:pt x="62254" y="22532"/>
                              <a:pt x="62580" y="22648"/>
                            </a:cubicBezTo>
                            <a:cubicBezTo>
                              <a:pt x="67953" y="25044"/>
                              <a:pt x="74304" y="22625"/>
                              <a:pt x="76769" y="17228"/>
                            </a:cubicBezTo>
                            <a:close/>
                          </a:path>
                        </a:pathLst>
                      </a:custGeom>
                      <a:solidFill>
                        <a:srgbClr val="FFFFB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grpSp>
                  <p:nvGrpSpPr>
                    <p:cNvPr id="723" name="Graphic 174">
                      <a:extLst>
                        <a:ext uri="{FF2B5EF4-FFF2-40B4-BE49-F238E27FC236}">
                          <a16:creationId xmlns:a16="http://schemas.microsoft.com/office/drawing/2014/main" id="{4045A780-E4ED-4946-BB38-1D6737CA17D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6806973" y="3354097"/>
                      <a:ext cx="411732" cy="521062"/>
                      <a:chOff x="6806973" y="3354097"/>
                      <a:chExt cx="411732" cy="521062"/>
                    </a:xfrm>
                    <a:solidFill>
                      <a:schemeClr val="accent1"/>
                    </a:solidFill>
                  </p:grpSpPr>
                  <p:sp>
                    <p:nvSpPr>
                      <p:cNvPr id="724" name="Freeform: Shape 723">
                        <a:extLst>
                          <a:ext uri="{FF2B5EF4-FFF2-40B4-BE49-F238E27FC236}">
                            <a16:creationId xmlns:a16="http://schemas.microsoft.com/office/drawing/2014/main" id="{E851B367-956D-468E-8964-1F8A901121B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806973" y="3354097"/>
                        <a:ext cx="411732" cy="521062"/>
                      </a:xfrm>
                      <a:custGeom>
                        <a:avLst/>
                        <a:gdLst>
                          <a:gd name="connsiteX0" fmla="*/ 219376 w 411732"/>
                          <a:gd name="connsiteY0" fmla="*/ 7075 h 521062"/>
                          <a:gd name="connsiteX1" fmla="*/ 1600 w 411732"/>
                          <a:gd name="connsiteY1" fmla="*/ 413015 h 521062"/>
                          <a:gd name="connsiteX2" fmla="*/ 7090 w 411732"/>
                          <a:gd name="connsiteY2" fmla="*/ 431182 h 521062"/>
                          <a:gd name="connsiteX3" fmla="*/ 174365 w 411732"/>
                          <a:gd name="connsiteY3" fmla="*/ 520926 h 521062"/>
                          <a:gd name="connsiteX4" fmla="*/ 192532 w 411732"/>
                          <a:gd name="connsiteY4" fmla="*/ 515436 h 521062"/>
                          <a:gd name="connsiteX5" fmla="*/ 410308 w 411732"/>
                          <a:gd name="connsiteY5" fmla="*/ 109519 h 521062"/>
                          <a:gd name="connsiteX6" fmla="*/ 404818 w 411732"/>
                          <a:gd name="connsiteY6" fmla="*/ 91329 h 521062"/>
                          <a:gd name="connsiteX7" fmla="*/ 237543 w 411732"/>
                          <a:gd name="connsiteY7" fmla="*/ 1585 h 521062"/>
                          <a:gd name="connsiteX8" fmla="*/ 219376 w 411732"/>
                          <a:gd name="connsiteY8" fmla="*/ 7075 h 52106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11732" h="521062">
                            <a:moveTo>
                              <a:pt x="219376" y="7075"/>
                            </a:moveTo>
                            <a:lnTo>
                              <a:pt x="1600" y="413015"/>
                            </a:lnTo>
                            <a:cubicBezTo>
                              <a:pt x="-1913" y="419552"/>
                              <a:pt x="553" y="427693"/>
                              <a:pt x="7090" y="431182"/>
                            </a:cubicBezTo>
                            <a:lnTo>
                              <a:pt x="174365" y="520926"/>
                            </a:lnTo>
                            <a:cubicBezTo>
                              <a:pt x="180901" y="524439"/>
                              <a:pt x="189043" y="521973"/>
                              <a:pt x="192532" y="515436"/>
                            </a:cubicBezTo>
                            <a:lnTo>
                              <a:pt x="410308" y="109519"/>
                            </a:lnTo>
                            <a:cubicBezTo>
                              <a:pt x="413821" y="102983"/>
                              <a:pt x="411355" y="94841"/>
                              <a:pt x="404818" y="91329"/>
                            </a:cubicBezTo>
                            <a:lnTo>
                              <a:pt x="237543" y="1585"/>
                            </a:lnTo>
                            <a:cubicBezTo>
                              <a:pt x="231030" y="-1904"/>
                              <a:pt x="222889" y="562"/>
                              <a:pt x="219376" y="7075"/>
                            </a:cubicBezTo>
                            <a:close/>
                          </a:path>
                        </a:pathLst>
                      </a:custGeom>
                      <a:solidFill>
                        <a:srgbClr val="A0966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725" name="Freeform: Shape 724">
                        <a:extLst>
                          <a:ext uri="{FF2B5EF4-FFF2-40B4-BE49-F238E27FC236}">
                            <a16:creationId xmlns:a16="http://schemas.microsoft.com/office/drawing/2014/main" id="{2ABCDEA0-014E-461F-9C99-907F83595BC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958556" y="3405005"/>
                        <a:ext cx="209355" cy="209355"/>
                      </a:xfrm>
                      <a:custGeom>
                        <a:avLst/>
                        <a:gdLst>
                          <a:gd name="connsiteX0" fmla="*/ 124087 w 209355"/>
                          <a:gd name="connsiteY0" fmla="*/ 3133 h 209355"/>
                          <a:gd name="connsiteX1" fmla="*/ 65025 w 209355"/>
                          <a:gd name="connsiteY1" fmla="*/ 20951 h 209355"/>
                          <a:gd name="connsiteX2" fmla="*/ 55790 w 209355"/>
                          <a:gd name="connsiteY2" fmla="*/ 24394 h 209355"/>
                          <a:gd name="connsiteX3" fmla="*/ 520 w 209355"/>
                          <a:gd name="connsiteY3" fmla="*/ 127397 h 209355"/>
                          <a:gd name="connsiteX4" fmla="*/ 986 w 209355"/>
                          <a:gd name="connsiteY4" fmla="*/ 132259 h 209355"/>
                          <a:gd name="connsiteX5" fmla="*/ 5661 w 209355"/>
                          <a:gd name="connsiteY5" fmla="*/ 133678 h 209355"/>
                          <a:gd name="connsiteX6" fmla="*/ 89589 w 209355"/>
                          <a:gd name="connsiteY6" fmla="*/ 144727 h 209355"/>
                          <a:gd name="connsiteX7" fmla="*/ 145208 w 209355"/>
                          <a:gd name="connsiteY7" fmla="*/ 208534 h 209355"/>
                          <a:gd name="connsiteX8" fmla="*/ 148953 w 209355"/>
                          <a:gd name="connsiteY8" fmla="*/ 211651 h 209355"/>
                          <a:gd name="connsiteX9" fmla="*/ 153257 w 209355"/>
                          <a:gd name="connsiteY9" fmla="*/ 209371 h 209355"/>
                          <a:gd name="connsiteX10" fmla="*/ 208527 w 209355"/>
                          <a:gd name="connsiteY10" fmla="*/ 106345 h 209355"/>
                          <a:gd name="connsiteX11" fmla="*/ 206293 w 209355"/>
                          <a:gd name="connsiteY11" fmla="*/ 96738 h 209355"/>
                          <a:gd name="connsiteX12" fmla="*/ 188475 w 209355"/>
                          <a:gd name="connsiteY12" fmla="*/ 37677 h 209355"/>
                          <a:gd name="connsiteX13" fmla="*/ 185032 w 209355"/>
                          <a:gd name="connsiteY13" fmla="*/ 28418 h 209355"/>
                          <a:gd name="connsiteX14" fmla="*/ 133717 w 209355"/>
                          <a:gd name="connsiteY14" fmla="*/ 900 h 209355"/>
                          <a:gd name="connsiteX15" fmla="*/ 124087 w 209355"/>
                          <a:gd name="connsiteY15" fmla="*/ 3133 h 209355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</a:cxnLst>
                        <a:rect l="l" t="t" r="r" b="b"/>
                        <a:pathLst>
                          <a:path w="209355" h="209355">
                            <a:moveTo>
                              <a:pt x="124087" y="3133"/>
                            </a:moveTo>
                            <a:cubicBezTo>
                              <a:pt x="110781" y="21766"/>
                              <a:pt x="86426" y="29116"/>
                              <a:pt x="65025" y="20951"/>
                            </a:cubicBezTo>
                            <a:cubicBezTo>
                              <a:pt x="61513" y="19602"/>
                              <a:pt x="57558" y="21091"/>
                              <a:pt x="55790" y="24394"/>
                            </a:cubicBezTo>
                            <a:lnTo>
                              <a:pt x="520" y="127397"/>
                            </a:lnTo>
                            <a:cubicBezTo>
                              <a:pt x="-317" y="128955"/>
                              <a:pt x="-131" y="130886"/>
                              <a:pt x="986" y="132259"/>
                            </a:cubicBezTo>
                            <a:cubicBezTo>
                              <a:pt x="2125" y="133631"/>
                              <a:pt x="3963" y="134189"/>
                              <a:pt x="5661" y="133678"/>
                            </a:cubicBezTo>
                            <a:cubicBezTo>
                              <a:pt x="30133" y="126187"/>
                              <a:pt x="61024" y="129397"/>
                              <a:pt x="89589" y="144727"/>
                            </a:cubicBezTo>
                            <a:cubicBezTo>
                              <a:pt x="118155" y="160033"/>
                              <a:pt x="137927" y="184016"/>
                              <a:pt x="145208" y="208534"/>
                            </a:cubicBezTo>
                            <a:cubicBezTo>
                              <a:pt x="145720" y="210232"/>
                              <a:pt x="147185" y="211465"/>
                              <a:pt x="148953" y="211651"/>
                            </a:cubicBezTo>
                            <a:cubicBezTo>
                              <a:pt x="150721" y="211837"/>
                              <a:pt x="152419" y="210930"/>
                              <a:pt x="153257" y="209371"/>
                            </a:cubicBezTo>
                            <a:lnTo>
                              <a:pt x="208527" y="106345"/>
                            </a:lnTo>
                            <a:cubicBezTo>
                              <a:pt x="210295" y="103042"/>
                              <a:pt x="209341" y="98925"/>
                              <a:pt x="206293" y="96738"/>
                            </a:cubicBezTo>
                            <a:cubicBezTo>
                              <a:pt x="187661" y="83432"/>
                              <a:pt x="180310" y="59077"/>
                              <a:pt x="188475" y="37677"/>
                            </a:cubicBezTo>
                            <a:cubicBezTo>
                              <a:pt x="189824" y="34164"/>
                              <a:pt x="188335" y="30209"/>
                              <a:pt x="185032" y="28418"/>
                            </a:cubicBezTo>
                            <a:lnTo>
                              <a:pt x="133717" y="900"/>
                            </a:lnTo>
                            <a:cubicBezTo>
                              <a:pt x="130414" y="-891"/>
                              <a:pt x="126273" y="62"/>
                              <a:pt x="124087" y="3133"/>
                            </a:cubicBezTo>
                            <a:close/>
                          </a:path>
                        </a:pathLst>
                      </a:custGeom>
                      <a:solidFill>
                        <a:srgbClr val="FFFFC5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726" name="Freeform: Shape 725">
                        <a:extLst>
                          <a:ext uri="{FF2B5EF4-FFF2-40B4-BE49-F238E27FC236}">
                            <a16:creationId xmlns:a16="http://schemas.microsoft.com/office/drawing/2014/main" id="{BF20C9F3-E3D6-4FB3-9D88-0D563BF455B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857887" y="3614143"/>
                        <a:ext cx="209355" cy="209355"/>
                      </a:xfrm>
                      <a:custGeom>
                        <a:avLst/>
                        <a:gdLst>
                          <a:gd name="connsiteX0" fmla="*/ 60411 w 209355"/>
                          <a:gd name="connsiteY0" fmla="*/ 24 h 209355"/>
                          <a:gd name="connsiteX1" fmla="*/ 56107 w 209355"/>
                          <a:gd name="connsiteY1" fmla="*/ 2304 h 209355"/>
                          <a:gd name="connsiteX2" fmla="*/ 884 w 209355"/>
                          <a:gd name="connsiteY2" fmla="*/ 105237 h 209355"/>
                          <a:gd name="connsiteX3" fmla="*/ 3117 w 209355"/>
                          <a:gd name="connsiteY3" fmla="*/ 114844 h 209355"/>
                          <a:gd name="connsiteX4" fmla="*/ 20936 w 209355"/>
                          <a:gd name="connsiteY4" fmla="*/ 173905 h 209355"/>
                          <a:gd name="connsiteX5" fmla="*/ 24402 w 209355"/>
                          <a:gd name="connsiteY5" fmla="*/ 183140 h 209355"/>
                          <a:gd name="connsiteX6" fmla="*/ 75717 w 209355"/>
                          <a:gd name="connsiteY6" fmla="*/ 210659 h 209355"/>
                          <a:gd name="connsiteX7" fmla="*/ 85324 w 209355"/>
                          <a:gd name="connsiteY7" fmla="*/ 208426 h 209355"/>
                          <a:gd name="connsiteX8" fmla="*/ 144386 w 209355"/>
                          <a:gd name="connsiteY8" fmla="*/ 190607 h 209355"/>
                          <a:gd name="connsiteX9" fmla="*/ 153620 w 209355"/>
                          <a:gd name="connsiteY9" fmla="*/ 187141 h 209355"/>
                          <a:gd name="connsiteX10" fmla="*/ 208844 w 209355"/>
                          <a:gd name="connsiteY10" fmla="*/ 84208 h 209355"/>
                          <a:gd name="connsiteX11" fmla="*/ 208379 w 209355"/>
                          <a:gd name="connsiteY11" fmla="*/ 79347 h 209355"/>
                          <a:gd name="connsiteX12" fmla="*/ 203703 w 209355"/>
                          <a:gd name="connsiteY12" fmla="*/ 77928 h 209355"/>
                          <a:gd name="connsiteX13" fmla="*/ 119775 w 209355"/>
                          <a:gd name="connsiteY13" fmla="*/ 66878 h 209355"/>
                          <a:gd name="connsiteX14" fmla="*/ 64156 w 209355"/>
                          <a:gd name="connsiteY14" fmla="*/ 3071 h 209355"/>
                          <a:gd name="connsiteX15" fmla="*/ 60411 w 209355"/>
                          <a:gd name="connsiteY15" fmla="*/ 24 h 209355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</a:cxnLst>
                        <a:rect l="l" t="t" r="r" b="b"/>
                        <a:pathLst>
                          <a:path w="209355" h="209355">
                            <a:moveTo>
                              <a:pt x="60411" y="24"/>
                            </a:moveTo>
                            <a:cubicBezTo>
                              <a:pt x="58643" y="-162"/>
                              <a:pt x="56945" y="745"/>
                              <a:pt x="56107" y="2304"/>
                            </a:cubicBezTo>
                            <a:lnTo>
                              <a:pt x="884" y="105237"/>
                            </a:lnTo>
                            <a:cubicBezTo>
                              <a:pt x="-884" y="108540"/>
                              <a:pt x="70" y="112657"/>
                              <a:pt x="3117" y="114844"/>
                            </a:cubicBezTo>
                            <a:cubicBezTo>
                              <a:pt x="21750" y="128150"/>
                              <a:pt x="29101" y="152505"/>
                              <a:pt x="20936" y="173905"/>
                            </a:cubicBezTo>
                            <a:cubicBezTo>
                              <a:pt x="19587" y="177418"/>
                              <a:pt x="21075" y="181372"/>
                              <a:pt x="24402" y="183140"/>
                            </a:cubicBezTo>
                            <a:lnTo>
                              <a:pt x="75717" y="210659"/>
                            </a:lnTo>
                            <a:cubicBezTo>
                              <a:pt x="79020" y="212450"/>
                              <a:pt x="83138" y="211496"/>
                              <a:pt x="85324" y="208426"/>
                            </a:cubicBezTo>
                            <a:cubicBezTo>
                              <a:pt x="98630" y="189793"/>
                              <a:pt x="122985" y="182442"/>
                              <a:pt x="144386" y="190607"/>
                            </a:cubicBezTo>
                            <a:cubicBezTo>
                              <a:pt x="147898" y="191956"/>
                              <a:pt x="151853" y="190468"/>
                              <a:pt x="153620" y="187141"/>
                            </a:cubicBezTo>
                            <a:lnTo>
                              <a:pt x="208844" y="84208"/>
                            </a:lnTo>
                            <a:cubicBezTo>
                              <a:pt x="209681" y="82650"/>
                              <a:pt x="209495" y="80719"/>
                              <a:pt x="208379" y="79347"/>
                            </a:cubicBezTo>
                            <a:cubicBezTo>
                              <a:pt x="207262" y="77974"/>
                              <a:pt x="205401" y="77416"/>
                              <a:pt x="203703" y="77928"/>
                            </a:cubicBezTo>
                            <a:cubicBezTo>
                              <a:pt x="179232" y="85418"/>
                              <a:pt x="148340" y="82184"/>
                              <a:pt x="119775" y="66878"/>
                            </a:cubicBezTo>
                            <a:cubicBezTo>
                              <a:pt x="91209" y="51549"/>
                              <a:pt x="71437" y="27589"/>
                              <a:pt x="64156" y="3071"/>
                            </a:cubicBezTo>
                            <a:cubicBezTo>
                              <a:pt x="63667" y="1443"/>
                              <a:pt x="62179" y="210"/>
                              <a:pt x="60411" y="24"/>
                            </a:cubicBezTo>
                            <a:close/>
                          </a:path>
                        </a:pathLst>
                      </a:custGeom>
                      <a:solidFill>
                        <a:srgbClr val="FFFFC5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727" name="Freeform: Shape 726">
                        <a:extLst>
                          <a:ext uri="{FF2B5EF4-FFF2-40B4-BE49-F238E27FC236}">
                            <a16:creationId xmlns:a16="http://schemas.microsoft.com/office/drawing/2014/main" id="{1C7EAF32-341D-46A2-92D6-02557C64A41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935709" y="3563340"/>
                        <a:ext cx="153527" cy="102352"/>
                      </a:xfrm>
                      <a:custGeom>
                        <a:avLst/>
                        <a:gdLst>
                          <a:gd name="connsiteX0" fmla="*/ 77125 w 153527"/>
                          <a:gd name="connsiteY0" fmla="*/ 21563 h 102351"/>
                          <a:gd name="connsiteX1" fmla="*/ 74798 w 153527"/>
                          <a:gd name="connsiteY1" fmla="*/ 6420 h 102351"/>
                          <a:gd name="connsiteX2" fmla="*/ 47838 w 153527"/>
                          <a:gd name="connsiteY2" fmla="*/ 767 h 102351"/>
                          <a:gd name="connsiteX3" fmla="*/ 28438 w 153527"/>
                          <a:gd name="connsiteY3" fmla="*/ 13584 h 102351"/>
                          <a:gd name="connsiteX4" fmla="*/ 15946 w 153527"/>
                          <a:gd name="connsiteY4" fmla="*/ 6885 h 102351"/>
                          <a:gd name="connsiteX5" fmla="*/ 1291 w 153527"/>
                          <a:gd name="connsiteY5" fmla="*/ 11305 h 102351"/>
                          <a:gd name="connsiteX6" fmla="*/ 5711 w 153527"/>
                          <a:gd name="connsiteY6" fmla="*/ 25959 h 102351"/>
                          <a:gd name="connsiteX7" fmla="*/ 18156 w 153527"/>
                          <a:gd name="connsiteY7" fmla="*/ 32636 h 102351"/>
                          <a:gd name="connsiteX8" fmla="*/ 17342 w 153527"/>
                          <a:gd name="connsiteY8" fmla="*/ 54246 h 102351"/>
                          <a:gd name="connsiteX9" fmla="*/ 36486 w 153527"/>
                          <a:gd name="connsiteY9" fmla="*/ 74600 h 102351"/>
                          <a:gd name="connsiteX10" fmla="*/ 84266 w 153527"/>
                          <a:gd name="connsiteY10" fmla="*/ 60270 h 102351"/>
                          <a:gd name="connsiteX11" fmla="*/ 108644 w 153527"/>
                          <a:gd name="connsiteY11" fmla="*/ 49035 h 102351"/>
                          <a:gd name="connsiteX12" fmla="*/ 116414 w 153527"/>
                          <a:gd name="connsiteY12" fmla="*/ 56269 h 102351"/>
                          <a:gd name="connsiteX13" fmla="*/ 112971 w 153527"/>
                          <a:gd name="connsiteY13" fmla="*/ 71227 h 102351"/>
                          <a:gd name="connsiteX14" fmla="*/ 101968 w 153527"/>
                          <a:gd name="connsiteY14" fmla="*/ 82160 h 102351"/>
                          <a:gd name="connsiteX15" fmla="*/ 92384 w 153527"/>
                          <a:gd name="connsiteY15" fmla="*/ 80113 h 102351"/>
                          <a:gd name="connsiteX16" fmla="*/ 77334 w 153527"/>
                          <a:gd name="connsiteY16" fmla="*/ 82509 h 102351"/>
                          <a:gd name="connsiteX17" fmla="*/ 79660 w 153527"/>
                          <a:gd name="connsiteY17" fmla="*/ 97652 h 102351"/>
                          <a:gd name="connsiteX18" fmla="*/ 106620 w 153527"/>
                          <a:gd name="connsiteY18" fmla="*/ 103328 h 102351"/>
                          <a:gd name="connsiteX19" fmla="*/ 126021 w 153527"/>
                          <a:gd name="connsiteY19" fmla="*/ 90511 h 102351"/>
                          <a:gd name="connsiteX20" fmla="*/ 138512 w 153527"/>
                          <a:gd name="connsiteY20" fmla="*/ 97210 h 102351"/>
                          <a:gd name="connsiteX21" fmla="*/ 153167 w 153527"/>
                          <a:gd name="connsiteY21" fmla="*/ 92790 h 102351"/>
                          <a:gd name="connsiteX22" fmla="*/ 148747 w 153527"/>
                          <a:gd name="connsiteY22" fmla="*/ 78135 h 102351"/>
                          <a:gd name="connsiteX23" fmla="*/ 136279 w 153527"/>
                          <a:gd name="connsiteY23" fmla="*/ 71459 h 102351"/>
                          <a:gd name="connsiteX24" fmla="*/ 137093 w 153527"/>
                          <a:gd name="connsiteY24" fmla="*/ 49849 h 102351"/>
                          <a:gd name="connsiteX25" fmla="*/ 117972 w 153527"/>
                          <a:gd name="connsiteY25" fmla="*/ 29495 h 102351"/>
                          <a:gd name="connsiteX26" fmla="*/ 70193 w 153527"/>
                          <a:gd name="connsiteY26" fmla="*/ 43824 h 102351"/>
                          <a:gd name="connsiteX27" fmla="*/ 45814 w 153527"/>
                          <a:gd name="connsiteY27" fmla="*/ 55060 h 102351"/>
                          <a:gd name="connsiteX28" fmla="*/ 38045 w 153527"/>
                          <a:gd name="connsiteY28" fmla="*/ 47825 h 102351"/>
                          <a:gd name="connsiteX29" fmla="*/ 41488 w 153527"/>
                          <a:gd name="connsiteY29" fmla="*/ 32891 h 102351"/>
                          <a:gd name="connsiteX30" fmla="*/ 52491 w 153527"/>
                          <a:gd name="connsiteY30" fmla="*/ 21935 h 102351"/>
                          <a:gd name="connsiteX31" fmla="*/ 62074 w 153527"/>
                          <a:gd name="connsiteY31" fmla="*/ 23982 h 102351"/>
                          <a:gd name="connsiteX32" fmla="*/ 77125 w 153527"/>
                          <a:gd name="connsiteY32" fmla="*/ 21563 h 10235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</a:cxnLst>
                        <a:rect l="l" t="t" r="r" b="b"/>
                        <a:pathLst>
                          <a:path w="153527" h="102351">
                            <a:moveTo>
                              <a:pt x="77125" y="21563"/>
                            </a:moveTo>
                            <a:cubicBezTo>
                              <a:pt x="80660" y="16818"/>
                              <a:pt x="79614" y="9955"/>
                              <a:pt x="74798" y="6420"/>
                            </a:cubicBezTo>
                            <a:cubicBezTo>
                              <a:pt x="73542" y="5512"/>
                              <a:pt x="62144" y="-2466"/>
                              <a:pt x="47838" y="767"/>
                            </a:cubicBezTo>
                            <a:cubicBezTo>
                              <a:pt x="40394" y="2465"/>
                              <a:pt x="33928" y="6815"/>
                              <a:pt x="28438" y="13584"/>
                            </a:cubicBezTo>
                            <a:lnTo>
                              <a:pt x="15946" y="6885"/>
                            </a:lnTo>
                            <a:cubicBezTo>
                              <a:pt x="10666" y="4047"/>
                              <a:pt x="4106" y="6047"/>
                              <a:pt x="1291" y="11305"/>
                            </a:cubicBezTo>
                            <a:cubicBezTo>
                              <a:pt x="-1546" y="16562"/>
                              <a:pt x="454" y="23145"/>
                              <a:pt x="5711" y="25959"/>
                            </a:cubicBezTo>
                            <a:lnTo>
                              <a:pt x="18156" y="32636"/>
                            </a:lnTo>
                            <a:cubicBezTo>
                              <a:pt x="15644" y="40405"/>
                              <a:pt x="15272" y="47663"/>
                              <a:pt x="17342" y="54246"/>
                            </a:cubicBezTo>
                            <a:cubicBezTo>
                              <a:pt x="21250" y="66784"/>
                              <a:pt x="31904" y="72250"/>
                              <a:pt x="36486" y="74600"/>
                            </a:cubicBezTo>
                            <a:cubicBezTo>
                              <a:pt x="49118" y="81369"/>
                              <a:pt x="65168" y="76554"/>
                              <a:pt x="84266" y="60270"/>
                            </a:cubicBezTo>
                            <a:cubicBezTo>
                              <a:pt x="98107" y="48454"/>
                              <a:pt x="105644" y="47430"/>
                              <a:pt x="108644" y="49035"/>
                            </a:cubicBezTo>
                            <a:cubicBezTo>
                              <a:pt x="110924" y="50221"/>
                              <a:pt x="115204" y="52408"/>
                              <a:pt x="116414" y="56269"/>
                            </a:cubicBezTo>
                            <a:cubicBezTo>
                              <a:pt x="117507" y="59805"/>
                              <a:pt x="116321" y="64969"/>
                              <a:pt x="112971" y="71227"/>
                            </a:cubicBezTo>
                            <a:cubicBezTo>
                              <a:pt x="110645" y="75553"/>
                              <a:pt x="106853" y="80973"/>
                              <a:pt x="101968" y="82160"/>
                            </a:cubicBezTo>
                            <a:cubicBezTo>
                              <a:pt x="97246" y="83300"/>
                              <a:pt x="92687" y="80322"/>
                              <a:pt x="92384" y="80113"/>
                            </a:cubicBezTo>
                            <a:cubicBezTo>
                              <a:pt x="87569" y="76670"/>
                              <a:pt x="80870" y="77717"/>
                              <a:pt x="77334" y="82509"/>
                            </a:cubicBezTo>
                            <a:cubicBezTo>
                              <a:pt x="73845" y="87301"/>
                              <a:pt x="74845" y="94116"/>
                              <a:pt x="79660" y="97652"/>
                            </a:cubicBezTo>
                            <a:cubicBezTo>
                              <a:pt x="80916" y="98582"/>
                              <a:pt x="92315" y="106561"/>
                              <a:pt x="106620" y="103328"/>
                            </a:cubicBezTo>
                            <a:cubicBezTo>
                              <a:pt x="114064" y="101630"/>
                              <a:pt x="120531" y="97280"/>
                              <a:pt x="126021" y="90511"/>
                            </a:cubicBezTo>
                            <a:lnTo>
                              <a:pt x="138512" y="97210"/>
                            </a:lnTo>
                            <a:cubicBezTo>
                              <a:pt x="143793" y="100048"/>
                              <a:pt x="150353" y="98071"/>
                              <a:pt x="153167" y="92790"/>
                            </a:cubicBezTo>
                            <a:cubicBezTo>
                              <a:pt x="156005" y="87533"/>
                              <a:pt x="154028" y="80950"/>
                              <a:pt x="148747" y="78135"/>
                            </a:cubicBezTo>
                            <a:lnTo>
                              <a:pt x="136279" y="71459"/>
                            </a:lnTo>
                            <a:cubicBezTo>
                              <a:pt x="138791" y="63690"/>
                              <a:pt x="139164" y="56432"/>
                              <a:pt x="137093" y="49849"/>
                            </a:cubicBezTo>
                            <a:cubicBezTo>
                              <a:pt x="133185" y="37311"/>
                              <a:pt x="122531" y="31845"/>
                              <a:pt x="117972" y="29495"/>
                            </a:cubicBezTo>
                            <a:cubicBezTo>
                              <a:pt x="105341" y="22726"/>
                              <a:pt x="89267" y="27541"/>
                              <a:pt x="70193" y="43824"/>
                            </a:cubicBezTo>
                            <a:cubicBezTo>
                              <a:pt x="56375" y="55641"/>
                              <a:pt x="48815" y="56665"/>
                              <a:pt x="45814" y="55060"/>
                            </a:cubicBezTo>
                            <a:cubicBezTo>
                              <a:pt x="43535" y="53897"/>
                              <a:pt x="39255" y="51710"/>
                              <a:pt x="38045" y="47825"/>
                            </a:cubicBezTo>
                            <a:cubicBezTo>
                              <a:pt x="36952" y="44290"/>
                              <a:pt x="38138" y="39126"/>
                              <a:pt x="41488" y="32891"/>
                            </a:cubicBezTo>
                            <a:cubicBezTo>
                              <a:pt x="43814" y="28541"/>
                              <a:pt x="47606" y="23122"/>
                              <a:pt x="52491" y="21935"/>
                            </a:cubicBezTo>
                            <a:cubicBezTo>
                              <a:pt x="57213" y="20795"/>
                              <a:pt x="61795" y="23796"/>
                              <a:pt x="62074" y="23982"/>
                            </a:cubicBezTo>
                            <a:cubicBezTo>
                              <a:pt x="66890" y="27402"/>
                              <a:pt x="73612" y="26332"/>
                              <a:pt x="77125" y="21563"/>
                            </a:cubicBezTo>
                            <a:close/>
                          </a:path>
                        </a:pathLst>
                      </a:custGeom>
                      <a:solidFill>
                        <a:srgbClr val="FFFFC5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grpSp>
                  <p:nvGrpSpPr>
                    <p:cNvPr id="728" name="Graphic 174">
                      <a:extLst>
                        <a:ext uri="{FF2B5EF4-FFF2-40B4-BE49-F238E27FC236}">
                          <a16:creationId xmlns:a16="http://schemas.microsoft.com/office/drawing/2014/main" id="{4045A780-E4ED-4946-BB38-1D6737CA17D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6823239" y="3373448"/>
                      <a:ext cx="465234" cy="502453"/>
                      <a:chOff x="6823239" y="3373448"/>
                      <a:chExt cx="465234" cy="502453"/>
                    </a:xfrm>
                    <a:solidFill>
                      <a:schemeClr val="accent1"/>
                    </a:solidFill>
                  </p:grpSpPr>
                  <p:sp>
                    <p:nvSpPr>
                      <p:cNvPr id="729" name="Freeform: Shape 728">
                        <a:extLst>
                          <a:ext uri="{FF2B5EF4-FFF2-40B4-BE49-F238E27FC236}">
                            <a16:creationId xmlns:a16="http://schemas.microsoft.com/office/drawing/2014/main" id="{BE8157A0-B903-484D-B6B4-ECD9B13BE73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823239" y="3373448"/>
                        <a:ext cx="465234" cy="502453"/>
                      </a:xfrm>
                      <a:custGeom>
                        <a:avLst/>
                        <a:gdLst>
                          <a:gd name="connsiteX0" fmla="*/ 296948 w 465234"/>
                          <a:gd name="connsiteY0" fmla="*/ 4868 h 502453"/>
                          <a:gd name="connsiteX1" fmla="*/ 3083 w 465234"/>
                          <a:gd name="connsiteY1" fmla="*/ 359632 h 502453"/>
                          <a:gd name="connsiteX2" fmla="*/ 4851 w 465234"/>
                          <a:gd name="connsiteY2" fmla="*/ 378544 h 502453"/>
                          <a:gd name="connsiteX3" fmla="*/ 151050 w 465234"/>
                          <a:gd name="connsiteY3" fmla="*/ 499621 h 502453"/>
                          <a:gd name="connsiteX4" fmla="*/ 169962 w 465234"/>
                          <a:gd name="connsiteY4" fmla="*/ 497853 h 502453"/>
                          <a:gd name="connsiteX5" fmla="*/ 463804 w 465234"/>
                          <a:gd name="connsiteY5" fmla="*/ 143089 h 502453"/>
                          <a:gd name="connsiteX6" fmla="*/ 462036 w 465234"/>
                          <a:gd name="connsiteY6" fmla="*/ 124177 h 502453"/>
                          <a:gd name="connsiteX7" fmla="*/ 315836 w 465234"/>
                          <a:gd name="connsiteY7" fmla="*/ 3100 h 502453"/>
                          <a:gd name="connsiteX8" fmla="*/ 296948 w 465234"/>
                          <a:gd name="connsiteY8" fmla="*/ 4868 h 50245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34" h="502453">
                            <a:moveTo>
                              <a:pt x="296948" y="4868"/>
                            </a:moveTo>
                            <a:lnTo>
                              <a:pt x="3083" y="359632"/>
                            </a:lnTo>
                            <a:cubicBezTo>
                              <a:pt x="-1639" y="365331"/>
                              <a:pt x="-848" y="373799"/>
                              <a:pt x="4851" y="378544"/>
                            </a:cubicBezTo>
                            <a:lnTo>
                              <a:pt x="151050" y="499621"/>
                            </a:lnTo>
                            <a:cubicBezTo>
                              <a:pt x="156750" y="504367"/>
                              <a:pt x="165217" y="503553"/>
                              <a:pt x="169962" y="497853"/>
                            </a:cubicBezTo>
                            <a:lnTo>
                              <a:pt x="463804" y="143089"/>
                            </a:lnTo>
                            <a:cubicBezTo>
                              <a:pt x="468526" y="137367"/>
                              <a:pt x="467735" y="128899"/>
                              <a:pt x="462036" y="124177"/>
                            </a:cubicBezTo>
                            <a:lnTo>
                              <a:pt x="315836" y="3100"/>
                            </a:lnTo>
                            <a:cubicBezTo>
                              <a:pt x="310137" y="-1645"/>
                              <a:pt x="301670" y="-855"/>
                              <a:pt x="296948" y="4868"/>
                            </a:cubicBezTo>
                            <a:close/>
                          </a:path>
                        </a:pathLst>
                      </a:custGeom>
                      <a:solidFill>
                        <a:srgbClr val="ADA56E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730" name="Freeform: Shape 729">
                        <a:extLst>
                          <a:ext uri="{FF2B5EF4-FFF2-40B4-BE49-F238E27FC236}">
                            <a16:creationId xmlns:a16="http://schemas.microsoft.com/office/drawing/2014/main" id="{AC9CAD04-0D62-4F54-8935-3B03341DA45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019324" y="3433466"/>
                        <a:ext cx="209355" cy="209355"/>
                      </a:xfrm>
                      <a:custGeom>
                        <a:avLst/>
                        <a:gdLst>
                          <a:gd name="connsiteX0" fmla="*/ 146735 w 209355"/>
                          <a:gd name="connsiteY0" fmla="*/ 2004 h 209355"/>
                          <a:gd name="connsiteX1" fmla="*/ 85324 w 209355"/>
                          <a:gd name="connsiteY1" fmla="*/ 7773 h 209355"/>
                          <a:gd name="connsiteX2" fmla="*/ 75577 w 209355"/>
                          <a:gd name="connsiteY2" fmla="*/ 9331 h 209355"/>
                          <a:gd name="connsiteX3" fmla="*/ 1000 w 209355"/>
                          <a:gd name="connsiteY3" fmla="*/ 99354 h 209355"/>
                          <a:gd name="connsiteX4" fmla="*/ 512 w 209355"/>
                          <a:gd name="connsiteY4" fmla="*/ 104216 h 209355"/>
                          <a:gd name="connsiteX5" fmla="*/ 4792 w 209355"/>
                          <a:gd name="connsiteY5" fmla="*/ 106519 h 209355"/>
                          <a:gd name="connsiteX6" fmla="*/ 84859 w 209355"/>
                          <a:gd name="connsiteY6" fmla="*/ 133968 h 209355"/>
                          <a:gd name="connsiteX7" fmla="*/ 126753 w 209355"/>
                          <a:gd name="connsiteY7" fmla="*/ 207521 h 209355"/>
                          <a:gd name="connsiteX8" fmla="*/ 129824 w 209355"/>
                          <a:gd name="connsiteY8" fmla="*/ 211313 h 209355"/>
                          <a:gd name="connsiteX9" fmla="*/ 134499 w 209355"/>
                          <a:gd name="connsiteY9" fmla="*/ 209917 h 209355"/>
                          <a:gd name="connsiteX10" fmla="*/ 209076 w 209355"/>
                          <a:gd name="connsiteY10" fmla="*/ 119894 h 209355"/>
                          <a:gd name="connsiteX11" fmla="*/ 208797 w 209355"/>
                          <a:gd name="connsiteY11" fmla="*/ 110031 h 209355"/>
                          <a:gd name="connsiteX12" fmla="*/ 203028 w 209355"/>
                          <a:gd name="connsiteY12" fmla="*/ 48597 h 209355"/>
                          <a:gd name="connsiteX13" fmla="*/ 201470 w 209355"/>
                          <a:gd name="connsiteY13" fmla="*/ 38850 h 209355"/>
                          <a:gd name="connsiteX14" fmla="*/ 156621 w 209355"/>
                          <a:gd name="connsiteY14" fmla="*/ 1701 h 209355"/>
                          <a:gd name="connsiteX15" fmla="*/ 146735 w 209355"/>
                          <a:gd name="connsiteY15" fmla="*/ 2004 h 209355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</a:cxnLst>
                        <a:rect l="l" t="t" r="r" b="b"/>
                        <a:pathLst>
                          <a:path w="209355" h="209355">
                            <a:moveTo>
                              <a:pt x="146735" y="2004"/>
                            </a:moveTo>
                            <a:cubicBezTo>
                              <a:pt x="130010" y="17636"/>
                              <a:pt x="104678" y="20008"/>
                              <a:pt x="85324" y="7773"/>
                            </a:cubicBezTo>
                            <a:cubicBezTo>
                              <a:pt x="82137" y="5772"/>
                              <a:pt x="77973" y="6424"/>
                              <a:pt x="75577" y="9331"/>
                            </a:cubicBezTo>
                            <a:lnTo>
                              <a:pt x="1000" y="99354"/>
                            </a:lnTo>
                            <a:cubicBezTo>
                              <a:pt x="-116" y="100727"/>
                              <a:pt x="-326" y="102634"/>
                              <a:pt x="512" y="104216"/>
                            </a:cubicBezTo>
                            <a:cubicBezTo>
                              <a:pt x="1349" y="105774"/>
                              <a:pt x="3024" y="106705"/>
                              <a:pt x="4792" y="106519"/>
                            </a:cubicBezTo>
                            <a:cubicBezTo>
                              <a:pt x="30263" y="104030"/>
                              <a:pt x="59922" y="113311"/>
                              <a:pt x="84859" y="133968"/>
                            </a:cubicBezTo>
                            <a:cubicBezTo>
                              <a:pt x="109819" y="154647"/>
                              <a:pt x="124450" y="182026"/>
                              <a:pt x="126753" y="207521"/>
                            </a:cubicBezTo>
                            <a:cubicBezTo>
                              <a:pt x="126916" y="209289"/>
                              <a:pt x="128125" y="210778"/>
                              <a:pt x="129824" y="211313"/>
                            </a:cubicBezTo>
                            <a:cubicBezTo>
                              <a:pt x="131522" y="211848"/>
                              <a:pt x="133383" y="211290"/>
                              <a:pt x="134499" y="209917"/>
                            </a:cubicBezTo>
                            <a:lnTo>
                              <a:pt x="209076" y="119894"/>
                            </a:lnTo>
                            <a:cubicBezTo>
                              <a:pt x="211472" y="117010"/>
                              <a:pt x="211356" y="112776"/>
                              <a:pt x="208797" y="110031"/>
                            </a:cubicBezTo>
                            <a:cubicBezTo>
                              <a:pt x="193165" y="93283"/>
                              <a:pt x="190793" y="67951"/>
                              <a:pt x="203028" y="48597"/>
                            </a:cubicBezTo>
                            <a:cubicBezTo>
                              <a:pt x="205029" y="45410"/>
                              <a:pt x="204377" y="41246"/>
                              <a:pt x="201470" y="38850"/>
                            </a:cubicBezTo>
                            <a:lnTo>
                              <a:pt x="156621" y="1701"/>
                            </a:lnTo>
                            <a:cubicBezTo>
                              <a:pt x="153713" y="-671"/>
                              <a:pt x="149480" y="-555"/>
                              <a:pt x="146735" y="2004"/>
                            </a:cubicBezTo>
                            <a:close/>
                          </a:path>
                        </a:pathLst>
                      </a:custGeom>
                      <a:solidFill>
                        <a:srgbClr val="FFFFCE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731" name="Freeform: Shape 730">
                        <a:extLst>
                          <a:ext uri="{FF2B5EF4-FFF2-40B4-BE49-F238E27FC236}">
                            <a16:creationId xmlns:a16="http://schemas.microsoft.com/office/drawing/2014/main" id="{9F33E52C-6C6F-4604-8CC8-BC6CC82BDD7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883266" y="3604684"/>
                        <a:ext cx="209355" cy="209355"/>
                      </a:xfrm>
                      <a:custGeom>
                        <a:avLst/>
                        <a:gdLst>
                          <a:gd name="connsiteX0" fmla="*/ 80904 w 209355"/>
                          <a:gd name="connsiteY0" fmla="*/ 201 h 209355"/>
                          <a:gd name="connsiteX1" fmla="*/ 76229 w 209355"/>
                          <a:gd name="connsiteY1" fmla="*/ 1596 h 209355"/>
                          <a:gd name="connsiteX2" fmla="*/ 1721 w 209355"/>
                          <a:gd name="connsiteY2" fmla="*/ 91549 h 209355"/>
                          <a:gd name="connsiteX3" fmla="*/ 2001 w 209355"/>
                          <a:gd name="connsiteY3" fmla="*/ 101412 h 209355"/>
                          <a:gd name="connsiteX4" fmla="*/ 7769 w 209355"/>
                          <a:gd name="connsiteY4" fmla="*/ 162847 h 209355"/>
                          <a:gd name="connsiteX5" fmla="*/ 9328 w 209355"/>
                          <a:gd name="connsiteY5" fmla="*/ 172593 h 209355"/>
                          <a:gd name="connsiteX6" fmla="*/ 54177 w 209355"/>
                          <a:gd name="connsiteY6" fmla="*/ 209719 h 209355"/>
                          <a:gd name="connsiteX7" fmla="*/ 64039 w 209355"/>
                          <a:gd name="connsiteY7" fmla="*/ 209440 h 209355"/>
                          <a:gd name="connsiteX8" fmla="*/ 125474 w 209355"/>
                          <a:gd name="connsiteY8" fmla="*/ 203671 h 209355"/>
                          <a:gd name="connsiteX9" fmla="*/ 135220 w 209355"/>
                          <a:gd name="connsiteY9" fmla="*/ 202112 h 209355"/>
                          <a:gd name="connsiteX10" fmla="*/ 209728 w 209355"/>
                          <a:gd name="connsiteY10" fmla="*/ 112159 h 209355"/>
                          <a:gd name="connsiteX11" fmla="*/ 210216 w 209355"/>
                          <a:gd name="connsiteY11" fmla="*/ 107298 h 209355"/>
                          <a:gd name="connsiteX12" fmla="*/ 205913 w 209355"/>
                          <a:gd name="connsiteY12" fmla="*/ 104995 h 209355"/>
                          <a:gd name="connsiteX13" fmla="*/ 125846 w 209355"/>
                          <a:gd name="connsiteY13" fmla="*/ 77546 h 209355"/>
                          <a:gd name="connsiteX14" fmla="*/ 83975 w 209355"/>
                          <a:gd name="connsiteY14" fmla="*/ 3992 h 209355"/>
                          <a:gd name="connsiteX15" fmla="*/ 80904 w 209355"/>
                          <a:gd name="connsiteY15" fmla="*/ 201 h 209355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</a:cxnLst>
                        <a:rect l="l" t="t" r="r" b="b"/>
                        <a:pathLst>
                          <a:path w="209355" h="209355">
                            <a:moveTo>
                              <a:pt x="80904" y="201"/>
                            </a:moveTo>
                            <a:cubicBezTo>
                              <a:pt x="79206" y="-334"/>
                              <a:pt x="77368" y="224"/>
                              <a:pt x="76229" y="1596"/>
                            </a:cubicBezTo>
                            <a:lnTo>
                              <a:pt x="1721" y="91549"/>
                            </a:lnTo>
                            <a:cubicBezTo>
                              <a:pt x="-675" y="94434"/>
                              <a:pt x="-558" y="98668"/>
                              <a:pt x="2001" y="101412"/>
                            </a:cubicBezTo>
                            <a:cubicBezTo>
                              <a:pt x="17632" y="118138"/>
                              <a:pt x="20005" y="143470"/>
                              <a:pt x="7769" y="162847"/>
                            </a:cubicBezTo>
                            <a:cubicBezTo>
                              <a:pt x="5769" y="166033"/>
                              <a:pt x="6420" y="170197"/>
                              <a:pt x="9328" y="172593"/>
                            </a:cubicBezTo>
                            <a:lnTo>
                              <a:pt x="54177" y="209719"/>
                            </a:lnTo>
                            <a:cubicBezTo>
                              <a:pt x="57061" y="212115"/>
                              <a:pt x="61295" y="211999"/>
                              <a:pt x="64039" y="209440"/>
                            </a:cubicBezTo>
                            <a:cubicBezTo>
                              <a:pt x="80788" y="193808"/>
                              <a:pt x="106120" y="191435"/>
                              <a:pt x="125474" y="203671"/>
                            </a:cubicBezTo>
                            <a:cubicBezTo>
                              <a:pt x="128661" y="205671"/>
                              <a:pt x="132824" y="205020"/>
                              <a:pt x="135220" y="202112"/>
                            </a:cubicBezTo>
                            <a:lnTo>
                              <a:pt x="209728" y="112159"/>
                            </a:lnTo>
                            <a:cubicBezTo>
                              <a:pt x="210867" y="110787"/>
                              <a:pt x="211053" y="108879"/>
                              <a:pt x="210216" y="107298"/>
                            </a:cubicBezTo>
                            <a:cubicBezTo>
                              <a:pt x="209379" y="105716"/>
                              <a:pt x="207681" y="104809"/>
                              <a:pt x="205913" y="104995"/>
                            </a:cubicBezTo>
                            <a:cubicBezTo>
                              <a:pt x="180441" y="107484"/>
                              <a:pt x="150806" y="98226"/>
                              <a:pt x="125846" y="77546"/>
                            </a:cubicBezTo>
                            <a:cubicBezTo>
                              <a:pt x="100886" y="56866"/>
                              <a:pt x="86254" y="29487"/>
                              <a:pt x="83975" y="3992"/>
                            </a:cubicBezTo>
                            <a:cubicBezTo>
                              <a:pt x="83812" y="2224"/>
                              <a:pt x="82602" y="736"/>
                              <a:pt x="80904" y="201"/>
                            </a:cubicBezTo>
                            <a:close/>
                          </a:path>
                        </a:pathLst>
                      </a:custGeom>
                      <a:solidFill>
                        <a:srgbClr val="FFFFCE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732" name="Freeform: Shape 731">
                        <a:extLst>
                          <a:ext uri="{FF2B5EF4-FFF2-40B4-BE49-F238E27FC236}">
                            <a16:creationId xmlns:a16="http://schemas.microsoft.com/office/drawing/2014/main" id="{AD50B0F0-5E0F-4C1E-927D-C911EEF8919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987824" y="3565902"/>
                        <a:ext cx="137244" cy="116309"/>
                      </a:xfrm>
                      <a:custGeom>
                        <a:avLst/>
                        <a:gdLst>
                          <a:gd name="connsiteX0" fmla="*/ 74790 w 137244"/>
                          <a:gd name="connsiteY0" fmla="*/ 29004 h 116308"/>
                          <a:gd name="connsiteX1" fmla="*/ 75511 w 137244"/>
                          <a:gd name="connsiteY1" fmla="*/ 13697 h 116308"/>
                          <a:gd name="connsiteX2" fmla="*/ 50203 w 137244"/>
                          <a:gd name="connsiteY2" fmla="*/ 2811 h 116308"/>
                          <a:gd name="connsiteX3" fmla="*/ 28662 w 137244"/>
                          <a:gd name="connsiteY3" fmla="*/ 11534 h 116308"/>
                          <a:gd name="connsiteX4" fmla="*/ 17753 w 137244"/>
                          <a:gd name="connsiteY4" fmla="*/ 2485 h 116308"/>
                          <a:gd name="connsiteX5" fmla="*/ 2493 w 137244"/>
                          <a:gd name="connsiteY5" fmla="*/ 3928 h 116308"/>
                          <a:gd name="connsiteX6" fmla="*/ 3935 w 137244"/>
                          <a:gd name="connsiteY6" fmla="*/ 19187 h 116308"/>
                          <a:gd name="connsiteX7" fmla="*/ 14822 w 137244"/>
                          <a:gd name="connsiteY7" fmla="*/ 28213 h 116308"/>
                          <a:gd name="connsiteX8" fmla="*/ 9751 w 137244"/>
                          <a:gd name="connsiteY8" fmla="*/ 49241 h 116308"/>
                          <a:gd name="connsiteX9" fmla="*/ 24475 w 137244"/>
                          <a:gd name="connsiteY9" fmla="*/ 72992 h 116308"/>
                          <a:gd name="connsiteX10" fmla="*/ 74139 w 137244"/>
                          <a:gd name="connsiteY10" fmla="*/ 68386 h 116308"/>
                          <a:gd name="connsiteX11" fmla="*/ 100262 w 137244"/>
                          <a:gd name="connsiteY11" fmla="*/ 62198 h 116308"/>
                          <a:gd name="connsiteX12" fmla="*/ 106449 w 137244"/>
                          <a:gd name="connsiteY12" fmla="*/ 70828 h 116308"/>
                          <a:gd name="connsiteX13" fmla="*/ 100122 w 137244"/>
                          <a:gd name="connsiteY13" fmla="*/ 84809 h 116308"/>
                          <a:gd name="connsiteX14" fmla="*/ 87165 w 137244"/>
                          <a:gd name="connsiteY14" fmla="*/ 93346 h 116308"/>
                          <a:gd name="connsiteX15" fmla="*/ 78163 w 137244"/>
                          <a:gd name="connsiteY15" fmla="*/ 89438 h 116308"/>
                          <a:gd name="connsiteX16" fmla="*/ 62950 w 137244"/>
                          <a:gd name="connsiteY16" fmla="*/ 88810 h 116308"/>
                          <a:gd name="connsiteX17" fmla="*/ 62229 w 137244"/>
                          <a:gd name="connsiteY17" fmla="*/ 104116 h 116308"/>
                          <a:gd name="connsiteX18" fmla="*/ 87538 w 137244"/>
                          <a:gd name="connsiteY18" fmla="*/ 115002 h 116308"/>
                          <a:gd name="connsiteX19" fmla="*/ 109101 w 137244"/>
                          <a:gd name="connsiteY19" fmla="*/ 106279 h 116308"/>
                          <a:gd name="connsiteX20" fmla="*/ 120011 w 137244"/>
                          <a:gd name="connsiteY20" fmla="*/ 115328 h 116308"/>
                          <a:gd name="connsiteX21" fmla="*/ 135271 w 137244"/>
                          <a:gd name="connsiteY21" fmla="*/ 113886 h 116308"/>
                          <a:gd name="connsiteX22" fmla="*/ 133828 w 137244"/>
                          <a:gd name="connsiteY22" fmla="*/ 98626 h 116308"/>
                          <a:gd name="connsiteX23" fmla="*/ 122942 w 137244"/>
                          <a:gd name="connsiteY23" fmla="*/ 89600 h 116308"/>
                          <a:gd name="connsiteX24" fmla="*/ 128036 w 137244"/>
                          <a:gd name="connsiteY24" fmla="*/ 68572 h 116308"/>
                          <a:gd name="connsiteX25" fmla="*/ 113312 w 137244"/>
                          <a:gd name="connsiteY25" fmla="*/ 44822 h 116308"/>
                          <a:gd name="connsiteX26" fmla="*/ 63648 w 137244"/>
                          <a:gd name="connsiteY26" fmla="*/ 49427 h 116308"/>
                          <a:gd name="connsiteX27" fmla="*/ 37525 w 137244"/>
                          <a:gd name="connsiteY27" fmla="*/ 55615 h 116308"/>
                          <a:gd name="connsiteX28" fmla="*/ 31361 w 137244"/>
                          <a:gd name="connsiteY28" fmla="*/ 47008 h 116308"/>
                          <a:gd name="connsiteX29" fmla="*/ 37688 w 137244"/>
                          <a:gd name="connsiteY29" fmla="*/ 33028 h 116308"/>
                          <a:gd name="connsiteX30" fmla="*/ 50645 w 137244"/>
                          <a:gd name="connsiteY30" fmla="*/ 24491 h 116308"/>
                          <a:gd name="connsiteX31" fmla="*/ 59647 w 137244"/>
                          <a:gd name="connsiteY31" fmla="*/ 28399 h 116308"/>
                          <a:gd name="connsiteX32" fmla="*/ 74790 w 137244"/>
                          <a:gd name="connsiteY32" fmla="*/ 29004 h 11630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</a:cxnLst>
                        <a:rect l="l" t="t" r="r" b="b"/>
                        <a:pathLst>
                          <a:path w="137244" h="116308">
                            <a:moveTo>
                              <a:pt x="74790" y="29004"/>
                            </a:moveTo>
                            <a:cubicBezTo>
                              <a:pt x="79210" y="25049"/>
                              <a:pt x="79536" y="18117"/>
                              <a:pt x="75511" y="13697"/>
                            </a:cubicBezTo>
                            <a:cubicBezTo>
                              <a:pt x="74465" y="12534"/>
                              <a:pt x="64858" y="2462"/>
                              <a:pt x="50203" y="2811"/>
                            </a:cubicBezTo>
                            <a:cubicBezTo>
                              <a:pt x="42596" y="2997"/>
                              <a:pt x="35385" y="5998"/>
                              <a:pt x="28662" y="11534"/>
                            </a:cubicBezTo>
                            <a:lnTo>
                              <a:pt x="17753" y="2485"/>
                            </a:lnTo>
                            <a:cubicBezTo>
                              <a:pt x="13147" y="-1330"/>
                              <a:pt x="6308" y="-678"/>
                              <a:pt x="2493" y="3928"/>
                            </a:cubicBezTo>
                            <a:cubicBezTo>
                              <a:pt x="-1322" y="8533"/>
                              <a:pt x="-694" y="15372"/>
                              <a:pt x="3935" y="19187"/>
                            </a:cubicBezTo>
                            <a:lnTo>
                              <a:pt x="14822" y="28213"/>
                            </a:lnTo>
                            <a:cubicBezTo>
                              <a:pt x="10821" y="35331"/>
                              <a:pt x="9029" y="42379"/>
                              <a:pt x="9751" y="49241"/>
                            </a:cubicBezTo>
                            <a:cubicBezTo>
                              <a:pt x="11100" y="62314"/>
                              <a:pt x="20451" y="69781"/>
                              <a:pt x="24475" y="72992"/>
                            </a:cubicBezTo>
                            <a:cubicBezTo>
                              <a:pt x="35501" y="82133"/>
                              <a:pt x="52203" y="80575"/>
                              <a:pt x="74139" y="68386"/>
                            </a:cubicBezTo>
                            <a:cubicBezTo>
                              <a:pt x="90027" y="59546"/>
                              <a:pt x="97657" y="60035"/>
                              <a:pt x="100262" y="62198"/>
                            </a:cubicBezTo>
                            <a:cubicBezTo>
                              <a:pt x="102262" y="63803"/>
                              <a:pt x="106031" y="66804"/>
                              <a:pt x="106449" y="70828"/>
                            </a:cubicBezTo>
                            <a:cubicBezTo>
                              <a:pt x="106822" y="74504"/>
                              <a:pt x="104635" y="79342"/>
                              <a:pt x="100122" y="84809"/>
                            </a:cubicBezTo>
                            <a:cubicBezTo>
                              <a:pt x="96982" y="88600"/>
                              <a:pt x="92190" y="93160"/>
                              <a:pt x="87165" y="93346"/>
                            </a:cubicBezTo>
                            <a:cubicBezTo>
                              <a:pt x="82327" y="93532"/>
                              <a:pt x="78419" y="89693"/>
                              <a:pt x="78163" y="89438"/>
                            </a:cubicBezTo>
                            <a:cubicBezTo>
                              <a:pt x="74139" y="85111"/>
                              <a:pt x="67347" y="84809"/>
                              <a:pt x="62950" y="88810"/>
                            </a:cubicBezTo>
                            <a:cubicBezTo>
                              <a:pt x="58577" y="92811"/>
                              <a:pt x="58205" y="99696"/>
                              <a:pt x="62229" y="104116"/>
                            </a:cubicBezTo>
                            <a:cubicBezTo>
                              <a:pt x="63276" y="105279"/>
                              <a:pt x="72883" y="115351"/>
                              <a:pt x="87538" y="115002"/>
                            </a:cubicBezTo>
                            <a:cubicBezTo>
                              <a:pt x="95168" y="114816"/>
                              <a:pt x="102355" y="111815"/>
                              <a:pt x="109101" y="106279"/>
                            </a:cubicBezTo>
                            <a:lnTo>
                              <a:pt x="120011" y="115328"/>
                            </a:lnTo>
                            <a:cubicBezTo>
                              <a:pt x="124617" y="119143"/>
                              <a:pt x="131456" y="118515"/>
                              <a:pt x="135271" y="113886"/>
                            </a:cubicBezTo>
                            <a:cubicBezTo>
                              <a:pt x="139086" y="109280"/>
                              <a:pt x="138458" y="102464"/>
                              <a:pt x="133828" y="98626"/>
                            </a:cubicBezTo>
                            <a:lnTo>
                              <a:pt x="122942" y="89600"/>
                            </a:lnTo>
                            <a:cubicBezTo>
                              <a:pt x="126943" y="82482"/>
                              <a:pt x="128734" y="75434"/>
                              <a:pt x="128036" y="68572"/>
                            </a:cubicBezTo>
                            <a:cubicBezTo>
                              <a:pt x="126664" y="55499"/>
                              <a:pt x="117336" y="48032"/>
                              <a:pt x="113312" y="44822"/>
                            </a:cubicBezTo>
                            <a:cubicBezTo>
                              <a:pt x="102286" y="35680"/>
                              <a:pt x="85560" y="37238"/>
                              <a:pt x="63648" y="49427"/>
                            </a:cubicBezTo>
                            <a:cubicBezTo>
                              <a:pt x="47760" y="58267"/>
                              <a:pt x="40130" y="57778"/>
                              <a:pt x="37525" y="55615"/>
                            </a:cubicBezTo>
                            <a:cubicBezTo>
                              <a:pt x="35524" y="54010"/>
                              <a:pt x="31779" y="51033"/>
                              <a:pt x="31361" y="47008"/>
                            </a:cubicBezTo>
                            <a:cubicBezTo>
                              <a:pt x="30988" y="43333"/>
                              <a:pt x="33175" y="38494"/>
                              <a:pt x="37688" y="33028"/>
                            </a:cubicBezTo>
                            <a:cubicBezTo>
                              <a:pt x="40828" y="29236"/>
                              <a:pt x="45620" y="24677"/>
                              <a:pt x="50645" y="24491"/>
                            </a:cubicBezTo>
                            <a:cubicBezTo>
                              <a:pt x="55483" y="24305"/>
                              <a:pt x="59391" y="28143"/>
                              <a:pt x="59647" y="28399"/>
                            </a:cubicBezTo>
                            <a:cubicBezTo>
                              <a:pt x="63625" y="32726"/>
                              <a:pt x="70394" y="33005"/>
                              <a:pt x="74790" y="29004"/>
                            </a:cubicBezTo>
                            <a:close/>
                          </a:path>
                        </a:pathLst>
                      </a:custGeom>
                      <a:solidFill>
                        <a:srgbClr val="FFFFCE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</p:grpSp>
              <p:grpSp>
                <p:nvGrpSpPr>
                  <p:cNvPr id="733" name="Graphic 174">
                    <a:extLst>
                      <a:ext uri="{FF2B5EF4-FFF2-40B4-BE49-F238E27FC236}">
                        <a16:creationId xmlns:a16="http://schemas.microsoft.com/office/drawing/2014/main" id="{4045A780-E4ED-4946-BB38-1D6737CA17D1}"/>
                      </a:ext>
                    </a:extLst>
                  </p:cNvPr>
                  <p:cNvGrpSpPr/>
                  <p:nvPr/>
                </p:nvGrpSpPr>
                <p:grpSpPr>
                  <a:xfrm>
                    <a:off x="6902547" y="3403639"/>
                    <a:ext cx="553706" cy="504779"/>
                    <a:chOff x="6902547" y="3403639"/>
                    <a:chExt cx="553706" cy="504779"/>
                  </a:xfrm>
                  <a:solidFill>
                    <a:schemeClr val="accent1"/>
                  </a:solidFill>
                </p:grpSpPr>
                <p:grpSp>
                  <p:nvGrpSpPr>
                    <p:cNvPr id="734" name="Graphic 174">
                      <a:extLst>
                        <a:ext uri="{FF2B5EF4-FFF2-40B4-BE49-F238E27FC236}">
                          <a16:creationId xmlns:a16="http://schemas.microsoft.com/office/drawing/2014/main" id="{4045A780-E4ED-4946-BB38-1D6737CA17D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6902547" y="3403639"/>
                      <a:ext cx="460582" cy="504779"/>
                      <a:chOff x="6902547" y="3403639"/>
                      <a:chExt cx="460582" cy="504779"/>
                    </a:xfrm>
                    <a:solidFill>
                      <a:schemeClr val="accent1"/>
                    </a:solidFill>
                  </p:grpSpPr>
                  <p:sp>
                    <p:nvSpPr>
                      <p:cNvPr id="735" name="Freeform: Shape 734">
                        <a:extLst>
                          <a:ext uri="{FF2B5EF4-FFF2-40B4-BE49-F238E27FC236}">
                            <a16:creationId xmlns:a16="http://schemas.microsoft.com/office/drawing/2014/main" id="{E7D689FE-46E0-438F-813B-15AD6E24F72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902547" y="3403639"/>
                        <a:ext cx="460582" cy="504779"/>
                      </a:xfrm>
                      <a:custGeom>
                        <a:avLst/>
                        <a:gdLst>
                          <a:gd name="connsiteX0" fmla="*/ 290426 w 460581"/>
                          <a:gd name="connsiteY0" fmla="*/ 5034 h 504779"/>
                          <a:gd name="connsiteX1" fmla="*/ 2934 w 460581"/>
                          <a:gd name="connsiteY1" fmla="*/ 364986 h 504779"/>
                          <a:gd name="connsiteX2" fmla="*/ 5051 w 460581"/>
                          <a:gd name="connsiteY2" fmla="*/ 383851 h 504779"/>
                          <a:gd name="connsiteX3" fmla="*/ 153368 w 460581"/>
                          <a:gd name="connsiteY3" fmla="*/ 502323 h 504779"/>
                          <a:gd name="connsiteX4" fmla="*/ 172233 w 460581"/>
                          <a:gd name="connsiteY4" fmla="*/ 500206 h 504779"/>
                          <a:gd name="connsiteX5" fmla="*/ 459724 w 460581"/>
                          <a:gd name="connsiteY5" fmla="*/ 140254 h 504779"/>
                          <a:gd name="connsiteX6" fmla="*/ 457607 w 460581"/>
                          <a:gd name="connsiteY6" fmla="*/ 121389 h 504779"/>
                          <a:gd name="connsiteX7" fmla="*/ 309291 w 460581"/>
                          <a:gd name="connsiteY7" fmla="*/ 2917 h 504779"/>
                          <a:gd name="connsiteX8" fmla="*/ 290426 w 460581"/>
                          <a:gd name="connsiteY8" fmla="*/ 5034 h 504779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0581" h="504779">
                            <a:moveTo>
                              <a:pt x="290426" y="5034"/>
                            </a:moveTo>
                            <a:lnTo>
                              <a:pt x="2934" y="364986"/>
                            </a:lnTo>
                            <a:cubicBezTo>
                              <a:pt x="-1695" y="370778"/>
                              <a:pt x="-741" y="379222"/>
                              <a:pt x="5051" y="383851"/>
                            </a:cubicBezTo>
                            <a:lnTo>
                              <a:pt x="153368" y="502323"/>
                            </a:lnTo>
                            <a:cubicBezTo>
                              <a:pt x="159160" y="506952"/>
                              <a:pt x="167604" y="505998"/>
                              <a:pt x="172233" y="500206"/>
                            </a:cubicBezTo>
                            <a:lnTo>
                              <a:pt x="459724" y="140254"/>
                            </a:lnTo>
                            <a:cubicBezTo>
                              <a:pt x="464353" y="134462"/>
                              <a:pt x="463400" y="126018"/>
                              <a:pt x="457607" y="121389"/>
                            </a:cubicBezTo>
                            <a:lnTo>
                              <a:pt x="309291" y="2917"/>
                            </a:lnTo>
                            <a:cubicBezTo>
                              <a:pt x="303499" y="-1689"/>
                              <a:pt x="295055" y="-735"/>
                              <a:pt x="290426" y="5034"/>
                            </a:cubicBezTo>
                            <a:close/>
                          </a:path>
                        </a:pathLst>
                      </a:custGeom>
                      <a:solidFill>
                        <a:srgbClr val="90855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736" name="Freeform: Shape 735">
                        <a:extLst>
                          <a:ext uri="{FF2B5EF4-FFF2-40B4-BE49-F238E27FC236}">
                            <a16:creationId xmlns:a16="http://schemas.microsoft.com/office/drawing/2014/main" id="{9BC4D5CB-C932-49C6-8E72-58FB0058560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094933" y="3462928"/>
                        <a:ext cx="209355" cy="211682"/>
                      </a:xfrm>
                      <a:custGeom>
                        <a:avLst/>
                        <a:gdLst>
                          <a:gd name="connsiteX0" fmla="*/ 144935 w 209355"/>
                          <a:gd name="connsiteY0" fmla="*/ 2107 h 211681"/>
                          <a:gd name="connsiteX1" fmla="*/ 83617 w 209355"/>
                          <a:gd name="connsiteY1" fmla="*/ 8970 h 211681"/>
                          <a:gd name="connsiteX2" fmla="*/ 73894 w 209355"/>
                          <a:gd name="connsiteY2" fmla="*/ 10691 h 211681"/>
                          <a:gd name="connsiteX3" fmla="*/ 945 w 209355"/>
                          <a:gd name="connsiteY3" fmla="*/ 102016 h 211681"/>
                          <a:gd name="connsiteX4" fmla="*/ 550 w 209355"/>
                          <a:gd name="connsiteY4" fmla="*/ 106878 h 211681"/>
                          <a:gd name="connsiteX5" fmla="*/ 4877 w 209355"/>
                          <a:gd name="connsiteY5" fmla="*/ 109111 h 211681"/>
                          <a:gd name="connsiteX6" fmla="*/ 85432 w 209355"/>
                          <a:gd name="connsiteY6" fmla="*/ 135141 h 211681"/>
                          <a:gd name="connsiteX7" fmla="*/ 128606 w 209355"/>
                          <a:gd name="connsiteY7" fmla="*/ 207950 h 211681"/>
                          <a:gd name="connsiteX8" fmla="*/ 131746 w 209355"/>
                          <a:gd name="connsiteY8" fmla="*/ 211695 h 211681"/>
                          <a:gd name="connsiteX9" fmla="*/ 136398 w 209355"/>
                          <a:gd name="connsiteY9" fmla="*/ 210230 h 211681"/>
                          <a:gd name="connsiteX10" fmla="*/ 209347 w 209355"/>
                          <a:gd name="connsiteY10" fmla="*/ 118881 h 211681"/>
                          <a:gd name="connsiteX11" fmla="*/ 208882 w 209355"/>
                          <a:gd name="connsiteY11" fmla="*/ 109018 h 211681"/>
                          <a:gd name="connsiteX12" fmla="*/ 202020 w 209355"/>
                          <a:gd name="connsiteY12" fmla="*/ 47700 h 211681"/>
                          <a:gd name="connsiteX13" fmla="*/ 200298 w 209355"/>
                          <a:gd name="connsiteY13" fmla="*/ 37977 h 211681"/>
                          <a:gd name="connsiteX14" fmla="*/ 154798 w 209355"/>
                          <a:gd name="connsiteY14" fmla="*/ 1642 h 211681"/>
                          <a:gd name="connsiteX15" fmla="*/ 144935 w 209355"/>
                          <a:gd name="connsiteY15" fmla="*/ 2107 h 21168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</a:cxnLst>
                        <a:rect l="l" t="t" r="r" b="b"/>
                        <a:pathLst>
                          <a:path w="209355" h="211681">
                            <a:moveTo>
                              <a:pt x="144935" y="2107"/>
                            </a:moveTo>
                            <a:cubicBezTo>
                              <a:pt x="128489" y="18018"/>
                              <a:pt x="103181" y="20856"/>
                              <a:pt x="83617" y="8970"/>
                            </a:cubicBezTo>
                            <a:cubicBezTo>
                              <a:pt x="80407" y="7016"/>
                              <a:pt x="76244" y="7760"/>
                              <a:pt x="73894" y="10691"/>
                            </a:cubicBezTo>
                            <a:lnTo>
                              <a:pt x="945" y="102016"/>
                            </a:lnTo>
                            <a:cubicBezTo>
                              <a:pt x="-148" y="103412"/>
                              <a:pt x="-311" y="105320"/>
                              <a:pt x="550" y="106878"/>
                            </a:cubicBezTo>
                            <a:cubicBezTo>
                              <a:pt x="1411" y="108437"/>
                              <a:pt x="3132" y="109321"/>
                              <a:pt x="4877" y="109111"/>
                            </a:cubicBezTo>
                            <a:cubicBezTo>
                              <a:pt x="30302" y="106157"/>
                              <a:pt x="60100" y="114903"/>
                              <a:pt x="85432" y="135141"/>
                            </a:cubicBezTo>
                            <a:cubicBezTo>
                              <a:pt x="110764" y="155379"/>
                              <a:pt x="125884" y="182502"/>
                              <a:pt x="128606" y="207950"/>
                            </a:cubicBezTo>
                            <a:cubicBezTo>
                              <a:pt x="128792" y="209718"/>
                              <a:pt x="130025" y="211184"/>
                              <a:pt x="131746" y="211695"/>
                            </a:cubicBezTo>
                            <a:cubicBezTo>
                              <a:pt x="133444" y="212184"/>
                              <a:pt x="135282" y="211602"/>
                              <a:pt x="136398" y="210230"/>
                            </a:cubicBezTo>
                            <a:lnTo>
                              <a:pt x="209347" y="118881"/>
                            </a:lnTo>
                            <a:cubicBezTo>
                              <a:pt x="211696" y="115950"/>
                              <a:pt x="211487" y="111717"/>
                              <a:pt x="208882" y="109018"/>
                            </a:cubicBezTo>
                            <a:cubicBezTo>
                              <a:pt x="192971" y="92549"/>
                              <a:pt x="190133" y="67263"/>
                              <a:pt x="202020" y="47700"/>
                            </a:cubicBezTo>
                            <a:cubicBezTo>
                              <a:pt x="203973" y="44490"/>
                              <a:pt x="203229" y="40326"/>
                              <a:pt x="200298" y="37977"/>
                            </a:cubicBezTo>
                            <a:lnTo>
                              <a:pt x="154798" y="1642"/>
                            </a:lnTo>
                            <a:cubicBezTo>
                              <a:pt x="151867" y="-707"/>
                              <a:pt x="147657" y="-521"/>
                              <a:pt x="144935" y="2107"/>
                            </a:cubicBezTo>
                            <a:close/>
                          </a:path>
                        </a:pathLst>
                      </a:custGeom>
                      <a:solidFill>
                        <a:srgbClr val="FFFFB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737" name="Freeform: Shape 736">
                        <a:extLst>
                          <a:ext uri="{FF2B5EF4-FFF2-40B4-BE49-F238E27FC236}">
                            <a16:creationId xmlns:a16="http://schemas.microsoft.com/office/drawing/2014/main" id="{BCA5276E-3554-4716-A9B3-D9FD3338CC4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961838" y="3637816"/>
                        <a:ext cx="209355" cy="211682"/>
                      </a:xfrm>
                      <a:custGeom>
                        <a:avLst/>
                        <a:gdLst>
                          <a:gd name="connsiteX0" fmla="*/ 79189 w 209355"/>
                          <a:gd name="connsiteY0" fmla="*/ 171 h 211681"/>
                          <a:gd name="connsiteX1" fmla="*/ 74536 w 209355"/>
                          <a:gd name="connsiteY1" fmla="*/ 1636 h 211681"/>
                          <a:gd name="connsiteX2" fmla="*/ 1634 w 209355"/>
                          <a:gd name="connsiteY2" fmla="*/ 92915 h 211681"/>
                          <a:gd name="connsiteX3" fmla="*/ 2099 w 209355"/>
                          <a:gd name="connsiteY3" fmla="*/ 102778 h 211681"/>
                          <a:gd name="connsiteX4" fmla="*/ 8961 w 209355"/>
                          <a:gd name="connsiteY4" fmla="*/ 164096 h 211681"/>
                          <a:gd name="connsiteX5" fmla="*/ 10683 w 209355"/>
                          <a:gd name="connsiteY5" fmla="*/ 173819 h 211681"/>
                          <a:gd name="connsiteX6" fmla="*/ 56159 w 209355"/>
                          <a:gd name="connsiteY6" fmla="*/ 210154 h 211681"/>
                          <a:gd name="connsiteX7" fmla="*/ 66022 w 209355"/>
                          <a:gd name="connsiteY7" fmla="*/ 209689 h 211681"/>
                          <a:gd name="connsiteX8" fmla="*/ 127340 w 209355"/>
                          <a:gd name="connsiteY8" fmla="*/ 202827 h 211681"/>
                          <a:gd name="connsiteX9" fmla="*/ 137064 w 209355"/>
                          <a:gd name="connsiteY9" fmla="*/ 201105 h 211681"/>
                          <a:gd name="connsiteX10" fmla="*/ 209966 w 209355"/>
                          <a:gd name="connsiteY10" fmla="*/ 109826 h 211681"/>
                          <a:gd name="connsiteX11" fmla="*/ 210385 w 209355"/>
                          <a:gd name="connsiteY11" fmla="*/ 104965 h 211681"/>
                          <a:gd name="connsiteX12" fmla="*/ 206058 w 209355"/>
                          <a:gd name="connsiteY12" fmla="*/ 102732 h 211681"/>
                          <a:gd name="connsiteX13" fmla="*/ 125503 w 209355"/>
                          <a:gd name="connsiteY13" fmla="*/ 76702 h 211681"/>
                          <a:gd name="connsiteX14" fmla="*/ 82306 w 209355"/>
                          <a:gd name="connsiteY14" fmla="*/ 3893 h 211681"/>
                          <a:gd name="connsiteX15" fmla="*/ 79189 w 209355"/>
                          <a:gd name="connsiteY15" fmla="*/ 171 h 21168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</a:cxnLst>
                        <a:rect l="l" t="t" r="r" b="b"/>
                        <a:pathLst>
                          <a:path w="209355" h="211681">
                            <a:moveTo>
                              <a:pt x="79189" y="171"/>
                            </a:moveTo>
                            <a:cubicBezTo>
                              <a:pt x="77490" y="-318"/>
                              <a:pt x="75653" y="264"/>
                              <a:pt x="74536" y="1636"/>
                            </a:cubicBezTo>
                            <a:lnTo>
                              <a:pt x="1634" y="92915"/>
                            </a:lnTo>
                            <a:cubicBezTo>
                              <a:pt x="-715" y="95846"/>
                              <a:pt x="-506" y="100080"/>
                              <a:pt x="2099" y="102778"/>
                            </a:cubicBezTo>
                            <a:cubicBezTo>
                              <a:pt x="18010" y="119224"/>
                              <a:pt x="20848" y="144510"/>
                              <a:pt x="8961" y="164096"/>
                            </a:cubicBezTo>
                            <a:cubicBezTo>
                              <a:pt x="7007" y="167306"/>
                              <a:pt x="7752" y="171470"/>
                              <a:pt x="10683" y="173819"/>
                            </a:cubicBezTo>
                            <a:lnTo>
                              <a:pt x="56159" y="210154"/>
                            </a:lnTo>
                            <a:cubicBezTo>
                              <a:pt x="59090" y="212504"/>
                              <a:pt x="63324" y="212294"/>
                              <a:pt x="66022" y="209689"/>
                            </a:cubicBezTo>
                            <a:cubicBezTo>
                              <a:pt x="82468" y="193778"/>
                              <a:pt x="107777" y="190940"/>
                              <a:pt x="127340" y="202827"/>
                            </a:cubicBezTo>
                            <a:cubicBezTo>
                              <a:pt x="130550" y="204781"/>
                              <a:pt x="134714" y="204036"/>
                              <a:pt x="137064" y="201105"/>
                            </a:cubicBezTo>
                            <a:lnTo>
                              <a:pt x="209966" y="109826"/>
                            </a:lnTo>
                            <a:cubicBezTo>
                              <a:pt x="211082" y="108454"/>
                              <a:pt x="211245" y="106523"/>
                              <a:pt x="210385" y="104965"/>
                            </a:cubicBezTo>
                            <a:cubicBezTo>
                              <a:pt x="209524" y="103406"/>
                              <a:pt x="207802" y="102522"/>
                              <a:pt x="206058" y="102732"/>
                            </a:cubicBezTo>
                            <a:cubicBezTo>
                              <a:pt x="180633" y="105686"/>
                              <a:pt x="150835" y="96939"/>
                              <a:pt x="125503" y="76702"/>
                            </a:cubicBezTo>
                            <a:cubicBezTo>
                              <a:pt x="100171" y="56464"/>
                              <a:pt x="85051" y="29341"/>
                              <a:pt x="82306" y="3893"/>
                            </a:cubicBezTo>
                            <a:cubicBezTo>
                              <a:pt x="82120" y="2148"/>
                              <a:pt x="80887" y="683"/>
                              <a:pt x="79189" y="171"/>
                            </a:cubicBezTo>
                            <a:close/>
                          </a:path>
                        </a:pathLst>
                      </a:custGeom>
                      <a:solidFill>
                        <a:srgbClr val="FFFFB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738" name="Freeform: Shape 737">
                        <a:extLst>
                          <a:ext uri="{FF2B5EF4-FFF2-40B4-BE49-F238E27FC236}">
                            <a16:creationId xmlns:a16="http://schemas.microsoft.com/office/drawing/2014/main" id="{B2ECD816-A7AE-4DA3-B595-7F3C8E1050C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064169" y="3598415"/>
                        <a:ext cx="137244" cy="113982"/>
                      </a:xfrm>
                      <a:custGeom>
                        <a:avLst/>
                        <a:gdLst>
                          <a:gd name="connsiteX0" fmla="*/ 75115 w 137244"/>
                          <a:gd name="connsiteY0" fmla="*/ 27871 h 113982"/>
                          <a:gd name="connsiteX1" fmla="*/ 75557 w 137244"/>
                          <a:gd name="connsiteY1" fmla="*/ 12565 h 113982"/>
                          <a:gd name="connsiteX2" fmla="*/ 50063 w 137244"/>
                          <a:gd name="connsiteY2" fmla="*/ 2120 h 113982"/>
                          <a:gd name="connsiteX3" fmla="*/ 28662 w 137244"/>
                          <a:gd name="connsiteY3" fmla="*/ 11216 h 113982"/>
                          <a:gd name="connsiteX4" fmla="*/ 17589 w 137244"/>
                          <a:gd name="connsiteY4" fmla="*/ 2376 h 113982"/>
                          <a:gd name="connsiteX5" fmla="*/ 2376 w 137244"/>
                          <a:gd name="connsiteY5" fmla="*/ 4074 h 113982"/>
                          <a:gd name="connsiteX6" fmla="*/ 4074 w 137244"/>
                          <a:gd name="connsiteY6" fmla="*/ 19311 h 113982"/>
                          <a:gd name="connsiteX7" fmla="*/ 15124 w 137244"/>
                          <a:gd name="connsiteY7" fmla="*/ 28127 h 113982"/>
                          <a:gd name="connsiteX8" fmla="*/ 10401 w 137244"/>
                          <a:gd name="connsiteY8" fmla="*/ 49225 h 113982"/>
                          <a:gd name="connsiteX9" fmla="*/ 25545 w 137244"/>
                          <a:gd name="connsiteY9" fmla="*/ 72696 h 113982"/>
                          <a:gd name="connsiteX10" fmla="*/ 75115 w 137244"/>
                          <a:gd name="connsiteY10" fmla="*/ 67207 h 113982"/>
                          <a:gd name="connsiteX11" fmla="*/ 101145 w 137244"/>
                          <a:gd name="connsiteY11" fmla="*/ 60554 h 113982"/>
                          <a:gd name="connsiteX12" fmla="*/ 107473 w 137244"/>
                          <a:gd name="connsiteY12" fmla="*/ 69068 h 113982"/>
                          <a:gd name="connsiteX13" fmla="*/ 101378 w 137244"/>
                          <a:gd name="connsiteY13" fmla="*/ 83141 h 113982"/>
                          <a:gd name="connsiteX14" fmla="*/ 88584 w 137244"/>
                          <a:gd name="connsiteY14" fmla="*/ 91911 h 113982"/>
                          <a:gd name="connsiteX15" fmla="*/ 79512 w 137244"/>
                          <a:gd name="connsiteY15" fmla="*/ 88165 h 113982"/>
                          <a:gd name="connsiteX16" fmla="*/ 64299 w 137244"/>
                          <a:gd name="connsiteY16" fmla="*/ 87816 h 113982"/>
                          <a:gd name="connsiteX17" fmla="*/ 63834 w 137244"/>
                          <a:gd name="connsiteY17" fmla="*/ 103123 h 113982"/>
                          <a:gd name="connsiteX18" fmla="*/ 89328 w 137244"/>
                          <a:gd name="connsiteY18" fmla="*/ 113567 h 113982"/>
                          <a:gd name="connsiteX19" fmla="*/ 110729 w 137244"/>
                          <a:gd name="connsiteY19" fmla="*/ 104449 h 113982"/>
                          <a:gd name="connsiteX20" fmla="*/ 121802 w 137244"/>
                          <a:gd name="connsiteY20" fmla="*/ 113311 h 113982"/>
                          <a:gd name="connsiteX21" fmla="*/ 137038 w 137244"/>
                          <a:gd name="connsiteY21" fmla="*/ 111613 h 113982"/>
                          <a:gd name="connsiteX22" fmla="*/ 135340 w 137244"/>
                          <a:gd name="connsiteY22" fmla="*/ 96377 h 113982"/>
                          <a:gd name="connsiteX23" fmla="*/ 124291 w 137244"/>
                          <a:gd name="connsiteY23" fmla="*/ 87584 h 113982"/>
                          <a:gd name="connsiteX24" fmla="*/ 128990 w 137244"/>
                          <a:gd name="connsiteY24" fmla="*/ 66485 h 113982"/>
                          <a:gd name="connsiteX25" fmla="*/ 113846 w 137244"/>
                          <a:gd name="connsiteY25" fmla="*/ 43014 h 113982"/>
                          <a:gd name="connsiteX26" fmla="*/ 64276 w 137244"/>
                          <a:gd name="connsiteY26" fmla="*/ 48481 h 113982"/>
                          <a:gd name="connsiteX27" fmla="*/ 38269 w 137244"/>
                          <a:gd name="connsiteY27" fmla="*/ 55134 h 113982"/>
                          <a:gd name="connsiteX28" fmla="*/ 31942 w 137244"/>
                          <a:gd name="connsiteY28" fmla="*/ 46620 h 113982"/>
                          <a:gd name="connsiteX29" fmla="*/ 38036 w 137244"/>
                          <a:gd name="connsiteY29" fmla="*/ 32547 h 113982"/>
                          <a:gd name="connsiteX30" fmla="*/ 50830 w 137244"/>
                          <a:gd name="connsiteY30" fmla="*/ 23777 h 113982"/>
                          <a:gd name="connsiteX31" fmla="*/ 59902 w 137244"/>
                          <a:gd name="connsiteY31" fmla="*/ 27522 h 113982"/>
                          <a:gd name="connsiteX32" fmla="*/ 75115 w 137244"/>
                          <a:gd name="connsiteY32" fmla="*/ 27871 h 11398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</a:cxnLst>
                        <a:rect l="l" t="t" r="r" b="b"/>
                        <a:pathLst>
                          <a:path w="137244" h="113982">
                            <a:moveTo>
                              <a:pt x="75115" y="27871"/>
                            </a:moveTo>
                            <a:cubicBezTo>
                              <a:pt x="79442" y="23823"/>
                              <a:pt x="79675" y="16915"/>
                              <a:pt x="75557" y="12565"/>
                            </a:cubicBezTo>
                            <a:cubicBezTo>
                              <a:pt x="74488" y="11425"/>
                              <a:pt x="64718" y="1539"/>
                              <a:pt x="50063" y="2120"/>
                            </a:cubicBezTo>
                            <a:cubicBezTo>
                              <a:pt x="42433" y="2446"/>
                              <a:pt x="35291" y="5563"/>
                              <a:pt x="28662" y="11216"/>
                            </a:cubicBezTo>
                            <a:lnTo>
                              <a:pt x="17589" y="2376"/>
                            </a:lnTo>
                            <a:cubicBezTo>
                              <a:pt x="12914" y="-1369"/>
                              <a:pt x="6098" y="-601"/>
                              <a:pt x="2376" y="4074"/>
                            </a:cubicBezTo>
                            <a:cubicBezTo>
                              <a:pt x="-1369" y="8750"/>
                              <a:pt x="-601" y="15566"/>
                              <a:pt x="4074" y="19311"/>
                            </a:cubicBezTo>
                            <a:lnTo>
                              <a:pt x="15124" y="28127"/>
                            </a:lnTo>
                            <a:cubicBezTo>
                              <a:pt x="11262" y="35315"/>
                              <a:pt x="9587" y="42386"/>
                              <a:pt x="10401" y="49225"/>
                            </a:cubicBezTo>
                            <a:cubicBezTo>
                              <a:pt x="11983" y="62275"/>
                              <a:pt x="21474" y="69556"/>
                              <a:pt x="25545" y="72696"/>
                            </a:cubicBezTo>
                            <a:cubicBezTo>
                              <a:pt x="36734" y="81629"/>
                              <a:pt x="53412" y="79791"/>
                              <a:pt x="75115" y="67207"/>
                            </a:cubicBezTo>
                            <a:cubicBezTo>
                              <a:pt x="90840" y="58088"/>
                              <a:pt x="98470" y="58437"/>
                              <a:pt x="101145" y="60554"/>
                            </a:cubicBezTo>
                            <a:cubicBezTo>
                              <a:pt x="103169" y="62112"/>
                              <a:pt x="106984" y="65043"/>
                              <a:pt x="107473" y="69068"/>
                            </a:cubicBezTo>
                            <a:cubicBezTo>
                              <a:pt x="107915" y="72743"/>
                              <a:pt x="105821" y="77605"/>
                              <a:pt x="101378" y="83141"/>
                            </a:cubicBezTo>
                            <a:cubicBezTo>
                              <a:pt x="98307" y="86979"/>
                              <a:pt x="93585" y="91631"/>
                              <a:pt x="88584" y="91911"/>
                            </a:cubicBezTo>
                            <a:cubicBezTo>
                              <a:pt x="83746" y="92166"/>
                              <a:pt x="79768" y="88421"/>
                              <a:pt x="79512" y="88165"/>
                            </a:cubicBezTo>
                            <a:cubicBezTo>
                              <a:pt x="75395" y="83909"/>
                              <a:pt x="68602" y="83746"/>
                              <a:pt x="64299" y="87816"/>
                            </a:cubicBezTo>
                            <a:cubicBezTo>
                              <a:pt x="59995" y="91887"/>
                              <a:pt x="59740" y="98773"/>
                              <a:pt x="63834" y="103123"/>
                            </a:cubicBezTo>
                            <a:cubicBezTo>
                              <a:pt x="64904" y="104263"/>
                              <a:pt x="74674" y="114149"/>
                              <a:pt x="89328" y="113567"/>
                            </a:cubicBezTo>
                            <a:cubicBezTo>
                              <a:pt x="96935" y="113242"/>
                              <a:pt x="104100" y="110124"/>
                              <a:pt x="110729" y="104449"/>
                            </a:cubicBezTo>
                            <a:lnTo>
                              <a:pt x="121802" y="113311"/>
                            </a:lnTo>
                            <a:cubicBezTo>
                              <a:pt x="126477" y="117056"/>
                              <a:pt x="133293" y="116289"/>
                              <a:pt x="137038" y="111613"/>
                            </a:cubicBezTo>
                            <a:cubicBezTo>
                              <a:pt x="140760" y="106938"/>
                              <a:pt x="140016" y="100122"/>
                              <a:pt x="135340" y="96377"/>
                            </a:cubicBezTo>
                            <a:lnTo>
                              <a:pt x="124291" y="87584"/>
                            </a:lnTo>
                            <a:cubicBezTo>
                              <a:pt x="128175" y="80396"/>
                              <a:pt x="129827" y="73324"/>
                              <a:pt x="128990" y="66485"/>
                            </a:cubicBezTo>
                            <a:cubicBezTo>
                              <a:pt x="127408" y="53436"/>
                              <a:pt x="117917" y="46131"/>
                              <a:pt x="113846" y="43014"/>
                            </a:cubicBezTo>
                            <a:cubicBezTo>
                              <a:pt x="102657" y="34082"/>
                              <a:pt x="85979" y="35920"/>
                              <a:pt x="64276" y="48481"/>
                            </a:cubicBezTo>
                            <a:cubicBezTo>
                              <a:pt x="48551" y="57600"/>
                              <a:pt x="40921" y="57251"/>
                              <a:pt x="38269" y="55134"/>
                            </a:cubicBezTo>
                            <a:cubicBezTo>
                              <a:pt x="36222" y="53575"/>
                              <a:pt x="32430" y="50644"/>
                              <a:pt x="31942" y="46620"/>
                            </a:cubicBezTo>
                            <a:cubicBezTo>
                              <a:pt x="31500" y="42945"/>
                              <a:pt x="33617" y="38083"/>
                              <a:pt x="38036" y="32547"/>
                            </a:cubicBezTo>
                            <a:cubicBezTo>
                              <a:pt x="41107" y="28685"/>
                              <a:pt x="45806" y="24056"/>
                              <a:pt x="50830" y="23777"/>
                            </a:cubicBezTo>
                            <a:cubicBezTo>
                              <a:pt x="55669" y="23521"/>
                              <a:pt x="59646" y="27266"/>
                              <a:pt x="59902" y="27522"/>
                            </a:cubicBezTo>
                            <a:cubicBezTo>
                              <a:pt x="63996" y="31779"/>
                              <a:pt x="70789" y="31942"/>
                              <a:pt x="75115" y="27871"/>
                            </a:cubicBezTo>
                            <a:close/>
                          </a:path>
                        </a:pathLst>
                      </a:custGeom>
                      <a:solidFill>
                        <a:srgbClr val="FFFFB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grpSp>
                  <p:nvGrpSpPr>
                    <p:cNvPr id="739" name="Graphic 174">
                      <a:extLst>
                        <a:ext uri="{FF2B5EF4-FFF2-40B4-BE49-F238E27FC236}">
                          <a16:creationId xmlns:a16="http://schemas.microsoft.com/office/drawing/2014/main" id="{4045A780-E4ED-4946-BB38-1D6737CA17D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6908099" y="3439445"/>
                      <a:ext cx="502453" cy="465234"/>
                      <a:chOff x="6908099" y="3439445"/>
                      <a:chExt cx="502453" cy="465234"/>
                    </a:xfrm>
                    <a:solidFill>
                      <a:schemeClr val="accent1"/>
                    </a:solidFill>
                  </p:grpSpPr>
                  <p:sp>
                    <p:nvSpPr>
                      <p:cNvPr id="740" name="Freeform: Shape 739">
                        <a:extLst>
                          <a:ext uri="{FF2B5EF4-FFF2-40B4-BE49-F238E27FC236}">
                            <a16:creationId xmlns:a16="http://schemas.microsoft.com/office/drawing/2014/main" id="{922F79FC-8876-452A-9D05-131176817B5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908099" y="3439445"/>
                        <a:ext cx="502453" cy="465234"/>
                      </a:xfrm>
                      <a:custGeom>
                        <a:avLst/>
                        <a:gdLst>
                          <a:gd name="connsiteX0" fmla="*/ 359962 w 502452"/>
                          <a:gd name="connsiteY0" fmla="*/ 3073 h 465234"/>
                          <a:gd name="connsiteX1" fmla="*/ 4872 w 502452"/>
                          <a:gd name="connsiteY1" fmla="*/ 296566 h 465234"/>
                          <a:gd name="connsiteX2" fmla="*/ 3081 w 502452"/>
                          <a:gd name="connsiteY2" fmla="*/ 315478 h 465234"/>
                          <a:gd name="connsiteX3" fmla="*/ 124018 w 502452"/>
                          <a:gd name="connsiteY3" fmla="*/ 461794 h 465234"/>
                          <a:gd name="connsiteX4" fmla="*/ 142930 w 502452"/>
                          <a:gd name="connsiteY4" fmla="*/ 463585 h 465234"/>
                          <a:gd name="connsiteX5" fmla="*/ 498020 w 502452"/>
                          <a:gd name="connsiteY5" fmla="*/ 170092 h 465234"/>
                          <a:gd name="connsiteX6" fmla="*/ 499811 w 502452"/>
                          <a:gd name="connsiteY6" fmla="*/ 151181 h 465234"/>
                          <a:gd name="connsiteX7" fmla="*/ 378874 w 502452"/>
                          <a:gd name="connsiteY7" fmla="*/ 4864 h 465234"/>
                          <a:gd name="connsiteX8" fmla="*/ 359962 w 502452"/>
                          <a:gd name="connsiteY8" fmla="*/ 3073 h 46523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502452" h="465234">
                            <a:moveTo>
                              <a:pt x="359962" y="3073"/>
                            </a:moveTo>
                            <a:lnTo>
                              <a:pt x="4872" y="296566"/>
                            </a:lnTo>
                            <a:cubicBezTo>
                              <a:pt x="-850" y="301289"/>
                              <a:pt x="-1641" y="309756"/>
                              <a:pt x="3081" y="315478"/>
                            </a:cubicBezTo>
                            <a:lnTo>
                              <a:pt x="124018" y="461794"/>
                            </a:lnTo>
                            <a:cubicBezTo>
                              <a:pt x="128741" y="467517"/>
                              <a:pt x="137208" y="468308"/>
                              <a:pt x="142930" y="463585"/>
                            </a:cubicBezTo>
                            <a:lnTo>
                              <a:pt x="498020" y="170092"/>
                            </a:lnTo>
                            <a:cubicBezTo>
                              <a:pt x="503743" y="165370"/>
                              <a:pt x="504557" y="156903"/>
                              <a:pt x="499811" y="151181"/>
                            </a:cubicBezTo>
                            <a:lnTo>
                              <a:pt x="378874" y="4864"/>
                            </a:lnTo>
                            <a:cubicBezTo>
                              <a:pt x="374152" y="-835"/>
                              <a:pt x="365684" y="-1649"/>
                              <a:pt x="359962" y="3073"/>
                            </a:cubicBezTo>
                            <a:close/>
                          </a:path>
                        </a:pathLst>
                      </a:custGeom>
                      <a:solidFill>
                        <a:srgbClr val="A0966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741" name="Freeform: Shape 740">
                        <a:extLst>
                          <a:ext uri="{FF2B5EF4-FFF2-40B4-BE49-F238E27FC236}">
                            <a16:creationId xmlns:a16="http://schemas.microsoft.com/office/drawing/2014/main" id="{2BA5425B-C778-451A-A303-7D1932DF93F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139433" y="3499419"/>
                        <a:ext cx="209355" cy="209355"/>
                      </a:xfrm>
                      <a:custGeom>
                        <a:avLst/>
                        <a:gdLst>
                          <a:gd name="connsiteX0" fmla="*/ 163009 w 209355"/>
                          <a:gd name="connsiteY0" fmla="*/ 7860 h 209355"/>
                          <a:gd name="connsiteX1" fmla="*/ 101575 w 209355"/>
                          <a:gd name="connsiteY1" fmla="*/ 2021 h 209355"/>
                          <a:gd name="connsiteX2" fmla="*/ 91712 w 209355"/>
                          <a:gd name="connsiteY2" fmla="*/ 1719 h 209355"/>
                          <a:gd name="connsiteX3" fmla="*/ 1596 w 209355"/>
                          <a:gd name="connsiteY3" fmla="*/ 76203 h 209355"/>
                          <a:gd name="connsiteX4" fmla="*/ 201 w 209355"/>
                          <a:gd name="connsiteY4" fmla="*/ 80878 h 209355"/>
                          <a:gd name="connsiteX5" fmla="*/ 3992 w 209355"/>
                          <a:gd name="connsiteY5" fmla="*/ 83949 h 209355"/>
                          <a:gd name="connsiteX6" fmla="*/ 77499 w 209355"/>
                          <a:gd name="connsiteY6" fmla="*/ 125913 h 209355"/>
                          <a:gd name="connsiteX7" fmla="*/ 104878 w 209355"/>
                          <a:gd name="connsiteY7" fmla="*/ 206003 h 209355"/>
                          <a:gd name="connsiteX8" fmla="*/ 107181 w 209355"/>
                          <a:gd name="connsiteY8" fmla="*/ 210307 h 209355"/>
                          <a:gd name="connsiteX9" fmla="*/ 112043 w 209355"/>
                          <a:gd name="connsiteY9" fmla="*/ 209818 h 209355"/>
                          <a:gd name="connsiteX10" fmla="*/ 202159 w 209355"/>
                          <a:gd name="connsiteY10" fmla="*/ 135334 h 209355"/>
                          <a:gd name="connsiteX11" fmla="*/ 203717 w 209355"/>
                          <a:gd name="connsiteY11" fmla="*/ 125587 h 209355"/>
                          <a:gd name="connsiteX12" fmla="*/ 209556 w 209355"/>
                          <a:gd name="connsiteY12" fmla="*/ 64153 h 209355"/>
                          <a:gd name="connsiteX13" fmla="*/ 209858 w 209355"/>
                          <a:gd name="connsiteY13" fmla="*/ 54290 h 209355"/>
                          <a:gd name="connsiteX14" fmla="*/ 172756 w 209355"/>
                          <a:gd name="connsiteY14" fmla="*/ 9418 h 209355"/>
                          <a:gd name="connsiteX15" fmla="*/ 163009 w 209355"/>
                          <a:gd name="connsiteY15" fmla="*/ 7860 h 209355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</a:cxnLst>
                        <a:rect l="l" t="t" r="r" b="b"/>
                        <a:pathLst>
                          <a:path w="209355" h="209355">
                            <a:moveTo>
                              <a:pt x="163009" y="7860"/>
                            </a:moveTo>
                            <a:cubicBezTo>
                              <a:pt x="143632" y="20072"/>
                              <a:pt x="118300" y="17676"/>
                              <a:pt x="101575" y="2021"/>
                            </a:cubicBezTo>
                            <a:cubicBezTo>
                              <a:pt x="98830" y="-561"/>
                              <a:pt x="94620" y="-677"/>
                              <a:pt x="91712" y="1719"/>
                            </a:cubicBezTo>
                            <a:lnTo>
                              <a:pt x="1596" y="76203"/>
                            </a:lnTo>
                            <a:cubicBezTo>
                              <a:pt x="224" y="77343"/>
                              <a:pt x="-334" y="79180"/>
                              <a:pt x="201" y="80878"/>
                            </a:cubicBezTo>
                            <a:cubicBezTo>
                              <a:pt x="736" y="82577"/>
                              <a:pt x="2224" y="83786"/>
                              <a:pt x="3992" y="83949"/>
                            </a:cubicBezTo>
                            <a:cubicBezTo>
                              <a:pt x="29487" y="86252"/>
                              <a:pt x="56866" y="100930"/>
                              <a:pt x="77499" y="125913"/>
                            </a:cubicBezTo>
                            <a:cubicBezTo>
                              <a:pt x="98156" y="150896"/>
                              <a:pt x="107391" y="180555"/>
                              <a:pt x="104878" y="206003"/>
                            </a:cubicBezTo>
                            <a:cubicBezTo>
                              <a:pt x="104692" y="207771"/>
                              <a:pt x="105599" y="209469"/>
                              <a:pt x="107181" y="210307"/>
                            </a:cubicBezTo>
                            <a:cubicBezTo>
                              <a:pt x="108763" y="211144"/>
                              <a:pt x="110670" y="210958"/>
                              <a:pt x="112043" y="209818"/>
                            </a:cubicBezTo>
                            <a:lnTo>
                              <a:pt x="202159" y="135334"/>
                            </a:lnTo>
                            <a:cubicBezTo>
                              <a:pt x="205043" y="132938"/>
                              <a:pt x="205718" y="128774"/>
                              <a:pt x="203717" y="125587"/>
                            </a:cubicBezTo>
                            <a:cubicBezTo>
                              <a:pt x="191505" y="106210"/>
                              <a:pt x="193901" y="80878"/>
                              <a:pt x="209556" y="64153"/>
                            </a:cubicBezTo>
                            <a:cubicBezTo>
                              <a:pt x="212138" y="61408"/>
                              <a:pt x="212254" y="57198"/>
                              <a:pt x="209858" y="54290"/>
                            </a:cubicBezTo>
                            <a:lnTo>
                              <a:pt x="172756" y="9418"/>
                            </a:lnTo>
                            <a:cubicBezTo>
                              <a:pt x="170360" y="6534"/>
                              <a:pt x="166196" y="5859"/>
                              <a:pt x="163009" y="7860"/>
                            </a:cubicBezTo>
                            <a:close/>
                          </a:path>
                        </a:pathLst>
                      </a:custGeom>
                      <a:solidFill>
                        <a:srgbClr val="FFFFC5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742" name="Freeform: Shape 741">
                        <a:extLst>
                          <a:ext uri="{FF2B5EF4-FFF2-40B4-BE49-F238E27FC236}">
                            <a16:creationId xmlns:a16="http://schemas.microsoft.com/office/drawing/2014/main" id="{69C2A79D-3FF5-484F-A3EC-2664C801563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968066" y="3635374"/>
                        <a:ext cx="209355" cy="209355"/>
                      </a:xfrm>
                      <a:custGeom>
                        <a:avLst/>
                        <a:gdLst>
                          <a:gd name="connsiteX0" fmla="*/ 104318 w 209355"/>
                          <a:gd name="connsiteY0" fmla="*/ 519 h 209355"/>
                          <a:gd name="connsiteX1" fmla="*/ 99456 w 209355"/>
                          <a:gd name="connsiteY1" fmla="*/ 1007 h 209355"/>
                          <a:gd name="connsiteX2" fmla="*/ 9410 w 209355"/>
                          <a:gd name="connsiteY2" fmla="*/ 75421 h 209355"/>
                          <a:gd name="connsiteX3" fmla="*/ 7852 w 209355"/>
                          <a:gd name="connsiteY3" fmla="*/ 85168 h 209355"/>
                          <a:gd name="connsiteX4" fmla="*/ 2013 w 209355"/>
                          <a:gd name="connsiteY4" fmla="*/ 146579 h 209355"/>
                          <a:gd name="connsiteX5" fmla="*/ 1711 w 209355"/>
                          <a:gd name="connsiteY5" fmla="*/ 156442 h 209355"/>
                          <a:gd name="connsiteX6" fmla="*/ 38813 w 209355"/>
                          <a:gd name="connsiteY6" fmla="*/ 201314 h 209355"/>
                          <a:gd name="connsiteX7" fmla="*/ 48560 w 209355"/>
                          <a:gd name="connsiteY7" fmla="*/ 202872 h 209355"/>
                          <a:gd name="connsiteX8" fmla="*/ 109994 w 209355"/>
                          <a:gd name="connsiteY8" fmla="*/ 208711 h 209355"/>
                          <a:gd name="connsiteX9" fmla="*/ 119857 w 209355"/>
                          <a:gd name="connsiteY9" fmla="*/ 209014 h 209355"/>
                          <a:gd name="connsiteX10" fmla="*/ 209880 w 209355"/>
                          <a:gd name="connsiteY10" fmla="*/ 134599 h 209355"/>
                          <a:gd name="connsiteX11" fmla="*/ 211275 w 209355"/>
                          <a:gd name="connsiteY11" fmla="*/ 129924 h 209355"/>
                          <a:gd name="connsiteX12" fmla="*/ 207484 w 209355"/>
                          <a:gd name="connsiteY12" fmla="*/ 126853 h 209355"/>
                          <a:gd name="connsiteX13" fmla="*/ 133977 w 209355"/>
                          <a:gd name="connsiteY13" fmla="*/ 84889 h 209355"/>
                          <a:gd name="connsiteX14" fmla="*/ 106598 w 209355"/>
                          <a:gd name="connsiteY14" fmla="*/ 4776 h 209355"/>
                          <a:gd name="connsiteX15" fmla="*/ 104318 w 209355"/>
                          <a:gd name="connsiteY15" fmla="*/ 519 h 209355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</a:cxnLst>
                        <a:rect l="l" t="t" r="r" b="b"/>
                        <a:pathLst>
                          <a:path w="209355" h="209355">
                            <a:moveTo>
                              <a:pt x="104318" y="519"/>
                            </a:moveTo>
                            <a:cubicBezTo>
                              <a:pt x="102759" y="-319"/>
                              <a:pt x="100829" y="-133"/>
                              <a:pt x="99456" y="1007"/>
                            </a:cubicBezTo>
                            <a:lnTo>
                              <a:pt x="9410" y="75421"/>
                            </a:lnTo>
                            <a:cubicBezTo>
                              <a:pt x="6526" y="77817"/>
                              <a:pt x="5851" y="81981"/>
                              <a:pt x="7852" y="85168"/>
                            </a:cubicBezTo>
                            <a:cubicBezTo>
                              <a:pt x="20064" y="104545"/>
                              <a:pt x="17668" y="129877"/>
                              <a:pt x="2013" y="146579"/>
                            </a:cubicBezTo>
                            <a:cubicBezTo>
                              <a:pt x="-546" y="149324"/>
                              <a:pt x="-685" y="153558"/>
                              <a:pt x="1711" y="156442"/>
                            </a:cubicBezTo>
                            <a:lnTo>
                              <a:pt x="38813" y="201314"/>
                            </a:lnTo>
                            <a:cubicBezTo>
                              <a:pt x="41209" y="204222"/>
                              <a:pt x="45373" y="204896"/>
                              <a:pt x="48560" y="202872"/>
                            </a:cubicBezTo>
                            <a:cubicBezTo>
                              <a:pt x="67937" y="190660"/>
                              <a:pt x="93269" y="193056"/>
                              <a:pt x="109994" y="208711"/>
                            </a:cubicBezTo>
                            <a:cubicBezTo>
                              <a:pt x="112739" y="211293"/>
                              <a:pt x="116949" y="211409"/>
                              <a:pt x="119857" y="209014"/>
                            </a:cubicBezTo>
                            <a:lnTo>
                              <a:pt x="209880" y="134599"/>
                            </a:lnTo>
                            <a:cubicBezTo>
                              <a:pt x="211252" y="133459"/>
                              <a:pt x="211810" y="131622"/>
                              <a:pt x="211275" y="129924"/>
                            </a:cubicBezTo>
                            <a:cubicBezTo>
                              <a:pt x="210740" y="128226"/>
                              <a:pt x="209252" y="127016"/>
                              <a:pt x="207484" y="126853"/>
                            </a:cubicBezTo>
                            <a:cubicBezTo>
                              <a:pt x="181989" y="124527"/>
                              <a:pt x="154610" y="109872"/>
                              <a:pt x="133977" y="84889"/>
                            </a:cubicBezTo>
                            <a:cubicBezTo>
                              <a:pt x="113320" y="59906"/>
                              <a:pt x="104085" y="30247"/>
                              <a:pt x="106598" y="4776"/>
                            </a:cubicBezTo>
                            <a:cubicBezTo>
                              <a:pt x="106807" y="3054"/>
                              <a:pt x="105900" y="1356"/>
                              <a:pt x="104318" y="519"/>
                            </a:cubicBezTo>
                            <a:close/>
                          </a:path>
                        </a:pathLst>
                      </a:custGeom>
                      <a:solidFill>
                        <a:srgbClr val="FFFFC5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743" name="Freeform: Shape 742">
                        <a:extLst>
                          <a:ext uri="{FF2B5EF4-FFF2-40B4-BE49-F238E27FC236}">
                            <a16:creationId xmlns:a16="http://schemas.microsoft.com/office/drawing/2014/main" id="{F3DBEC0C-8D33-4D39-AEE6-52B19CFE845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100720" y="3603889"/>
                        <a:ext cx="116309" cy="137244"/>
                      </a:xfrm>
                      <a:custGeom>
                        <a:avLst/>
                        <a:gdLst>
                          <a:gd name="connsiteX0" fmla="*/ 70247 w 116308"/>
                          <a:gd name="connsiteY0" fmla="*/ 40635 h 137244"/>
                          <a:gd name="connsiteX1" fmla="*/ 73829 w 116308"/>
                          <a:gd name="connsiteY1" fmla="*/ 25747 h 137244"/>
                          <a:gd name="connsiteX2" fmla="*/ 51009 w 116308"/>
                          <a:gd name="connsiteY2" fmla="*/ 10325 h 137244"/>
                          <a:gd name="connsiteX3" fmla="*/ 28213 w 116308"/>
                          <a:gd name="connsiteY3" fmla="*/ 14861 h 137244"/>
                          <a:gd name="connsiteX4" fmla="*/ 19187 w 116308"/>
                          <a:gd name="connsiteY4" fmla="*/ 3928 h 137244"/>
                          <a:gd name="connsiteX5" fmla="*/ 3928 w 116308"/>
                          <a:gd name="connsiteY5" fmla="*/ 2485 h 137244"/>
                          <a:gd name="connsiteX6" fmla="*/ 2485 w 116308"/>
                          <a:gd name="connsiteY6" fmla="*/ 17745 h 137244"/>
                          <a:gd name="connsiteX7" fmla="*/ 11488 w 116308"/>
                          <a:gd name="connsiteY7" fmla="*/ 28631 h 137244"/>
                          <a:gd name="connsiteX8" fmla="*/ 2555 w 116308"/>
                          <a:gd name="connsiteY8" fmla="*/ 48334 h 137244"/>
                          <a:gd name="connsiteX9" fmla="*/ 12581 w 116308"/>
                          <a:gd name="connsiteY9" fmla="*/ 74411 h 137244"/>
                          <a:gd name="connsiteX10" fmla="*/ 62221 w 116308"/>
                          <a:gd name="connsiteY10" fmla="*/ 79202 h 137244"/>
                          <a:gd name="connsiteX11" fmla="*/ 89042 w 116308"/>
                          <a:gd name="connsiteY11" fmla="*/ 78016 h 137244"/>
                          <a:gd name="connsiteX12" fmla="*/ 93485 w 116308"/>
                          <a:gd name="connsiteY12" fmla="*/ 87646 h 137244"/>
                          <a:gd name="connsiteX13" fmla="*/ 84646 w 116308"/>
                          <a:gd name="connsiteY13" fmla="*/ 100185 h 137244"/>
                          <a:gd name="connsiteX14" fmla="*/ 70317 w 116308"/>
                          <a:gd name="connsiteY14" fmla="*/ 106140 h 137244"/>
                          <a:gd name="connsiteX15" fmla="*/ 62221 w 116308"/>
                          <a:gd name="connsiteY15" fmla="*/ 100627 h 137244"/>
                          <a:gd name="connsiteX16" fmla="*/ 47381 w 116308"/>
                          <a:gd name="connsiteY16" fmla="*/ 97161 h 137244"/>
                          <a:gd name="connsiteX17" fmla="*/ 43821 w 116308"/>
                          <a:gd name="connsiteY17" fmla="*/ 112071 h 137244"/>
                          <a:gd name="connsiteX18" fmla="*/ 66641 w 116308"/>
                          <a:gd name="connsiteY18" fmla="*/ 127517 h 137244"/>
                          <a:gd name="connsiteX19" fmla="*/ 89438 w 116308"/>
                          <a:gd name="connsiteY19" fmla="*/ 122981 h 137244"/>
                          <a:gd name="connsiteX20" fmla="*/ 98463 w 116308"/>
                          <a:gd name="connsiteY20" fmla="*/ 133914 h 137244"/>
                          <a:gd name="connsiteX21" fmla="*/ 113723 w 116308"/>
                          <a:gd name="connsiteY21" fmla="*/ 135356 h 137244"/>
                          <a:gd name="connsiteX22" fmla="*/ 115165 w 116308"/>
                          <a:gd name="connsiteY22" fmla="*/ 120097 h 137244"/>
                          <a:gd name="connsiteX23" fmla="*/ 106163 w 116308"/>
                          <a:gd name="connsiteY23" fmla="*/ 109210 h 137244"/>
                          <a:gd name="connsiteX24" fmla="*/ 115095 w 116308"/>
                          <a:gd name="connsiteY24" fmla="*/ 89507 h 137244"/>
                          <a:gd name="connsiteX25" fmla="*/ 105070 w 116308"/>
                          <a:gd name="connsiteY25" fmla="*/ 63431 h 137244"/>
                          <a:gd name="connsiteX26" fmla="*/ 55406 w 116308"/>
                          <a:gd name="connsiteY26" fmla="*/ 58639 h 137244"/>
                          <a:gd name="connsiteX27" fmla="*/ 28585 w 116308"/>
                          <a:gd name="connsiteY27" fmla="*/ 59825 h 137244"/>
                          <a:gd name="connsiteX28" fmla="*/ 24142 w 116308"/>
                          <a:gd name="connsiteY28" fmla="*/ 50195 h 137244"/>
                          <a:gd name="connsiteX29" fmla="*/ 32981 w 116308"/>
                          <a:gd name="connsiteY29" fmla="*/ 37657 h 137244"/>
                          <a:gd name="connsiteX30" fmla="*/ 47311 w 116308"/>
                          <a:gd name="connsiteY30" fmla="*/ 31679 h 137244"/>
                          <a:gd name="connsiteX31" fmla="*/ 55406 w 116308"/>
                          <a:gd name="connsiteY31" fmla="*/ 37192 h 137244"/>
                          <a:gd name="connsiteX32" fmla="*/ 70247 w 116308"/>
                          <a:gd name="connsiteY32" fmla="*/ 40635 h 13724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</a:cxnLst>
                        <a:rect l="l" t="t" r="r" b="b"/>
                        <a:pathLst>
                          <a:path w="116308" h="137244">
                            <a:moveTo>
                              <a:pt x="70247" y="40635"/>
                            </a:moveTo>
                            <a:cubicBezTo>
                              <a:pt x="75318" y="37564"/>
                              <a:pt x="76946" y="30841"/>
                              <a:pt x="73829" y="25747"/>
                            </a:cubicBezTo>
                            <a:cubicBezTo>
                              <a:pt x="72992" y="24421"/>
                              <a:pt x="65478" y="12720"/>
                              <a:pt x="51009" y="10325"/>
                            </a:cubicBezTo>
                            <a:cubicBezTo>
                              <a:pt x="43496" y="9068"/>
                              <a:pt x="35843" y="10673"/>
                              <a:pt x="28213" y="14861"/>
                            </a:cubicBezTo>
                            <a:lnTo>
                              <a:pt x="19187" y="3928"/>
                            </a:lnTo>
                            <a:cubicBezTo>
                              <a:pt x="15372" y="-678"/>
                              <a:pt x="8557" y="-1330"/>
                              <a:pt x="3928" y="2485"/>
                            </a:cubicBezTo>
                            <a:cubicBezTo>
                              <a:pt x="-678" y="6300"/>
                              <a:pt x="-1330" y="13116"/>
                              <a:pt x="2485" y="17745"/>
                            </a:cubicBezTo>
                            <a:lnTo>
                              <a:pt x="11488" y="28631"/>
                            </a:lnTo>
                            <a:cubicBezTo>
                              <a:pt x="6230" y="34889"/>
                              <a:pt x="3137" y="41449"/>
                              <a:pt x="2555" y="48334"/>
                            </a:cubicBezTo>
                            <a:cubicBezTo>
                              <a:pt x="1439" y="61431"/>
                              <a:pt x="9231" y="70503"/>
                              <a:pt x="12581" y="74411"/>
                            </a:cubicBezTo>
                            <a:cubicBezTo>
                              <a:pt x="21699" y="85460"/>
                              <a:pt x="38401" y="87065"/>
                              <a:pt x="62221" y="79202"/>
                            </a:cubicBezTo>
                            <a:cubicBezTo>
                              <a:pt x="79482" y="73503"/>
                              <a:pt x="86879" y="75411"/>
                              <a:pt x="89042" y="78016"/>
                            </a:cubicBezTo>
                            <a:cubicBezTo>
                              <a:pt x="90717" y="79970"/>
                              <a:pt x="93834" y="83599"/>
                              <a:pt x="93485" y="87646"/>
                            </a:cubicBezTo>
                            <a:cubicBezTo>
                              <a:pt x="93160" y="91322"/>
                              <a:pt x="90112" y="95672"/>
                              <a:pt x="84646" y="100185"/>
                            </a:cubicBezTo>
                            <a:cubicBezTo>
                              <a:pt x="80854" y="103325"/>
                              <a:pt x="75295" y="106907"/>
                              <a:pt x="70317" y="106140"/>
                            </a:cubicBezTo>
                            <a:cubicBezTo>
                              <a:pt x="65525" y="105418"/>
                              <a:pt x="62407" y="100929"/>
                              <a:pt x="62221" y="100627"/>
                            </a:cubicBezTo>
                            <a:cubicBezTo>
                              <a:pt x="59058" y="95625"/>
                              <a:pt x="52452" y="94067"/>
                              <a:pt x="47381" y="97161"/>
                            </a:cubicBezTo>
                            <a:cubicBezTo>
                              <a:pt x="42333" y="100278"/>
                              <a:pt x="40681" y="106954"/>
                              <a:pt x="43821" y="112071"/>
                            </a:cubicBezTo>
                            <a:cubicBezTo>
                              <a:pt x="44635" y="113397"/>
                              <a:pt x="52172" y="125098"/>
                              <a:pt x="66641" y="127517"/>
                            </a:cubicBezTo>
                            <a:cubicBezTo>
                              <a:pt x="74155" y="128750"/>
                              <a:pt x="81808" y="127168"/>
                              <a:pt x="89438" y="122981"/>
                            </a:cubicBezTo>
                            <a:lnTo>
                              <a:pt x="98463" y="133914"/>
                            </a:lnTo>
                            <a:cubicBezTo>
                              <a:pt x="102278" y="138520"/>
                              <a:pt x="109094" y="139171"/>
                              <a:pt x="113723" y="135356"/>
                            </a:cubicBezTo>
                            <a:cubicBezTo>
                              <a:pt x="118329" y="131541"/>
                              <a:pt x="118980" y="124726"/>
                              <a:pt x="115165" y="120097"/>
                            </a:cubicBezTo>
                            <a:lnTo>
                              <a:pt x="106163" y="109210"/>
                            </a:lnTo>
                            <a:cubicBezTo>
                              <a:pt x="111420" y="102953"/>
                              <a:pt x="114514" y="96370"/>
                              <a:pt x="115095" y="89507"/>
                            </a:cubicBezTo>
                            <a:cubicBezTo>
                              <a:pt x="116212" y="76411"/>
                              <a:pt x="108419" y="67339"/>
                              <a:pt x="105070" y="63431"/>
                            </a:cubicBezTo>
                            <a:cubicBezTo>
                              <a:pt x="95951" y="52382"/>
                              <a:pt x="79249" y="50777"/>
                              <a:pt x="55406" y="58639"/>
                            </a:cubicBezTo>
                            <a:cubicBezTo>
                              <a:pt x="38146" y="64338"/>
                              <a:pt x="30748" y="62431"/>
                              <a:pt x="28585" y="59825"/>
                            </a:cubicBezTo>
                            <a:cubicBezTo>
                              <a:pt x="26910" y="57871"/>
                              <a:pt x="23793" y="54243"/>
                              <a:pt x="24142" y="50195"/>
                            </a:cubicBezTo>
                            <a:cubicBezTo>
                              <a:pt x="24468" y="46520"/>
                              <a:pt x="27515" y="42170"/>
                              <a:pt x="32981" y="37657"/>
                            </a:cubicBezTo>
                            <a:cubicBezTo>
                              <a:pt x="36773" y="34517"/>
                              <a:pt x="42333" y="30934"/>
                              <a:pt x="47311" y="31679"/>
                            </a:cubicBezTo>
                            <a:cubicBezTo>
                              <a:pt x="52103" y="32423"/>
                              <a:pt x="55220" y="36913"/>
                              <a:pt x="55406" y="37192"/>
                            </a:cubicBezTo>
                            <a:cubicBezTo>
                              <a:pt x="58569" y="42193"/>
                              <a:pt x="65199" y="43728"/>
                              <a:pt x="70247" y="40635"/>
                            </a:cubicBezTo>
                            <a:close/>
                          </a:path>
                        </a:pathLst>
                      </a:custGeom>
                      <a:solidFill>
                        <a:srgbClr val="FFFFC5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grpSp>
                  <p:nvGrpSpPr>
                    <p:cNvPr id="744" name="Graphic 174">
                      <a:extLst>
                        <a:ext uri="{FF2B5EF4-FFF2-40B4-BE49-F238E27FC236}">
                          <a16:creationId xmlns:a16="http://schemas.microsoft.com/office/drawing/2014/main" id="{4045A780-E4ED-4946-BB38-1D6737CA17D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6935191" y="3492257"/>
                      <a:ext cx="521062" cy="409406"/>
                      <a:chOff x="6935191" y="3492257"/>
                      <a:chExt cx="521062" cy="409406"/>
                    </a:xfrm>
                    <a:solidFill>
                      <a:schemeClr val="accent1"/>
                    </a:solidFill>
                  </p:grpSpPr>
                  <p:sp>
                    <p:nvSpPr>
                      <p:cNvPr id="745" name="Freeform: Shape 744">
                        <a:extLst>
                          <a:ext uri="{FF2B5EF4-FFF2-40B4-BE49-F238E27FC236}">
                            <a16:creationId xmlns:a16="http://schemas.microsoft.com/office/drawing/2014/main" id="{FCBD121F-9938-4708-9D05-099DA54F89B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935191" y="3492257"/>
                        <a:ext cx="521062" cy="409406"/>
                      </a:xfrm>
                      <a:custGeom>
                        <a:avLst/>
                        <a:gdLst>
                          <a:gd name="connsiteX0" fmla="*/ 413262 w 521062"/>
                          <a:gd name="connsiteY0" fmla="*/ 1600 h 409406"/>
                          <a:gd name="connsiteX1" fmla="*/ 7090 w 521062"/>
                          <a:gd name="connsiteY1" fmla="*/ 218957 h 409406"/>
                          <a:gd name="connsiteX2" fmla="*/ 1600 w 521062"/>
                          <a:gd name="connsiteY2" fmla="*/ 237125 h 409406"/>
                          <a:gd name="connsiteX3" fmla="*/ 91158 w 521062"/>
                          <a:gd name="connsiteY3" fmla="*/ 404493 h 409406"/>
                          <a:gd name="connsiteX4" fmla="*/ 109325 w 521062"/>
                          <a:gd name="connsiteY4" fmla="*/ 409983 h 409406"/>
                          <a:gd name="connsiteX5" fmla="*/ 515498 w 521062"/>
                          <a:gd name="connsiteY5" fmla="*/ 192648 h 409406"/>
                          <a:gd name="connsiteX6" fmla="*/ 521011 w 521062"/>
                          <a:gd name="connsiteY6" fmla="*/ 174458 h 409406"/>
                          <a:gd name="connsiteX7" fmla="*/ 431453 w 521062"/>
                          <a:gd name="connsiteY7" fmla="*/ 7090 h 409406"/>
                          <a:gd name="connsiteX8" fmla="*/ 413262 w 521062"/>
                          <a:gd name="connsiteY8" fmla="*/ 1600 h 40940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521062" h="409406">
                            <a:moveTo>
                              <a:pt x="413262" y="1600"/>
                            </a:moveTo>
                            <a:lnTo>
                              <a:pt x="7090" y="218957"/>
                            </a:lnTo>
                            <a:cubicBezTo>
                              <a:pt x="553" y="222447"/>
                              <a:pt x="-1913" y="230588"/>
                              <a:pt x="1600" y="237125"/>
                            </a:cubicBezTo>
                            <a:lnTo>
                              <a:pt x="91158" y="404493"/>
                            </a:lnTo>
                            <a:cubicBezTo>
                              <a:pt x="94647" y="411029"/>
                              <a:pt x="102788" y="413495"/>
                              <a:pt x="109325" y="409983"/>
                            </a:cubicBezTo>
                            <a:lnTo>
                              <a:pt x="515498" y="192648"/>
                            </a:lnTo>
                            <a:cubicBezTo>
                              <a:pt x="522034" y="189136"/>
                              <a:pt x="524500" y="180994"/>
                              <a:pt x="521011" y="174458"/>
                            </a:cubicBezTo>
                            <a:lnTo>
                              <a:pt x="431453" y="7090"/>
                            </a:lnTo>
                            <a:cubicBezTo>
                              <a:pt x="427941" y="553"/>
                              <a:pt x="419799" y="-1913"/>
                              <a:pt x="413262" y="1600"/>
                            </a:cubicBezTo>
                            <a:close/>
                          </a:path>
                        </a:pathLst>
                      </a:custGeom>
                      <a:solidFill>
                        <a:srgbClr val="ADA56E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746" name="Freeform: Shape 745">
                        <a:extLst>
                          <a:ext uri="{FF2B5EF4-FFF2-40B4-BE49-F238E27FC236}">
                            <a16:creationId xmlns:a16="http://schemas.microsoft.com/office/drawing/2014/main" id="{21D17B42-CBB8-40EF-9033-DA8C5612E2C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195298" y="3543103"/>
                        <a:ext cx="209355" cy="209355"/>
                      </a:xfrm>
                      <a:custGeom>
                        <a:avLst/>
                        <a:gdLst>
                          <a:gd name="connsiteX0" fmla="*/ 174022 w 209355"/>
                          <a:gd name="connsiteY0" fmla="*/ 21028 h 209355"/>
                          <a:gd name="connsiteX1" fmla="*/ 114983 w 209355"/>
                          <a:gd name="connsiteY1" fmla="*/ 3140 h 209355"/>
                          <a:gd name="connsiteX2" fmla="*/ 105376 w 209355"/>
                          <a:gd name="connsiteY2" fmla="*/ 883 h 209355"/>
                          <a:gd name="connsiteX3" fmla="*/ 2304 w 209355"/>
                          <a:gd name="connsiteY3" fmla="*/ 56037 h 209355"/>
                          <a:gd name="connsiteX4" fmla="*/ 24 w 209355"/>
                          <a:gd name="connsiteY4" fmla="*/ 60340 h 209355"/>
                          <a:gd name="connsiteX5" fmla="*/ 3118 w 209355"/>
                          <a:gd name="connsiteY5" fmla="*/ 64085 h 209355"/>
                          <a:gd name="connsiteX6" fmla="*/ 66855 w 209355"/>
                          <a:gd name="connsiteY6" fmla="*/ 119774 h 209355"/>
                          <a:gd name="connsiteX7" fmla="*/ 77834 w 209355"/>
                          <a:gd name="connsiteY7" fmla="*/ 203702 h 209355"/>
                          <a:gd name="connsiteX8" fmla="*/ 79230 w 209355"/>
                          <a:gd name="connsiteY8" fmla="*/ 208378 h 209355"/>
                          <a:gd name="connsiteX9" fmla="*/ 84092 w 209355"/>
                          <a:gd name="connsiteY9" fmla="*/ 208866 h 209355"/>
                          <a:gd name="connsiteX10" fmla="*/ 187164 w 209355"/>
                          <a:gd name="connsiteY10" fmla="*/ 153713 h 209355"/>
                          <a:gd name="connsiteX11" fmla="*/ 190630 w 209355"/>
                          <a:gd name="connsiteY11" fmla="*/ 144478 h 209355"/>
                          <a:gd name="connsiteX12" fmla="*/ 208519 w 209355"/>
                          <a:gd name="connsiteY12" fmla="*/ 85416 h 209355"/>
                          <a:gd name="connsiteX13" fmla="*/ 210752 w 209355"/>
                          <a:gd name="connsiteY13" fmla="*/ 75809 h 209355"/>
                          <a:gd name="connsiteX14" fmla="*/ 183280 w 209355"/>
                          <a:gd name="connsiteY14" fmla="*/ 24471 h 209355"/>
                          <a:gd name="connsiteX15" fmla="*/ 174022 w 209355"/>
                          <a:gd name="connsiteY15" fmla="*/ 21028 h 209355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</a:cxnLst>
                        <a:rect l="l" t="t" r="r" b="b"/>
                        <a:pathLst>
                          <a:path w="209355" h="209355">
                            <a:moveTo>
                              <a:pt x="174022" y="21028"/>
                            </a:moveTo>
                            <a:cubicBezTo>
                              <a:pt x="152621" y="29169"/>
                              <a:pt x="128266" y="21796"/>
                              <a:pt x="114983" y="3140"/>
                            </a:cubicBezTo>
                            <a:cubicBezTo>
                              <a:pt x="112797" y="69"/>
                              <a:pt x="108679" y="-885"/>
                              <a:pt x="105376" y="883"/>
                            </a:cubicBezTo>
                            <a:lnTo>
                              <a:pt x="2304" y="56037"/>
                            </a:lnTo>
                            <a:cubicBezTo>
                              <a:pt x="745" y="56874"/>
                              <a:pt x="-162" y="58572"/>
                              <a:pt x="24" y="60340"/>
                            </a:cubicBezTo>
                            <a:cubicBezTo>
                              <a:pt x="210" y="62108"/>
                              <a:pt x="1420" y="63597"/>
                              <a:pt x="3118" y="64085"/>
                            </a:cubicBezTo>
                            <a:cubicBezTo>
                              <a:pt x="27636" y="71413"/>
                              <a:pt x="51595" y="91208"/>
                              <a:pt x="66855" y="119774"/>
                            </a:cubicBezTo>
                            <a:cubicBezTo>
                              <a:pt x="82138" y="148339"/>
                              <a:pt x="85348" y="179231"/>
                              <a:pt x="77834" y="203702"/>
                            </a:cubicBezTo>
                            <a:cubicBezTo>
                              <a:pt x="77323" y="205400"/>
                              <a:pt x="77858" y="207238"/>
                              <a:pt x="79230" y="208378"/>
                            </a:cubicBezTo>
                            <a:cubicBezTo>
                              <a:pt x="80603" y="209518"/>
                              <a:pt x="82533" y="209704"/>
                              <a:pt x="84092" y="208866"/>
                            </a:cubicBezTo>
                            <a:lnTo>
                              <a:pt x="187164" y="153713"/>
                            </a:lnTo>
                            <a:cubicBezTo>
                              <a:pt x="190468" y="151945"/>
                              <a:pt x="191956" y="147990"/>
                              <a:pt x="190630" y="144478"/>
                            </a:cubicBezTo>
                            <a:cubicBezTo>
                              <a:pt x="182489" y="123077"/>
                              <a:pt x="189863" y="98722"/>
                              <a:pt x="208519" y="85416"/>
                            </a:cubicBezTo>
                            <a:cubicBezTo>
                              <a:pt x="211589" y="83230"/>
                              <a:pt x="212543" y="79136"/>
                              <a:pt x="210752" y="75809"/>
                            </a:cubicBezTo>
                            <a:lnTo>
                              <a:pt x="183280" y="24471"/>
                            </a:lnTo>
                            <a:cubicBezTo>
                              <a:pt x="181489" y="21191"/>
                              <a:pt x="177534" y="19702"/>
                              <a:pt x="174022" y="21028"/>
                            </a:cubicBezTo>
                            <a:close/>
                          </a:path>
                        </a:pathLst>
                      </a:custGeom>
                      <a:solidFill>
                        <a:srgbClr val="FFFFCE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747" name="Freeform: Shape 746">
                        <a:extLst>
                          <a:ext uri="{FF2B5EF4-FFF2-40B4-BE49-F238E27FC236}">
                            <a16:creationId xmlns:a16="http://schemas.microsoft.com/office/drawing/2014/main" id="{E3101EAC-1DE8-4618-A2F4-7531DDFBA83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986044" y="3643632"/>
                        <a:ext cx="209355" cy="207029"/>
                      </a:xfrm>
                      <a:custGeom>
                        <a:avLst/>
                        <a:gdLst>
                          <a:gd name="connsiteX0" fmla="*/ 132305 w 209355"/>
                          <a:gd name="connsiteY0" fmla="*/ 1007 h 207029"/>
                          <a:gd name="connsiteX1" fmla="*/ 127467 w 209355"/>
                          <a:gd name="connsiteY1" fmla="*/ 519 h 207029"/>
                          <a:gd name="connsiteX2" fmla="*/ 24487 w 209355"/>
                          <a:gd name="connsiteY2" fmla="*/ 55626 h 207029"/>
                          <a:gd name="connsiteX3" fmla="*/ 21021 w 209355"/>
                          <a:gd name="connsiteY3" fmla="*/ 64884 h 207029"/>
                          <a:gd name="connsiteX4" fmla="*/ 3133 w 209355"/>
                          <a:gd name="connsiteY4" fmla="*/ 123922 h 207029"/>
                          <a:gd name="connsiteX5" fmla="*/ 900 w 209355"/>
                          <a:gd name="connsiteY5" fmla="*/ 133529 h 207029"/>
                          <a:gd name="connsiteX6" fmla="*/ 28372 w 209355"/>
                          <a:gd name="connsiteY6" fmla="*/ 184868 h 207029"/>
                          <a:gd name="connsiteX7" fmla="*/ 37607 w 209355"/>
                          <a:gd name="connsiteY7" fmla="*/ 188334 h 207029"/>
                          <a:gd name="connsiteX8" fmla="*/ 96668 w 209355"/>
                          <a:gd name="connsiteY8" fmla="*/ 206222 h 207029"/>
                          <a:gd name="connsiteX9" fmla="*/ 106275 w 209355"/>
                          <a:gd name="connsiteY9" fmla="*/ 208455 h 207029"/>
                          <a:gd name="connsiteX10" fmla="*/ 209255 w 209355"/>
                          <a:gd name="connsiteY10" fmla="*/ 153348 h 207029"/>
                          <a:gd name="connsiteX11" fmla="*/ 211558 w 209355"/>
                          <a:gd name="connsiteY11" fmla="*/ 149045 h 207029"/>
                          <a:gd name="connsiteX12" fmla="*/ 208441 w 209355"/>
                          <a:gd name="connsiteY12" fmla="*/ 145276 h 207029"/>
                          <a:gd name="connsiteX13" fmla="*/ 144704 w 209355"/>
                          <a:gd name="connsiteY13" fmla="*/ 89588 h 207029"/>
                          <a:gd name="connsiteX14" fmla="*/ 133747 w 209355"/>
                          <a:gd name="connsiteY14" fmla="*/ 5660 h 207029"/>
                          <a:gd name="connsiteX15" fmla="*/ 132305 w 209355"/>
                          <a:gd name="connsiteY15" fmla="*/ 1007 h 207029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</a:cxnLst>
                        <a:rect l="l" t="t" r="r" b="b"/>
                        <a:pathLst>
                          <a:path w="209355" h="207029">
                            <a:moveTo>
                              <a:pt x="132305" y="1007"/>
                            </a:moveTo>
                            <a:cubicBezTo>
                              <a:pt x="130933" y="-133"/>
                              <a:pt x="129025" y="-319"/>
                              <a:pt x="127467" y="519"/>
                            </a:cubicBezTo>
                            <a:lnTo>
                              <a:pt x="24487" y="55626"/>
                            </a:lnTo>
                            <a:cubicBezTo>
                              <a:pt x="21161" y="57394"/>
                              <a:pt x="19695" y="61348"/>
                              <a:pt x="21021" y="64884"/>
                            </a:cubicBezTo>
                            <a:cubicBezTo>
                              <a:pt x="29163" y="86285"/>
                              <a:pt x="21789" y="110640"/>
                              <a:pt x="3133" y="123922"/>
                            </a:cubicBezTo>
                            <a:cubicBezTo>
                              <a:pt x="62" y="126109"/>
                              <a:pt x="-891" y="130203"/>
                              <a:pt x="900" y="133529"/>
                            </a:cubicBezTo>
                            <a:lnTo>
                              <a:pt x="28372" y="184868"/>
                            </a:lnTo>
                            <a:cubicBezTo>
                              <a:pt x="30140" y="188171"/>
                              <a:pt x="34094" y="189683"/>
                              <a:pt x="37607" y="188334"/>
                            </a:cubicBezTo>
                            <a:cubicBezTo>
                              <a:pt x="59007" y="180192"/>
                              <a:pt x="83362" y="187566"/>
                              <a:pt x="96668" y="206222"/>
                            </a:cubicBezTo>
                            <a:cubicBezTo>
                              <a:pt x="98855" y="209293"/>
                              <a:pt x="102949" y="210246"/>
                              <a:pt x="106275" y="208455"/>
                            </a:cubicBezTo>
                            <a:lnTo>
                              <a:pt x="209255" y="153348"/>
                            </a:lnTo>
                            <a:cubicBezTo>
                              <a:pt x="210813" y="152511"/>
                              <a:pt x="211721" y="150813"/>
                              <a:pt x="211558" y="149045"/>
                            </a:cubicBezTo>
                            <a:cubicBezTo>
                              <a:pt x="211372" y="147277"/>
                              <a:pt x="210162" y="145788"/>
                              <a:pt x="208441" y="145276"/>
                            </a:cubicBezTo>
                            <a:cubicBezTo>
                              <a:pt x="183923" y="137949"/>
                              <a:pt x="159987" y="118153"/>
                              <a:pt x="144704" y="89588"/>
                            </a:cubicBezTo>
                            <a:cubicBezTo>
                              <a:pt x="129421" y="61022"/>
                              <a:pt x="126211" y="30131"/>
                              <a:pt x="133747" y="5660"/>
                            </a:cubicBezTo>
                            <a:cubicBezTo>
                              <a:pt x="134236" y="3985"/>
                              <a:pt x="133701" y="2124"/>
                              <a:pt x="132305" y="1007"/>
                            </a:cubicBezTo>
                            <a:close/>
                          </a:path>
                        </a:pathLst>
                      </a:custGeom>
                      <a:solidFill>
                        <a:srgbClr val="FFFFCE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748" name="Freeform: Shape 747">
                        <a:extLst>
                          <a:ext uri="{FF2B5EF4-FFF2-40B4-BE49-F238E27FC236}">
                            <a16:creationId xmlns:a16="http://schemas.microsoft.com/office/drawing/2014/main" id="{E1432E63-762C-46CC-8C81-546281E09E4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144231" y="3620818"/>
                        <a:ext cx="102352" cy="153527"/>
                      </a:xfrm>
                      <a:custGeom>
                        <a:avLst/>
                        <a:gdLst>
                          <a:gd name="connsiteX0" fmla="*/ 69049 w 102351"/>
                          <a:gd name="connsiteY0" fmla="*/ 51805 h 153527"/>
                          <a:gd name="connsiteX1" fmla="*/ 75516 w 102351"/>
                          <a:gd name="connsiteY1" fmla="*/ 37918 h 153527"/>
                          <a:gd name="connsiteX2" fmla="*/ 56209 w 102351"/>
                          <a:gd name="connsiteY2" fmla="*/ 18285 h 153527"/>
                          <a:gd name="connsiteX3" fmla="*/ 32970 w 102351"/>
                          <a:gd name="connsiteY3" fmla="*/ 18215 h 153527"/>
                          <a:gd name="connsiteX4" fmla="*/ 26294 w 102351"/>
                          <a:gd name="connsiteY4" fmla="*/ 5724 h 153527"/>
                          <a:gd name="connsiteX5" fmla="*/ 11616 w 102351"/>
                          <a:gd name="connsiteY5" fmla="*/ 1281 h 153527"/>
                          <a:gd name="connsiteX6" fmla="*/ 7173 w 102351"/>
                          <a:gd name="connsiteY6" fmla="*/ 15959 h 153527"/>
                          <a:gd name="connsiteX7" fmla="*/ 13849 w 102351"/>
                          <a:gd name="connsiteY7" fmla="*/ 28427 h 153527"/>
                          <a:gd name="connsiteX8" fmla="*/ 1195 w 102351"/>
                          <a:gd name="connsiteY8" fmla="*/ 45966 h 153527"/>
                          <a:gd name="connsiteX9" fmla="*/ 5847 w 102351"/>
                          <a:gd name="connsiteY9" fmla="*/ 73508 h 153527"/>
                          <a:gd name="connsiteX10" fmla="*/ 53557 w 102351"/>
                          <a:gd name="connsiteY10" fmla="*/ 88023 h 153527"/>
                          <a:gd name="connsiteX11" fmla="*/ 80099 w 102351"/>
                          <a:gd name="connsiteY11" fmla="*/ 92164 h 153527"/>
                          <a:gd name="connsiteX12" fmla="*/ 82564 w 102351"/>
                          <a:gd name="connsiteY12" fmla="*/ 102492 h 153527"/>
                          <a:gd name="connsiteX13" fmla="*/ 71422 w 102351"/>
                          <a:gd name="connsiteY13" fmla="*/ 113030 h 153527"/>
                          <a:gd name="connsiteX14" fmla="*/ 56186 w 102351"/>
                          <a:gd name="connsiteY14" fmla="*/ 116031 h 153527"/>
                          <a:gd name="connsiteX15" fmla="*/ 49347 w 102351"/>
                          <a:gd name="connsiteY15" fmla="*/ 109006 h 153527"/>
                          <a:gd name="connsiteX16" fmla="*/ 35506 w 102351"/>
                          <a:gd name="connsiteY16" fmla="*/ 102678 h 153527"/>
                          <a:gd name="connsiteX17" fmla="*/ 29039 w 102351"/>
                          <a:gd name="connsiteY17" fmla="*/ 116566 h 153527"/>
                          <a:gd name="connsiteX18" fmla="*/ 48347 w 102351"/>
                          <a:gd name="connsiteY18" fmla="*/ 136198 h 153527"/>
                          <a:gd name="connsiteX19" fmla="*/ 71585 w 102351"/>
                          <a:gd name="connsiteY19" fmla="*/ 136268 h 153527"/>
                          <a:gd name="connsiteX20" fmla="*/ 78261 w 102351"/>
                          <a:gd name="connsiteY20" fmla="*/ 148783 h 153527"/>
                          <a:gd name="connsiteX21" fmla="*/ 92916 w 102351"/>
                          <a:gd name="connsiteY21" fmla="*/ 153226 h 153527"/>
                          <a:gd name="connsiteX22" fmla="*/ 97359 w 102351"/>
                          <a:gd name="connsiteY22" fmla="*/ 138571 h 153527"/>
                          <a:gd name="connsiteX23" fmla="*/ 90683 w 102351"/>
                          <a:gd name="connsiteY23" fmla="*/ 126103 h 153527"/>
                          <a:gd name="connsiteX24" fmla="*/ 103337 w 102351"/>
                          <a:gd name="connsiteY24" fmla="*/ 108564 h 153527"/>
                          <a:gd name="connsiteX25" fmla="*/ 98685 w 102351"/>
                          <a:gd name="connsiteY25" fmla="*/ 81022 h 153527"/>
                          <a:gd name="connsiteX26" fmla="*/ 50975 w 102351"/>
                          <a:gd name="connsiteY26" fmla="*/ 66506 h 153527"/>
                          <a:gd name="connsiteX27" fmla="*/ 24433 w 102351"/>
                          <a:gd name="connsiteY27" fmla="*/ 62343 h 153527"/>
                          <a:gd name="connsiteX28" fmla="*/ 21968 w 102351"/>
                          <a:gd name="connsiteY28" fmla="*/ 52038 h 153527"/>
                          <a:gd name="connsiteX29" fmla="*/ 33110 w 102351"/>
                          <a:gd name="connsiteY29" fmla="*/ 41500 h 153527"/>
                          <a:gd name="connsiteX30" fmla="*/ 48323 w 102351"/>
                          <a:gd name="connsiteY30" fmla="*/ 38499 h 153527"/>
                          <a:gd name="connsiteX31" fmla="*/ 55185 w 102351"/>
                          <a:gd name="connsiteY31" fmla="*/ 45501 h 153527"/>
                          <a:gd name="connsiteX32" fmla="*/ 69049 w 102351"/>
                          <a:gd name="connsiteY32" fmla="*/ 51805 h 15352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</a:cxnLst>
                        <a:rect l="l" t="t" r="r" b="b"/>
                        <a:pathLst>
                          <a:path w="102351" h="153527">
                            <a:moveTo>
                              <a:pt x="69049" y="51805"/>
                            </a:moveTo>
                            <a:cubicBezTo>
                              <a:pt x="74632" y="49804"/>
                              <a:pt x="77563" y="43524"/>
                              <a:pt x="75516" y="37918"/>
                            </a:cubicBezTo>
                            <a:cubicBezTo>
                              <a:pt x="74981" y="36452"/>
                              <a:pt x="69910" y="23495"/>
                              <a:pt x="56209" y="18285"/>
                            </a:cubicBezTo>
                            <a:cubicBezTo>
                              <a:pt x="49091" y="15563"/>
                              <a:pt x="41275" y="15633"/>
                              <a:pt x="32970" y="18215"/>
                            </a:cubicBezTo>
                            <a:lnTo>
                              <a:pt x="26294" y="5724"/>
                            </a:lnTo>
                            <a:cubicBezTo>
                              <a:pt x="23456" y="443"/>
                              <a:pt x="16897" y="-1534"/>
                              <a:pt x="11616" y="1281"/>
                            </a:cubicBezTo>
                            <a:cubicBezTo>
                              <a:pt x="6336" y="4118"/>
                              <a:pt x="4359" y="10678"/>
                              <a:pt x="7173" y="15959"/>
                            </a:cubicBezTo>
                            <a:lnTo>
                              <a:pt x="13849" y="28427"/>
                            </a:lnTo>
                            <a:cubicBezTo>
                              <a:pt x="7452" y="33521"/>
                              <a:pt x="3126" y="39360"/>
                              <a:pt x="1195" y="45966"/>
                            </a:cubicBezTo>
                            <a:cubicBezTo>
                              <a:pt x="-2504" y="58574"/>
                              <a:pt x="3335" y="69019"/>
                              <a:pt x="5847" y="73508"/>
                            </a:cubicBezTo>
                            <a:cubicBezTo>
                              <a:pt x="12593" y="86139"/>
                              <a:pt x="28667" y="91024"/>
                              <a:pt x="53557" y="88023"/>
                            </a:cubicBezTo>
                            <a:cubicBezTo>
                              <a:pt x="71608" y="85837"/>
                              <a:pt x="78470" y="89187"/>
                              <a:pt x="80099" y="92164"/>
                            </a:cubicBezTo>
                            <a:cubicBezTo>
                              <a:pt x="81355" y="94420"/>
                              <a:pt x="83704" y="98608"/>
                              <a:pt x="82564" y="102492"/>
                            </a:cubicBezTo>
                            <a:cubicBezTo>
                              <a:pt x="81518" y="106028"/>
                              <a:pt x="77680" y="109680"/>
                              <a:pt x="71422" y="113030"/>
                            </a:cubicBezTo>
                            <a:cubicBezTo>
                              <a:pt x="67072" y="115356"/>
                              <a:pt x="60931" y="117752"/>
                              <a:pt x="56186" y="116031"/>
                            </a:cubicBezTo>
                            <a:cubicBezTo>
                              <a:pt x="51626" y="114356"/>
                              <a:pt x="49463" y="109331"/>
                              <a:pt x="49347" y="109006"/>
                            </a:cubicBezTo>
                            <a:cubicBezTo>
                              <a:pt x="47253" y="103469"/>
                              <a:pt x="41089" y="100631"/>
                              <a:pt x="35506" y="102678"/>
                            </a:cubicBezTo>
                            <a:cubicBezTo>
                              <a:pt x="29946" y="104725"/>
                              <a:pt x="26992" y="110959"/>
                              <a:pt x="29039" y="116566"/>
                            </a:cubicBezTo>
                            <a:cubicBezTo>
                              <a:pt x="29574" y="118031"/>
                              <a:pt x="34669" y="130988"/>
                              <a:pt x="48347" y="136198"/>
                            </a:cubicBezTo>
                            <a:cubicBezTo>
                              <a:pt x="55465" y="138920"/>
                              <a:pt x="63281" y="138874"/>
                              <a:pt x="71585" y="136268"/>
                            </a:cubicBezTo>
                            <a:lnTo>
                              <a:pt x="78261" y="148783"/>
                            </a:lnTo>
                            <a:cubicBezTo>
                              <a:pt x="81099" y="154063"/>
                              <a:pt x="87659" y="156041"/>
                              <a:pt x="92916" y="153226"/>
                            </a:cubicBezTo>
                            <a:cubicBezTo>
                              <a:pt x="98196" y="150411"/>
                              <a:pt x="100197" y="143852"/>
                              <a:pt x="97359" y="138571"/>
                            </a:cubicBezTo>
                            <a:lnTo>
                              <a:pt x="90683" y="126103"/>
                            </a:lnTo>
                            <a:cubicBezTo>
                              <a:pt x="97080" y="121032"/>
                              <a:pt x="101406" y="115193"/>
                              <a:pt x="103337" y="108564"/>
                            </a:cubicBezTo>
                            <a:cubicBezTo>
                              <a:pt x="107013" y="95956"/>
                              <a:pt x="101197" y="85511"/>
                              <a:pt x="98685" y="81022"/>
                            </a:cubicBezTo>
                            <a:cubicBezTo>
                              <a:pt x="91916" y="68391"/>
                              <a:pt x="75865" y="63506"/>
                              <a:pt x="50975" y="66506"/>
                            </a:cubicBezTo>
                            <a:cubicBezTo>
                              <a:pt x="32924" y="68670"/>
                              <a:pt x="26062" y="65343"/>
                              <a:pt x="24433" y="62343"/>
                            </a:cubicBezTo>
                            <a:cubicBezTo>
                              <a:pt x="23177" y="60109"/>
                              <a:pt x="20851" y="55922"/>
                              <a:pt x="21968" y="52038"/>
                            </a:cubicBezTo>
                            <a:cubicBezTo>
                              <a:pt x="23015" y="48502"/>
                              <a:pt x="26853" y="44850"/>
                              <a:pt x="33110" y="41500"/>
                            </a:cubicBezTo>
                            <a:cubicBezTo>
                              <a:pt x="37437" y="39174"/>
                              <a:pt x="43601" y="36778"/>
                              <a:pt x="48323" y="38499"/>
                            </a:cubicBezTo>
                            <a:cubicBezTo>
                              <a:pt x="52882" y="40151"/>
                              <a:pt x="55046" y="45175"/>
                              <a:pt x="55185" y="45501"/>
                            </a:cubicBezTo>
                            <a:cubicBezTo>
                              <a:pt x="57302" y="51014"/>
                              <a:pt x="63467" y="53852"/>
                              <a:pt x="69049" y="51805"/>
                            </a:cubicBezTo>
                            <a:close/>
                          </a:path>
                        </a:pathLst>
                      </a:custGeom>
                      <a:solidFill>
                        <a:srgbClr val="FFFFCE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</p:grpSp>
              <p:grpSp>
                <p:nvGrpSpPr>
                  <p:cNvPr id="749" name="Graphic 174">
                    <a:extLst>
                      <a:ext uri="{FF2B5EF4-FFF2-40B4-BE49-F238E27FC236}">
                        <a16:creationId xmlns:a16="http://schemas.microsoft.com/office/drawing/2014/main" id="{4045A780-E4ED-4946-BB38-1D6737CA17D1}"/>
                      </a:ext>
                    </a:extLst>
                  </p:cNvPr>
                  <p:cNvGrpSpPr/>
                  <p:nvPr/>
                </p:nvGrpSpPr>
                <p:grpSpPr>
                  <a:xfrm>
                    <a:off x="7152453" y="3725215"/>
                    <a:ext cx="597826" cy="493148"/>
                    <a:chOff x="7152453" y="3725215"/>
                    <a:chExt cx="597826" cy="493148"/>
                  </a:xfrm>
                  <a:solidFill>
                    <a:schemeClr val="accent1"/>
                  </a:solidFill>
                </p:grpSpPr>
                <p:sp>
                  <p:nvSpPr>
                    <p:cNvPr id="750" name="Freeform: Shape 749">
                      <a:extLst>
                        <a:ext uri="{FF2B5EF4-FFF2-40B4-BE49-F238E27FC236}">
                          <a16:creationId xmlns:a16="http://schemas.microsoft.com/office/drawing/2014/main" id="{D3711661-6297-4BE2-809B-E542641B36E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152453" y="3725215"/>
                      <a:ext cx="597826" cy="493148"/>
                    </a:xfrm>
                    <a:custGeom>
                      <a:avLst/>
                      <a:gdLst>
                        <a:gd name="connsiteX0" fmla="*/ 597544 w 597825"/>
                        <a:gd name="connsiteY0" fmla="*/ 290542 h 493148"/>
                        <a:gd name="connsiteX1" fmla="*/ 591217 w 597825"/>
                        <a:gd name="connsiteY1" fmla="*/ 266233 h 493148"/>
                        <a:gd name="connsiteX2" fmla="*/ 141800 w 597825"/>
                        <a:gd name="connsiteY2" fmla="*/ 2399 h 493148"/>
                        <a:gd name="connsiteX3" fmla="*/ 117515 w 597825"/>
                        <a:gd name="connsiteY3" fmla="*/ 8819 h 493148"/>
                        <a:gd name="connsiteX4" fmla="*/ 2393 w 597825"/>
                        <a:gd name="connsiteY4" fmla="*/ 204892 h 493148"/>
                        <a:gd name="connsiteX5" fmla="*/ 8697 w 597825"/>
                        <a:gd name="connsiteY5" fmla="*/ 229107 h 493148"/>
                        <a:gd name="connsiteX6" fmla="*/ 458183 w 597825"/>
                        <a:gd name="connsiteY6" fmla="*/ 492988 h 493148"/>
                        <a:gd name="connsiteX7" fmla="*/ 482398 w 597825"/>
                        <a:gd name="connsiteY7" fmla="*/ 486684 h 493148"/>
                        <a:gd name="connsiteX8" fmla="*/ 597544 w 597825"/>
                        <a:gd name="connsiteY8" fmla="*/ 290542 h 49314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597825" h="493148">
                          <a:moveTo>
                            <a:pt x="597544" y="290542"/>
                          </a:moveTo>
                          <a:cubicBezTo>
                            <a:pt x="602499" y="282074"/>
                            <a:pt x="599684" y="271211"/>
                            <a:pt x="591217" y="266233"/>
                          </a:cubicBezTo>
                          <a:lnTo>
                            <a:pt x="141800" y="2399"/>
                          </a:lnTo>
                          <a:cubicBezTo>
                            <a:pt x="133450" y="-2510"/>
                            <a:pt x="122493" y="352"/>
                            <a:pt x="117515" y="8819"/>
                          </a:cubicBezTo>
                          <a:cubicBezTo>
                            <a:pt x="50080" y="123662"/>
                            <a:pt x="69364" y="90840"/>
                            <a:pt x="2393" y="204892"/>
                          </a:cubicBezTo>
                          <a:cubicBezTo>
                            <a:pt x="-2352" y="212987"/>
                            <a:pt x="67" y="224036"/>
                            <a:pt x="8697" y="229107"/>
                          </a:cubicBezTo>
                          <a:lnTo>
                            <a:pt x="458183" y="492988"/>
                          </a:lnTo>
                          <a:cubicBezTo>
                            <a:pt x="466813" y="498059"/>
                            <a:pt x="477467" y="495082"/>
                            <a:pt x="482398" y="486684"/>
                          </a:cubicBezTo>
                          <a:cubicBezTo>
                            <a:pt x="533481" y="399639"/>
                            <a:pt x="578888" y="322294"/>
                            <a:pt x="597544" y="290542"/>
                          </a:cubicBezTo>
                          <a:close/>
                        </a:path>
                      </a:pathLst>
                    </a:custGeom>
                    <a:solidFill>
                      <a:srgbClr val="F0ECEF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51" name="Freeform: Shape 750">
                      <a:extLst>
                        <a:ext uri="{FF2B5EF4-FFF2-40B4-BE49-F238E27FC236}">
                          <a16:creationId xmlns:a16="http://schemas.microsoft.com/office/drawing/2014/main" id="{34305640-47CA-4923-B0DB-3254D204FBB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248452" y="3725215"/>
                      <a:ext cx="502453" cy="325664"/>
                    </a:xfrm>
                    <a:custGeom>
                      <a:avLst/>
                      <a:gdLst>
                        <a:gd name="connsiteX0" fmla="*/ 495218 w 502452"/>
                        <a:gd name="connsiteY0" fmla="*/ 266233 h 325664"/>
                        <a:gd name="connsiteX1" fmla="*/ 45802 w 502452"/>
                        <a:gd name="connsiteY1" fmla="*/ 2399 h 325664"/>
                        <a:gd name="connsiteX2" fmla="*/ 21517 w 502452"/>
                        <a:gd name="connsiteY2" fmla="*/ 8819 h 325664"/>
                        <a:gd name="connsiteX3" fmla="*/ 0 w 502452"/>
                        <a:gd name="connsiteY3" fmla="*/ 45479 h 325664"/>
                        <a:gd name="connsiteX4" fmla="*/ 3280 w 502452"/>
                        <a:gd name="connsiteY4" fmla="*/ 51295 h 325664"/>
                        <a:gd name="connsiteX5" fmla="*/ 164158 w 502452"/>
                        <a:gd name="connsiteY5" fmla="*/ 257673 h 325664"/>
                        <a:gd name="connsiteX6" fmla="*/ 186605 w 502452"/>
                        <a:gd name="connsiteY6" fmla="*/ 277352 h 325664"/>
                        <a:gd name="connsiteX7" fmla="*/ 186605 w 502452"/>
                        <a:gd name="connsiteY7" fmla="*/ 277352 h 325664"/>
                        <a:gd name="connsiteX8" fmla="*/ 214775 w 502452"/>
                        <a:gd name="connsiteY8" fmla="*/ 287378 h 325664"/>
                        <a:gd name="connsiteX9" fmla="*/ 473283 w 502452"/>
                        <a:gd name="connsiteY9" fmla="*/ 327202 h 325664"/>
                        <a:gd name="connsiteX10" fmla="*/ 479959 w 502452"/>
                        <a:gd name="connsiteY10" fmla="*/ 327225 h 325664"/>
                        <a:gd name="connsiteX11" fmla="*/ 501522 w 502452"/>
                        <a:gd name="connsiteY11" fmla="*/ 290495 h 325664"/>
                        <a:gd name="connsiteX12" fmla="*/ 495218 w 502452"/>
                        <a:gd name="connsiteY12" fmla="*/ 266233 h 32566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</a:cxnLst>
                      <a:rect l="l" t="t" r="r" b="b"/>
                      <a:pathLst>
                        <a:path w="502452" h="325664">
                          <a:moveTo>
                            <a:pt x="495218" y="266233"/>
                          </a:moveTo>
                          <a:lnTo>
                            <a:pt x="45802" y="2399"/>
                          </a:lnTo>
                          <a:cubicBezTo>
                            <a:pt x="37428" y="-2510"/>
                            <a:pt x="26472" y="352"/>
                            <a:pt x="21517" y="8819"/>
                          </a:cubicBezTo>
                          <a:cubicBezTo>
                            <a:pt x="13096" y="23148"/>
                            <a:pt x="6048" y="35174"/>
                            <a:pt x="0" y="45479"/>
                          </a:cubicBezTo>
                          <a:cubicBezTo>
                            <a:pt x="954" y="47457"/>
                            <a:pt x="1884" y="49480"/>
                            <a:pt x="3280" y="51295"/>
                          </a:cubicBezTo>
                          <a:lnTo>
                            <a:pt x="164158" y="257673"/>
                          </a:lnTo>
                          <a:cubicBezTo>
                            <a:pt x="170369" y="265628"/>
                            <a:pt x="177929" y="272258"/>
                            <a:pt x="186605" y="277352"/>
                          </a:cubicBezTo>
                          <a:cubicBezTo>
                            <a:pt x="186605" y="277352"/>
                            <a:pt x="186605" y="277352"/>
                            <a:pt x="186605" y="277352"/>
                          </a:cubicBezTo>
                          <a:cubicBezTo>
                            <a:pt x="195305" y="282470"/>
                            <a:pt x="204796" y="285843"/>
                            <a:pt x="214775" y="287378"/>
                          </a:cubicBezTo>
                          <a:lnTo>
                            <a:pt x="473283" y="327202"/>
                          </a:lnTo>
                          <a:cubicBezTo>
                            <a:pt x="475539" y="327551"/>
                            <a:pt x="477772" y="327365"/>
                            <a:pt x="479959" y="327225"/>
                          </a:cubicBezTo>
                          <a:cubicBezTo>
                            <a:pt x="488938" y="311942"/>
                            <a:pt x="496289" y="299381"/>
                            <a:pt x="501522" y="290495"/>
                          </a:cubicBezTo>
                          <a:cubicBezTo>
                            <a:pt x="506501" y="282098"/>
                            <a:pt x="503663" y="271211"/>
                            <a:pt x="495218" y="266233"/>
                          </a:cubicBezTo>
                          <a:close/>
                        </a:path>
                      </a:pathLst>
                    </a:custGeom>
                    <a:solidFill>
                      <a:srgbClr val="DFD5DC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52" name="Freeform: Shape 751">
                      <a:extLst>
                        <a:ext uri="{FF2B5EF4-FFF2-40B4-BE49-F238E27FC236}">
                          <a16:creationId xmlns:a16="http://schemas.microsoft.com/office/drawing/2014/main" id="{7C6AB535-5673-4055-8CF2-E38341A01A0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258511" y="3725215"/>
                      <a:ext cx="493148" cy="314033"/>
                    </a:xfrm>
                    <a:custGeom>
                      <a:avLst/>
                      <a:gdLst>
                        <a:gd name="connsiteX0" fmla="*/ 491439 w 493148"/>
                        <a:gd name="connsiteY0" fmla="*/ 290611 h 314033"/>
                        <a:gd name="connsiteX1" fmla="*/ 485229 w 493148"/>
                        <a:gd name="connsiteY1" fmla="*/ 266280 h 314033"/>
                        <a:gd name="connsiteX2" fmla="*/ 35743 w 493148"/>
                        <a:gd name="connsiteY2" fmla="*/ 2399 h 314033"/>
                        <a:gd name="connsiteX3" fmla="*/ 11457 w 493148"/>
                        <a:gd name="connsiteY3" fmla="*/ 8819 h 314033"/>
                        <a:gd name="connsiteX4" fmla="*/ 2316 w 493148"/>
                        <a:gd name="connsiteY4" fmla="*/ 24381 h 314033"/>
                        <a:gd name="connsiteX5" fmla="*/ 3548 w 493148"/>
                        <a:gd name="connsiteY5" fmla="*/ 43223 h 314033"/>
                        <a:gd name="connsiteX6" fmla="*/ 164426 w 493148"/>
                        <a:gd name="connsiteY6" fmla="*/ 249624 h 314033"/>
                        <a:gd name="connsiteX7" fmla="*/ 206716 w 493148"/>
                        <a:gd name="connsiteY7" fmla="*/ 274444 h 314033"/>
                        <a:gd name="connsiteX8" fmla="*/ 465224 w 493148"/>
                        <a:gd name="connsiteY8" fmla="*/ 314268 h 314033"/>
                        <a:gd name="connsiteX9" fmla="*/ 482274 w 493148"/>
                        <a:gd name="connsiteY9" fmla="*/ 306173 h 314033"/>
                        <a:gd name="connsiteX10" fmla="*/ 491439 w 493148"/>
                        <a:gd name="connsiteY10" fmla="*/ 290611 h 31403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</a:cxnLst>
                      <a:rect l="l" t="t" r="r" b="b"/>
                      <a:pathLst>
                        <a:path w="493148" h="314033">
                          <a:moveTo>
                            <a:pt x="491439" y="290611"/>
                          </a:moveTo>
                          <a:cubicBezTo>
                            <a:pt x="496418" y="282144"/>
                            <a:pt x="493696" y="271258"/>
                            <a:pt x="485229" y="266280"/>
                          </a:cubicBezTo>
                          <a:lnTo>
                            <a:pt x="35743" y="2399"/>
                          </a:lnTo>
                          <a:cubicBezTo>
                            <a:pt x="27392" y="-2510"/>
                            <a:pt x="16435" y="352"/>
                            <a:pt x="11457" y="8819"/>
                          </a:cubicBezTo>
                          <a:lnTo>
                            <a:pt x="2316" y="24381"/>
                          </a:lnTo>
                          <a:cubicBezTo>
                            <a:pt x="-1174" y="30336"/>
                            <a:pt x="-685" y="37803"/>
                            <a:pt x="3548" y="43223"/>
                          </a:cubicBezTo>
                          <a:lnTo>
                            <a:pt x="164426" y="249624"/>
                          </a:lnTo>
                          <a:cubicBezTo>
                            <a:pt x="174848" y="262976"/>
                            <a:pt x="189968" y="271862"/>
                            <a:pt x="206716" y="274444"/>
                          </a:cubicBezTo>
                          <a:lnTo>
                            <a:pt x="465224" y="314268"/>
                          </a:lnTo>
                          <a:cubicBezTo>
                            <a:pt x="472039" y="315315"/>
                            <a:pt x="478785" y="312105"/>
                            <a:pt x="482274" y="306173"/>
                          </a:cubicBezTo>
                          <a:lnTo>
                            <a:pt x="491439" y="290611"/>
                          </a:lnTo>
                          <a:close/>
                        </a:path>
                      </a:pathLst>
                    </a:custGeom>
                    <a:solidFill>
                      <a:srgbClr val="F0ECEF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753" name="Graphic 174">
                    <a:extLst>
                      <a:ext uri="{FF2B5EF4-FFF2-40B4-BE49-F238E27FC236}">
                        <a16:creationId xmlns:a16="http://schemas.microsoft.com/office/drawing/2014/main" id="{4045A780-E4ED-4946-BB38-1D6737CA17D1}"/>
                      </a:ext>
                    </a:extLst>
                  </p:cNvPr>
                  <p:cNvGrpSpPr/>
                  <p:nvPr/>
                </p:nvGrpSpPr>
                <p:grpSpPr>
                  <a:xfrm>
                    <a:off x="6573560" y="3806820"/>
                    <a:ext cx="197189" cy="371396"/>
                    <a:chOff x="6573560" y="3806820"/>
                    <a:chExt cx="197189" cy="371396"/>
                  </a:xfrm>
                  <a:solidFill>
                    <a:schemeClr val="accent1"/>
                  </a:solidFill>
                </p:grpSpPr>
                <p:grpSp>
                  <p:nvGrpSpPr>
                    <p:cNvPr id="754" name="Graphic 174">
                      <a:extLst>
                        <a:ext uri="{FF2B5EF4-FFF2-40B4-BE49-F238E27FC236}">
                          <a16:creationId xmlns:a16="http://schemas.microsoft.com/office/drawing/2014/main" id="{4045A780-E4ED-4946-BB38-1D6737CA17D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6573560" y="3992821"/>
                      <a:ext cx="178650" cy="185395"/>
                      <a:chOff x="6573560" y="3992821"/>
                      <a:chExt cx="178650" cy="185395"/>
                    </a:xfrm>
                    <a:solidFill>
                      <a:schemeClr val="accent1"/>
                    </a:solidFill>
                  </p:grpSpPr>
                  <p:grpSp>
                    <p:nvGrpSpPr>
                      <p:cNvPr id="755" name="Graphic 174">
                        <a:extLst>
                          <a:ext uri="{FF2B5EF4-FFF2-40B4-BE49-F238E27FC236}">
                            <a16:creationId xmlns:a16="http://schemas.microsoft.com/office/drawing/2014/main" id="{4045A780-E4ED-4946-BB38-1D6737CA17D1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6576770" y="4161933"/>
                        <a:ext cx="165158" cy="16283"/>
                        <a:chOff x="6576770" y="4161933"/>
                        <a:chExt cx="165158" cy="16283"/>
                      </a:xfrm>
                      <a:solidFill>
                        <a:schemeClr val="accent1"/>
                      </a:solidFill>
                    </p:grpSpPr>
                    <p:sp>
                      <p:nvSpPr>
                        <p:cNvPr id="756" name="Freeform: Shape 755">
                          <a:extLst>
                            <a:ext uri="{FF2B5EF4-FFF2-40B4-BE49-F238E27FC236}">
                              <a16:creationId xmlns:a16="http://schemas.microsoft.com/office/drawing/2014/main" id="{1B5B614E-5D0E-482D-9DA5-5BC0C4275783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76770" y="4161933"/>
                          <a:ext cx="165158" cy="16283"/>
                        </a:xfrm>
                        <a:custGeom>
                          <a:avLst/>
                          <a:gdLst>
                            <a:gd name="connsiteX0" fmla="*/ 164553 w 165158"/>
                            <a:gd name="connsiteY0" fmla="*/ 16911 h 16283"/>
                            <a:gd name="connsiteX1" fmla="*/ 1465 w 165158"/>
                            <a:gd name="connsiteY1" fmla="*/ 16911 h 16283"/>
                            <a:gd name="connsiteX2" fmla="*/ 0 w 165158"/>
                            <a:gd name="connsiteY2" fmla="*/ 15446 h 16283"/>
                            <a:gd name="connsiteX3" fmla="*/ 0 w 165158"/>
                            <a:gd name="connsiteY3" fmla="*/ 1465 h 16283"/>
                            <a:gd name="connsiteX4" fmla="*/ 1465 w 165158"/>
                            <a:gd name="connsiteY4" fmla="*/ 0 h 16283"/>
                            <a:gd name="connsiteX5" fmla="*/ 164553 w 165158"/>
                            <a:gd name="connsiteY5" fmla="*/ 0 h 16283"/>
                            <a:gd name="connsiteX6" fmla="*/ 166019 w 165158"/>
                            <a:gd name="connsiteY6" fmla="*/ 1465 h 16283"/>
                            <a:gd name="connsiteX7" fmla="*/ 166019 w 165158"/>
                            <a:gd name="connsiteY7" fmla="*/ 15446 h 16283"/>
                            <a:gd name="connsiteX8" fmla="*/ 164553 w 165158"/>
                            <a:gd name="connsiteY8" fmla="*/ 1691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165158" h="16283">
                              <a:moveTo>
                                <a:pt x="164553" y="16911"/>
                              </a:moveTo>
                              <a:lnTo>
                                <a:pt x="1465" y="16911"/>
                              </a:lnTo>
                              <a:cubicBezTo>
                                <a:pt x="651" y="16911"/>
                                <a:pt x="0" y="16260"/>
                                <a:pt x="0" y="15446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164553" y="0"/>
                              </a:lnTo>
                              <a:cubicBezTo>
                                <a:pt x="165367" y="0"/>
                                <a:pt x="166019" y="651"/>
                                <a:pt x="166019" y="1465"/>
                              </a:cubicBezTo>
                              <a:lnTo>
                                <a:pt x="166019" y="15446"/>
                              </a:lnTo>
                              <a:cubicBezTo>
                                <a:pt x="165996" y="16260"/>
                                <a:pt x="165344" y="16911"/>
                                <a:pt x="164553" y="1691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19439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757" name="Freeform: Shape 756">
                          <a:extLst>
                            <a:ext uri="{FF2B5EF4-FFF2-40B4-BE49-F238E27FC236}">
                              <a16:creationId xmlns:a16="http://schemas.microsoft.com/office/drawing/2014/main" id="{E774DE17-E09B-4B28-887C-4CDC88A58E4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56558" y="4162631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758" name="Freeform: Shape 757">
                          <a:extLst>
                            <a:ext uri="{FF2B5EF4-FFF2-40B4-BE49-F238E27FC236}">
                              <a16:creationId xmlns:a16="http://schemas.microsoft.com/office/drawing/2014/main" id="{19CE50C3-8B23-4EB2-8600-F48AFBDE8D39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64443" y="4162631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759" name="Freeform: Shape 758">
                          <a:extLst>
                            <a:ext uri="{FF2B5EF4-FFF2-40B4-BE49-F238E27FC236}">
                              <a16:creationId xmlns:a16="http://schemas.microsoft.com/office/drawing/2014/main" id="{450DFB7D-0D18-4F75-BDBF-887816A1C0EC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72329" y="4162631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760" name="Freeform: Shape 759">
                          <a:extLst>
                            <a:ext uri="{FF2B5EF4-FFF2-40B4-BE49-F238E27FC236}">
                              <a16:creationId xmlns:a16="http://schemas.microsoft.com/office/drawing/2014/main" id="{E9DD48AC-21D3-4A09-9CF8-29837A6185F0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80191" y="4162631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761" name="Freeform: Shape 760">
                          <a:extLst>
                            <a:ext uri="{FF2B5EF4-FFF2-40B4-BE49-F238E27FC236}">
                              <a16:creationId xmlns:a16="http://schemas.microsoft.com/office/drawing/2014/main" id="{7A2BAA61-02B5-4ECE-9E3F-875788E1F44E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88077" y="4162631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762" name="Freeform: Shape 761">
                          <a:extLst>
                            <a:ext uri="{FF2B5EF4-FFF2-40B4-BE49-F238E27FC236}">
                              <a16:creationId xmlns:a16="http://schemas.microsoft.com/office/drawing/2014/main" id="{F23F1E38-C424-4FA4-970A-657A53B7CCB1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95940" y="4162631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763" name="Freeform: Shape 762">
                          <a:extLst>
                            <a:ext uri="{FF2B5EF4-FFF2-40B4-BE49-F238E27FC236}">
                              <a16:creationId xmlns:a16="http://schemas.microsoft.com/office/drawing/2014/main" id="{D08FF9B4-7BFB-4A81-A64B-89CE76D49A19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03825" y="4162631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764" name="Freeform: Shape 763">
                          <a:extLst>
                            <a:ext uri="{FF2B5EF4-FFF2-40B4-BE49-F238E27FC236}">
                              <a16:creationId xmlns:a16="http://schemas.microsoft.com/office/drawing/2014/main" id="{5046F910-8842-482C-A4BC-30245323384D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11688" y="4162631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765" name="Freeform: Shape 764">
                          <a:extLst>
                            <a:ext uri="{FF2B5EF4-FFF2-40B4-BE49-F238E27FC236}">
                              <a16:creationId xmlns:a16="http://schemas.microsoft.com/office/drawing/2014/main" id="{94277789-03D6-4AAA-95CC-9151F9988FB4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19574" y="4162631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766" name="Freeform: Shape 765">
                          <a:extLst>
                            <a:ext uri="{FF2B5EF4-FFF2-40B4-BE49-F238E27FC236}">
                              <a16:creationId xmlns:a16="http://schemas.microsoft.com/office/drawing/2014/main" id="{A763108B-BA8E-4EB9-94E3-281ED1F3B698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27459" y="4162631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767" name="Freeform: Shape 766">
                          <a:extLst>
                            <a:ext uri="{FF2B5EF4-FFF2-40B4-BE49-F238E27FC236}">
                              <a16:creationId xmlns:a16="http://schemas.microsoft.com/office/drawing/2014/main" id="{82DBBF78-84D9-4B0B-9894-FE698C0BDD15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35322" y="4162631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768" name="Freeform: Shape 767">
                          <a:extLst>
                            <a:ext uri="{FF2B5EF4-FFF2-40B4-BE49-F238E27FC236}">
                              <a16:creationId xmlns:a16="http://schemas.microsoft.com/office/drawing/2014/main" id="{2A5FD117-854C-4145-AC0C-A8BC3A3A6256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93565" y="4162631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769" name="Freeform: Shape 768">
                          <a:extLst>
                            <a:ext uri="{FF2B5EF4-FFF2-40B4-BE49-F238E27FC236}">
                              <a16:creationId xmlns:a16="http://schemas.microsoft.com/office/drawing/2014/main" id="{80540416-8986-4B36-B098-736602458E35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01427" y="4162631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770" name="Freeform: Shape 769">
                          <a:extLst>
                            <a:ext uri="{FF2B5EF4-FFF2-40B4-BE49-F238E27FC236}">
                              <a16:creationId xmlns:a16="http://schemas.microsoft.com/office/drawing/2014/main" id="{6C2FE8B9-126D-4B01-AD8E-D6F107D31A64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09313" y="4162631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771" name="Freeform: Shape 770">
                          <a:extLst>
                            <a:ext uri="{FF2B5EF4-FFF2-40B4-BE49-F238E27FC236}">
                              <a16:creationId xmlns:a16="http://schemas.microsoft.com/office/drawing/2014/main" id="{B30503DC-7A47-4448-811D-C44967DDA5FB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77817" y="4162631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772" name="Freeform: Shape 771">
                          <a:extLst>
                            <a:ext uri="{FF2B5EF4-FFF2-40B4-BE49-F238E27FC236}">
                              <a16:creationId xmlns:a16="http://schemas.microsoft.com/office/drawing/2014/main" id="{9EAAB62F-DBF9-4D7F-8E68-3DDB704C6F92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85679" y="4162631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773" name="Freeform: Shape 772">
                          <a:extLst>
                            <a:ext uri="{FF2B5EF4-FFF2-40B4-BE49-F238E27FC236}">
                              <a16:creationId xmlns:a16="http://schemas.microsoft.com/office/drawing/2014/main" id="{B5E05D26-53CA-4319-A434-751204F9BD94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93565" y="4162631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774" name="Freeform: Shape 773">
                          <a:extLst>
                            <a:ext uri="{FF2B5EF4-FFF2-40B4-BE49-F238E27FC236}">
                              <a16:creationId xmlns:a16="http://schemas.microsoft.com/office/drawing/2014/main" id="{AFBD8D80-5F5A-4BAB-B61A-F83E97A7674B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17176" y="4162631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775" name="Freeform: Shape 774">
                          <a:extLst>
                            <a:ext uri="{FF2B5EF4-FFF2-40B4-BE49-F238E27FC236}">
                              <a16:creationId xmlns:a16="http://schemas.microsoft.com/office/drawing/2014/main" id="{130AFB80-3C56-444F-97EB-D63E9EBA6E97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25061" y="4162631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776" name="Freeform: Shape 775">
                          <a:extLst>
                            <a:ext uri="{FF2B5EF4-FFF2-40B4-BE49-F238E27FC236}">
                              <a16:creationId xmlns:a16="http://schemas.microsoft.com/office/drawing/2014/main" id="{48E13FB3-B5F5-4434-9837-C8605AE09631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32947" y="4162631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777" name="Freeform: Shape 776">
                          <a:extLst>
                            <a:ext uri="{FF2B5EF4-FFF2-40B4-BE49-F238E27FC236}">
                              <a16:creationId xmlns:a16="http://schemas.microsoft.com/office/drawing/2014/main" id="{C239DB06-9053-43F9-87F2-222F5E594E45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40809" y="4162631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778" name="Freeform: Shape 777">
                          <a:extLst>
                            <a:ext uri="{FF2B5EF4-FFF2-40B4-BE49-F238E27FC236}">
                              <a16:creationId xmlns:a16="http://schemas.microsoft.com/office/drawing/2014/main" id="{D78BA1B2-81EC-484C-B3D9-BCF8660A0A02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48695" y="4162631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</p:grpSp>
                  <p:grpSp>
                    <p:nvGrpSpPr>
                      <p:cNvPr id="779" name="Graphic 174">
                        <a:extLst>
                          <a:ext uri="{FF2B5EF4-FFF2-40B4-BE49-F238E27FC236}">
                            <a16:creationId xmlns:a16="http://schemas.microsoft.com/office/drawing/2014/main" id="{4045A780-E4ED-4946-BB38-1D6737CA17D1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6581446" y="4145045"/>
                        <a:ext cx="165158" cy="16283"/>
                        <a:chOff x="6581446" y="4145045"/>
                        <a:chExt cx="165158" cy="16283"/>
                      </a:xfrm>
                      <a:solidFill>
                        <a:schemeClr val="accent1"/>
                      </a:solidFill>
                    </p:grpSpPr>
                    <p:sp>
                      <p:nvSpPr>
                        <p:cNvPr id="780" name="Freeform: Shape 779">
                          <a:extLst>
                            <a:ext uri="{FF2B5EF4-FFF2-40B4-BE49-F238E27FC236}">
                              <a16:creationId xmlns:a16="http://schemas.microsoft.com/office/drawing/2014/main" id="{5D5A27F4-1F33-47DE-8CD9-D4BB9E87E09A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81446" y="4145045"/>
                          <a:ext cx="165158" cy="16283"/>
                        </a:xfrm>
                        <a:custGeom>
                          <a:avLst/>
                          <a:gdLst>
                            <a:gd name="connsiteX0" fmla="*/ 164553 w 165158"/>
                            <a:gd name="connsiteY0" fmla="*/ 16911 h 16283"/>
                            <a:gd name="connsiteX1" fmla="*/ 1465 w 165158"/>
                            <a:gd name="connsiteY1" fmla="*/ 16911 h 16283"/>
                            <a:gd name="connsiteX2" fmla="*/ 0 w 165158"/>
                            <a:gd name="connsiteY2" fmla="*/ 15446 h 16283"/>
                            <a:gd name="connsiteX3" fmla="*/ 0 w 165158"/>
                            <a:gd name="connsiteY3" fmla="*/ 1465 h 16283"/>
                            <a:gd name="connsiteX4" fmla="*/ 1465 w 165158"/>
                            <a:gd name="connsiteY4" fmla="*/ 0 h 16283"/>
                            <a:gd name="connsiteX5" fmla="*/ 164553 w 165158"/>
                            <a:gd name="connsiteY5" fmla="*/ 0 h 16283"/>
                            <a:gd name="connsiteX6" fmla="*/ 166019 w 165158"/>
                            <a:gd name="connsiteY6" fmla="*/ 1465 h 16283"/>
                            <a:gd name="connsiteX7" fmla="*/ 166019 w 165158"/>
                            <a:gd name="connsiteY7" fmla="*/ 15446 h 16283"/>
                            <a:gd name="connsiteX8" fmla="*/ 164553 w 165158"/>
                            <a:gd name="connsiteY8" fmla="*/ 1691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165158" h="16283">
                              <a:moveTo>
                                <a:pt x="164553" y="16911"/>
                              </a:moveTo>
                              <a:lnTo>
                                <a:pt x="1465" y="16911"/>
                              </a:lnTo>
                              <a:cubicBezTo>
                                <a:pt x="651" y="16911"/>
                                <a:pt x="0" y="16260"/>
                                <a:pt x="0" y="15446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164553" y="0"/>
                              </a:lnTo>
                              <a:cubicBezTo>
                                <a:pt x="165368" y="0"/>
                                <a:pt x="166019" y="651"/>
                                <a:pt x="166019" y="1465"/>
                              </a:cubicBezTo>
                              <a:lnTo>
                                <a:pt x="166019" y="15446"/>
                              </a:lnTo>
                              <a:cubicBezTo>
                                <a:pt x="165996" y="16260"/>
                                <a:pt x="165344" y="16911"/>
                                <a:pt x="164553" y="1691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19439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781" name="Freeform: Shape 780">
                          <a:extLst>
                            <a:ext uri="{FF2B5EF4-FFF2-40B4-BE49-F238E27FC236}">
                              <a16:creationId xmlns:a16="http://schemas.microsoft.com/office/drawing/2014/main" id="{DB565321-98C4-401D-A8E4-477F57100D70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61233" y="4145743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782" name="Freeform: Shape 781">
                          <a:extLst>
                            <a:ext uri="{FF2B5EF4-FFF2-40B4-BE49-F238E27FC236}">
                              <a16:creationId xmlns:a16="http://schemas.microsoft.com/office/drawing/2014/main" id="{693ECA14-A7F8-438F-9FCA-C45EE49D085C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69119" y="4145743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783" name="Freeform: Shape 782">
                          <a:extLst>
                            <a:ext uri="{FF2B5EF4-FFF2-40B4-BE49-F238E27FC236}">
                              <a16:creationId xmlns:a16="http://schemas.microsoft.com/office/drawing/2014/main" id="{FBC83828-D472-459E-A7FC-56FDC9E1D254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76981" y="4145743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784" name="Freeform: Shape 783">
                          <a:extLst>
                            <a:ext uri="{FF2B5EF4-FFF2-40B4-BE49-F238E27FC236}">
                              <a16:creationId xmlns:a16="http://schemas.microsoft.com/office/drawing/2014/main" id="{C3323794-7C3A-42CF-81C2-BC3F7754278D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84867" y="4145743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785" name="Freeform: Shape 784">
                          <a:extLst>
                            <a:ext uri="{FF2B5EF4-FFF2-40B4-BE49-F238E27FC236}">
                              <a16:creationId xmlns:a16="http://schemas.microsoft.com/office/drawing/2014/main" id="{C8EF307B-B5FB-4661-BDB9-44AA7AC196CE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92753" y="4145743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786" name="Freeform: Shape 785">
                          <a:extLst>
                            <a:ext uri="{FF2B5EF4-FFF2-40B4-BE49-F238E27FC236}">
                              <a16:creationId xmlns:a16="http://schemas.microsoft.com/office/drawing/2014/main" id="{1F3A26E5-2015-4B7A-90D7-2055B77FE2DA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00615" y="4145743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787" name="Freeform: Shape 786">
                          <a:extLst>
                            <a:ext uri="{FF2B5EF4-FFF2-40B4-BE49-F238E27FC236}">
                              <a16:creationId xmlns:a16="http://schemas.microsoft.com/office/drawing/2014/main" id="{2C7A777E-9493-4B93-B815-7385C57AA020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08501" y="4145743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788" name="Freeform: Shape 787">
                          <a:extLst>
                            <a:ext uri="{FF2B5EF4-FFF2-40B4-BE49-F238E27FC236}">
                              <a16:creationId xmlns:a16="http://schemas.microsoft.com/office/drawing/2014/main" id="{72428898-94E0-4A0D-B0FB-D4ADFA7DCDFC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16363" y="4145743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789" name="Freeform: Shape 788">
                          <a:extLst>
                            <a:ext uri="{FF2B5EF4-FFF2-40B4-BE49-F238E27FC236}">
                              <a16:creationId xmlns:a16="http://schemas.microsoft.com/office/drawing/2014/main" id="{2642FEDE-C5C4-4F0F-BBE7-FC371D28B334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24249" y="4145743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790" name="Freeform: Shape 789">
                          <a:extLst>
                            <a:ext uri="{FF2B5EF4-FFF2-40B4-BE49-F238E27FC236}">
                              <a16:creationId xmlns:a16="http://schemas.microsoft.com/office/drawing/2014/main" id="{9ADE1FCA-F411-459C-BC4E-AC52E801F111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32135" y="4145743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791" name="Freeform: Shape 790">
                          <a:extLst>
                            <a:ext uri="{FF2B5EF4-FFF2-40B4-BE49-F238E27FC236}">
                              <a16:creationId xmlns:a16="http://schemas.microsoft.com/office/drawing/2014/main" id="{18A25D0B-F34C-4C05-8377-01BF7C0C1E11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39997" y="4145743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792" name="Freeform: Shape 791">
                          <a:extLst>
                            <a:ext uri="{FF2B5EF4-FFF2-40B4-BE49-F238E27FC236}">
                              <a16:creationId xmlns:a16="http://schemas.microsoft.com/office/drawing/2014/main" id="{5C7AAFBA-31F3-41E6-B73E-1F578061D456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98240" y="4145743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793" name="Freeform: Shape 792">
                          <a:extLst>
                            <a:ext uri="{FF2B5EF4-FFF2-40B4-BE49-F238E27FC236}">
                              <a16:creationId xmlns:a16="http://schemas.microsoft.com/office/drawing/2014/main" id="{45692299-61DB-4FC6-83BE-C7AC67F5CEB6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06103" y="4145743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794" name="Freeform: Shape 793">
                          <a:extLst>
                            <a:ext uri="{FF2B5EF4-FFF2-40B4-BE49-F238E27FC236}">
                              <a16:creationId xmlns:a16="http://schemas.microsoft.com/office/drawing/2014/main" id="{969500A0-6246-4FF8-84FC-D86BB7C4DD21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13989" y="4145743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795" name="Freeform: Shape 794">
                          <a:extLst>
                            <a:ext uri="{FF2B5EF4-FFF2-40B4-BE49-F238E27FC236}">
                              <a16:creationId xmlns:a16="http://schemas.microsoft.com/office/drawing/2014/main" id="{64917BEC-70DB-4D6A-BCB9-6F20620ECC9C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82469" y="4145743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796" name="Freeform: Shape 795">
                          <a:extLst>
                            <a:ext uri="{FF2B5EF4-FFF2-40B4-BE49-F238E27FC236}">
                              <a16:creationId xmlns:a16="http://schemas.microsoft.com/office/drawing/2014/main" id="{C6E66E6B-2B65-42F3-9EAF-21832414C871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90355" y="4145743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797" name="Freeform: Shape 796">
                          <a:extLst>
                            <a:ext uri="{FF2B5EF4-FFF2-40B4-BE49-F238E27FC236}">
                              <a16:creationId xmlns:a16="http://schemas.microsoft.com/office/drawing/2014/main" id="{390DC934-24C4-4C3F-8755-98769EDED433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98240" y="4145743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798" name="Freeform: Shape 797">
                          <a:extLst>
                            <a:ext uri="{FF2B5EF4-FFF2-40B4-BE49-F238E27FC236}">
                              <a16:creationId xmlns:a16="http://schemas.microsoft.com/office/drawing/2014/main" id="{CC0C9CFE-9ABE-4B77-B0DA-B03FFC73E8E5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21851" y="4145743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799" name="Freeform: Shape 798">
                          <a:extLst>
                            <a:ext uri="{FF2B5EF4-FFF2-40B4-BE49-F238E27FC236}">
                              <a16:creationId xmlns:a16="http://schemas.microsoft.com/office/drawing/2014/main" id="{0C572000-7A03-4574-903A-4DC19993F6B2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29737" y="4145743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800" name="Freeform: Shape 799">
                          <a:extLst>
                            <a:ext uri="{FF2B5EF4-FFF2-40B4-BE49-F238E27FC236}">
                              <a16:creationId xmlns:a16="http://schemas.microsoft.com/office/drawing/2014/main" id="{43F2DA39-2ABF-41C5-B933-D6960CFCAA43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37623" y="4145743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801" name="Freeform: Shape 800">
                          <a:extLst>
                            <a:ext uri="{FF2B5EF4-FFF2-40B4-BE49-F238E27FC236}">
                              <a16:creationId xmlns:a16="http://schemas.microsoft.com/office/drawing/2014/main" id="{81C9172B-15C9-4661-A01C-3E220C4DD4AB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45485" y="4145743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802" name="Freeform: Shape 801">
                          <a:extLst>
                            <a:ext uri="{FF2B5EF4-FFF2-40B4-BE49-F238E27FC236}">
                              <a16:creationId xmlns:a16="http://schemas.microsoft.com/office/drawing/2014/main" id="{3218E209-5B04-4542-A6A4-7899EA56C30D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53371" y="4145743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</p:grpSp>
                  <p:grpSp>
                    <p:nvGrpSpPr>
                      <p:cNvPr id="803" name="Graphic 174">
                        <a:extLst>
                          <a:ext uri="{FF2B5EF4-FFF2-40B4-BE49-F238E27FC236}">
                            <a16:creationId xmlns:a16="http://schemas.microsoft.com/office/drawing/2014/main" id="{4045A780-E4ED-4946-BB38-1D6737CA17D1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6581446" y="4111246"/>
                        <a:ext cx="165158" cy="16283"/>
                        <a:chOff x="6581446" y="4111246"/>
                        <a:chExt cx="165158" cy="16283"/>
                      </a:xfrm>
                      <a:solidFill>
                        <a:schemeClr val="accent1"/>
                      </a:solidFill>
                    </p:grpSpPr>
                    <p:sp>
                      <p:nvSpPr>
                        <p:cNvPr id="804" name="Freeform: Shape 803">
                          <a:extLst>
                            <a:ext uri="{FF2B5EF4-FFF2-40B4-BE49-F238E27FC236}">
                              <a16:creationId xmlns:a16="http://schemas.microsoft.com/office/drawing/2014/main" id="{66FACAB5-40B7-4DCD-B92A-42A9F4204A4D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81446" y="4111246"/>
                          <a:ext cx="165158" cy="16283"/>
                        </a:xfrm>
                        <a:custGeom>
                          <a:avLst/>
                          <a:gdLst>
                            <a:gd name="connsiteX0" fmla="*/ 164553 w 165158"/>
                            <a:gd name="connsiteY0" fmla="*/ 16911 h 16283"/>
                            <a:gd name="connsiteX1" fmla="*/ 1465 w 165158"/>
                            <a:gd name="connsiteY1" fmla="*/ 16911 h 16283"/>
                            <a:gd name="connsiteX2" fmla="*/ 0 w 165158"/>
                            <a:gd name="connsiteY2" fmla="*/ 15446 h 16283"/>
                            <a:gd name="connsiteX3" fmla="*/ 0 w 165158"/>
                            <a:gd name="connsiteY3" fmla="*/ 1465 h 16283"/>
                            <a:gd name="connsiteX4" fmla="*/ 1465 w 165158"/>
                            <a:gd name="connsiteY4" fmla="*/ 0 h 16283"/>
                            <a:gd name="connsiteX5" fmla="*/ 164553 w 165158"/>
                            <a:gd name="connsiteY5" fmla="*/ 0 h 16283"/>
                            <a:gd name="connsiteX6" fmla="*/ 166019 w 165158"/>
                            <a:gd name="connsiteY6" fmla="*/ 1465 h 16283"/>
                            <a:gd name="connsiteX7" fmla="*/ 166019 w 165158"/>
                            <a:gd name="connsiteY7" fmla="*/ 15446 h 16283"/>
                            <a:gd name="connsiteX8" fmla="*/ 164553 w 165158"/>
                            <a:gd name="connsiteY8" fmla="*/ 1691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165158" h="16283">
                              <a:moveTo>
                                <a:pt x="164553" y="16911"/>
                              </a:moveTo>
                              <a:lnTo>
                                <a:pt x="1465" y="16911"/>
                              </a:lnTo>
                              <a:cubicBezTo>
                                <a:pt x="651" y="16911"/>
                                <a:pt x="0" y="16260"/>
                                <a:pt x="0" y="15446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164553" y="0"/>
                              </a:lnTo>
                              <a:cubicBezTo>
                                <a:pt x="165368" y="0"/>
                                <a:pt x="166019" y="651"/>
                                <a:pt x="166019" y="1465"/>
                              </a:cubicBezTo>
                              <a:lnTo>
                                <a:pt x="166019" y="15446"/>
                              </a:lnTo>
                              <a:cubicBezTo>
                                <a:pt x="165996" y="16260"/>
                                <a:pt x="165344" y="16911"/>
                                <a:pt x="164553" y="1691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19439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805" name="Freeform: Shape 804">
                          <a:extLst>
                            <a:ext uri="{FF2B5EF4-FFF2-40B4-BE49-F238E27FC236}">
                              <a16:creationId xmlns:a16="http://schemas.microsoft.com/office/drawing/2014/main" id="{E1AA811B-AF64-453C-B976-895301193146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61233" y="4111944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806" name="Freeform: Shape 805">
                          <a:extLst>
                            <a:ext uri="{FF2B5EF4-FFF2-40B4-BE49-F238E27FC236}">
                              <a16:creationId xmlns:a16="http://schemas.microsoft.com/office/drawing/2014/main" id="{EBB1825E-1B08-4166-B16A-25D6E9E30627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69119" y="4111944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807" name="Freeform: Shape 806">
                          <a:extLst>
                            <a:ext uri="{FF2B5EF4-FFF2-40B4-BE49-F238E27FC236}">
                              <a16:creationId xmlns:a16="http://schemas.microsoft.com/office/drawing/2014/main" id="{2032C78E-9BDC-4A5D-B89D-5A2A91457D42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76981" y="4111944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808" name="Freeform: Shape 807">
                          <a:extLst>
                            <a:ext uri="{FF2B5EF4-FFF2-40B4-BE49-F238E27FC236}">
                              <a16:creationId xmlns:a16="http://schemas.microsoft.com/office/drawing/2014/main" id="{F4B638C1-632D-47EA-AF6A-1520D09F04D6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84867" y="4111944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809" name="Freeform: Shape 808">
                          <a:extLst>
                            <a:ext uri="{FF2B5EF4-FFF2-40B4-BE49-F238E27FC236}">
                              <a16:creationId xmlns:a16="http://schemas.microsoft.com/office/drawing/2014/main" id="{EA02CD05-7751-4883-AFBF-B049BE3CCDAA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92753" y="4111944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810" name="Freeform: Shape 809">
                          <a:extLst>
                            <a:ext uri="{FF2B5EF4-FFF2-40B4-BE49-F238E27FC236}">
                              <a16:creationId xmlns:a16="http://schemas.microsoft.com/office/drawing/2014/main" id="{CC81C822-0D1F-4D39-B512-CD64AD15173A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00615" y="4111944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811" name="Freeform: Shape 810">
                          <a:extLst>
                            <a:ext uri="{FF2B5EF4-FFF2-40B4-BE49-F238E27FC236}">
                              <a16:creationId xmlns:a16="http://schemas.microsoft.com/office/drawing/2014/main" id="{A3EFD6A4-04E2-4ABB-9085-4325D895EF2B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08501" y="4111944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812" name="Freeform: Shape 811">
                          <a:extLst>
                            <a:ext uri="{FF2B5EF4-FFF2-40B4-BE49-F238E27FC236}">
                              <a16:creationId xmlns:a16="http://schemas.microsoft.com/office/drawing/2014/main" id="{264DEA8E-0D3E-444E-A884-A6E401037844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16363" y="4111944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813" name="Freeform: Shape 812">
                          <a:extLst>
                            <a:ext uri="{FF2B5EF4-FFF2-40B4-BE49-F238E27FC236}">
                              <a16:creationId xmlns:a16="http://schemas.microsoft.com/office/drawing/2014/main" id="{62A4D168-B1CC-41AA-A3CA-D10426E5EACB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24249" y="4111944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814" name="Freeform: Shape 813">
                          <a:extLst>
                            <a:ext uri="{FF2B5EF4-FFF2-40B4-BE49-F238E27FC236}">
                              <a16:creationId xmlns:a16="http://schemas.microsoft.com/office/drawing/2014/main" id="{0BDD7372-2177-423B-A6FD-0F075DAAC4FA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32135" y="4111944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815" name="Freeform: Shape 814">
                          <a:extLst>
                            <a:ext uri="{FF2B5EF4-FFF2-40B4-BE49-F238E27FC236}">
                              <a16:creationId xmlns:a16="http://schemas.microsoft.com/office/drawing/2014/main" id="{25C9319A-87A1-41C3-8B64-BC1A0C751384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39997" y="4111944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816" name="Freeform: Shape 815">
                          <a:extLst>
                            <a:ext uri="{FF2B5EF4-FFF2-40B4-BE49-F238E27FC236}">
                              <a16:creationId xmlns:a16="http://schemas.microsoft.com/office/drawing/2014/main" id="{4665EC8C-6386-4E8C-A9AB-4C3C42487A4E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98240" y="4111944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817" name="Freeform: Shape 816">
                          <a:extLst>
                            <a:ext uri="{FF2B5EF4-FFF2-40B4-BE49-F238E27FC236}">
                              <a16:creationId xmlns:a16="http://schemas.microsoft.com/office/drawing/2014/main" id="{06A2AC1E-26BA-420C-B54A-AB29BD2D0BAC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06103" y="4111944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818" name="Freeform: Shape 817">
                          <a:extLst>
                            <a:ext uri="{FF2B5EF4-FFF2-40B4-BE49-F238E27FC236}">
                              <a16:creationId xmlns:a16="http://schemas.microsoft.com/office/drawing/2014/main" id="{200DBE01-30CD-42D7-A267-9FA1BCFAA7B2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13989" y="4111944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819" name="Freeform: Shape 818">
                          <a:extLst>
                            <a:ext uri="{FF2B5EF4-FFF2-40B4-BE49-F238E27FC236}">
                              <a16:creationId xmlns:a16="http://schemas.microsoft.com/office/drawing/2014/main" id="{A2B4DFBB-2AF1-4643-A312-937394F6BE88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82469" y="4111944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820" name="Freeform: Shape 819">
                          <a:extLst>
                            <a:ext uri="{FF2B5EF4-FFF2-40B4-BE49-F238E27FC236}">
                              <a16:creationId xmlns:a16="http://schemas.microsoft.com/office/drawing/2014/main" id="{173139AC-612A-4721-AEE8-EB65A078A7B2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90355" y="4111944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821" name="Freeform: Shape 820">
                          <a:extLst>
                            <a:ext uri="{FF2B5EF4-FFF2-40B4-BE49-F238E27FC236}">
                              <a16:creationId xmlns:a16="http://schemas.microsoft.com/office/drawing/2014/main" id="{2F3AF7F7-F370-4538-87AF-167780728343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98240" y="4111944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822" name="Freeform: Shape 821">
                          <a:extLst>
                            <a:ext uri="{FF2B5EF4-FFF2-40B4-BE49-F238E27FC236}">
                              <a16:creationId xmlns:a16="http://schemas.microsoft.com/office/drawing/2014/main" id="{55F3FA4F-A35E-491E-B2B5-C5C3206F69C9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21851" y="4111944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823" name="Freeform: Shape 822">
                          <a:extLst>
                            <a:ext uri="{FF2B5EF4-FFF2-40B4-BE49-F238E27FC236}">
                              <a16:creationId xmlns:a16="http://schemas.microsoft.com/office/drawing/2014/main" id="{FCCD489F-BF9E-440E-82EF-F8A057C00266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29737" y="4111944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824" name="Freeform: Shape 823">
                          <a:extLst>
                            <a:ext uri="{FF2B5EF4-FFF2-40B4-BE49-F238E27FC236}">
                              <a16:creationId xmlns:a16="http://schemas.microsoft.com/office/drawing/2014/main" id="{2D4A679F-AC96-4A04-ABAE-20BEB816D16C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37623" y="4111944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825" name="Freeform: Shape 824">
                          <a:extLst>
                            <a:ext uri="{FF2B5EF4-FFF2-40B4-BE49-F238E27FC236}">
                              <a16:creationId xmlns:a16="http://schemas.microsoft.com/office/drawing/2014/main" id="{E2B057D3-C5DF-413B-81AF-35C3AA9C1A36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45485" y="4111944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826" name="Freeform: Shape 825">
                          <a:extLst>
                            <a:ext uri="{FF2B5EF4-FFF2-40B4-BE49-F238E27FC236}">
                              <a16:creationId xmlns:a16="http://schemas.microsoft.com/office/drawing/2014/main" id="{AEB9866F-6E66-49C3-BD34-9E3DD64F5A7E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53371" y="4111944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</p:grpSp>
                  <p:grpSp>
                    <p:nvGrpSpPr>
                      <p:cNvPr id="827" name="Graphic 174">
                        <a:extLst>
                          <a:ext uri="{FF2B5EF4-FFF2-40B4-BE49-F238E27FC236}">
                            <a16:creationId xmlns:a16="http://schemas.microsoft.com/office/drawing/2014/main" id="{4045A780-E4ED-4946-BB38-1D6737CA17D1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6573560" y="4128134"/>
                        <a:ext cx="165158" cy="16283"/>
                        <a:chOff x="6573560" y="4128134"/>
                        <a:chExt cx="165158" cy="16283"/>
                      </a:xfrm>
                      <a:solidFill>
                        <a:schemeClr val="accent1"/>
                      </a:solidFill>
                    </p:grpSpPr>
                    <p:sp>
                      <p:nvSpPr>
                        <p:cNvPr id="828" name="Freeform: Shape 827">
                          <a:extLst>
                            <a:ext uri="{FF2B5EF4-FFF2-40B4-BE49-F238E27FC236}">
                              <a16:creationId xmlns:a16="http://schemas.microsoft.com/office/drawing/2014/main" id="{111B67DC-F50D-411F-AA42-D8499797F1D8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73560" y="4128134"/>
                          <a:ext cx="165158" cy="16283"/>
                        </a:xfrm>
                        <a:custGeom>
                          <a:avLst/>
                          <a:gdLst>
                            <a:gd name="connsiteX0" fmla="*/ 164553 w 165158"/>
                            <a:gd name="connsiteY0" fmla="*/ 16911 h 16283"/>
                            <a:gd name="connsiteX1" fmla="*/ 1465 w 165158"/>
                            <a:gd name="connsiteY1" fmla="*/ 16911 h 16283"/>
                            <a:gd name="connsiteX2" fmla="*/ 0 w 165158"/>
                            <a:gd name="connsiteY2" fmla="*/ 15446 h 16283"/>
                            <a:gd name="connsiteX3" fmla="*/ 0 w 165158"/>
                            <a:gd name="connsiteY3" fmla="*/ 1465 h 16283"/>
                            <a:gd name="connsiteX4" fmla="*/ 1465 w 165158"/>
                            <a:gd name="connsiteY4" fmla="*/ 0 h 16283"/>
                            <a:gd name="connsiteX5" fmla="*/ 164553 w 165158"/>
                            <a:gd name="connsiteY5" fmla="*/ 0 h 16283"/>
                            <a:gd name="connsiteX6" fmla="*/ 166019 w 165158"/>
                            <a:gd name="connsiteY6" fmla="*/ 1465 h 16283"/>
                            <a:gd name="connsiteX7" fmla="*/ 166019 w 165158"/>
                            <a:gd name="connsiteY7" fmla="*/ 15446 h 16283"/>
                            <a:gd name="connsiteX8" fmla="*/ 164553 w 165158"/>
                            <a:gd name="connsiteY8" fmla="*/ 1691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165158" h="16283">
                              <a:moveTo>
                                <a:pt x="164553" y="16911"/>
                              </a:moveTo>
                              <a:lnTo>
                                <a:pt x="1465" y="16911"/>
                              </a:lnTo>
                              <a:cubicBezTo>
                                <a:pt x="651" y="16911"/>
                                <a:pt x="0" y="16260"/>
                                <a:pt x="0" y="15446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164553" y="0"/>
                              </a:lnTo>
                              <a:cubicBezTo>
                                <a:pt x="165367" y="0"/>
                                <a:pt x="166019" y="651"/>
                                <a:pt x="166019" y="1465"/>
                              </a:cubicBezTo>
                              <a:lnTo>
                                <a:pt x="166019" y="15446"/>
                              </a:lnTo>
                              <a:cubicBezTo>
                                <a:pt x="166019" y="16260"/>
                                <a:pt x="165367" y="16911"/>
                                <a:pt x="164553" y="1691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19439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829" name="Freeform: Shape 828">
                          <a:extLst>
                            <a:ext uri="{FF2B5EF4-FFF2-40B4-BE49-F238E27FC236}">
                              <a16:creationId xmlns:a16="http://schemas.microsoft.com/office/drawing/2014/main" id="{C8C15883-EBA6-4F39-B88A-42689BDFB2F3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53371" y="4128832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830" name="Freeform: Shape 829">
                          <a:extLst>
                            <a:ext uri="{FF2B5EF4-FFF2-40B4-BE49-F238E27FC236}">
                              <a16:creationId xmlns:a16="http://schemas.microsoft.com/office/drawing/2014/main" id="{A5785A4D-405E-423D-9785-95159D6085F2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61233" y="4128832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831" name="Freeform: Shape 830">
                          <a:extLst>
                            <a:ext uri="{FF2B5EF4-FFF2-40B4-BE49-F238E27FC236}">
                              <a16:creationId xmlns:a16="http://schemas.microsoft.com/office/drawing/2014/main" id="{66EF64CE-F800-4A59-963D-F771741F81D4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69119" y="4128832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832" name="Freeform: Shape 831">
                          <a:extLst>
                            <a:ext uri="{FF2B5EF4-FFF2-40B4-BE49-F238E27FC236}">
                              <a16:creationId xmlns:a16="http://schemas.microsoft.com/office/drawing/2014/main" id="{0FDB2F22-3F53-45A6-BC5B-426296056FD1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76981" y="4128832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833" name="Freeform: Shape 832">
                          <a:extLst>
                            <a:ext uri="{FF2B5EF4-FFF2-40B4-BE49-F238E27FC236}">
                              <a16:creationId xmlns:a16="http://schemas.microsoft.com/office/drawing/2014/main" id="{AD95AE62-CE1E-4D8B-9E3A-466F0BB48D4E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84867" y="4128832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834" name="Freeform: Shape 833">
                          <a:extLst>
                            <a:ext uri="{FF2B5EF4-FFF2-40B4-BE49-F238E27FC236}">
                              <a16:creationId xmlns:a16="http://schemas.microsoft.com/office/drawing/2014/main" id="{9AE6CE9B-D40C-4D51-BA37-44AFB3B7BE2D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92753" y="4128832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835" name="Freeform: Shape 834">
                          <a:extLst>
                            <a:ext uri="{FF2B5EF4-FFF2-40B4-BE49-F238E27FC236}">
                              <a16:creationId xmlns:a16="http://schemas.microsoft.com/office/drawing/2014/main" id="{AC925ADE-C3F6-4235-BF30-B1B559B33E4D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00615" y="4128832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836" name="Freeform: Shape 835">
                          <a:extLst>
                            <a:ext uri="{FF2B5EF4-FFF2-40B4-BE49-F238E27FC236}">
                              <a16:creationId xmlns:a16="http://schemas.microsoft.com/office/drawing/2014/main" id="{77BBB406-34F2-431A-8FC4-B19B8EFD72D9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08501" y="4128832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837" name="Freeform: Shape 836">
                          <a:extLst>
                            <a:ext uri="{FF2B5EF4-FFF2-40B4-BE49-F238E27FC236}">
                              <a16:creationId xmlns:a16="http://schemas.microsoft.com/office/drawing/2014/main" id="{647E31DB-E538-4A19-81AD-3F2BEDD1A899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16363" y="4128832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838" name="Freeform: Shape 837">
                          <a:extLst>
                            <a:ext uri="{FF2B5EF4-FFF2-40B4-BE49-F238E27FC236}">
                              <a16:creationId xmlns:a16="http://schemas.microsoft.com/office/drawing/2014/main" id="{952979A5-F7FD-4E9B-9A65-48855678048B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24249" y="4128832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839" name="Freeform: Shape 838">
                          <a:extLst>
                            <a:ext uri="{FF2B5EF4-FFF2-40B4-BE49-F238E27FC236}">
                              <a16:creationId xmlns:a16="http://schemas.microsoft.com/office/drawing/2014/main" id="{975D809D-7E17-4B9E-8566-F9FD61C3B8B8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32135" y="4128832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840" name="Freeform: Shape 839">
                          <a:extLst>
                            <a:ext uri="{FF2B5EF4-FFF2-40B4-BE49-F238E27FC236}">
                              <a16:creationId xmlns:a16="http://schemas.microsoft.com/office/drawing/2014/main" id="{212C2647-CBBE-4769-A0FA-AC93BFB48614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90355" y="4128832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841" name="Freeform: Shape 840">
                          <a:extLst>
                            <a:ext uri="{FF2B5EF4-FFF2-40B4-BE49-F238E27FC236}">
                              <a16:creationId xmlns:a16="http://schemas.microsoft.com/office/drawing/2014/main" id="{70EA395A-473B-4B17-8152-A6C977196013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98240" y="4128832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842" name="Freeform: Shape 841">
                          <a:extLst>
                            <a:ext uri="{FF2B5EF4-FFF2-40B4-BE49-F238E27FC236}">
                              <a16:creationId xmlns:a16="http://schemas.microsoft.com/office/drawing/2014/main" id="{DB2341C4-1D84-4AAE-BF82-45D154012B58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06103" y="4128832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843" name="Freeform: Shape 842">
                          <a:extLst>
                            <a:ext uri="{FF2B5EF4-FFF2-40B4-BE49-F238E27FC236}">
                              <a16:creationId xmlns:a16="http://schemas.microsoft.com/office/drawing/2014/main" id="{02F65659-7CEC-4EA5-B83D-B9082C5AF733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74607" y="4128832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844" name="Freeform: Shape 843">
                          <a:extLst>
                            <a:ext uri="{FF2B5EF4-FFF2-40B4-BE49-F238E27FC236}">
                              <a16:creationId xmlns:a16="http://schemas.microsoft.com/office/drawing/2014/main" id="{01C48968-1764-452D-9510-992D57CC8F3C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82469" y="4128832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845" name="Freeform: Shape 844">
                          <a:extLst>
                            <a:ext uri="{FF2B5EF4-FFF2-40B4-BE49-F238E27FC236}">
                              <a16:creationId xmlns:a16="http://schemas.microsoft.com/office/drawing/2014/main" id="{DAAC498B-2D5A-4702-9B83-3C6C16E7689D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90355" y="4128832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846" name="Freeform: Shape 845">
                          <a:extLst>
                            <a:ext uri="{FF2B5EF4-FFF2-40B4-BE49-F238E27FC236}">
                              <a16:creationId xmlns:a16="http://schemas.microsoft.com/office/drawing/2014/main" id="{202DAE23-3049-43F6-A85B-ABEEE0EA72A9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13989" y="4128832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847" name="Freeform: Shape 846">
                          <a:extLst>
                            <a:ext uri="{FF2B5EF4-FFF2-40B4-BE49-F238E27FC236}">
                              <a16:creationId xmlns:a16="http://schemas.microsoft.com/office/drawing/2014/main" id="{9234F89D-D9D8-43E6-91DB-A91D6AB71FA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21851" y="4128832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848" name="Freeform: Shape 847">
                          <a:extLst>
                            <a:ext uri="{FF2B5EF4-FFF2-40B4-BE49-F238E27FC236}">
                              <a16:creationId xmlns:a16="http://schemas.microsoft.com/office/drawing/2014/main" id="{3C694DEA-6CEA-4738-B64C-B4E1E6B5093C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29737" y="4128832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849" name="Freeform: Shape 848">
                          <a:extLst>
                            <a:ext uri="{FF2B5EF4-FFF2-40B4-BE49-F238E27FC236}">
                              <a16:creationId xmlns:a16="http://schemas.microsoft.com/office/drawing/2014/main" id="{4E3E48FB-8D6C-4119-9705-403119A4B72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37623" y="4128832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850" name="Freeform: Shape 849">
                          <a:extLst>
                            <a:ext uri="{FF2B5EF4-FFF2-40B4-BE49-F238E27FC236}">
                              <a16:creationId xmlns:a16="http://schemas.microsoft.com/office/drawing/2014/main" id="{3F88C5EF-E2B5-42B5-AD50-BDBA467942F8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45485" y="4128832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</p:grpSp>
                  <p:grpSp>
                    <p:nvGrpSpPr>
                      <p:cNvPr id="851" name="Graphic 174">
                        <a:extLst>
                          <a:ext uri="{FF2B5EF4-FFF2-40B4-BE49-F238E27FC236}">
                            <a16:creationId xmlns:a16="http://schemas.microsoft.com/office/drawing/2014/main" id="{4045A780-E4ED-4946-BB38-1D6737CA17D1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6576770" y="4094335"/>
                        <a:ext cx="165158" cy="16283"/>
                        <a:chOff x="6576770" y="4094335"/>
                        <a:chExt cx="165158" cy="16283"/>
                      </a:xfrm>
                      <a:solidFill>
                        <a:schemeClr val="accent1"/>
                      </a:solidFill>
                    </p:grpSpPr>
                    <p:sp>
                      <p:nvSpPr>
                        <p:cNvPr id="852" name="Freeform: Shape 851">
                          <a:extLst>
                            <a:ext uri="{FF2B5EF4-FFF2-40B4-BE49-F238E27FC236}">
                              <a16:creationId xmlns:a16="http://schemas.microsoft.com/office/drawing/2014/main" id="{11D9CE4D-1C37-4C05-B97B-64051D66AE64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76770" y="4094335"/>
                          <a:ext cx="165158" cy="16283"/>
                        </a:xfrm>
                        <a:custGeom>
                          <a:avLst/>
                          <a:gdLst>
                            <a:gd name="connsiteX0" fmla="*/ 164553 w 165158"/>
                            <a:gd name="connsiteY0" fmla="*/ 16911 h 16283"/>
                            <a:gd name="connsiteX1" fmla="*/ 1465 w 165158"/>
                            <a:gd name="connsiteY1" fmla="*/ 16911 h 16283"/>
                            <a:gd name="connsiteX2" fmla="*/ 0 w 165158"/>
                            <a:gd name="connsiteY2" fmla="*/ 15446 h 16283"/>
                            <a:gd name="connsiteX3" fmla="*/ 0 w 165158"/>
                            <a:gd name="connsiteY3" fmla="*/ 1465 h 16283"/>
                            <a:gd name="connsiteX4" fmla="*/ 1465 w 165158"/>
                            <a:gd name="connsiteY4" fmla="*/ 0 h 16283"/>
                            <a:gd name="connsiteX5" fmla="*/ 164553 w 165158"/>
                            <a:gd name="connsiteY5" fmla="*/ 0 h 16283"/>
                            <a:gd name="connsiteX6" fmla="*/ 166019 w 165158"/>
                            <a:gd name="connsiteY6" fmla="*/ 1465 h 16283"/>
                            <a:gd name="connsiteX7" fmla="*/ 166019 w 165158"/>
                            <a:gd name="connsiteY7" fmla="*/ 15446 h 16283"/>
                            <a:gd name="connsiteX8" fmla="*/ 164553 w 165158"/>
                            <a:gd name="connsiteY8" fmla="*/ 1691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165158" h="16283">
                              <a:moveTo>
                                <a:pt x="164553" y="16911"/>
                              </a:moveTo>
                              <a:lnTo>
                                <a:pt x="1465" y="16911"/>
                              </a:lnTo>
                              <a:cubicBezTo>
                                <a:pt x="651" y="16911"/>
                                <a:pt x="0" y="16260"/>
                                <a:pt x="0" y="15446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164553" y="0"/>
                              </a:lnTo>
                              <a:cubicBezTo>
                                <a:pt x="165367" y="0"/>
                                <a:pt x="166019" y="651"/>
                                <a:pt x="166019" y="1465"/>
                              </a:cubicBezTo>
                              <a:lnTo>
                                <a:pt x="166019" y="15446"/>
                              </a:lnTo>
                              <a:cubicBezTo>
                                <a:pt x="165996" y="16260"/>
                                <a:pt x="165344" y="16911"/>
                                <a:pt x="164553" y="1691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19439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853" name="Freeform: Shape 852">
                          <a:extLst>
                            <a:ext uri="{FF2B5EF4-FFF2-40B4-BE49-F238E27FC236}">
                              <a16:creationId xmlns:a16="http://schemas.microsoft.com/office/drawing/2014/main" id="{F1C74986-EE74-461A-AC7D-0976AE04595E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56558" y="4095056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854" name="Freeform: Shape 853">
                          <a:extLst>
                            <a:ext uri="{FF2B5EF4-FFF2-40B4-BE49-F238E27FC236}">
                              <a16:creationId xmlns:a16="http://schemas.microsoft.com/office/drawing/2014/main" id="{AE2F0AB4-9C08-4613-9B65-DEEAAEC17C1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64443" y="4095056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855" name="Freeform: Shape 854">
                          <a:extLst>
                            <a:ext uri="{FF2B5EF4-FFF2-40B4-BE49-F238E27FC236}">
                              <a16:creationId xmlns:a16="http://schemas.microsoft.com/office/drawing/2014/main" id="{E3B59D60-8DC9-4770-A0D0-78089E1E9B0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72329" y="4095056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856" name="Freeform: Shape 855">
                          <a:extLst>
                            <a:ext uri="{FF2B5EF4-FFF2-40B4-BE49-F238E27FC236}">
                              <a16:creationId xmlns:a16="http://schemas.microsoft.com/office/drawing/2014/main" id="{03D342E6-EEBF-4D76-9006-0BF865CC7D88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80191" y="4095056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857" name="Freeform: Shape 856">
                          <a:extLst>
                            <a:ext uri="{FF2B5EF4-FFF2-40B4-BE49-F238E27FC236}">
                              <a16:creationId xmlns:a16="http://schemas.microsoft.com/office/drawing/2014/main" id="{01E0F5A2-8653-43CA-8350-2AAD82A2E9FE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88077" y="4095056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858" name="Freeform: Shape 857">
                          <a:extLst>
                            <a:ext uri="{FF2B5EF4-FFF2-40B4-BE49-F238E27FC236}">
                              <a16:creationId xmlns:a16="http://schemas.microsoft.com/office/drawing/2014/main" id="{580D4C54-A0E0-4FD2-B0E5-DD970A3CDD54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95940" y="4095056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859" name="Freeform: Shape 858">
                          <a:extLst>
                            <a:ext uri="{FF2B5EF4-FFF2-40B4-BE49-F238E27FC236}">
                              <a16:creationId xmlns:a16="http://schemas.microsoft.com/office/drawing/2014/main" id="{148BB214-9D55-4599-93A6-58FDE11FC8DD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03825" y="4095056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860" name="Freeform: Shape 859">
                          <a:extLst>
                            <a:ext uri="{FF2B5EF4-FFF2-40B4-BE49-F238E27FC236}">
                              <a16:creationId xmlns:a16="http://schemas.microsoft.com/office/drawing/2014/main" id="{D9A11E92-7ED6-41A1-8D27-1025BBC81822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11688" y="4095056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861" name="Freeform: Shape 860">
                          <a:extLst>
                            <a:ext uri="{FF2B5EF4-FFF2-40B4-BE49-F238E27FC236}">
                              <a16:creationId xmlns:a16="http://schemas.microsoft.com/office/drawing/2014/main" id="{20D5A952-7A7A-4A40-B04F-7CB5571398A1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19574" y="4095056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862" name="Freeform: Shape 861">
                          <a:extLst>
                            <a:ext uri="{FF2B5EF4-FFF2-40B4-BE49-F238E27FC236}">
                              <a16:creationId xmlns:a16="http://schemas.microsoft.com/office/drawing/2014/main" id="{FE1C31F2-F9DC-4D7B-970D-8C8DD2ADDFF5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27459" y="4095056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863" name="Freeform: Shape 862">
                          <a:extLst>
                            <a:ext uri="{FF2B5EF4-FFF2-40B4-BE49-F238E27FC236}">
                              <a16:creationId xmlns:a16="http://schemas.microsoft.com/office/drawing/2014/main" id="{C6268987-A14F-4B20-B866-E977FDF7C3B5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35322" y="4095056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864" name="Freeform: Shape 863">
                          <a:extLst>
                            <a:ext uri="{FF2B5EF4-FFF2-40B4-BE49-F238E27FC236}">
                              <a16:creationId xmlns:a16="http://schemas.microsoft.com/office/drawing/2014/main" id="{B78A6185-89FD-49EA-AF72-325395368CBE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93565" y="4095056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865" name="Freeform: Shape 864">
                          <a:extLst>
                            <a:ext uri="{FF2B5EF4-FFF2-40B4-BE49-F238E27FC236}">
                              <a16:creationId xmlns:a16="http://schemas.microsoft.com/office/drawing/2014/main" id="{54295DA7-E1C6-44A1-857B-8DF44D97AC92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01427" y="4095056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866" name="Freeform: Shape 865">
                          <a:extLst>
                            <a:ext uri="{FF2B5EF4-FFF2-40B4-BE49-F238E27FC236}">
                              <a16:creationId xmlns:a16="http://schemas.microsoft.com/office/drawing/2014/main" id="{AC2AB701-7B32-42FE-A6FE-315DDABCF6D1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09313" y="4095056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867" name="Freeform: Shape 866">
                          <a:extLst>
                            <a:ext uri="{FF2B5EF4-FFF2-40B4-BE49-F238E27FC236}">
                              <a16:creationId xmlns:a16="http://schemas.microsoft.com/office/drawing/2014/main" id="{5C5D4FF2-652B-47DA-B513-87F44DB7F42A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77817" y="4095056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868" name="Freeform: Shape 867">
                          <a:extLst>
                            <a:ext uri="{FF2B5EF4-FFF2-40B4-BE49-F238E27FC236}">
                              <a16:creationId xmlns:a16="http://schemas.microsoft.com/office/drawing/2014/main" id="{22AF3466-AD68-427D-A9A5-A4941877E46D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85679" y="4095056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869" name="Freeform: Shape 868">
                          <a:extLst>
                            <a:ext uri="{FF2B5EF4-FFF2-40B4-BE49-F238E27FC236}">
                              <a16:creationId xmlns:a16="http://schemas.microsoft.com/office/drawing/2014/main" id="{77DB5E77-E585-4275-8352-2B6A5149D7A0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93565" y="4095056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870" name="Freeform: Shape 869">
                          <a:extLst>
                            <a:ext uri="{FF2B5EF4-FFF2-40B4-BE49-F238E27FC236}">
                              <a16:creationId xmlns:a16="http://schemas.microsoft.com/office/drawing/2014/main" id="{53E883A7-18C6-4C29-8493-6BB5E5D169F7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17176" y="4095056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871" name="Freeform: Shape 870">
                          <a:extLst>
                            <a:ext uri="{FF2B5EF4-FFF2-40B4-BE49-F238E27FC236}">
                              <a16:creationId xmlns:a16="http://schemas.microsoft.com/office/drawing/2014/main" id="{20B83C12-870D-4AFD-A900-3E5112D784B7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25061" y="4095056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872" name="Freeform: Shape 871">
                          <a:extLst>
                            <a:ext uri="{FF2B5EF4-FFF2-40B4-BE49-F238E27FC236}">
                              <a16:creationId xmlns:a16="http://schemas.microsoft.com/office/drawing/2014/main" id="{8F74F0CB-E91C-4600-AEA5-F66CCEBA4021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32947" y="4095056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873" name="Freeform: Shape 872">
                          <a:extLst>
                            <a:ext uri="{FF2B5EF4-FFF2-40B4-BE49-F238E27FC236}">
                              <a16:creationId xmlns:a16="http://schemas.microsoft.com/office/drawing/2014/main" id="{5CBF1345-5ECB-42C0-85BD-91E72158B0A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40809" y="4095056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874" name="Freeform: Shape 873">
                          <a:extLst>
                            <a:ext uri="{FF2B5EF4-FFF2-40B4-BE49-F238E27FC236}">
                              <a16:creationId xmlns:a16="http://schemas.microsoft.com/office/drawing/2014/main" id="{8996077A-65BE-4E92-A3D2-7C3D4EF6481E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48695" y="4095056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</p:grpSp>
                  <p:grpSp>
                    <p:nvGrpSpPr>
                      <p:cNvPr id="875" name="Graphic 174">
                        <a:extLst>
                          <a:ext uri="{FF2B5EF4-FFF2-40B4-BE49-F238E27FC236}">
                            <a16:creationId xmlns:a16="http://schemas.microsoft.com/office/drawing/2014/main" id="{4045A780-E4ED-4946-BB38-1D6737CA17D1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6581446" y="4077447"/>
                        <a:ext cx="165158" cy="16283"/>
                        <a:chOff x="6581446" y="4077447"/>
                        <a:chExt cx="165158" cy="16283"/>
                      </a:xfrm>
                      <a:solidFill>
                        <a:schemeClr val="accent1"/>
                      </a:solidFill>
                    </p:grpSpPr>
                    <p:sp>
                      <p:nvSpPr>
                        <p:cNvPr id="876" name="Freeform: Shape 875">
                          <a:extLst>
                            <a:ext uri="{FF2B5EF4-FFF2-40B4-BE49-F238E27FC236}">
                              <a16:creationId xmlns:a16="http://schemas.microsoft.com/office/drawing/2014/main" id="{FB5EA220-4B3E-41AD-87D1-1F2B41EDDE74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81446" y="4077447"/>
                          <a:ext cx="165158" cy="16283"/>
                        </a:xfrm>
                        <a:custGeom>
                          <a:avLst/>
                          <a:gdLst>
                            <a:gd name="connsiteX0" fmla="*/ 164553 w 165158"/>
                            <a:gd name="connsiteY0" fmla="*/ 16911 h 16283"/>
                            <a:gd name="connsiteX1" fmla="*/ 1465 w 165158"/>
                            <a:gd name="connsiteY1" fmla="*/ 16911 h 16283"/>
                            <a:gd name="connsiteX2" fmla="*/ 0 w 165158"/>
                            <a:gd name="connsiteY2" fmla="*/ 15446 h 16283"/>
                            <a:gd name="connsiteX3" fmla="*/ 0 w 165158"/>
                            <a:gd name="connsiteY3" fmla="*/ 1465 h 16283"/>
                            <a:gd name="connsiteX4" fmla="*/ 1465 w 165158"/>
                            <a:gd name="connsiteY4" fmla="*/ 0 h 16283"/>
                            <a:gd name="connsiteX5" fmla="*/ 164553 w 165158"/>
                            <a:gd name="connsiteY5" fmla="*/ 0 h 16283"/>
                            <a:gd name="connsiteX6" fmla="*/ 166019 w 165158"/>
                            <a:gd name="connsiteY6" fmla="*/ 1465 h 16283"/>
                            <a:gd name="connsiteX7" fmla="*/ 166019 w 165158"/>
                            <a:gd name="connsiteY7" fmla="*/ 15446 h 16283"/>
                            <a:gd name="connsiteX8" fmla="*/ 164553 w 165158"/>
                            <a:gd name="connsiteY8" fmla="*/ 1691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165158" h="16283">
                              <a:moveTo>
                                <a:pt x="164553" y="16911"/>
                              </a:moveTo>
                              <a:lnTo>
                                <a:pt x="1465" y="16911"/>
                              </a:lnTo>
                              <a:cubicBezTo>
                                <a:pt x="651" y="16911"/>
                                <a:pt x="0" y="16260"/>
                                <a:pt x="0" y="15446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164553" y="0"/>
                              </a:lnTo>
                              <a:cubicBezTo>
                                <a:pt x="165368" y="0"/>
                                <a:pt x="166019" y="651"/>
                                <a:pt x="166019" y="1465"/>
                              </a:cubicBezTo>
                              <a:lnTo>
                                <a:pt x="166019" y="15446"/>
                              </a:lnTo>
                              <a:cubicBezTo>
                                <a:pt x="165996" y="16260"/>
                                <a:pt x="165344" y="16911"/>
                                <a:pt x="164553" y="1691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19439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877" name="Freeform: Shape 876">
                          <a:extLst>
                            <a:ext uri="{FF2B5EF4-FFF2-40B4-BE49-F238E27FC236}">
                              <a16:creationId xmlns:a16="http://schemas.microsoft.com/office/drawing/2014/main" id="{07C590E1-1947-4B9D-921C-BDEE54AFE12C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61233" y="4078145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878" name="Freeform: Shape 877">
                          <a:extLst>
                            <a:ext uri="{FF2B5EF4-FFF2-40B4-BE49-F238E27FC236}">
                              <a16:creationId xmlns:a16="http://schemas.microsoft.com/office/drawing/2014/main" id="{59A7438B-49B0-47A1-B8AC-0EB11BF3D231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69119" y="4078145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879" name="Freeform: Shape 878">
                          <a:extLst>
                            <a:ext uri="{FF2B5EF4-FFF2-40B4-BE49-F238E27FC236}">
                              <a16:creationId xmlns:a16="http://schemas.microsoft.com/office/drawing/2014/main" id="{7D1A4135-F412-484B-9287-260AB2D54232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76981" y="4078145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880" name="Freeform: Shape 879">
                          <a:extLst>
                            <a:ext uri="{FF2B5EF4-FFF2-40B4-BE49-F238E27FC236}">
                              <a16:creationId xmlns:a16="http://schemas.microsoft.com/office/drawing/2014/main" id="{43EA9007-E3CD-4CBE-9CDA-8324AAA5DB95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84867" y="4078145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881" name="Freeform: Shape 880">
                          <a:extLst>
                            <a:ext uri="{FF2B5EF4-FFF2-40B4-BE49-F238E27FC236}">
                              <a16:creationId xmlns:a16="http://schemas.microsoft.com/office/drawing/2014/main" id="{D3D3CF92-47CE-4D3A-B5FE-4D32CB727FD4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92753" y="4078145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882" name="Freeform: Shape 881">
                          <a:extLst>
                            <a:ext uri="{FF2B5EF4-FFF2-40B4-BE49-F238E27FC236}">
                              <a16:creationId xmlns:a16="http://schemas.microsoft.com/office/drawing/2014/main" id="{41A5959C-1CFA-465D-9FB7-C225D1AAEDD7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00615" y="4078145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883" name="Freeform: Shape 882">
                          <a:extLst>
                            <a:ext uri="{FF2B5EF4-FFF2-40B4-BE49-F238E27FC236}">
                              <a16:creationId xmlns:a16="http://schemas.microsoft.com/office/drawing/2014/main" id="{C4490D5B-6196-4FE1-8A32-88EA3931A940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08501" y="4078145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884" name="Freeform: Shape 883">
                          <a:extLst>
                            <a:ext uri="{FF2B5EF4-FFF2-40B4-BE49-F238E27FC236}">
                              <a16:creationId xmlns:a16="http://schemas.microsoft.com/office/drawing/2014/main" id="{AB488C46-7376-4375-A0CB-9F5F060D1C60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16363" y="4078145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885" name="Freeform: Shape 884">
                          <a:extLst>
                            <a:ext uri="{FF2B5EF4-FFF2-40B4-BE49-F238E27FC236}">
                              <a16:creationId xmlns:a16="http://schemas.microsoft.com/office/drawing/2014/main" id="{F981D491-9460-4A71-8FE0-F31CD1E471D0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24249" y="4078145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886" name="Freeform: Shape 885">
                          <a:extLst>
                            <a:ext uri="{FF2B5EF4-FFF2-40B4-BE49-F238E27FC236}">
                              <a16:creationId xmlns:a16="http://schemas.microsoft.com/office/drawing/2014/main" id="{E1E5E478-ACE0-4DF8-A953-345F1DEA9E8D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32135" y="4078145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887" name="Freeform: Shape 886">
                          <a:extLst>
                            <a:ext uri="{FF2B5EF4-FFF2-40B4-BE49-F238E27FC236}">
                              <a16:creationId xmlns:a16="http://schemas.microsoft.com/office/drawing/2014/main" id="{70FC6DB9-6A87-4215-A031-D7E5DB5883CA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39997" y="4078145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888" name="Freeform: Shape 887">
                          <a:extLst>
                            <a:ext uri="{FF2B5EF4-FFF2-40B4-BE49-F238E27FC236}">
                              <a16:creationId xmlns:a16="http://schemas.microsoft.com/office/drawing/2014/main" id="{FA4AED8E-8D61-4A48-A832-73D92EB421B9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98240" y="4078145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889" name="Freeform: Shape 888">
                          <a:extLst>
                            <a:ext uri="{FF2B5EF4-FFF2-40B4-BE49-F238E27FC236}">
                              <a16:creationId xmlns:a16="http://schemas.microsoft.com/office/drawing/2014/main" id="{99F24BD4-0F60-4FFA-9AC1-BCA72700AC83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06103" y="4078145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890" name="Freeform: Shape 889">
                          <a:extLst>
                            <a:ext uri="{FF2B5EF4-FFF2-40B4-BE49-F238E27FC236}">
                              <a16:creationId xmlns:a16="http://schemas.microsoft.com/office/drawing/2014/main" id="{F08782D7-91C3-4342-8F37-1A4FE6B98BC0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13989" y="4078145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891" name="Freeform: Shape 890">
                          <a:extLst>
                            <a:ext uri="{FF2B5EF4-FFF2-40B4-BE49-F238E27FC236}">
                              <a16:creationId xmlns:a16="http://schemas.microsoft.com/office/drawing/2014/main" id="{2CE69511-C409-4816-B11D-06EDCA2852D5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82469" y="4078145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892" name="Freeform: Shape 891">
                          <a:extLst>
                            <a:ext uri="{FF2B5EF4-FFF2-40B4-BE49-F238E27FC236}">
                              <a16:creationId xmlns:a16="http://schemas.microsoft.com/office/drawing/2014/main" id="{C60BDC5A-7FBE-4A0A-A42F-E4C74FF71230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90355" y="4078145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893" name="Freeform: Shape 892">
                          <a:extLst>
                            <a:ext uri="{FF2B5EF4-FFF2-40B4-BE49-F238E27FC236}">
                              <a16:creationId xmlns:a16="http://schemas.microsoft.com/office/drawing/2014/main" id="{120CADFD-A70F-4155-B323-44224FB9151E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98240" y="4078145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894" name="Freeform: Shape 893">
                          <a:extLst>
                            <a:ext uri="{FF2B5EF4-FFF2-40B4-BE49-F238E27FC236}">
                              <a16:creationId xmlns:a16="http://schemas.microsoft.com/office/drawing/2014/main" id="{AADD2826-BE85-4B48-BEDC-0C2C6BD04993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21851" y="4078145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895" name="Freeform: Shape 894">
                          <a:extLst>
                            <a:ext uri="{FF2B5EF4-FFF2-40B4-BE49-F238E27FC236}">
                              <a16:creationId xmlns:a16="http://schemas.microsoft.com/office/drawing/2014/main" id="{F53ADB7A-4D88-4E06-AC4B-FAF060C20C5D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29737" y="4078145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896" name="Freeform: Shape 895">
                          <a:extLst>
                            <a:ext uri="{FF2B5EF4-FFF2-40B4-BE49-F238E27FC236}">
                              <a16:creationId xmlns:a16="http://schemas.microsoft.com/office/drawing/2014/main" id="{871E597B-81B8-493A-8D9A-5901BCE352AE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37623" y="4078145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897" name="Freeform: Shape 896">
                          <a:extLst>
                            <a:ext uri="{FF2B5EF4-FFF2-40B4-BE49-F238E27FC236}">
                              <a16:creationId xmlns:a16="http://schemas.microsoft.com/office/drawing/2014/main" id="{393C15CB-D4DA-4302-90C0-BB9608D25F38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45485" y="4078145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898" name="Freeform: Shape 897">
                          <a:extLst>
                            <a:ext uri="{FF2B5EF4-FFF2-40B4-BE49-F238E27FC236}">
                              <a16:creationId xmlns:a16="http://schemas.microsoft.com/office/drawing/2014/main" id="{EA0A4DDC-E353-4735-8448-3C808F6A15A7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53371" y="4078145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</p:grpSp>
                  <p:grpSp>
                    <p:nvGrpSpPr>
                      <p:cNvPr id="899" name="Graphic 174">
                        <a:extLst>
                          <a:ext uri="{FF2B5EF4-FFF2-40B4-BE49-F238E27FC236}">
                            <a16:creationId xmlns:a16="http://schemas.microsoft.com/office/drawing/2014/main" id="{4045A780-E4ED-4946-BB38-1D6737CA17D1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6573560" y="4060559"/>
                        <a:ext cx="165158" cy="16283"/>
                        <a:chOff x="6573560" y="4060559"/>
                        <a:chExt cx="165158" cy="16283"/>
                      </a:xfrm>
                      <a:solidFill>
                        <a:schemeClr val="accent1"/>
                      </a:solidFill>
                    </p:grpSpPr>
                    <p:sp>
                      <p:nvSpPr>
                        <p:cNvPr id="900" name="Freeform: Shape 899">
                          <a:extLst>
                            <a:ext uri="{FF2B5EF4-FFF2-40B4-BE49-F238E27FC236}">
                              <a16:creationId xmlns:a16="http://schemas.microsoft.com/office/drawing/2014/main" id="{A31E3D1A-6846-4E0A-A7B5-282AFADA9030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73560" y="4060559"/>
                          <a:ext cx="165158" cy="16283"/>
                        </a:xfrm>
                        <a:custGeom>
                          <a:avLst/>
                          <a:gdLst>
                            <a:gd name="connsiteX0" fmla="*/ 164553 w 165158"/>
                            <a:gd name="connsiteY0" fmla="*/ 16911 h 16283"/>
                            <a:gd name="connsiteX1" fmla="*/ 1465 w 165158"/>
                            <a:gd name="connsiteY1" fmla="*/ 16911 h 16283"/>
                            <a:gd name="connsiteX2" fmla="*/ 0 w 165158"/>
                            <a:gd name="connsiteY2" fmla="*/ 15446 h 16283"/>
                            <a:gd name="connsiteX3" fmla="*/ 0 w 165158"/>
                            <a:gd name="connsiteY3" fmla="*/ 1465 h 16283"/>
                            <a:gd name="connsiteX4" fmla="*/ 1465 w 165158"/>
                            <a:gd name="connsiteY4" fmla="*/ 0 h 16283"/>
                            <a:gd name="connsiteX5" fmla="*/ 164553 w 165158"/>
                            <a:gd name="connsiteY5" fmla="*/ 0 h 16283"/>
                            <a:gd name="connsiteX6" fmla="*/ 166019 w 165158"/>
                            <a:gd name="connsiteY6" fmla="*/ 1465 h 16283"/>
                            <a:gd name="connsiteX7" fmla="*/ 166019 w 165158"/>
                            <a:gd name="connsiteY7" fmla="*/ 15446 h 16283"/>
                            <a:gd name="connsiteX8" fmla="*/ 164553 w 165158"/>
                            <a:gd name="connsiteY8" fmla="*/ 1691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165158" h="16283">
                              <a:moveTo>
                                <a:pt x="164553" y="16911"/>
                              </a:moveTo>
                              <a:lnTo>
                                <a:pt x="1465" y="16911"/>
                              </a:lnTo>
                              <a:cubicBezTo>
                                <a:pt x="651" y="16911"/>
                                <a:pt x="0" y="16260"/>
                                <a:pt x="0" y="15446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164553" y="0"/>
                              </a:lnTo>
                              <a:cubicBezTo>
                                <a:pt x="165367" y="0"/>
                                <a:pt x="166019" y="651"/>
                                <a:pt x="166019" y="1465"/>
                              </a:cubicBezTo>
                              <a:lnTo>
                                <a:pt x="166019" y="15446"/>
                              </a:lnTo>
                              <a:cubicBezTo>
                                <a:pt x="166019" y="16260"/>
                                <a:pt x="165367" y="16911"/>
                                <a:pt x="164553" y="1691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19439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901" name="Freeform: Shape 900">
                          <a:extLst>
                            <a:ext uri="{FF2B5EF4-FFF2-40B4-BE49-F238E27FC236}">
                              <a16:creationId xmlns:a16="http://schemas.microsoft.com/office/drawing/2014/main" id="{64236654-9048-4387-80D7-589F46F24311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53371" y="4061257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902" name="Freeform: Shape 901">
                          <a:extLst>
                            <a:ext uri="{FF2B5EF4-FFF2-40B4-BE49-F238E27FC236}">
                              <a16:creationId xmlns:a16="http://schemas.microsoft.com/office/drawing/2014/main" id="{50F3DB76-2B85-4375-840D-FD3A01F19079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61233" y="4061257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903" name="Freeform: Shape 902">
                          <a:extLst>
                            <a:ext uri="{FF2B5EF4-FFF2-40B4-BE49-F238E27FC236}">
                              <a16:creationId xmlns:a16="http://schemas.microsoft.com/office/drawing/2014/main" id="{67DB3081-1272-4729-B0D3-7684539C7933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69119" y="4061257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904" name="Freeform: Shape 903">
                          <a:extLst>
                            <a:ext uri="{FF2B5EF4-FFF2-40B4-BE49-F238E27FC236}">
                              <a16:creationId xmlns:a16="http://schemas.microsoft.com/office/drawing/2014/main" id="{BA2EC55A-BAE4-4658-8B0B-389A9FFBA5A6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76981" y="4061257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905" name="Freeform: Shape 904">
                          <a:extLst>
                            <a:ext uri="{FF2B5EF4-FFF2-40B4-BE49-F238E27FC236}">
                              <a16:creationId xmlns:a16="http://schemas.microsoft.com/office/drawing/2014/main" id="{6446A750-26C0-4B7E-A2A9-58D56090BF9D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84867" y="4061257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906" name="Freeform: Shape 905">
                          <a:extLst>
                            <a:ext uri="{FF2B5EF4-FFF2-40B4-BE49-F238E27FC236}">
                              <a16:creationId xmlns:a16="http://schemas.microsoft.com/office/drawing/2014/main" id="{C27E7CEC-FDC3-4A31-B6F4-B5FECC0C1087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92753" y="4061257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907" name="Freeform: Shape 906">
                          <a:extLst>
                            <a:ext uri="{FF2B5EF4-FFF2-40B4-BE49-F238E27FC236}">
                              <a16:creationId xmlns:a16="http://schemas.microsoft.com/office/drawing/2014/main" id="{7DE8CFBA-CEB6-47F0-98F9-154D06B18CBB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00615" y="4061257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908" name="Freeform: Shape 907">
                          <a:extLst>
                            <a:ext uri="{FF2B5EF4-FFF2-40B4-BE49-F238E27FC236}">
                              <a16:creationId xmlns:a16="http://schemas.microsoft.com/office/drawing/2014/main" id="{AA1EDE69-9748-4BD3-8EB9-2959D01CA21E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08501" y="4061257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909" name="Freeform: Shape 908">
                          <a:extLst>
                            <a:ext uri="{FF2B5EF4-FFF2-40B4-BE49-F238E27FC236}">
                              <a16:creationId xmlns:a16="http://schemas.microsoft.com/office/drawing/2014/main" id="{7A5CA661-76DA-4F94-BD10-D1D1A175C23D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16363" y="4061257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910" name="Freeform: Shape 909">
                          <a:extLst>
                            <a:ext uri="{FF2B5EF4-FFF2-40B4-BE49-F238E27FC236}">
                              <a16:creationId xmlns:a16="http://schemas.microsoft.com/office/drawing/2014/main" id="{FDA8F7D4-EC26-4E40-95A2-8253B56DE69E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24249" y="4061257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911" name="Freeform: Shape 910">
                          <a:extLst>
                            <a:ext uri="{FF2B5EF4-FFF2-40B4-BE49-F238E27FC236}">
                              <a16:creationId xmlns:a16="http://schemas.microsoft.com/office/drawing/2014/main" id="{CA370A73-3BC3-4C74-B6CD-823036B20800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32135" y="4061257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912" name="Freeform: Shape 911">
                          <a:extLst>
                            <a:ext uri="{FF2B5EF4-FFF2-40B4-BE49-F238E27FC236}">
                              <a16:creationId xmlns:a16="http://schemas.microsoft.com/office/drawing/2014/main" id="{D95C9A29-5159-43BB-A85F-FC2C0E48668D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90355" y="4061257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913" name="Freeform: Shape 912">
                          <a:extLst>
                            <a:ext uri="{FF2B5EF4-FFF2-40B4-BE49-F238E27FC236}">
                              <a16:creationId xmlns:a16="http://schemas.microsoft.com/office/drawing/2014/main" id="{9EF9DCAE-9CF0-48F1-B5C2-9B183B24A392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98240" y="4061257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914" name="Freeform: Shape 913">
                          <a:extLst>
                            <a:ext uri="{FF2B5EF4-FFF2-40B4-BE49-F238E27FC236}">
                              <a16:creationId xmlns:a16="http://schemas.microsoft.com/office/drawing/2014/main" id="{E3472FB0-7775-4C71-80B7-A50FCF7B1018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06103" y="4061257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915" name="Freeform: Shape 914">
                          <a:extLst>
                            <a:ext uri="{FF2B5EF4-FFF2-40B4-BE49-F238E27FC236}">
                              <a16:creationId xmlns:a16="http://schemas.microsoft.com/office/drawing/2014/main" id="{F3A9C971-7BA7-4AC9-8FF6-662399A7CA71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74607" y="4061257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916" name="Freeform: Shape 915">
                          <a:extLst>
                            <a:ext uri="{FF2B5EF4-FFF2-40B4-BE49-F238E27FC236}">
                              <a16:creationId xmlns:a16="http://schemas.microsoft.com/office/drawing/2014/main" id="{DC30EDF1-3623-4E7A-B046-F07BA91F5275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82469" y="4061257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917" name="Freeform: Shape 916">
                          <a:extLst>
                            <a:ext uri="{FF2B5EF4-FFF2-40B4-BE49-F238E27FC236}">
                              <a16:creationId xmlns:a16="http://schemas.microsoft.com/office/drawing/2014/main" id="{93C12D89-BB87-4295-8A8C-034D2C5EC99A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90355" y="4061257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918" name="Freeform: Shape 917">
                          <a:extLst>
                            <a:ext uri="{FF2B5EF4-FFF2-40B4-BE49-F238E27FC236}">
                              <a16:creationId xmlns:a16="http://schemas.microsoft.com/office/drawing/2014/main" id="{862639F3-36F5-4903-AABB-1E4AC69C1E4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13989" y="4061257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919" name="Freeform: Shape 918">
                          <a:extLst>
                            <a:ext uri="{FF2B5EF4-FFF2-40B4-BE49-F238E27FC236}">
                              <a16:creationId xmlns:a16="http://schemas.microsoft.com/office/drawing/2014/main" id="{2095D5CA-D83A-4551-A647-709471A315B9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21851" y="4061257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920" name="Freeform: Shape 919">
                          <a:extLst>
                            <a:ext uri="{FF2B5EF4-FFF2-40B4-BE49-F238E27FC236}">
                              <a16:creationId xmlns:a16="http://schemas.microsoft.com/office/drawing/2014/main" id="{2D9E60A4-F497-40CD-98F9-344D861EB436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29737" y="4061257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921" name="Freeform: Shape 920">
                          <a:extLst>
                            <a:ext uri="{FF2B5EF4-FFF2-40B4-BE49-F238E27FC236}">
                              <a16:creationId xmlns:a16="http://schemas.microsoft.com/office/drawing/2014/main" id="{6631D525-6544-481C-9D74-03DEA367AAF8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37623" y="4061257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922" name="Freeform: Shape 921">
                          <a:extLst>
                            <a:ext uri="{FF2B5EF4-FFF2-40B4-BE49-F238E27FC236}">
                              <a16:creationId xmlns:a16="http://schemas.microsoft.com/office/drawing/2014/main" id="{79A4D68F-1026-4121-815B-A264C351BB8A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45485" y="4061257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</p:grpSp>
                  <p:grpSp>
                    <p:nvGrpSpPr>
                      <p:cNvPr id="923" name="Graphic 174">
                        <a:extLst>
                          <a:ext uri="{FF2B5EF4-FFF2-40B4-BE49-F238E27FC236}">
                            <a16:creationId xmlns:a16="http://schemas.microsoft.com/office/drawing/2014/main" id="{4045A780-E4ED-4946-BB38-1D6737CA17D1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6581446" y="4043648"/>
                        <a:ext cx="165158" cy="16283"/>
                        <a:chOff x="6581446" y="4043648"/>
                        <a:chExt cx="165158" cy="16283"/>
                      </a:xfrm>
                      <a:solidFill>
                        <a:schemeClr val="accent1"/>
                      </a:solidFill>
                    </p:grpSpPr>
                    <p:sp>
                      <p:nvSpPr>
                        <p:cNvPr id="924" name="Freeform: Shape 923">
                          <a:extLst>
                            <a:ext uri="{FF2B5EF4-FFF2-40B4-BE49-F238E27FC236}">
                              <a16:creationId xmlns:a16="http://schemas.microsoft.com/office/drawing/2014/main" id="{A4F348C4-696E-4851-8ACB-71C78FBF45E6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81446" y="4043648"/>
                          <a:ext cx="165158" cy="16283"/>
                        </a:xfrm>
                        <a:custGeom>
                          <a:avLst/>
                          <a:gdLst>
                            <a:gd name="connsiteX0" fmla="*/ 164553 w 165158"/>
                            <a:gd name="connsiteY0" fmla="*/ 16911 h 16283"/>
                            <a:gd name="connsiteX1" fmla="*/ 1465 w 165158"/>
                            <a:gd name="connsiteY1" fmla="*/ 16911 h 16283"/>
                            <a:gd name="connsiteX2" fmla="*/ 0 w 165158"/>
                            <a:gd name="connsiteY2" fmla="*/ 15446 h 16283"/>
                            <a:gd name="connsiteX3" fmla="*/ 0 w 165158"/>
                            <a:gd name="connsiteY3" fmla="*/ 1465 h 16283"/>
                            <a:gd name="connsiteX4" fmla="*/ 1465 w 165158"/>
                            <a:gd name="connsiteY4" fmla="*/ 0 h 16283"/>
                            <a:gd name="connsiteX5" fmla="*/ 164553 w 165158"/>
                            <a:gd name="connsiteY5" fmla="*/ 0 h 16283"/>
                            <a:gd name="connsiteX6" fmla="*/ 166019 w 165158"/>
                            <a:gd name="connsiteY6" fmla="*/ 1465 h 16283"/>
                            <a:gd name="connsiteX7" fmla="*/ 166019 w 165158"/>
                            <a:gd name="connsiteY7" fmla="*/ 15446 h 16283"/>
                            <a:gd name="connsiteX8" fmla="*/ 164553 w 165158"/>
                            <a:gd name="connsiteY8" fmla="*/ 1691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165158" h="16283">
                              <a:moveTo>
                                <a:pt x="164553" y="16911"/>
                              </a:moveTo>
                              <a:lnTo>
                                <a:pt x="1465" y="16911"/>
                              </a:lnTo>
                              <a:cubicBezTo>
                                <a:pt x="651" y="16911"/>
                                <a:pt x="0" y="16260"/>
                                <a:pt x="0" y="15446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164553" y="0"/>
                              </a:lnTo>
                              <a:cubicBezTo>
                                <a:pt x="165368" y="0"/>
                                <a:pt x="166019" y="651"/>
                                <a:pt x="166019" y="1465"/>
                              </a:cubicBezTo>
                              <a:lnTo>
                                <a:pt x="166019" y="15446"/>
                              </a:lnTo>
                              <a:cubicBezTo>
                                <a:pt x="165996" y="16260"/>
                                <a:pt x="165344" y="16911"/>
                                <a:pt x="164553" y="1691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19439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925" name="Freeform: Shape 924">
                          <a:extLst>
                            <a:ext uri="{FF2B5EF4-FFF2-40B4-BE49-F238E27FC236}">
                              <a16:creationId xmlns:a16="http://schemas.microsoft.com/office/drawing/2014/main" id="{FE314F3D-7A76-4D41-822F-6DBF450D1651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61233" y="4044345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926" name="Freeform: Shape 925">
                          <a:extLst>
                            <a:ext uri="{FF2B5EF4-FFF2-40B4-BE49-F238E27FC236}">
                              <a16:creationId xmlns:a16="http://schemas.microsoft.com/office/drawing/2014/main" id="{78D311EB-A896-4FED-9824-83B2F80CEA16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69119" y="4044345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927" name="Freeform: Shape 926">
                          <a:extLst>
                            <a:ext uri="{FF2B5EF4-FFF2-40B4-BE49-F238E27FC236}">
                              <a16:creationId xmlns:a16="http://schemas.microsoft.com/office/drawing/2014/main" id="{5E58CF4A-8C26-4B87-A306-2F9D7B2D7D41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76981" y="4044345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928" name="Freeform: Shape 927">
                          <a:extLst>
                            <a:ext uri="{FF2B5EF4-FFF2-40B4-BE49-F238E27FC236}">
                              <a16:creationId xmlns:a16="http://schemas.microsoft.com/office/drawing/2014/main" id="{3B50F0C2-F7EF-4234-BC3E-719809553448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84867" y="4044345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929" name="Freeform: Shape 928">
                          <a:extLst>
                            <a:ext uri="{FF2B5EF4-FFF2-40B4-BE49-F238E27FC236}">
                              <a16:creationId xmlns:a16="http://schemas.microsoft.com/office/drawing/2014/main" id="{BFB618C0-E9CC-4ECC-B1C2-7D2B8EA0A507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92753" y="4044345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930" name="Freeform: Shape 929">
                          <a:extLst>
                            <a:ext uri="{FF2B5EF4-FFF2-40B4-BE49-F238E27FC236}">
                              <a16:creationId xmlns:a16="http://schemas.microsoft.com/office/drawing/2014/main" id="{2FE6E003-3A9F-4D7C-971A-54AAC631BE6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00615" y="4044345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931" name="Freeform: Shape 930">
                          <a:extLst>
                            <a:ext uri="{FF2B5EF4-FFF2-40B4-BE49-F238E27FC236}">
                              <a16:creationId xmlns:a16="http://schemas.microsoft.com/office/drawing/2014/main" id="{13BCC5A8-36C7-45AD-8C7A-A8E9ED848018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08501" y="4044345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932" name="Freeform: Shape 931">
                          <a:extLst>
                            <a:ext uri="{FF2B5EF4-FFF2-40B4-BE49-F238E27FC236}">
                              <a16:creationId xmlns:a16="http://schemas.microsoft.com/office/drawing/2014/main" id="{FBF19072-F105-4809-9AF4-D54E5F769F59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16363" y="4044345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933" name="Freeform: Shape 932">
                          <a:extLst>
                            <a:ext uri="{FF2B5EF4-FFF2-40B4-BE49-F238E27FC236}">
                              <a16:creationId xmlns:a16="http://schemas.microsoft.com/office/drawing/2014/main" id="{1A32A5CA-0770-454F-B71E-FCE228ECA30E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24249" y="4044345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934" name="Freeform: Shape 933">
                          <a:extLst>
                            <a:ext uri="{FF2B5EF4-FFF2-40B4-BE49-F238E27FC236}">
                              <a16:creationId xmlns:a16="http://schemas.microsoft.com/office/drawing/2014/main" id="{49F44F0A-526E-4549-A12B-43DAEDB6493C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32135" y="4044345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935" name="Freeform: Shape 934">
                          <a:extLst>
                            <a:ext uri="{FF2B5EF4-FFF2-40B4-BE49-F238E27FC236}">
                              <a16:creationId xmlns:a16="http://schemas.microsoft.com/office/drawing/2014/main" id="{E44373B3-3373-4AC1-94C0-CC59B257956A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39997" y="4044345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936" name="Freeform: Shape 935">
                          <a:extLst>
                            <a:ext uri="{FF2B5EF4-FFF2-40B4-BE49-F238E27FC236}">
                              <a16:creationId xmlns:a16="http://schemas.microsoft.com/office/drawing/2014/main" id="{335E1B29-42AD-45F1-983F-F42AA084CC91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98240" y="4044345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937" name="Freeform: Shape 936">
                          <a:extLst>
                            <a:ext uri="{FF2B5EF4-FFF2-40B4-BE49-F238E27FC236}">
                              <a16:creationId xmlns:a16="http://schemas.microsoft.com/office/drawing/2014/main" id="{80B592BC-120D-4681-A218-23256701396C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06103" y="4044345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938" name="Freeform: Shape 937">
                          <a:extLst>
                            <a:ext uri="{FF2B5EF4-FFF2-40B4-BE49-F238E27FC236}">
                              <a16:creationId xmlns:a16="http://schemas.microsoft.com/office/drawing/2014/main" id="{0B4A6F0D-057C-49E8-99CB-35B449765D14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13989" y="4044345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939" name="Freeform: Shape 938">
                          <a:extLst>
                            <a:ext uri="{FF2B5EF4-FFF2-40B4-BE49-F238E27FC236}">
                              <a16:creationId xmlns:a16="http://schemas.microsoft.com/office/drawing/2014/main" id="{D891BB9E-A5CF-443F-8D19-04896125FDD8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82469" y="4044345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940" name="Freeform: Shape 939">
                          <a:extLst>
                            <a:ext uri="{FF2B5EF4-FFF2-40B4-BE49-F238E27FC236}">
                              <a16:creationId xmlns:a16="http://schemas.microsoft.com/office/drawing/2014/main" id="{C84DC803-181E-40E3-9951-FB3E0A473104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90355" y="4044345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941" name="Freeform: Shape 940">
                          <a:extLst>
                            <a:ext uri="{FF2B5EF4-FFF2-40B4-BE49-F238E27FC236}">
                              <a16:creationId xmlns:a16="http://schemas.microsoft.com/office/drawing/2014/main" id="{7DB02FA6-FA3A-4CD9-A958-BA3A7DE30A59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98240" y="4044345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942" name="Freeform: Shape 941">
                          <a:extLst>
                            <a:ext uri="{FF2B5EF4-FFF2-40B4-BE49-F238E27FC236}">
                              <a16:creationId xmlns:a16="http://schemas.microsoft.com/office/drawing/2014/main" id="{5F4061BF-FDB0-4EEB-931E-33EB06F61ED7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21851" y="4044345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943" name="Freeform: Shape 942">
                          <a:extLst>
                            <a:ext uri="{FF2B5EF4-FFF2-40B4-BE49-F238E27FC236}">
                              <a16:creationId xmlns:a16="http://schemas.microsoft.com/office/drawing/2014/main" id="{242415F4-2155-4518-98ED-1EF14440EA9B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29737" y="4044345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944" name="Freeform: Shape 943">
                          <a:extLst>
                            <a:ext uri="{FF2B5EF4-FFF2-40B4-BE49-F238E27FC236}">
                              <a16:creationId xmlns:a16="http://schemas.microsoft.com/office/drawing/2014/main" id="{E72ED213-55F0-4B1D-BFA6-003E18D5EAAC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37623" y="4044345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945" name="Freeform: Shape 944">
                          <a:extLst>
                            <a:ext uri="{FF2B5EF4-FFF2-40B4-BE49-F238E27FC236}">
                              <a16:creationId xmlns:a16="http://schemas.microsoft.com/office/drawing/2014/main" id="{3079B242-592B-4C1A-9AFA-CD7DA64E21D8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45485" y="4044345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946" name="Freeform: Shape 945">
                          <a:extLst>
                            <a:ext uri="{FF2B5EF4-FFF2-40B4-BE49-F238E27FC236}">
                              <a16:creationId xmlns:a16="http://schemas.microsoft.com/office/drawing/2014/main" id="{322C756B-C64C-4F8D-B702-CE27BF2BEB9C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53371" y="4044345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</p:grpSp>
                  <p:grpSp>
                    <p:nvGrpSpPr>
                      <p:cNvPr id="947" name="Graphic 174">
                        <a:extLst>
                          <a:ext uri="{FF2B5EF4-FFF2-40B4-BE49-F238E27FC236}">
                            <a16:creationId xmlns:a16="http://schemas.microsoft.com/office/drawing/2014/main" id="{4045A780-E4ED-4946-BB38-1D6737CA17D1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6573560" y="4026760"/>
                        <a:ext cx="165158" cy="16283"/>
                        <a:chOff x="6573560" y="4026760"/>
                        <a:chExt cx="165158" cy="16283"/>
                      </a:xfrm>
                      <a:solidFill>
                        <a:schemeClr val="accent1"/>
                      </a:solidFill>
                    </p:grpSpPr>
                    <p:sp>
                      <p:nvSpPr>
                        <p:cNvPr id="948" name="Freeform: Shape 947">
                          <a:extLst>
                            <a:ext uri="{FF2B5EF4-FFF2-40B4-BE49-F238E27FC236}">
                              <a16:creationId xmlns:a16="http://schemas.microsoft.com/office/drawing/2014/main" id="{F4F96107-A23F-4882-B853-DE42DFB7A10B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73560" y="4026760"/>
                          <a:ext cx="165158" cy="16283"/>
                        </a:xfrm>
                        <a:custGeom>
                          <a:avLst/>
                          <a:gdLst>
                            <a:gd name="connsiteX0" fmla="*/ 164553 w 165158"/>
                            <a:gd name="connsiteY0" fmla="*/ 16911 h 16283"/>
                            <a:gd name="connsiteX1" fmla="*/ 1465 w 165158"/>
                            <a:gd name="connsiteY1" fmla="*/ 16911 h 16283"/>
                            <a:gd name="connsiteX2" fmla="*/ 0 w 165158"/>
                            <a:gd name="connsiteY2" fmla="*/ 15446 h 16283"/>
                            <a:gd name="connsiteX3" fmla="*/ 0 w 165158"/>
                            <a:gd name="connsiteY3" fmla="*/ 1465 h 16283"/>
                            <a:gd name="connsiteX4" fmla="*/ 1465 w 165158"/>
                            <a:gd name="connsiteY4" fmla="*/ 0 h 16283"/>
                            <a:gd name="connsiteX5" fmla="*/ 164553 w 165158"/>
                            <a:gd name="connsiteY5" fmla="*/ 0 h 16283"/>
                            <a:gd name="connsiteX6" fmla="*/ 166019 w 165158"/>
                            <a:gd name="connsiteY6" fmla="*/ 1465 h 16283"/>
                            <a:gd name="connsiteX7" fmla="*/ 166019 w 165158"/>
                            <a:gd name="connsiteY7" fmla="*/ 15446 h 16283"/>
                            <a:gd name="connsiteX8" fmla="*/ 164553 w 165158"/>
                            <a:gd name="connsiteY8" fmla="*/ 1691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165158" h="16283">
                              <a:moveTo>
                                <a:pt x="164553" y="16911"/>
                              </a:moveTo>
                              <a:lnTo>
                                <a:pt x="1465" y="16911"/>
                              </a:lnTo>
                              <a:cubicBezTo>
                                <a:pt x="651" y="16911"/>
                                <a:pt x="0" y="16260"/>
                                <a:pt x="0" y="15446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164553" y="0"/>
                              </a:lnTo>
                              <a:cubicBezTo>
                                <a:pt x="165367" y="0"/>
                                <a:pt x="166019" y="651"/>
                                <a:pt x="166019" y="1465"/>
                              </a:cubicBezTo>
                              <a:lnTo>
                                <a:pt x="166019" y="15446"/>
                              </a:lnTo>
                              <a:cubicBezTo>
                                <a:pt x="166019" y="16260"/>
                                <a:pt x="165367" y="16911"/>
                                <a:pt x="164553" y="1691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19439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949" name="Freeform: Shape 948">
                          <a:extLst>
                            <a:ext uri="{FF2B5EF4-FFF2-40B4-BE49-F238E27FC236}">
                              <a16:creationId xmlns:a16="http://schemas.microsoft.com/office/drawing/2014/main" id="{97F8803B-4EF4-4C52-B8A1-4DBDD4D412F0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53371" y="4027457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950" name="Freeform: Shape 949">
                          <a:extLst>
                            <a:ext uri="{FF2B5EF4-FFF2-40B4-BE49-F238E27FC236}">
                              <a16:creationId xmlns:a16="http://schemas.microsoft.com/office/drawing/2014/main" id="{1327BAF8-D1A2-4907-9A2E-86E71CA89EE5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61233" y="4027457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951" name="Freeform: Shape 950">
                          <a:extLst>
                            <a:ext uri="{FF2B5EF4-FFF2-40B4-BE49-F238E27FC236}">
                              <a16:creationId xmlns:a16="http://schemas.microsoft.com/office/drawing/2014/main" id="{C504B29E-3F9B-40D1-8E61-CD2B58543C2C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69119" y="4027457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952" name="Freeform: Shape 951">
                          <a:extLst>
                            <a:ext uri="{FF2B5EF4-FFF2-40B4-BE49-F238E27FC236}">
                              <a16:creationId xmlns:a16="http://schemas.microsoft.com/office/drawing/2014/main" id="{3CE1A32D-2724-4F2E-BC6C-8E09E4247CC0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76981" y="4027457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953" name="Freeform: Shape 952">
                          <a:extLst>
                            <a:ext uri="{FF2B5EF4-FFF2-40B4-BE49-F238E27FC236}">
                              <a16:creationId xmlns:a16="http://schemas.microsoft.com/office/drawing/2014/main" id="{533426D2-9050-4608-AD8F-E2A2E4FF8728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84867" y="4027457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954" name="Freeform: Shape 953">
                          <a:extLst>
                            <a:ext uri="{FF2B5EF4-FFF2-40B4-BE49-F238E27FC236}">
                              <a16:creationId xmlns:a16="http://schemas.microsoft.com/office/drawing/2014/main" id="{0FCBD35B-2E81-42B4-B973-5D8F6ED56178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92753" y="4027457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955" name="Freeform: Shape 954">
                          <a:extLst>
                            <a:ext uri="{FF2B5EF4-FFF2-40B4-BE49-F238E27FC236}">
                              <a16:creationId xmlns:a16="http://schemas.microsoft.com/office/drawing/2014/main" id="{55F77BC9-A64B-40B1-9F22-9A747B9B5E88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00615" y="4027457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956" name="Freeform: Shape 955">
                          <a:extLst>
                            <a:ext uri="{FF2B5EF4-FFF2-40B4-BE49-F238E27FC236}">
                              <a16:creationId xmlns:a16="http://schemas.microsoft.com/office/drawing/2014/main" id="{34F98DCE-4856-4E35-B165-CAD087E1B5FA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08501" y="4027457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957" name="Freeform: Shape 956">
                          <a:extLst>
                            <a:ext uri="{FF2B5EF4-FFF2-40B4-BE49-F238E27FC236}">
                              <a16:creationId xmlns:a16="http://schemas.microsoft.com/office/drawing/2014/main" id="{F95EDBD0-FBCB-427C-B983-1324D97BA0E9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16363" y="4027457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958" name="Freeform: Shape 957">
                          <a:extLst>
                            <a:ext uri="{FF2B5EF4-FFF2-40B4-BE49-F238E27FC236}">
                              <a16:creationId xmlns:a16="http://schemas.microsoft.com/office/drawing/2014/main" id="{58D4D0AD-7387-4180-BCB5-E6BF13D75665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24249" y="4027457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959" name="Freeform: Shape 958">
                          <a:extLst>
                            <a:ext uri="{FF2B5EF4-FFF2-40B4-BE49-F238E27FC236}">
                              <a16:creationId xmlns:a16="http://schemas.microsoft.com/office/drawing/2014/main" id="{72426322-4447-4BEB-9C84-35BED0CFA5BA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32135" y="4027457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960" name="Freeform: Shape 959">
                          <a:extLst>
                            <a:ext uri="{FF2B5EF4-FFF2-40B4-BE49-F238E27FC236}">
                              <a16:creationId xmlns:a16="http://schemas.microsoft.com/office/drawing/2014/main" id="{795B24A7-9DE3-4A5A-8C01-4EAA89315A31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90355" y="4027457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961" name="Freeform: Shape 960">
                          <a:extLst>
                            <a:ext uri="{FF2B5EF4-FFF2-40B4-BE49-F238E27FC236}">
                              <a16:creationId xmlns:a16="http://schemas.microsoft.com/office/drawing/2014/main" id="{E5718432-4B63-4140-AB23-54607DE04D16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98240" y="4027457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962" name="Freeform: Shape 961">
                          <a:extLst>
                            <a:ext uri="{FF2B5EF4-FFF2-40B4-BE49-F238E27FC236}">
                              <a16:creationId xmlns:a16="http://schemas.microsoft.com/office/drawing/2014/main" id="{453BA2A6-1E89-4642-B6B0-A67E3A317D58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06103" y="4027457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963" name="Freeform: Shape 962">
                          <a:extLst>
                            <a:ext uri="{FF2B5EF4-FFF2-40B4-BE49-F238E27FC236}">
                              <a16:creationId xmlns:a16="http://schemas.microsoft.com/office/drawing/2014/main" id="{2D1B7151-FC19-4054-8B84-AD46F0D26400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74607" y="4027457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964" name="Freeform: Shape 963">
                          <a:extLst>
                            <a:ext uri="{FF2B5EF4-FFF2-40B4-BE49-F238E27FC236}">
                              <a16:creationId xmlns:a16="http://schemas.microsoft.com/office/drawing/2014/main" id="{F8B6B8C9-B164-4ACC-993E-165C79914EC9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82469" y="4027457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965" name="Freeform: Shape 964">
                          <a:extLst>
                            <a:ext uri="{FF2B5EF4-FFF2-40B4-BE49-F238E27FC236}">
                              <a16:creationId xmlns:a16="http://schemas.microsoft.com/office/drawing/2014/main" id="{775DA2BC-767F-4617-AA51-E77842CDA05A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90355" y="4027457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966" name="Freeform: Shape 965">
                          <a:extLst>
                            <a:ext uri="{FF2B5EF4-FFF2-40B4-BE49-F238E27FC236}">
                              <a16:creationId xmlns:a16="http://schemas.microsoft.com/office/drawing/2014/main" id="{20C9191E-430C-4644-89A6-04554DDBD7E7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13989" y="4027457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967" name="Freeform: Shape 966">
                          <a:extLst>
                            <a:ext uri="{FF2B5EF4-FFF2-40B4-BE49-F238E27FC236}">
                              <a16:creationId xmlns:a16="http://schemas.microsoft.com/office/drawing/2014/main" id="{77F8601F-B820-4403-8C03-C2F187F13C10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21851" y="4027457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968" name="Freeform: Shape 967">
                          <a:extLst>
                            <a:ext uri="{FF2B5EF4-FFF2-40B4-BE49-F238E27FC236}">
                              <a16:creationId xmlns:a16="http://schemas.microsoft.com/office/drawing/2014/main" id="{D7D50F16-7B78-4588-BFC5-146D65EC1CD6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29737" y="4027457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969" name="Freeform: Shape 968">
                          <a:extLst>
                            <a:ext uri="{FF2B5EF4-FFF2-40B4-BE49-F238E27FC236}">
                              <a16:creationId xmlns:a16="http://schemas.microsoft.com/office/drawing/2014/main" id="{5FA62886-75AA-468C-AB07-BEFF58DAFD0E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37623" y="4027457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970" name="Freeform: Shape 969">
                          <a:extLst>
                            <a:ext uri="{FF2B5EF4-FFF2-40B4-BE49-F238E27FC236}">
                              <a16:creationId xmlns:a16="http://schemas.microsoft.com/office/drawing/2014/main" id="{6D5D81C3-91F6-42F5-B649-33948AB5548E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45485" y="4027457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</p:grpSp>
                  <p:grpSp>
                    <p:nvGrpSpPr>
                      <p:cNvPr id="971" name="Graphic 174">
                        <a:extLst>
                          <a:ext uri="{FF2B5EF4-FFF2-40B4-BE49-F238E27FC236}">
                            <a16:creationId xmlns:a16="http://schemas.microsoft.com/office/drawing/2014/main" id="{4045A780-E4ED-4946-BB38-1D6737CA17D1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6579166" y="4009732"/>
                        <a:ext cx="165158" cy="16283"/>
                        <a:chOff x="6579166" y="4009732"/>
                        <a:chExt cx="165158" cy="16283"/>
                      </a:xfrm>
                      <a:solidFill>
                        <a:schemeClr val="accent1"/>
                      </a:solidFill>
                    </p:grpSpPr>
                    <p:sp>
                      <p:nvSpPr>
                        <p:cNvPr id="972" name="Freeform: Shape 971">
                          <a:extLst>
                            <a:ext uri="{FF2B5EF4-FFF2-40B4-BE49-F238E27FC236}">
                              <a16:creationId xmlns:a16="http://schemas.microsoft.com/office/drawing/2014/main" id="{9DFDE278-2A54-42D9-A66E-4EBD8E129E47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79166" y="4009732"/>
                          <a:ext cx="165158" cy="16283"/>
                        </a:xfrm>
                        <a:custGeom>
                          <a:avLst/>
                          <a:gdLst>
                            <a:gd name="connsiteX0" fmla="*/ 164577 w 165158"/>
                            <a:gd name="connsiteY0" fmla="*/ 16911 h 16283"/>
                            <a:gd name="connsiteX1" fmla="*/ 1465 w 165158"/>
                            <a:gd name="connsiteY1" fmla="*/ 16911 h 16283"/>
                            <a:gd name="connsiteX2" fmla="*/ 0 w 165158"/>
                            <a:gd name="connsiteY2" fmla="*/ 15446 h 16283"/>
                            <a:gd name="connsiteX3" fmla="*/ 0 w 165158"/>
                            <a:gd name="connsiteY3" fmla="*/ 1465 h 16283"/>
                            <a:gd name="connsiteX4" fmla="*/ 1465 w 165158"/>
                            <a:gd name="connsiteY4" fmla="*/ 0 h 16283"/>
                            <a:gd name="connsiteX5" fmla="*/ 164553 w 165158"/>
                            <a:gd name="connsiteY5" fmla="*/ 0 h 16283"/>
                            <a:gd name="connsiteX6" fmla="*/ 166019 w 165158"/>
                            <a:gd name="connsiteY6" fmla="*/ 1465 h 16283"/>
                            <a:gd name="connsiteX7" fmla="*/ 166019 w 165158"/>
                            <a:gd name="connsiteY7" fmla="*/ 15446 h 16283"/>
                            <a:gd name="connsiteX8" fmla="*/ 164577 w 165158"/>
                            <a:gd name="connsiteY8" fmla="*/ 1691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165158" h="16283">
                              <a:moveTo>
                                <a:pt x="164577" y="16911"/>
                              </a:moveTo>
                              <a:lnTo>
                                <a:pt x="1465" y="16911"/>
                              </a:lnTo>
                              <a:cubicBezTo>
                                <a:pt x="651" y="16911"/>
                                <a:pt x="0" y="16260"/>
                                <a:pt x="0" y="15446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164553" y="0"/>
                              </a:lnTo>
                              <a:cubicBezTo>
                                <a:pt x="165367" y="0"/>
                                <a:pt x="166019" y="651"/>
                                <a:pt x="166019" y="1465"/>
                              </a:cubicBezTo>
                              <a:lnTo>
                                <a:pt x="166019" y="15446"/>
                              </a:lnTo>
                              <a:cubicBezTo>
                                <a:pt x="166019" y="16260"/>
                                <a:pt x="165367" y="16911"/>
                                <a:pt x="164577" y="1691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19439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973" name="Freeform: Shape 972">
                          <a:extLst>
                            <a:ext uri="{FF2B5EF4-FFF2-40B4-BE49-F238E27FC236}">
                              <a16:creationId xmlns:a16="http://schemas.microsoft.com/office/drawing/2014/main" id="{09B500C9-FEC5-4DD7-A197-F8E7D33D856A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58977" y="4010430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974" name="Freeform: Shape 973">
                          <a:extLst>
                            <a:ext uri="{FF2B5EF4-FFF2-40B4-BE49-F238E27FC236}">
                              <a16:creationId xmlns:a16="http://schemas.microsoft.com/office/drawing/2014/main" id="{54E64F09-1CA7-4413-A6CC-DF641C4B2BDC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66862" y="4010430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975" name="Freeform: Shape 974">
                          <a:extLst>
                            <a:ext uri="{FF2B5EF4-FFF2-40B4-BE49-F238E27FC236}">
                              <a16:creationId xmlns:a16="http://schemas.microsoft.com/office/drawing/2014/main" id="{6E29C6CC-0020-4091-A156-AE0AEA81C538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74725" y="4010430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976" name="Freeform: Shape 975">
                          <a:extLst>
                            <a:ext uri="{FF2B5EF4-FFF2-40B4-BE49-F238E27FC236}">
                              <a16:creationId xmlns:a16="http://schemas.microsoft.com/office/drawing/2014/main" id="{895A6B86-28A2-4C50-9825-B66FBAC48D4D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82611" y="4010430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977" name="Freeform: Shape 976">
                          <a:extLst>
                            <a:ext uri="{FF2B5EF4-FFF2-40B4-BE49-F238E27FC236}">
                              <a16:creationId xmlns:a16="http://schemas.microsoft.com/office/drawing/2014/main" id="{F4E2247A-4896-4BCB-8762-2DF61D4A6F6E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90496" y="4010430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978" name="Freeform: Shape 977">
                          <a:extLst>
                            <a:ext uri="{FF2B5EF4-FFF2-40B4-BE49-F238E27FC236}">
                              <a16:creationId xmlns:a16="http://schemas.microsoft.com/office/drawing/2014/main" id="{D3EE9585-603C-4333-8687-656DA701122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98359" y="4010430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979" name="Freeform: Shape 978">
                          <a:extLst>
                            <a:ext uri="{FF2B5EF4-FFF2-40B4-BE49-F238E27FC236}">
                              <a16:creationId xmlns:a16="http://schemas.microsoft.com/office/drawing/2014/main" id="{4DB4757C-5339-455F-915C-2B45F0A96E41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06245" y="4010430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980" name="Freeform: Shape 979">
                          <a:extLst>
                            <a:ext uri="{FF2B5EF4-FFF2-40B4-BE49-F238E27FC236}">
                              <a16:creationId xmlns:a16="http://schemas.microsoft.com/office/drawing/2014/main" id="{F76F51F6-D27D-4C99-80F6-F194AFA9CA33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14107" y="4010430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981" name="Freeform: Shape 980">
                          <a:extLst>
                            <a:ext uri="{FF2B5EF4-FFF2-40B4-BE49-F238E27FC236}">
                              <a16:creationId xmlns:a16="http://schemas.microsoft.com/office/drawing/2014/main" id="{7F774096-D506-4479-AC2A-5090479D821B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21993" y="4010430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982" name="Freeform: Shape 981">
                          <a:extLst>
                            <a:ext uri="{FF2B5EF4-FFF2-40B4-BE49-F238E27FC236}">
                              <a16:creationId xmlns:a16="http://schemas.microsoft.com/office/drawing/2014/main" id="{EE8A4882-5542-432D-88C6-47297CEC91E6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29855" y="4010430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983" name="Freeform: Shape 982">
                          <a:extLst>
                            <a:ext uri="{FF2B5EF4-FFF2-40B4-BE49-F238E27FC236}">
                              <a16:creationId xmlns:a16="http://schemas.microsoft.com/office/drawing/2014/main" id="{C7F5F5F6-EC4D-4C56-B2E6-1C69B598E667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37741" y="4010430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984" name="Freeform: Shape 983">
                          <a:extLst>
                            <a:ext uri="{FF2B5EF4-FFF2-40B4-BE49-F238E27FC236}">
                              <a16:creationId xmlns:a16="http://schemas.microsoft.com/office/drawing/2014/main" id="{E2651921-8A14-4B5B-B2B2-C87C48C132E6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95984" y="4010430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985" name="Freeform: Shape 984">
                          <a:extLst>
                            <a:ext uri="{FF2B5EF4-FFF2-40B4-BE49-F238E27FC236}">
                              <a16:creationId xmlns:a16="http://schemas.microsoft.com/office/drawing/2014/main" id="{B94C5A46-4690-49D8-8981-CFB97E227E02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03847" y="4010430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986" name="Freeform: Shape 985">
                          <a:extLst>
                            <a:ext uri="{FF2B5EF4-FFF2-40B4-BE49-F238E27FC236}">
                              <a16:creationId xmlns:a16="http://schemas.microsoft.com/office/drawing/2014/main" id="{0BFD3EBD-CB77-4E4B-9401-1B2DE9A7B99A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11732" y="4010430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987" name="Freeform: Shape 986">
                          <a:extLst>
                            <a:ext uri="{FF2B5EF4-FFF2-40B4-BE49-F238E27FC236}">
                              <a16:creationId xmlns:a16="http://schemas.microsoft.com/office/drawing/2014/main" id="{AADF2067-EC0A-4918-9D54-7093ADFB8D1C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80213" y="4010430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988" name="Freeform: Shape 987">
                          <a:extLst>
                            <a:ext uri="{FF2B5EF4-FFF2-40B4-BE49-F238E27FC236}">
                              <a16:creationId xmlns:a16="http://schemas.microsoft.com/office/drawing/2014/main" id="{72333D7E-9A10-4E84-BD0E-7893C10AB15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88098" y="4010430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989" name="Freeform: Shape 988">
                          <a:extLst>
                            <a:ext uri="{FF2B5EF4-FFF2-40B4-BE49-F238E27FC236}">
                              <a16:creationId xmlns:a16="http://schemas.microsoft.com/office/drawing/2014/main" id="{398F5E5D-3A16-47F1-A433-341C274EDD35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95984" y="4010430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990" name="Freeform: Shape 989">
                          <a:extLst>
                            <a:ext uri="{FF2B5EF4-FFF2-40B4-BE49-F238E27FC236}">
                              <a16:creationId xmlns:a16="http://schemas.microsoft.com/office/drawing/2014/main" id="{770E8B2F-685A-48A1-BEC6-64FC03BC0758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19595" y="4010430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991" name="Freeform: Shape 990">
                          <a:extLst>
                            <a:ext uri="{FF2B5EF4-FFF2-40B4-BE49-F238E27FC236}">
                              <a16:creationId xmlns:a16="http://schemas.microsoft.com/office/drawing/2014/main" id="{02BA704B-9290-4CA7-AB9E-A853BCF3C309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27480" y="4010430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992" name="Freeform: Shape 991">
                          <a:extLst>
                            <a:ext uri="{FF2B5EF4-FFF2-40B4-BE49-F238E27FC236}">
                              <a16:creationId xmlns:a16="http://schemas.microsoft.com/office/drawing/2014/main" id="{860A90F9-3462-409A-BE4B-9DF6D26538F4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35343" y="4010430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993" name="Freeform: Shape 992">
                          <a:extLst>
                            <a:ext uri="{FF2B5EF4-FFF2-40B4-BE49-F238E27FC236}">
                              <a16:creationId xmlns:a16="http://schemas.microsoft.com/office/drawing/2014/main" id="{52C3557E-B01A-45A5-B422-7483F6B3DE85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43229" y="4010430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994" name="Freeform: Shape 993">
                          <a:extLst>
                            <a:ext uri="{FF2B5EF4-FFF2-40B4-BE49-F238E27FC236}">
                              <a16:creationId xmlns:a16="http://schemas.microsoft.com/office/drawing/2014/main" id="{CE6CEE39-4290-43C7-B7CA-E816459BD78D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51114" y="4010430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</p:grpSp>
                  <p:grpSp>
                    <p:nvGrpSpPr>
                      <p:cNvPr id="995" name="Graphic 174">
                        <a:extLst>
                          <a:ext uri="{FF2B5EF4-FFF2-40B4-BE49-F238E27FC236}">
                            <a16:creationId xmlns:a16="http://schemas.microsoft.com/office/drawing/2014/main" id="{4045A780-E4ED-4946-BB38-1D6737CA17D1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6587052" y="3992821"/>
                        <a:ext cx="165158" cy="16283"/>
                        <a:chOff x="6587052" y="3992821"/>
                        <a:chExt cx="165158" cy="16283"/>
                      </a:xfrm>
                      <a:solidFill>
                        <a:schemeClr val="accent1"/>
                      </a:solidFill>
                    </p:grpSpPr>
                    <p:sp>
                      <p:nvSpPr>
                        <p:cNvPr id="996" name="Freeform: Shape 995">
                          <a:extLst>
                            <a:ext uri="{FF2B5EF4-FFF2-40B4-BE49-F238E27FC236}">
                              <a16:creationId xmlns:a16="http://schemas.microsoft.com/office/drawing/2014/main" id="{82E40131-678F-463C-9381-0E7151BB7D0D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87052" y="3992821"/>
                          <a:ext cx="165158" cy="16283"/>
                        </a:xfrm>
                        <a:custGeom>
                          <a:avLst/>
                          <a:gdLst>
                            <a:gd name="connsiteX0" fmla="*/ 164553 w 165158"/>
                            <a:gd name="connsiteY0" fmla="*/ 16911 h 16283"/>
                            <a:gd name="connsiteX1" fmla="*/ 1465 w 165158"/>
                            <a:gd name="connsiteY1" fmla="*/ 16911 h 16283"/>
                            <a:gd name="connsiteX2" fmla="*/ 0 w 165158"/>
                            <a:gd name="connsiteY2" fmla="*/ 15446 h 16283"/>
                            <a:gd name="connsiteX3" fmla="*/ 0 w 165158"/>
                            <a:gd name="connsiteY3" fmla="*/ 1465 h 16283"/>
                            <a:gd name="connsiteX4" fmla="*/ 1465 w 165158"/>
                            <a:gd name="connsiteY4" fmla="*/ 0 h 16283"/>
                            <a:gd name="connsiteX5" fmla="*/ 164553 w 165158"/>
                            <a:gd name="connsiteY5" fmla="*/ 0 h 16283"/>
                            <a:gd name="connsiteX6" fmla="*/ 166019 w 165158"/>
                            <a:gd name="connsiteY6" fmla="*/ 1465 h 16283"/>
                            <a:gd name="connsiteX7" fmla="*/ 166019 w 165158"/>
                            <a:gd name="connsiteY7" fmla="*/ 15446 h 16283"/>
                            <a:gd name="connsiteX8" fmla="*/ 164553 w 165158"/>
                            <a:gd name="connsiteY8" fmla="*/ 1691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165158" h="16283">
                              <a:moveTo>
                                <a:pt x="164553" y="16911"/>
                              </a:moveTo>
                              <a:lnTo>
                                <a:pt x="1465" y="16911"/>
                              </a:lnTo>
                              <a:cubicBezTo>
                                <a:pt x="651" y="16911"/>
                                <a:pt x="0" y="16260"/>
                                <a:pt x="0" y="15446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164553" y="0"/>
                              </a:lnTo>
                              <a:cubicBezTo>
                                <a:pt x="165367" y="0"/>
                                <a:pt x="166019" y="651"/>
                                <a:pt x="166019" y="1465"/>
                              </a:cubicBezTo>
                              <a:lnTo>
                                <a:pt x="166019" y="15446"/>
                              </a:lnTo>
                              <a:cubicBezTo>
                                <a:pt x="166019" y="16260"/>
                                <a:pt x="165367" y="16911"/>
                                <a:pt x="164553" y="1691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19439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997" name="Freeform: Shape 996">
                          <a:extLst>
                            <a:ext uri="{FF2B5EF4-FFF2-40B4-BE49-F238E27FC236}">
                              <a16:creationId xmlns:a16="http://schemas.microsoft.com/office/drawing/2014/main" id="{F9B0CEEA-22B3-498E-AD36-05EC971C7B42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66862" y="3993519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998" name="Freeform: Shape 997">
                          <a:extLst>
                            <a:ext uri="{FF2B5EF4-FFF2-40B4-BE49-F238E27FC236}">
                              <a16:creationId xmlns:a16="http://schemas.microsoft.com/office/drawing/2014/main" id="{FE585EE8-B141-4F8D-A3E2-33CDBADC0302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74725" y="3993519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999" name="Freeform: Shape 998">
                          <a:extLst>
                            <a:ext uri="{FF2B5EF4-FFF2-40B4-BE49-F238E27FC236}">
                              <a16:creationId xmlns:a16="http://schemas.microsoft.com/office/drawing/2014/main" id="{6A79D712-1856-4738-A6A7-37079E5843B9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82611" y="3993519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000" name="Freeform: Shape 999">
                          <a:extLst>
                            <a:ext uri="{FF2B5EF4-FFF2-40B4-BE49-F238E27FC236}">
                              <a16:creationId xmlns:a16="http://schemas.microsoft.com/office/drawing/2014/main" id="{72F7B66F-0AE4-485A-80F0-03D536782B51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90496" y="3993519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001" name="Freeform: Shape 1000">
                          <a:extLst>
                            <a:ext uri="{FF2B5EF4-FFF2-40B4-BE49-F238E27FC236}">
                              <a16:creationId xmlns:a16="http://schemas.microsoft.com/office/drawing/2014/main" id="{5C4637D4-C656-455B-ADFC-CB8D179E1D89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98359" y="3993519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002" name="Freeform: Shape 1001">
                          <a:extLst>
                            <a:ext uri="{FF2B5EF4-FFF2-40B4-BE49-F238E27FC236}">
                              <a16:creationId xmlns:a16="http://schemas.microsoft.com/office/drawing/2014/main" id="{15C1B9A7-8ABE-40D4-B2C1-4B40B8EC37F8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06245" y="3993519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003" name="Freeform: Shape 1002">
                          <a:extLst>
                            <a:ext uri="{FF2B5EF4-FFF2-40B4-BE49-F238E27FC236}">
                              <a16:creationId xmlns:a16="http://schemas.microsoft.com/office/drawing/2014/main" id="{47D05589-36BE-4B73-83CD-E3BE7D879A43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14107" y="3993519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004" name="Freeform: Shape 1003">
                          <a:extLst>
                            <a:ext uri="{FF2B5EF4-FFF2-40B4-BE49-F238E27FC236}">
                              <a16:creationId xmlns:a16="http://schemas.microsoft.com/office/drawing/2014/main" id="{96FE1B61-2DD0-408F-B9C6-8BA1CD9E3245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21993" y="3993519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005" name="Freeform: Shape 1004">
                          <a:extLst>
                            <a:ext uri="{FF2B5EF4-FFF2-40B4-BE49-F238E27FC236}">
                              <a16:creationId xmlns:a16="http://schemas.microsoft.com/office/drawing/2014/main" id="{D5810A79-46DD-4FA2-8EF4-379F334988B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29855" y="3993519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006" name="Freeform: Shape 1005">
                          <a:extLst>
                            <a:ext uri="{FF2B5EF4-FFF2-40B4-BE49-F238E27FC236}">
                              <a16:creationId xmlns:a16="http://schemas.microsoft.com/office/drawing/2014/main" id="{4701E949-3FBD-4D41-AEE6-FD6165F0EFA5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37741" y="3993519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007" name="Freeform: Shape 1006">
                          <a:extLst>
                            <a:ext uri="{FF2B5EF4-FFF2-40B4-BE49-F238E27FC236}">
                              <a16:creationId xmlns:a16="http://schemas.microsoft.com/office/drawing/2014/main" id="{41F5122F-399E-4B7A-8ABB-B30D6E42D1DC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45627" y="3993519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008" name="Freeform: Shape 1007">
                          <a:extLst>
                            <a:ext uri="{FF2B5EF4-FFF2-40B4-BE49-F238E27FC236}">
                              <a16:creationId xmlns:a16="http://schemas.microsoft.com/office/drawing/2014/main" id="{52810882-175D-403C-9061-BA9049BC8DD4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03847" y="3993519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009" name="Freeform: Shape 1008">
                          <a:extLst>
                            <a:ext uri="{FF2B5EF4-FFF2-40B4-BE49-F238E27FC236}">
                              <a16:creationId xmlns:a16="http://schemas.microsoft.com/office/drawing/2014/main" id="{03793551-E760-4BBE-B592-8F6659E89A96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11732" y="3993519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010" name="Freeform: Shape 1009">
                          <a:extLst>
                            <a:ext uri="{FF2B5EF4-FFF2-40B4-BE49-F238E27FC236}">
                              <a16:creationId xmlns:a16="http://schemas.microsoft.com/office/drawing/2014/main" id="{9C135F31-36F3-482B-8774-91FA4592B685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19595" y="3993519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011" name="Freeform: Shape 1010">
                          <a:extLst>
                            <a:ext uri="{FF2B5EF4-FFF2-40B4-BE49-F238E27FC236}">
                              <a16:creationId xmlns:a16="http://schemas.microsoft.com/office/drawing/2014/main" id="{63CABC64-6142-44CA-B348-95BE1C74A9D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88098" y="3993519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012" name="Freeform: Shape 1011">
                          <a:extLst>
                            <a:ext uri="{FF2B5EF4-FFF2-40B4-BE49-F238E27FC236}">
                              <a16:creationId xmlns:a16="http://schemas.microsoft.com/office/drawing/2014/main" id="{BC531557-E532-4116-9747-9F77CDCBE88A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95984" y="3993519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013" name="Freeform: Shape 1012">
                          <a:extLst>
                            <a:ext uri="{FF2B5EF4-FFF2-40B4-BE49-F238E27FC236}">
                              <a16:creationId xmlns:a16="http://schemas.microsoft.com/office/drawing/2014/main" id="{9C05376F-D569-4AB7-820C-3BFF141EA5DB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03847" y="3993519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014" name="Freeform: Shape 1013">
                          <a:extLst>
                            <a:ext uri="{FF2B5EF4-FFF2-40B4-BE49-F238E27FC236}">
                              <a16:creationId xmlns:a16="http://schemas.microsoft.com/office/drawing/2014/main" id="{20966A5C-5C7D-4EBD-BBE3-850E0CB3E8CB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27480" y="3993519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015" name="Freeform: Shape 1014">
                          <a:extLst>
                            <a:ext uri="{FF2B5EF4-FFF2-40B4-BE49-F238E27FC236}">
                              <a16:creationId xmlns:a16="http://schemas.microsoft.com/office/drawing/2014/main" id="{B72943FC-27BE-4D92-B88E-41E8A1E3D030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35343" y="3993519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016" name="Freeform: Shape 1015">
                          <a:extLst>
                            <a:ext uri="{FF2B5EF4-FFF2-40B4-BE49-F238E27FC236}">
                              <a16:creationId xmlns:a16="http://schemas.microsoft.com/office/drawing/2014/main" id="{C0F4E692-50D2-4C91-88D2-84A6EFE83EE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43229" y="3993519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017" name="Freeform: Shape 1016">
                          <a:extLst>
                            <a:ext uri="{FF2B5EF4-FFF2-40B4-BE49-F238E27FC236}">
                              <a16:creationId xmlns:a16="http://schemas.microsoft.com/office/drawing/2014/main" id="{098E792E-B2ED-4ED9-96CF-06F1B3D54644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51114" y="3993519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018" name="Freeform: Shape 1017">
                          <a:extLst>
                            <a:ext uri="{FF2B5EF4-FFF2-40B4-BE49-F238E27FC236}">
                              <a16:creationId xmlns:a16="http://schemas.microsoft.com/office/drawing/2014/main" id="{88713762-5C46-47DC-95AF-7CFBFF2B2569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58977" y="3993519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</p:grpSp>
                </p:grpSp>
                <p:grpSp>
                  <p:nvGrpSpPr>
                    <p:cNvPr id="1019" name="Graphic 174">
                      <a:extLst>
                        <a:ext uri="{FF2B5EF4-FFF2-40B4-BE49-F238E27FC236}">
                          <a16:creationId xmlns:a16="http://schemas.microsoft.com/office/drawing/2014/main" id="{4045A780-E4ED-4946-BB38-1D6737CA17D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6592076" y="3806820"/>
                      <a:ext cx="178673" cy="185396"/>
                      <a:chOff x="6592076" y="3806820"/>
                      <a:chExt cx="178673" cy="185396"/>
                    </a:xfrm>
                    <a:solidFill>
                      <a:schemeClr val="accent1"/>
                    </a:solidFill>
                  </p:grpSpPr>
                  <p:grpSp>
                    <p:nvGrpSpPr>
                      <p:cNvPr id="1020" name="Graphic 174">
                        <a:extLst>
                          <a:ext uri="{FF2B5EF4-FFF2-40B4-BE49-F238E27FC236}">
                            <a16:creationId xmlns:a16="http://schemas.microsoft.com/office/drawing/2014/main" id="{4045A780-E4ED-4946-BB38-1D6737CA17D1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6595286" y="3975933"/>
                        <a:ext cx="165158" cy="16283"/>
                        <a:chOff x="6595286" y="3975933"/>
                        <a:chExt cx="165158" cy="16283"/>
                      </a:xfrm>
                      <a:solidFill>
                        <a:schemeClr val="accent1"/>
                      </a:solidFill>
                    </p:grpSpPr>
                    <p:sp>
                      <p:nvSpPr>
                        <p:cNvPr id="1021" name="Freeform: Shape 1020">
                          <a:extLst>
                            <a:ext uri="{FF2B5EF4-FFF2-40B4-BE49-F238E27FC236}">
                              <a16:creationId xmlns:a16="http://schemas.microsoft.com/office/drawing/2014/main" id="{B2291F07-B6A2-40D0-93A6-B0B6FA61A244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95286" y="3975933"/>
                          <a:ext cx="165158" cy="16283"/>
                        </a:xfrm>
                        <a:custGeom>
                          <a:avLst/>
                          <a:gdLst>
                            <a:gd name="connsiteX0" fmla="*/ 164553 w 165158"/>
                            <a:gd name="connsiteY0" fmla="*/ 16911 h 16283"/>
                            <a:gd name="connsiteX1" fmla="*/ 1465 w 165158"/>
                            <a:gd name="connsiteY1" fmla="*/ 16911 h 16283"/>
                            <a:gd name="connsiteX2" fmla="*/ 0 w 165158"/>
                            <a:gd name="connsiteY2" fmla="*/ 15446 h 16283"/>
                            <a:gd name="connsiteX3" fmla="*/ 0 w 165158"/>
                            <a:gd name="connsiteY3" fmla="*/ 1465 h 16283"/>
                            <a:gd name="connsiteX4" fmla="*/ 1465 w 165158"/>
                            <a:gd name="connsiteY4" fmla="*/ 0 h 16283"/>
                            <a:gd name="connsiteX5" fmla="*/ 164553 w 165158"/>
                            <a:gd name="connsiteY5" fmla="*/ 0 h 16283"/>
                            <a:gd name="connsiteX6" fmla="*/ 166019 w 165158"/>
                            <a:gd name="connsiteY6" fmla="*/ 1465 h 16283"/>
                            <a:gd name="connsiteX7" fmla="*/ 166019 w 165158"/>
                            <a:gd name="connsiteY7" fmla="*/ 15446 h 16283"/>
                            <a:gd name="connsiteX8" fmla="*/ 164553 w 165158"/>
                            <a:gd name="connsiteY8" fmla="*/ 1691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165158" h="16283">
                              <a:moveTo>
                                <a:pt x="164553" y="16911"/>
                              </a:moveTo>
                              <a:lnTo>
                                <a:pt x="1465" y="16911"/>
                              </a:lnTo>
                              <a:cubicBezTo>
                                <a:pt x="651" y="16911"/>
                                <a:pt x="0" y="16260"/>
                                <a:pt x="0" y="15446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164553" y="0"/>
                              </a:lnTo>
                              <a:cubicBezTo>
                                <a:pt x="165367" y="0"/>
                                <a:pt x="166019" y="651"/>
                                <a:pt x="166019" y="1465"/>
                              </a:cubicBezTo>
                              <a:lnTo>
                                <a:pt x="166019" y="15446"/>
                              </a:lnTo>
                              <a:cubicBezTo>
                                <a:pt x="166019" y="16260"/>
                                <a:pt x="165367" y="16911"/>
                                <a:pt x="164553" y="1691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19439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022" name="Freeform: Shape 1021">
                          <a:extLst>
                            <a:ext uri="{FF2B5EF4-FFF2-40B4-BE49-F238E27FC236}">
                              <a16:creationId xmlns:a16="http://schemas.microsoft.com/office/drawing/2014/main" id="{EA3C00AE-E92C-4D7F-97B4-939261476732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75097" y="3976631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023" name="Freeform: Shape 1022">
                          <a:extLst>
                            <a:ext uri="{FF2B5EF4-FFF2-40B4-BE49-F238E27FC236}">
                              <a16:creationId xmlns:a16="http://schemas.microsoft.com/office/drawing/2014/main" id="{A6586A0A-5D51-466C-9975-DD675E3869BC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82960" y="3976631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024" name="Freeform: Shape 1023">
                          <a:extLst>
                            <a:ext uri="{FF2B5EF4-FFF2-40B4-BE49-F238E27FC236}">
                              <a16:creationId xmlns:a16="http://schemas.microsoft.com/office/drawing/2014/main" id="{BBCE1F02-D5CA-4F65-B381-AD3C3B42E348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90845" y="3976631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025" name="Freeform: Shape 1024">
                          <a:extLst>
                            <a:ext uri="{FF2B5EF4-FFF2-40B4-BE49-F238E27FC236}">
                              <a16:creationId xmlns:a16="http://schemas.microsoft.com/office/drawing/2014/main" id="{66838F06-239A-4EF0-AC8A-39BC07676235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98708" y="3976631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026" name="Freeform: Shape 1025">
                          <a:extLst>
                            <a:ext uri="{FF2B5EF4-FFF2-40B4-BE49-F238E27FC236}">
                              <a16:creationId xmlns:a16="http://schemas.microsoft.com/office/drawing/2014/main" id="{093633FB-9526-4971-9954-E634FC0E7CB5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06594" y="3976631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027" name="Freeform: Shape 1026">
                          <a:extLst>
                            <a:ext uri="{FF2B5EF4-FFF2-40B4-BE49-F238E27FC236}">
                              <a16:creationId xmlns:a16="http://schemas.microsoft.com/office/drawing/2014/main" id="{B8528777-4A81-46AB-AEE9-297E69385225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14479" y="3976631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028" name="Freeform: Shape 1027">
                          <a:extLst>
                            <a:ext uri="{FF2B5EF4-FFF2-40B4-BE49-F238E27FC236}">
                              <a16:creationId xmlns:a16="http://schemas.microsoft.com/office/drawing/2014/main" id="{C12A51AA-5656-4511-A67D-62554C50024A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22342" y="3976631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029" name="Freeform: Shape 1028">
                          <a:extLst>
                            <a:ext uri="{FF2B5EF4-FFF2-40B4-BE49-F238E27FC236}">
                              <a16:creationId xmlns:a16="http://schemas.microsoft.com/office/drawing/2014/main" id="{BD6406D1-6208-4E29-8FE6-FED6A92F2A49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30227" y="3976631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030" name="Freeform: Shape 1029">
                          <a:extLst>
                            <a:ext uri="{FF2B5EF4-FFF2-40B4-BE49-F238E27FC236}">
                              <a16:creationId xmlns:a16="http://schemas.microsoft.com/office/drawing/2014/main" id="{B9AE3010-2655-4A69-B932-7793A113BC6B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38090" y="3976631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031" name="Freeform: Shape 1030">
                          <a:extLst>
                            <a:ext uri="{FF2B5EF4-FFF2-40B4-BE49-F238E27FC236}">
                              <a16:creationId xmlns:a16="http://schemas.microsoft.com/office/drawing/2014/main" id="{822CEF91-760B-488F-8E00-4943E0E7A451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45976" y="3976631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032" name="Freeform: Shape 1031">
                          <a:extLst>
                            <a:ext uri="{FF2B5EF4-FFF2-40B4-BE49-F238E27FC236}">
                              <a16:creationId xmlns:a16="http://schemas.microsoft.com/office/drawing/2014/main" id="{A83A2415-71E3-4FA6-B6CF-AD7C4BE2D341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53838" y="3976631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033" name="Freeform: Shape 1032">
                          <a:extLst>
                            <a:ext uri="{FF2B5EF4-FFF2-40B4-BE49-F238E27FC236}">
                              <a16:creationId xmlns:a16="http://schemas.microsoft.com/office/drawing/2014/main" id="{10DB71F0-75E3-4B53-9F47-41061F99A1FC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12081" y="3976631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034" name="Freeform: Shape 1033">
                          <a:extLst>
                            <a:ext uri="{FF2B5EF4-FFF2-40B4-BE49-F238E27FC236}">
                              <a16:creationId xmlns:a16="http://schemas.microsoft.com/office/drawing/2014/main" id="{2A63FAB9-985B-409A-990C-54CE2C8EEEFA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19967" y="3976631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035" name="Freeform: Shape 1034">
                          <a:extLst>
                            <a:ext uri="{FF2B5EF4-FFF2-40B4-BE49-F238E27FC236}">
                              <a16:creationId xmlns:a16="http://schemas.microsoft.com/office/drawing/2014/main" id="{A9119CF9-DBDA-41F1-B713-4908C51ED30E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27829" y="3976631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036" name="Freeform: Shape 1035">
                          <a:extLst>
                            <a:ext uri="{FF2B5EF4-FFF2-40B4-BE49-F238E27FC236}">
                              <a16:creationId xmlns:a16="http://schemas.microsoft.com/office/drawing/2014/main" id="{A41A5298-D909-4EDF-96AF-F88035E9EBAE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96333" y="3976631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037" name="Freeform: Shape 1036">
                          <a:extLst>
                            <a:ext uri="{FF2B5EF4-FFF2-40B4-BE49-F238E27FC236}">
                              <a16:creationId xmlns:a16="http://schemas.microsoft.com/office/drawing/2014/main" id="{6CFBE046-2B94-4F7F-A036-8EE5A2E5C5FE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04195" y="3976631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038" name="Freeform: Shape 1037">
                          <a:extLst>
                            <a:ext uri="{FF2B5EF4-FFF2-40B4-BE49-F238E27FC236}">
                              <a16:creationId xmlns:a16="http://schemas.microsoft.com/office/drawing/2014/main" id="{E0FC8DAA-0F84-476F-A912-131135933D1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12081" y="3976631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039" name="Freeform: Shape 1038">
                          <a:extLst>
                            <a:ext uri="{FF2B5EF4-FFF2-40B4-BE49-F238E27FC236}">
                              <a16:creationId xmlns:a16="http://schemas.microsoft.com/office/drawing/2014/main" id="{6B80E1DA-B472-460C-A2BE-C1A7F0A92A98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35692" y="3976631"/>
                          <a:ext cx="4652" cy="13957"/>
                        </a:xfrm>
                        <a:custGeom>
                          <a:avLst/>
                          <a:gdLst>
                            <a:gd name="connsiteX0" fmla="*/ 4978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78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78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78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040" name="Freeform: Shape 1039">
                          <a:extLst>
                            <a:ext uri="{FF2B5EF4-FFF2-40B4-BE49-F238E27FC236}">
                              <a16:creationId xmlns:a16="http://schemas.microsoft.com/office/drawing/2014/main" id="{240482B6-548D-4F71-B9B9-B290F510EED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43578" y="3976631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041" name="Freeform: Shape 1040">
                          <a:extLst>
                            <a:ext uri="{FF2B5EF4-FFF2-40B4-BE49-F238E27FC236}">
                              <a16:creationId xmlns:a16="http://schemas.microsoft.com/office/drawing/2014/main" id="{BA8231EC-D7B0-4F0C-B790-412DE732A57E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51463" y="3976631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042" name="Freeform: Shape 1041">
                          <a:extLst>
                            <a:ext uri="{FF2B5EF4-FFF2-40B4-BE49-F238E27FC236}">
                              <a16:creationId xmlns:a16="http://schemas.microsoft.com/office/drawing/2014/main" id="{BA63D210-7FD0-495D-9041-F84C4E86FCA8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59326" y="3976631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043" name="Freeform: Shape 1042">
                          <a:extLst>
                            <a:ext uri="{FF2B5EF4-FFF2-40B4-BE49-F238E27FC236}">
                              <a16:creationId xmlns:a16="http://schemas.microsoft.com/office/drawing/2014/main" id="{D375DADC-3733-42A3-877E-B3DF756A59D5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67211" y="3976631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</p:grpSp>
                  <p:grpSp>
                    <p:nvGrpSpPr>
                      <p:cNvPr id="1044" name="Graphic 174">
                        <a:extLst>
                          <a:ext uri="{FF2B5EF4-FFF2-40B4-BE49-F238E27FC236}">
                            <a16:creationId xmlns:a16="http://schemas.microsoft.com/office/drawing/2014/main" id="{4045A780-E4ED-4946-BB38-1D6737CA17D1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6599962" y="3959021"/>
                        <a:ext cx="165158" cy="16283"/>
                        <a:chOff x="6599962" y="3959021"/>
                        <a:chExt cx="165158" cy="16283"/>
                      </a:xfrm>
                      <a:solidFill>
                        <a:schemeClr val="accent1"/>
                      </a:solidFill>
                    </p:grpSpPr>
                    <p:sp>
                      <p:nvSpPr>
                        <p:cNvPr id="1045" name="Freeform: Shape 1044">
                          <a:extLst>
                            <a:ext uri="{FF2B5EF4-FFF2-40B4-BE49-F238E27FC236}">
                              <a16:creationId xmlns:a16="http://schemas.microsoft.com/office/drawing/2014/main" id="{D8763189-E3BE-4186-8545-D6C6033C3AC7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99962" y="3959021"/>
                          <a:ext cx="165158" cy="16283"/>
                        </a:xfrm>
                        <a:custGeom>
                          <a:avLst/>
                          <a:gdLst>
                            <a:gd name="connsiteX0" fmla="*/ 164553 w 165158"/>
                            <a:gd name="connsiteY0" fmla="*/ 16911 h 16283"/>
                            <a:gd name="connsiteX1" fmla="*/ 1465 w 165158"/>
                            <a:gd name="connsiteY1" fmla="*/ 16911 h 16283"/>
                            <a:gd name="connsiteX2" fmla="*/ 0 w 165158"/>
                            <a:gd name="connsiteY2" fmla="*/ 15446 h 16283"/>
                            <a:gd name="connsiteX3" fmla="*/ 0 w 165158"/>
                            <a:gd name="connsiteY3" fmla="*/ 1465 h 16283"/>
                            <a:gd name="connsiteX4" fmla="*/ 1465 w 165158"/>
                            <a:gd name="connsiteY4" fmla="*/ 0 h 16283"/>
                            <a:gd name="connsiteX5" fmla="*/ 164553 w 165158"/>
                            <a:gd name="connsiteY5" fmla="*/ 0 h 16283"/>
                            <a:gd name="connsiteX6" fmla="*/ 166019 w 165158"/>
                            <a:gd name="connsiteY6" fmla="*/ 1465 h 16283"/>
                            <a:gd name="connsiteX7" fmla="*/ 166019 w 165158"/>
                            <a:gd name="connsiteY7" fmla="*/ 15446 h 16283"/>
                            <a:gd name="connsiteX8" fmla="*/ 164553 w 165158"/>
                            <a:gd name="connsiteY8" fmla="*/ 1691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165158" h="16283">
                              <a:moveTo>
                                <a:pt x="164553" y="16911"/>
                              </a:moveTo>
                              <a:lnTo>
                                <a:pt x="1465" y="16911"/>
                              </a:lnTo>
                              <a:cubicBezTo>
                                <a:pt x="651" y="16911"/>
                                <a:pt x="0" y="16260"/>
                                <a:pt x="0" y="15446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164553" y="0"/>
                              </a:lnTo>
                              <a:cubicBezTo>
                                <a:pt x="165367" y="0"/>
                                <a:pt x="166019" y="651"/>
                                <a:pt x="166019" y="1465"/>
                              </a:cubicBezTo>
                              <a:lnTo>
                                <a:pt x="166019" y="15446"/>
                              </a:lnTo>
                              <a:cubicBezTo>
                                <a:pt x="166019" y="16260"/>
                                <a:pt x="165367" y="16911"/>
                                <a:pt x="164553" y="1691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19439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046" name="Freeform: Shape 1045">
                          <a:extLst>
                            <a:ext uri="{FF2B5EF4-FFF2-40B4-BE49-F238E27FC236}">
                              <a16:creationId xmlns:a16="http://schemas.microsoft.com/office/drawing/2014/main" id="{9C7B758D-2B13-455F-917B-DDC6885918E7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79773" y="3959719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047" name="Freeform: Shape 1046">
                          <a:extLst>
                            <a:ext uri="{FF2B5EF4-FFF2-40B4-BE49-F238E27FC236}">
                              <a16:creationId xmlns:a16="http://schemas.microsoft.com/office/drawing/2014/main" id="{B63C1009-A282-499E-9CE3-7ECAB0750901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87635" y="3959719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048" name="Freeform: Shape 1047">
                          <a:extLst>
                            <a:ext uri="{FF2B5EF4-FFF2-40B4-BE49-F238E27FC236}">
                              <a16:creationId xmlns:a16="http://schemas.microsoft.com/office/drawing/2014/main" id="{753350BA-1354-46CA-8BFC-F17D75107E20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95521" y="3959719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049" name="Freeform: Shape 1048">
                          <a:extLst>
                            <a:ext uri="{FF2B5EF4-FFF2-40B4-BE49-F238E27FC236}">
                              <a16:creationId xmlns:a16="http://schemas.microsoft.com/office/drawing/2014/main" id="{17BA3680-E7C9-45C9-8B57-790053E79B69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03383" y="3959719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050" name="Freeform: Shape 1049">
                          <a:extLst>
                            <a:ext uri="{FF2B5EF4-FFF2-40B4-BE49-F238E27FC236}">
                              <a16:creationId xmlns:a16="http://schemas.microsoft.com/office/drawing/2014/main" id="{1108207A-70CB-46D9-B787-553E5EFB9C98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11269" y="3959719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051" name="Freeform: Shape 1050">
                          <a:extLst>
                            <a:ext uri="{FF2B5EF4-FFF2-40B4-BE49-F238E27FC236}">
                              <a16:creationId xmlns:a16="http://schemas.microsoft.com/office/drawing/2014/main" id="{46F851BA-AF71-44B4-B50D-C896893C1E86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19132" y="3959719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052" name="Freeform: Shape 1051">
                          <a:extLst>
                            <a:ext uri="{FF2B5EF4-FFF2-40B4-BE49-F238E27FC236}">
                              <a16:creationId xmlns:a16="http://schemas.microsoft.com/office/drawing/2014/main" id="{B718ABF8-047C-43D2-80C4-676E2EDF9D3B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27017" y="3959719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053" name="Freeform: Shape 1052">
                          <a:extLst>
                            <a:ext uri="{FF2B5EF4-FFF2-40B4-BE49-F238E27FC236}">
                              <a16:creationId xmlns:a16="http://schemas.microsoft.com/office/drawing/2014/main" id="{2109F582-208B-4F67-9072-770A38ED72F9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34903" y="3959719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054" name="Freeform: Shape 1053">
                          <a:extLst>
                            <a:ext uri="{FF2B5EF4-FFF2-40B4-BE49-F238E27FC236}">
                              <a16:creationId xmlns:a16="http://schemas.microsoft.com/office/drawing/2014/main" id="{09BF0E7B-FDA9-41E4-85B9-FC6F7B738529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42765" y="3959719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055" name="Freeform: Shape 1054">
                          <a:extLst>
                            <a:ext uri="{FF2B5EF4-FFF2-40B4-BE49-F238E27FC236}">
                              <a16:creationId xmlns:a16="http://schemas.microsoft.com/office/drawing/2014/main" id="{260B7382-71EE-43C7-99FF-451751D0C9B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50651" y="3959719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056" name="Freeform: Shape 1055">
                          <a:extLst>
                            <a:ext uri="{FF2B5EF4-FFF2-40B4-BE49-F238E27FC236}">
                              <a16:creationId xmlns:a16="http://schemas.microsoft.com/office/drawing/2014/main" id="{45C57C29-28F6-4B91-9CE0-5ACA5990A035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58514" y="3959719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057" name="Freeform: Shape 1056">
                          <a:extLst>
                            <a:ext uri="{FF2B5EF4-FFF2-40B4-BE49-F238E27FC236}">
                              <a16:creationId xmlns:a16="http://schemas.microsoft.com/office/drawing/2014/main" id="{51ECF81B-37FE-4704-85BC-632224B0B33A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16757" y="3959719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058" name="Freeform: Shape 1057">
                          <a:extLst>
                            <a:ext uri="{FF2B5EF4-FFF2-40B4-BE49-F238E27FC236}">
                              <a16:creationId xmlns:a16="http://schemas.microsoft.com/office/drawing/2014/main" id="{F7A5D7C7-7BEE-4726-81F3-0AE4FDF6213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24619" y="3959719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059" name="Freeform: Shape 1058">
                          <a:extLst>
                            <a:ext uri="{FF2B5EF4-FFF2-40B4-BE49-F238E27FC236}">
                              <a16:creationId xmlns:a16="http://schemas.microsoft.com/office/drawing/2014/main" id="{77093827-30C3-4581-B33D-0CF512BB9AB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32505" y="3959719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060" name="Freeform: Shape 1059">
                          <a:extLst>
                            <a:ext uri="{FF2B5EF4-FFF2-40B4-BE49-F238E27FC236}">
                              <a16:creationId xmlns:a16="http://schemas.microsoft.com/office/drawing/2014/main" id="{443275C4-E562-449A-A376-FE68C35E06BA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01009" y="3959719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061" name="Freeform: Shape 1060">
                          <a:extLst>
                            <a:ext uri="{FF2B5EF4-FFF2-40B4-BE49-F238E27FC236}">
                              <a16:creationId xmlns:a16="http://schemas.microsoft.com/office/drawing/2014/main" id="{1842E459-C8E6-4DF3-9920-544A1C724081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08871" y="3959719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062" name="Freeform: Shape 1061">
                          <a:extLst>
                            <a:ext uri="{FF2B5EF4-FFF2-40B4-BE49-F238E27FC236}">
                              <a16:creationId xmlns:a16="http://schemas.microsoft.com/office/drawing/2014/main" id="{ACED1710-2691-49DB-A015-5544EB4D07C3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16757" y="3959719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063" name="Freeform: Shape 1062">
                          <a:extLst>
                            <a:ext uri="{FF2B5EF4-FFF2-40B4-BE49-F238E27FC236}">
                              <a16:creationId xmlns:a16="http://schemas.microsoft.com/office/drawing/2014/main" id="{D3CC2325-11DA-4B9C-BF1D-66E16DA4CE35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40391" y="3959719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064" name="Freeform: Shape 1063">
                          <a:extLst>
                            <a:ext uri="{FF2B5EF4-FFF2-40B4-BE49-F238E27FC236}">
                              <a16:creationId xmlns:a16="http://schemas.microsoft.com/office/drawing/2014/main" id="{D9191889-32C5-4B53-A28D-502CAF5CC410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48253" y="3959719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065" name="Freeform: Shape 1064">
                          <a:extLst>
                            <a:ext uri="{FF2B5EF4-FFF2-40B4-BE49-F238E27FC236}">
                              <a16:creationId xmlns:a16="http://schemas.microsoft.com/office/drawing/2014/main" id="{AECC024C-970D-4916-8B60-FF5E53A07C7D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56139" y="3959719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066" name="Freeform: Shape 1065">
                          <a:extLst>
                            <a:ext uri="{FF2B5EF4-FFF2-40B4-BE49-F238E27FC236}">
                              <a16:creationId xmlns:a16="http://schemas.microsoft.com/office/drawing/2014/main" id="{31959D3F-745B-4435-BE98-92227B2DDC93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64001" y="3959719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067" name="Freeform: Shape 1066">
                          <a:extLst>
                            <a:ext uri="{FF2B5EF4-FFF2-40B4-BE49-F238E27FC236}">
                              <a16:creationId xmlns:a16="http://schemas.microsoft.com/office/drawing/2014/main" id="{727F1291-7FA3-47B9-A635-8FF1232A52BB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71887" y="3959719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</p:grpSp>
                  <p:grpSp>
                    <p:nvGrpSpPr>
                      <p:cNvPr id="1068" name="Graphic 174">
                        <a:extLst>
                          <a:ext uri="{FF2B5EF4-FFF2-40B4-BE49-F238E27FC236}">
                            <a16:creationId xmlns:a16="http://schemas.microsoft.com/office/drawing/2014/main" id="{4045A780-E4ED-4946-BB38-1D6737CA17D1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6599962" y="3925245"/>
                        <a:ext cx="165158" cy="16283"/>
                        <a:chOff x="6599962" y="3925245"/>
                        <a:chExt cx="165158" cy="16283"/>
                      </a:xfrm>
                      <a:solidFill>
                        <a:schemeClr val="accent1"/>
                      </a:solidFill>
                    </p:grpSpPr>
                    <p:sp>
                      <p:nvSpPr>
                        <p:cNvPr id="1069" name="Freeform: Shape 1068">
                          <a:extLst>
                            <a:ext uri="{FF2B5EF4-FFF2-40B4-BE49-F238E27FC236}">
                              <a16:creationId xmlns:a16="http://schemas.microsoft.com/office/drawing/2014/main" id="{DFE184DA-A6A2-4DA6-BDF2-11D9484E1969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99962" y="3925245"/>
                          <a:ext cx="165158" cy="16283"/>
                        </a:xfrm>
                        <a:custGeom>
                          <a:avLst/>
                          <a:gdLst>
                            <a:gd name="connsiteX0" fmla="*/ 164553 w 165158"/>
                            <a:gd name="connsiteY0" fmla="*/ 16911 h 16283"/>
                            <a:gd name="connsiteX1" fmla="*/ 1465 w 165158"/>
                            <a:gd name="connsiteY1" fmla="*/ 16911 h 16283"/>
                            <a:gd name="connsiteX2" fmla="*/ 0 w 165158"/>
                            <a:gd name="connsiteY2" fmla="*/ 15446 h 16283"/>
                            <a:gd name="connsiteX3" fmla="*/ 0 w 165158"/>
                            <a:gd name="connsiteY3" fmla="*/ 1465 h 16283"/>
                            <a:gd name="connsiteX4" fmla="*/ 1465 w 165158"/>
                            <a:gd name="connsiteY4" fmla="*/ 0 h 16283"/>
                            <a:gd name="connsiteX5" fmla="*/ 164553 w 165158"/>
                            <a:gd name="connsiteY5" fmla="*/ 0 h 16283"/>
                            <a:gd name="connsiteX6" fmla="*/ 166019 w 165158"/>
                            <a:gd name="connsiteY6" fmla="*/ 1465 h 16283"/>
                            <a:gd name="connsiteX7" fmla="*/ 166019 w 165158"/>
                            <a:gd name="connsiteY7" fmla="*/ 15446 h 16283"/>
                            <a:gd name="connsiteX8" fmla="*/ 164553 w 165158"/>
                            <a:gd name="connsiteY8" fmla="*/ 1691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165158" h="16283">
                              <a:moveTo>
                                <a:pt x="164553" y="16911"/>
                              </a:moveTo>
                              <a:lnTo>
                                <a:pt x="1465" y="16911"/>
                              </a:lnTo>
                              <a:cubicBezTo>
                                <a:pt x="651" y="16911"/>
                                <a:pt x="0" y="16260"/>
                                <a:pt x="0" y="15446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164553" y="0"/>
                              </a:lnTo>
                              <a:cubicBezTo>
                                <a:pt x="165367" y="0"/>
                                <a:pt x="166019" y="651"/>
                                <a:pt x="166019" y="1465"/>
                              </a:cubicBezTo>
                              <a:lnTo>
                                <a:pt x="166019" y="15446"/>
                              </a:lnTo>
                              <a:cubicBezTo>
                                <a:pt x="166019" y="16260"/>
                                <a:pt x="165367" y="16911"/>
                                <a:pt x="164553" y="1691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19439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070" name="Freeform: Shape 1069">
                          <a:extLst>
                            <a:ext uri="{FF2B5EF4-FFF2-40B4-BE49-F238E27FC236}">
                              <a16:creationId xmlns:a16="http://schemas.microsoft.com/office/drawing/2014/main" id="{B6D6BB68-2778-4C47-8713-95366070C390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79773" y="3925943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071" name="Freeform: Shape 1070">
                          <a:extLst>
                            <a:ext uri="{FF2B5EF4-FFF2-40B4-BE49-F238E27FC236}">
                              <a16:creationId xmlns:a16="http://schemas.microsoft.com/office/drawing/2014/main" id="{453F2CB0-D148-4B7E-9B0F-2CAE8517125D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87635" y="3925943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072" name="Freeform: Shape 1071">
                          <a:extLst>
                            <a:ext uri="{FF2B5EF4-FFF2-40B4-BE49-F238E27FC236}">
                              <a16:creationId xmlns:a16="http://schemas.microsoft.com/office/drawing/2014/main" id="{EDC092DA-5A1D-4D50-839C-8CFB39048913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95521" y="3925943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073" name="Freeform: Shape 1072">
                          <a:extLst>
                            <a:ext uri="{FF2B5EF4-FFF2-40B4-BE49-F238E27FC236}">
                              <a16:creationId xmlns:a16="http://schemas.microsoft.com/office/drawing/2014/main" id="{213E23B0-60DC-42F3-A898-076E5A6C4856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03383" y="3925943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074" name="Freeform: Shape 1073">
                          <a:extLst>
                            <a:ext uri="{FF2B5EF4-FFF2-40B4-BE49-F238E27FC236}">
                              <a16:creationId xmlns:a16="http://schemas.microsoft.com/office/drawing/2014/main" id="{053AAF59-B464-494F-A127-EEB7B94B5069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11269" y="3925943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075" name="Freeform: Shape 1074">
                          <a:extLst>
                            <a:ext uri="{FF2B5EF4-FFF2-40B4-BE49-F238E27FC236}">
                              <a16:creationId xmlns:a16="http://schemas.microsoft.com/office/drawing/2014/main" id="{F836D8A2-5755-4F8A-AC65-402CB0AB5F7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19132" y="3925943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076" name="Freeform: Shape 1075">
                          <a:extLst>
                            <a:ext uri="{FF2B5EF4-FFF2-40B4-BE49-F238E27FC236}">
                              <a16:creationId xmlns:a16="http://schemas.microsoft.com/office/drawing/2014/main" id="{4B917F05-2CF7-45BA-90ED-0ED5A366CEC9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27017" y="3925943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077" name="Freeform: Shape 1076">
                          <a:extLst>
                            <a:ext uri="{FF2B5EF4-FFF2-40B4-BE49-F238E27FC236}">
                              <a16:creationId xmlns:a16="http://schemas.microsoft.com/office/drawing/2014/main" id="{44617CCC-DECD-437A-B2A6-8E981A656B09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34903" y="3925943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078" name="Freeform: Shape 1077">
                          <a:extLst>
                            <a:ext uri="{FF2B5EF4-FFF2-40B4-BE49-F238E27FC236}">
                              <a16:creationId xmlns:a16="http://schemas.microsoft.com/office/drawing/2014/main" id="{9E4A42B6-0F24-4CCF-8113-0EF66C939E3E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42765" y="3925943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079" name="Freeform: Shape 1078">
                          <a:extLst>
                            <a:ext uri="{FF2B5EF4-FFF2-40B4-BE49-F238E27FC236}">
                              <a16:creationId xmlns:a16="http://schemas.microsoft.com/office/drawing/2014/main" id="{0A01008B-E834-4BA9-AB04-E2455ED3A77A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50651" y="3925943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080" name="Freeform: Shape 1079">
                          <a:extLst>
                            <a:ext uri="{FF2B5EF4-FFF2-40B4-BE49-F238E27FC236}">
                              <a16:creationId xmlns:a16="http://schemas.microsoft.com/office/drawing/2014/main" id="{690E2FE8-5C1E-4D1F-A173-3292C8B13F78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58514" y="3925943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081" name="Freeform: Shape 1080">
                          <a:extLst>
                            <a:ext uri="{FF2B5EF4-FFF2-40B4-BE49-F238E27FC236}">
                              <a16:creationId xmlns:a16="http://schemas.microsoft.com/office/drawing/2014/main" id="{408D5636-4EC5-4951-B4ED-4CE5D9B8EFD1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16757" y="3925943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082" name="Freeform: Shape 1081">
                          <a:extLst>
                            <a:ext uri="{FF2B5EF4-FFF2-40B4-BE49-F238E27FC236}">
                              <a16:creationId xmlns:a16="http://schemas.microsoft.com/office/drawing/2014/main" id="{4F5E030D-A4CE-4AB4-8162-42B556B8CAA4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24619" y="3925943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083" name="Freeform: Shape 1082">
                          <a:extLst>
                            <a:ext uri="{FF2B5EF4-FFF2-40B4-BE49-F238E27FC236}">
                              <a16:creationId xmlns:a16="http://schemas.microsoft.com/office/drawing/2014/main" id="{121A052A-75F6-41E9-A8F7-70E609101621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32505" y="3925943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084" name="Freeform: Shape 1083">
                          <a:extLst>
                            <a:ext uri="{FF2B5EF4-FFF2-40B4-BE49-F238E27FC236}">
                              <a16:creationId xmlns:a16="http://schemas.microsoft.com/office/drawing/2014/main" id="{4A5AF0E7-EED3-4A95-ACD1-C53C61359A1C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01009" y="3925943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085" name="Freeform: Shape 1084">
                          <a:extLst>
                            <a:ext uri="{FF2B5EF4-FFF2-40B4-BE49-F238E27FC236}">
                              <a16:creationId xmlns:a16="http://schemas.microsoft.com/office/drawing/2014/main" id="{151151C0-8DB4-4671-89A6-BCE210BD78C1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08871" y="3925943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086" name="Freeform: Shape 1085">
                          <a:extLst>
                            <a:ext uri="{FF2B5EF4-FFF2-40B4-BE49-F238E27FC236}">
                              <a16:creationId xmlns:a16="http://schemas.microsoft.com/office/drawing/2014/main" id="{718A258C-40C1-48C1-8922-0FAD87A5D83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16757" y="3925943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087" name="Freeform: Shape 1086">
                          <a:extLst>
                            <a:ext uri="{FF2B5EF4-FFF2-40B4-BE49-F238E27FC236}">
                              <a16:creationId xmlns:a16="http://schemas.microsoft.com/office/drawing/2014/main" id="{7CBE3169-CDC5-4182-B220-E4F48275ABB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40391" y="3925943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088" name="Freeform: Shape 1087">
                          <a:extLst>
                            <a:ext uri="{FF2B5EF4-FFF2-40B4-BE49-F238E27FC236}">
                              <a16:creationId xmlns:a16="http://schemas.microsoft.com/office/drawing/2014/main" id="{3258CDF2-FEC7-4090-81E7-F6AF22C43EFD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48253" y="3925943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089" name="Freeform: Shape 1088">
                          <a:extLst>
                            <a:ext uri="{FF2B5EF4-FFF2-40B4-BE49-F238E27FC236}">
                              <a16:creationId xmlns:a16="http://schemas.microsoft.com/office/drawing/2014/main" id="{B37C5C6E-AF80-4694-9CD5-5808EF5EE4C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56139" y="3925943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090" name="Freeform: Shape 1089">
                          <a:extLst>
                            <a:ext uri="{FF2B5EF4-FFF2-40B4-BE49-F238E27FC236}">
                              <a16:creationId xmlns:a16="http://schemas.microsoft.com/office/drawing/2014/main" id="{572363D0-F383-47D1-8175-4DEEB752491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64001" y="3925943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091" name="Freeform: Shape 1090">
                          <a:extLst>
                            <a:ext uri="{FF2B5EF4-FFF2-40B4-BE49-F238E27FC236}">
                              <a16:creationId xmlns:a16="http://schemas.microsoft.com/office/drawing/2014/main" id="{86209574-1E56-4A35-B504-72F6E291F890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71887" y="3925943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</p:grpSp>
                  <p:grpSp>
                    <p:nvGrpSpPr>
                      <p:cNvPr id="1092" name="Graphic 174">
                        <a:extLst>
                          <a:ext uri="{FF2B5EF4-FFF2-40B4-BE49-F238E27FC236}">
                            <a16:creationId xmlns:a16="http://schemas.microsoft.com/office/drawing/2014/main" id="{4045A780-E4ED-4946-BB38-1D6737CA17D1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6592076" y="3942133"/>
                        <a:ext cx="165158" cy="16283"/>
                        <a:chOff x="6592076" y="3942133"/>
                        <a:chExt cx="165158" cy="16283"/>
                      </a:xfrm>
                      <a:solidFill>
                        <a:schemeClr val="accent1"/>
                      </a:solidFill>
                    </p:grpSpPr>
                    <p:sp>
                      <p:nvSpPr>
                        <p:cNvPr id="1093" name="Freeform: Shape 1092">
                          <a:extLst>
                            <a:ext uri="{FF2B5EF4-FFF2-40B4-BE49-F238E27FC236}">
                              <a16:creationId xmlns:a16="http://schemas.microsoft.com/office/drawing/2014/main" id="{3446FD60-8EA6-43DA-9702-73C13B966A51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92076" y="3942133"/>
                          <a:ext cx="165158" cy="16283"/>
                        </a:xfrm>
                        <a:custGeom>
                          <a:avLst/>
                          <a:gdLst>
                            <a:gd name="connsiteX0" fmla="*/ 164553 w 165158"/>
                            <a:gd name="connsiteY0" fmla="*/ 16911 h 16283"/>
                            <a:gd name="connsiteX1" fmla="*/ 1465 w 165158"/>
                            <a:gd name="connsiteY1" fmla="*/ 16911 h 16283"/>
                            <a:gd name="connsiteX2" fmla="*/ 0 w 165158"/>
                            <a:gd name="connsiteY2" fmla="*/ 15446 h 16283"/>
                            <a:gd name="connsiteX3" fmla="*/ 0 w 165158"/>
                            <a:gd name="connsiteY3" fmla="*/ 1465 h 16283"/>
                            <a:gd name="connsiteX4" fmla="*/ 1465 w 165158"/>
                            <a:gd name="connsiteY4" fmla="*/ 0 h 16283"/>
                            <a:gd name="connsiteX5" fmla="*/ 164553 w 165158"/>
                            <a:gd name="connsiteY5" fmla="*/ 0 h 16283"/>
                            <a:gd name="connsiteX6" fmla="*/ 166019 w 165158"/>
                            <a:gd name="connsiteY6" fmla="*/ 1465 h 16283"/>
                            <a:gd name="connsiteX7" fmla="*/ 166019 w 165158"/>
                            <a:gd name="connsiteY7" fmla="*/ 15446 h 16283"/>
                            <a:gd name="connsiteX8" fmla="*/ 164553 w 165158"/>
                            <a:gd name="connsiteY8" fmla="*/ 1691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165158" h="16283">
                              <a:moveTo>
                                <a:pt x="164553" y="16911"/>
                              </a:moveTo>
                              <a:lnTo>
                                <a:pt x="1465" y="16911"/>
                              </a:lnTo>
                              <a:cubicBezTo>
                                <a:pt x="651" y="16911"/>
                                <a:pt x="0" y="16260"/>
                                <a:pt x="0" y="15446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164553" y="0"/>
                              </a:lnTo>
                              <a:cubicBezTo>
                                <a:pt x="165367" y="0"/>
                                <a:pt x="166019" y="651"/>
                                <a:pt x="166019" y="1465"/>
                              </a:cubicBezTo>
                              <a:lnTo>
                                <a:pt x="166019" y="15446"/>
                              </a:lnTo>
                              <a:cubicBezTo>
                                <a:pt x="166019" y="16260"/>
                                <a:pt x="165367" y="16911"/>
                                <a:pt x="164553" y="1691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19439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094" name="Freeform: Shape 1093">
                          <a:extLst>
                            <a:ext uri="{FF2B5EF4-FFF2-40B4-BE49-F238E27FC236}">
                              <a16:creationId xmlns:a16="http://schemas.microsoft.com/office/drawing/2014/main" id="{68DDD4A4-AA43-43ED-A948-7AAF5D46C056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71887" y="3942831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095" name="Freeform: Shape 1094">
                          <a:extLst>
                            <a:ext uri="{FF2B5EF4-FFF2-40B4-BE49-F238E27FC236}">
                              <a16:creationId xmlns:a16="http://schemas.microsoft.com/office/drawing/2014/main" id="{5372611B-07E8-4D4B-9572-3B12A4191494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79773" y="3942831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096" name="Freeform: Shape 1095">
                          <a:extLst>
                            <a:ext uri="{FF2B5EF4-FFF2-40B4-BE49-F238E27FC236}">
                              <a16:creationId xmlns:a16="http://schemas.microsoft.com/office/drawing/2014/main" id="{FA4CFB5E-CB77-483D-8678-B655640B62A0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87635" y="3942831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097" name="Freeform: Shape 1096">
                          <a:extLst>
                            <a:ext uri="{FF2B5EF4-FFF2-40B4-BE49-F238E27FC236}">
                              <a16:creationId xmlns:a16="http://schemas.microsoft.com/office/drawing/2014/main" id="{6C7DDBC9-63AA-4CCD-AC40-9FF4D217197A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95521" y="3942831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098" name="Freeform: Shape 1097">
                          <a:extLst>
                            <a:ext uri="{FF2B5EF4-FFF2-40B4-BE49-F238E27FC236}">
                              <a16:creationId xmlns:a16="http://schemas.microsoft.com/office/drawing/2014/main" id="{7BD5C636-621C-416D-8904-88FBA263088D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03383" y="3942831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099" name="Freeform: Shape 1098">
                          <a:extLst>
                            <a:ext uri="{FF2B5EF4-FFF2-40B4-BE49-F238E27FC236}">
                              <a16:creationId xmlns:a16="http://schemas.microsoft.com/office/drawing/2014/main" id="{C2DC4CF2-3BE1-4359-854B-C9326529CB74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11269" y="3942831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100" name="Freeform: Shape 1099">
                          <a:extLst>
                            <a:ext uri="{FF2B5EF4-FFF2-40B4-BE49-F238E27FC236}">
                              <a16:creationId xmlns:a16="http://schemas.microsoft.com/office/drawing/2014/main" id="{C0249295-6ED8-4AA2-9DAE-3EDC37D8A6C5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19132" y="3942831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101" name="Freeform: Shape 1100">
                          <a:extLst>
                            <a:ext uri="{FF2B5EF4-FFF2-40B4-BE49-F238E27FC236}">
                              <a16:creationId xmlns:a16="http://schemas.microsoft.com/office/drawing/2014/main" id="{3E9C3769-7D19-4531-AFFE-6C541B615C75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27017" y="3942831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102" name="Freeform: Shape 1101">
                          <a:extLst>
                            <a:ext uri="{FF2B5EF4-FFF2-40B4-BE49-F238E27FC236}">
                              <a16:creationId xmlns:a16="http://schemas.microsoft.com/office/drawing/2014/main" id="{14281683-008E-4028-A60E-133D9F732944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34903" y="3942831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103" name="Freeform: Shape 1102">
                          <a:extLst>
                            <a:ext uri="{FF2B5EF4-FFF2-40B4-BE49-F238E27FC236}">
                              <a16:creationId xmlns:a16="http://schemas.microsoft.com/office/drawing/2014/main" id="{B24DA75D-CAFA-4531-AD37-AAAC9A58B392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42765" y="3942831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104" name="Freeform: Shape 1103">
                          <a:extLst>
                            <a:ext uri="{FF2B5EF4-FFF2-40B4-BE49-F238E27FC236}">
                              <a16:creationId xmlns:a16="http://schemas.microsoft.com/office/drawing/2014/main" id="{D8B13248-7D22-4FA9-BB42-95D13DDD35CE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50651" y="3942831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105" name="Freeform: Shape 1104">
                          <a:extLst>
                            <a:ext uri="{FF2B5EF4-FFF2-40B4-BE49-F238E27FC236}">
                              <a16:creationId xmlns:a16="http://schemas.microsoft.com/office/drawing/2014/main" id="{37D2A76B-2B00-4B0C-9D0D-FA22DF382F8E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08871" y="3942831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106" name="Freeform: Shape 1105">
                          <a:extLst>
                            <a:ext uri="{FF2B5EF4-FFF2-40B4-BE49-F238E27FC236}">
                              <a16:creationId xmlns:a16="http://schemas.microsoft.com/office/drawing/2014/main" id="{E4991BAB-ED58-49B3-8777-F213400FDF22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16757" y="3942831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107" name="Freeform: Shape 1106">
                          <a:extLst>
                            <a:ext uri="{FF2B5EF4-FFF2-40B4-BE49-F238E27FC236}">
                              <a16:creationId xmlns:a16="http://schemas.microsoft.com/office/drawing/2014/main" id="{62FC582F-283D-4BC1-8AD0-F02471236A39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24619" y="3942831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108" name="Freeform: Shape 1107">
                          <a:extLst>
                            <a:ext uri="{FF2B5EF4-FFF2-40B4-BE49-F238E27FC236}">
                              <a16:creationId xmlns:a16="http://schemas.microsoft.com/office/drawing/2014/main" id="{B2F2D088-11C8-45D1-AFD0-5036D143D27D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93123" y="3942831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109" name="Freeform: Shape 1108">
                          <a:extLst>
                            <a:ext uri="{FF2B5EF4-FFF2-40B4-BE49-F238E27FC236}">
                              <a16:creationId xmlns:a16="http://schemas.microsoft.com/office/drawing/2014/main" id="{0ECC8650-AB75-405E-B835-085FC213B41E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01009" y="3942831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110" name="Freeform: Shape 1109">
                          <a:extLst>
                            <a:ext uri="{FF2B5EF4-FFF2-40B4-BE49-F238E27FC236}">
                              <a16:creationId xmlns:a16="http://schemas.microsoft.com/office/drawing/2014/main" id="{CECF2C31-C8D3-4899-9EDA-9873B8C3EC82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08871" y="3942831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111" name="Freeform: Shape 1110">
                          <a:extLst>
                            <a:ext uri="{FF2B5EF4-FFF2-40B4-BE49-F238E27FC236}">
                              <a16:creationId xmlns:a16="http://schemas.microsoft.com/office/drawing/2014/main" id="{4F22D5A2-5262-4FA7-9FC3-D902E463942A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32505" y="3942831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112" name="Freeform: Shape 1111">
                          <a:extLst>
                            <a:ext uri="{FF2B5EF4-FFF2-40B4-BE49-F238E27FC236}">
                              <a16:creationId xmlns:a16="http://schemas.microsoft.com/office/drawing/2014/main" id="{36CF6D37-84B6-4B4A-84CF-809984C3FBE3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40391" y="3942831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113" name="Freeform: Shape 1112">
                          <a:extLst>
                            <a:ext uri="{FF2B5EF4-FFF2-40B4-BE49-F238E27FC236}">
                              <a16:creationId xmlns:a16="http://schemas.microsoft.com/office/drawing/2014/main" id="{A07B3DCE-DDBC-4027-9DEC-92CB76501F45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48253" y="3942831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114" name="Freeform: Shape 1113">
                          <a:extLst>
                            <a:ext uri="{FF2B5EF4-FFF2-40B4-BE49-F238E27FC236}">
                              <a16:creationId xmlns:a16="http://schemas.microsoft.com/office/drawing/2014/main" id="{270F746E-AF87-4CDF-983A-8610EE6C2F7E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56139" y="3942831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115" name="Freeform: Shape 1114">
                          <a:extLst>
                            <a:ext uri="{FF2B5EF4-FFF2-40B4-BE49-F238E27FC236}">
                              <a16:creationId xmlns:a16="http://schemas.microsoft.com/office/drawing/2014/main" id="{6BC1A3AC-6173-4E4B-8632-2504E969ED7A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64001" y="3942831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</p:grpSp>
                  <p:grpSp>
                    <p:nvGrpSpPr>
                      <p:cNvPr id="1116" name="Graphic 174">
                        <a:extLst>
                          <a:ext uri="{FF2B5EF4-FFF2-40B4-BE49-F238E27FC236}">
                            <a16:creationId xmlns:a16="http://schemas.microsoft.com/office/drawing/2014/main" id="{4045A780-E4ED-4946-BB38-1D6737CA17D1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6595286" y="3908334"/>
                        <a:ext cx="165158" cy="16283"/>
                        <a:chOff x="6595286" y="3908334"/>
                        <a:chExt cx="165158" cy="16283"/>
                      </a:xfrm>
                      <a:solidFill>
                        <a:schemeClr val="accent1"/>
                      </a:solidFill>
                    </p:grpSpPr>
                    <p:sp>
                      <p:nvSpPr>
                        <p:cNvPr id="1117" name="Freeform: Shape 1116">
                          <a:extLst>
                            <a:ext uri="{FF2B5EF4-FFF2-40B4-BE49-F238E27FC236}">
                              <a16:creationId xmlns:a16="http://schemas.microsoft.com/office/drawing/2014/main" id="{06A5ACC2-8CAE-40ED-A203-183C7FE3F058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95286" y="3908334"/>
                          <a:ext cx="165158" cy="16283"/>
                        </a:xfrm>
                        <a:custGeom>
                          <a:avLst/>
                          <a:gdLst>
                            <a:gd name="connsiteX0" fmla="*/ 164553 w 165158"/>
                            <a:gd name="connsiteY0" fmla="*/ 16911 h 16283"/>
                            <a:gd name="connsiteX1" fmla="*/ 1465 w 165158"/>
                            <a:gd name="connsiteY1" fmla="*/ 16911 h 16283"/>
                            <a:gd name="connsiteX2" fmla="*/ 0 w 165158"/>
                            <a:gd name="connsiteY2" fmla="*/ 15446 h 16283"/>
                            <a:gd name="connsiteX3" fmla="*/ 0 w 165158"/>
                            <a:gd name="connsiteY3" fmla="*/ 1465 h 16283"/>
                            <a:gd name="connsiteX4" fmla="*/ 1465 w 165158"/>
                            <a:gd name="connsiteY4" fmla="*/ 0 h 16283"/>
                            <a:gd name="connsiteX5" fmla="*/ 164553 w 165158"/>
                            <a:gd name="connsiteY5" fmla="*/ 0 h 16283"/>
                            <a:gd name="connsiteX6" fmla="*/ 166019 w 165158"/>
                            <a:gd name="connsiteY6" fmla="*/ 1465 h 16283"/>
                            <a:gd name="connsiteX7" fmla="*/ 166019 w 165158"/>
                            <a:gd name="connsiteY7" fmla="*/ 15446 h 16283"/>
                            <a:gd name="connsiteX8" fmla="*/ 164553 w 165158"/>
                            <a:gd name="connsiteY8" fmla="*/ 1691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165158" h="16283">
                              <a:moveTo>
                                <a:pt x="164553" y="16911"/>
                              </a:moveTo>
                              <a:lnTo>
                                <a:pt x="1465" y="16911"/>
                              </a:lnTo>
                              <a:cubicBezTo>
                                <a:pt x="651" y="16911"/>
                                <a:pt x="0" y="16260"/>
                                <a:pt x="0" y="15446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164553" y="0"/>
                              </a:lnTo>
                              <a:cubicBezTo>
                                <a:pt x="165367" y="0"/>
                                <a:pt x="166019" y="651"/>
                                <a:pt x="166019" y="1465"/>
                              </a:cubicBezTo>
                              <a:lnTo>
                                <a:pt x="166019" y="15446"/>
                              </a:lnTo>
                              <a:cubicBezTo>
                                <a:pt x="166019" y="16260"/>
                                <a:pt x="165367" y="16911"/>
                                <a:pt x="164553" y="1691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19439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118" name="Freeform: Shape 1117">
                          <a:extLst>
                            <a:ext uri="{FF2B5EF4-FFF2-40B4-BE49-F238E27FC236}">
                              <a16:creationId xmlns:a16="http://schemas.microsoft.com/office/drawing/2014/main" id="{4D42108F-FC34-4A30-A2DF-CDDE7694B692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75097" y="3909032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119" name="Freeform: Shape 1118">
                          <a:extLst>
                            <a:ext uri="{FF2B5EF4-FFF2-40B4-BE49-F238E27FC236}">
                              <a16:creationId xmlns:a16="http://schemas.microsoft.com/office/drawing/2014/main" id="{30010583-43B3-4A8F-9AA6-7A6303691ED9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82960" y="3909032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120" name="Freeform: Shape 1119">
                          <a:extLst>
                            <a:ext uri="{FF2B5EF4-FFF2-40B4-BE49-F238E27FC236}">
                              <a16:creationId xmlns:a16="http://schemas.microsoft.com/office/drawing/2014/main" id="{B688025E-8C86-47D7-8B54-62BAAA8F5C39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90845" y="3909032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121" name="Freeform: Shape 1120">
                          <a:extLst>
                            <a:ext uri="{FF2B5EF4-FFF2-40B4-BE49-F238E27FC236}">
                              <a16:creationId xmlns:a16="http://schemas.microsoft.com/office/drawing/2014/main" id="{FC4D1777-5C53-48DF-AC99-102E36384C1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98708" y="3909032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122" name="Freeform: Shape 1121">
                          <a:extLst>
                            <a:ext uri="{FF2B5EF4-FFF2-40B4-BE49-F238E27FC236}">
                              <a16:creationId xmlns:a16="http://schemas.microsoft.com/office/drawing/2014/main" id="{E49CDF70-AC1E-4B2F-82D4-1D1ED76C7DE0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06594" y="3909032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123" name="Freeform: Shape 1122">
                          <a:extLst>
                            <a:ext uri="{FF2B5EF4-FFF2-40B4-BE49-F238E27FC236}">
                              <a16:creationId xmlns:a16="http://schemas.microsoft.com/office/drawing/2014/main" id="{DB38B90E-F147-49CF-A882-8A27E6740D5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14479" y="3909032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124" name="Freeform: Shape 1123">
                          <a:extLst>
                            <a:ext uri="{FF2B5EF4-FFF2-40B4-BE49-F238E27FC236}">
                              <a16:creationId xmlns:a16="http://schemas.microsoft.com/office/drawing/2014/main" id="{EFBAEC28-72BE-49B2-8552-E2955901477A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22342" y="3909032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125" name="Freeform: Shape 1124">
                          <a:extLst>
                            <a:ext uri="{FF2B5EF4-FFF2-40B4-BE49-F238E27FC236}">
                              <a16:creationId xmlns:a16="http://schemas.microsoft.com/office/drawing/2014/main" id="{24D64779-E41C-4FAC-BC66-F0057E4DBB8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30227" y="3909032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126" name="Freeform: Shape 1125">
                          <a:extLst>
                            <a:ext uri="{FF2B5EF4-FFF2-40B4-BE49-F238E27FC236}">
                              <a16:creationId xmlns:a16="http://schemas.microsoft.com/office/drawing/2014/main" id="{01BB38CF-17ED-48A8-9088-A09F04FE0477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38090" y="3909032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127" name="Freeform: Shape 1126">
                          <a:extLst>
                            <a:ext uri="{FF2B5EF4-FFF2-40B4-BE49-F238E27FC236}">
                              <a16:creationId xmlns:a16="http://schemas.microsoft.com/office/drawing/2014/main" id="{B9904AEF-EEE4-40DB-B031-36D1D1306408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45976" y="3909032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128" name="Freeform: Shape 1127">
                          <a:extLst>
                            <a:ext uri="{FF2B5EF4-FFF2-40B4-BE49-F238E27FC236}">
                              <a16:creationId xmlns:a16="http://schemas.microsoft.com/office/drawing/2014/main" id="{F5AF72C6-14CD-4A49-9DC1-7D395C277A8A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53838" y="3909032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129" name="Freeform: Shape 1128">
                          <a:extLst>
                            <a:ext uri="{FF2B5EF4-FFF2-40B4-BE49-F238E27FC236}">
                              <a16:creationId xmlns:a16="http://schemas.microsoft.com/office/drawing/2014/main" id="{1AA9DE25-29BF-4945-961B-54AFA83D69B9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12081" y="3909032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130" name="Freeform: Shape 1129">
                          <a:extLst>
                            <a:ext uri="{FF2B5EF4-FFF2-40B4-BE49-F238E27FC236}">
                              <a16:creationId xmlns:a16="http://schemas.microsoft.com/office/drawing/2014/main" id="{7BFF73E0-6351-4900-9867-B91A4D352741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19967" y="3909032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131" name="Freeform: Shape 1130">
                          <a:extLst>
                            <a:ext uri="{FF2B5EF4-FFF2-40B4-BE49-F238E27FC236}">
                              <a16:creationId xmlns:a16="http://schemas.microsoft.com/office/drawing/2014/main" id="{4A5F21F4-5D29-4C0A-8AC9-C2334320314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27829" y="3909032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132" name="Freeform: Shape 1131">
                          <a:extLst>
                            <a:ext uri="{FF2B5EF4-FFF2-40B4-BE49-F238E27FC236}">
                              <a16:creationId xmlns:a16="http://schemas.microsoft.com/office/drawing/2014/main" id="{97576AE9-19A8-41BD-BFBF-D9C2D5CA60D6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96333" y="3909032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133" name="Freeform: Shape 1132">
                          <a:extLst>
                            <a:ext uri="{FF2B5EF4-FFF2-40B4-BE49-F238E27FC236}">
                              <a16:creationId xmlns:a16="http://schemas.microsoft.com/office/drawing/2014/main" id="{0378F2F7-56EB-476C-97F9-47FD5AD3AE88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04195" y="3909032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134" name="Freeform: Shape 1133">
                          <a:extLst>
                            <a:ext uri="{FF2B5EF4-FFF2-40B4-BE49-F238E27FC236}">
                              <a16:creationId xmlns:a16="http://schemas.microsoft.com/office/drawing/2014/main" id="{B3E32BD3-2317-425F-B0B1-0EBA611A619E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12081" y="3909032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135" name="Freeform: Shape 1134">
                          <a:extLst>
                            <a:ext uri="{FF2B5EF4-FFF2-40B4-BE49-F238E27FC236}">
                              <a16:creationId xmlns:a16="http://schemas.microsoft.com/office/drawing/2014/main" id="{DF15C9CA-91D3-478A-B689-0DFBC5763553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35692" y="3909032"/>
                          <a:ext cx="4652" cy="13957"/>
                        </a:xfrm>
                        <a:custGeom>
                          <a:avLst/>
                          <a:gdLst>
                            <a:gd name="connsiteX0" fmla="*/ 4978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78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78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78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136" name="Freeform: Shape 1135">
                          <a:extLst>
                            <a:ext uri="{FF2B5EF4-FFF2-40B4-BE49-F238E27FC236}">
                              <a16:creationId xmlns:a16="http://schemas.microsoft.com/office/drawing/2014/main" id="{0289F216-3052-46A9-A944-C1129606136E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43578" y="3909032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137" name="Freeform: Shape 1136">
                          <a:extLst>
                            <a:ext uri="{FF2B5EF4-FFF2-40B4-BE49-F238E27FC236}">
                              <a16:creationId xmlns:a16="http://schemas.microsoft.com/office/drawing/2014/main" id="{B6352A82-1CAF-4908-8B87-1999068FE050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51463" y="3909032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138" name="Freeform: Shape 1137">
                          <a:extLst>
                            <a:ext uri="{FF2B5EF4-FFF2-40B4-BE49-F238E27FC236}">
                              <a16:creationId xmlns:a16="http://schemas.microsoft.com/office/drawing/2014/main" id="{7313FEDC-6899-4971-8077-880764AFFF53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59326" y="3909032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139" name="Freeform: Shape 1138">
                          <a:extLst>
                            <a:ext uri="{FF2B5EF4-FFF2-40B4-BE49-F238E27FC236}">
                              <a16:creationId xmlns:a16="http://schemas.microsoft.com/office/drawing/2014/main" id="{53990FD5-3205-4D3D-A875-18A544907F0C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67211" y="3909032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</p:grpSp>
                  <p:grpSp>
                    <p:nvGrpSpPr>
                      <p:cNvPr id="1140" name="Graphic 174">
                        <a:extLst>
                          <a:ext uri="{FF2B5EF4-FFF2-40B4-BE49-F238E27FC236}">
                            <a16:creationId xmlns:a16="http://schemas.microsoft.com/office/drawing/2014/main" id="{4045A780-E4ED-4946-BB38-1D6737CA17D1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6599962" y="3891469"/>
                        <a:ext cx="165158" cy="16283"/>
                        <a:chOff x="6599962" y="3891469"/>
                        <a:chExt cx="165158" cy="16283"/>
                      </a:xfrm>
                      <a:solidFill>
                        <a:schemeClr val="accent1"/>
                      </a:solidFill>
                    </p:grpSpPr>
                    <p:sp>
                      <p:nvSpPr>
                        <p:cNvPr id="1141" name="Freeform: Shape 1140">
                          <a:extLst>
                            <a:ext uri="{FF2B5EF4-FFF2-40B4-BE49-F238E27FC236}">
                              <a16:creationId xmlns:a16="http://schemas.microsoft.com/office/drawing/2014/main" id="{3B640EE4-3E48-4D34-9AB6-3BF2405DA6D1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99962" y="3891469"/>
                          <a:ext cx="165158" cy="16283"/>
                        </a:xfrm>
                        <a:custGeom>
                          <a:avLst/>
                          <a:gdLst>
                            <a:gd name="connsiteX0" fmla="*/ 164553 w 165158"/>
                            <a:gd name="connsiteY0" fmla="*/ 16888 h 16283"/>
                            <a:gd name="connsiteX1" fmla="*/ 1465 w 165158"/>
                            <a:gd name="connsiteY1" fmla="*/ 16888 h 16283"/>
                            <a:gd name="connsiteX2" fmla="*/ 0 w 165158"/>
                            <a:gd name="connsiteY2" fmla="*/ 15422 h 16283"/>
                            <a:gd name="connsiteX3" fmla="*/ 0 w 165158"/>
                            <a:gd name="connsiteY3" fmla="*/ 1442 h 16283"/>
                            <a:gd name="connsiteX4" fmla="*/ 1465 w 165158"/>
                            <a:gd name="connsiteY4" fmla="*/ 0 h 16283"/>
                            <a:gd name="connsiteX5" fmla="*/ 164553 w 165158"/>
                            <a:gd name="connsiteY5" fmla="*/ 0 h 16283"/>
                            <a:gd name="connsiteX6" fmla="*/ 166019 w 165158"/>
                            <a:gd name="connsiteY6" fmla="*/ 1442 h 16283"/>
                            <a:gd name="connsiteX7" fmla="*/ 166019 w 165158"/>
                            <a:gd name="connsiteY7" fmla="*/ 15422 h 16283"/>
                            <a:gd name="connsiteX8" fmla="*/ 164553 w 165158"/>
                            <a:gd name="connsiteY8" fmla="*/ 16888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165158" h="16283">
                              <a:moveTo>
                                <a:pt x="164553" y="16888"/>
                              </a:moveTo>
                              <a:lnTo>
                                <a:pt x="1465" y="16888"/>
                              </a:lnTo>
                              <a:cubicBezTo>
                                <a:pt x="651" y="16888"/>
                                <a:pt x="0" y="16237"/>
                                <a:pt x="0" y="15422"/>
                              </a:cubicBezTo>
                              <a:lnTo>
                                <a:pt x="0" y="1442"/>
                              </a:lnTo>
                              <a:cubicBezTo>
                                <a:pt x="0" y="628"/>
                                <a:pt x="651" y="0"/>
                                <a:pt x="1465" y="0"/>
                              </a:cubicBezTo>
                              <a:lnTo>
                                <a:pt x="164553" y="0"/>
                              </a:lnTo>
                              <a:cubicBezTo>
                                <a:pt x="165367" y="0"/>
                                <a:pt x="166019" y="651"/>
                                <a:pt x="166019" y="1442"/>
                              </a:cubicBezTo>
                              <a:lnTo>
                                <a:pt x="166019" y="15422"/>
                              </a:lnTo>
                              <a:cubicBezTo>
                                <a:pt x="166019" y="16237"/>
                                <a:pt x="165367" y="16888"/>
                                <a:pt x="164553" y="16888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19439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142" name="Freeform: Shape 1141">
                          <a:extLst>
                            <a:ext uri="{FF2B5EF4-FFF2-40B4-BE49-F238E27FC236}">
                              <a16:creationId xmlns:a16="http://schemas.microsoft.com/office/drawing/2014/main" id="{858F78D1-7B6D-4F5E-9C7F-FC70A2C4DCA9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79773" y="3892144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143" name="Freeform: Shape 1142">
                          <a:extLst>
                            <a:ext uri="{FF2B5EF4-FFF2-40B4-BE49-F238E27FC236}">
                              <a16:creationId xmlns:a16="http://schemas.microsoft.com/office/drawing/2014/main" id="{6C273078-C70C-4C58-9762-A983C8C14071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87635" y="3892144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144" name="Freeform: Shape 1143">
                          <a:extLst>
                            <a:ext uri="{FF2B5EF4-FFF2-40B4-BE49-F238E27FC236}">
                              <a16:creationId xmlns:a16="http://schemas.microsoft.com/office/drawing/2014/main" id="{4DB7E061-DC8D-4948-B114-DCDA33F9B4FC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95521" y="3892144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145" name="Freeform: Shape 1144">
                          <a:extLst>
                            <a:ext uri="{FF2B5EF4-FFF2-40B4-BE49-F238E27FC236}">
                              <a16:creationId xmlns:a16="http://schemas.microsoft.com/office/drawing/2014/main" id="{C150BA16-7458-42BC-A12C-9DEE079013FC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03383" y="3892144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146" name="Freeform: Shape 1145">
                          <a:extLst>
                            <a:ext uri="{FF2B5EF4-FFF2-40B4-BE49-F238E27FC236}">
                              <a16:creationId xmlns:a16="http://schemas.microsoft.com/office/drawing/2014/main" id="{8DE8153D-649D-4BF7-8958-7FDBEB8FE3BE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11269" y="3892144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147" name="Freeform: Shape 1146">
                          <a:extLst>
                            <a:ext uri="{FF2B5EF4-FFF2-40B4-BE49-F238E27FC236}">
                              <a16:creationId xmlns:a16="http://schemas.microsoft.com/office/drawing/2014/main" id="{C5FAFDBC-1279-45AD-9FD1-6F1040FC408A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19132" y="3892144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148" name="Freeform: Shape 1147">
                          <a:extLst>
                            <a:ext uri="{FF2B5EF4-FFF2-40B4-BE49-F238E27FC236}">
                              <a16:creationId xmlns:a16="http://schemas.microsoft.com/office/drawing/2014/main" id="{6DB22393-F4FC-4C8F-A270-E1FC70102960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27017" y="3892144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149" name="Freeform: Shape 1148">
                          <a:extLst>
                            <a:ext uri="{FF2B5EF4-FFF2-40B4-BE49-F238E27FC236}">
                              <a16:creationId xmlns:a16="http://schemas.microsoft.com/office/drawing/2014/main" id="{8021B5F4-D0F6-4626-A4EB-70926D06F5B9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34903" y="3892144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150" name="Freeform: Shape 1149">
                          <a:extLst>
                            <a:ext uri="{FF2B5EF4-FFF2-40B4-BE49-F238E27FC236}">
                              <a16:creationId xmlns:a16="http://schemas.microsoft.com/office/drawing/2014/main" id="{757CD102-0964-40BF-A7A8-BBCD6750649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42765" y="3892144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151" name="Freeform: Shape 1150">
                          <a:extLst>
                            <a:ext uri="{FF2B5EF4-FFF2-40B4-BE49-F238E27FC236}">
                              <a16:creationId xmlns:a16="http://schemas.microsoft.com/office/drawing/2014/main" id="{E95D757F-5FEB-455D-993C-C513E74A0C15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50651" y="3892144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152" name="Freeform: Shape 1151">
                          <a:extLst>
                            <a:ext uri="{FF2B5EF4-FFF2-40B4-BE49-F238E27FC236}">
                              <a16:creationId xmlns:a16="http://schemas.microsoft.com/office/drawing/2014/main" id="{DE16281E-485D-4F20-9DA1-8EEEE09A6E39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58514" y="3892144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153" name="Freeform: Shape 1152">
                          <a:extLst>
                            <a:ext uri="{FF2B5EF4-FFF2-40B4-BE49-F238E27FC236}">
                              <a16:creationId xmlns:a16="http://schemas.microsoft.com/office/drawing/2014/main" id="{CB2E34FF-1DD6-462A-AF24-8BCF55AF6ED1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16757" y="3892144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154" name="Freeform: Shape 1153">
                          <a:extLst>
                            <a:ext uri="{FF2B5EF4-FFF2-40B4-BE49-F238E27FC236}">
                              <a16:creationId xmlns:a16="http://schemas.microsoft.com/office/drawing/2014/main" id="{D3C44B1C-1FAD-4D0E-B696-88059F9F679B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24619" y="3892144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155" name="Freeform: Shape 1154">
                          <a:extLst>
                            <a:ext uri="{FF2B5EF4-FFF2-40B4-BE49-F238E27FC236}">
                              <a16:creationId xmlns:a16="http://schemas.microsoft.com/office/drawing/2014/main" id="{4D1A70BE-A70F-4AEF-895E-5736CBAD83F4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32505" y="3892144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156" name="Freeform: Shape 1155">
                          <a:extLst>
                            <a:ext uri="{FF2B5EF4-FFF2-40B4-BE49-F238E27FC236}">
                              <a16:creationId xmlns:a16="http://schemas.microsoft.com/office/drawing/2014/main" id="{683E9CA5-C48F-4340-AD06-E5A166359CB3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01009" y="3892144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157" name="Freeform: Shape 1156">
                          <a:extLst>
                            <a:ext uri="{FF2B5EF4-FFF2-40B4-BE49-F238E27FC236}">
                              <a16:creationId xmlns:a16="http://schemas.microsoft.com/office/drawing/2014/main" id="{D304BACF-EF98-4B78-9C4C-B455DF7E23F9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08871" y="3892144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158" name="Freeform: Shape 1157">
                          <a:extLst>
                            <a:ext uri="{FF2B5EF4-FFF2-40B4-BE49-F238E27FC236}">
                              <a16:creationId xmlns:a16="http://schemas.microsoft.com/office/drawing/2014/main" id="{CE92D02D-05EA-4B0F-92F5-4ED327A2A11E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16757" y="3892144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159" name="Freeform: Shape 1158">
                          <a:extLst>
                            <a:ext uri="{FF2B5EF4-FFF2-40B4-BE49-F238E27FC236}">
                              <a16:creationId xmlns:a16="http://schemas.microsoft.com/office/drawing/2014/main" id="{83DBB0FD-5009-40CA-B817-83599D950D2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40391" y="3892144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160" name="Freeform: Shape 1159">
                          <a:extLst>
                            <a:ext uri="{FF2B5EF4-FFF2-40B4-BE49-F238E27FC236}">
                              <a16:creationId xmlns:a16="http://schemas.microsoft.com/office/drawing/2014/main" id="{70DE12E3-F3C8-48EB-82AD-155E42DFE76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48253" y="3892144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161" name="Freeform: Shape 1160">
                          <a:extLst>
                            <a:ext uri="{FF2B5EF4-FFF2-40B4-BE49-F238E27FC236}">
                              <a16:creationId xmlns:a16="http://schemas.microsoft.com/office/drawing/2014/main" id="{866D9A65-0FA2-4E68-BE79-637B00B9ADCA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56139" y="3892144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162" name="Freeform: Shape 1161">
                          <a:extLst>
                            <a:ext uri="{FF2B5EF4-FFF2-40B4-BE49-F238E27FC236}">
                              <a16:creationId xmlns:a16="http://schemas.microsoft.com/office/drawing/2014/main" id="{6CC16E36-999A-40F0-8560-D6F1D05C2743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64001" y="3892144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163" name="Freeform: Shape 1162">
                          <a:extLst>
                            <a:ext uri="{FF2B5EF4-FFF2-40B4-BE49-F238E27FC236}">
                              <a16:creationId xmlns:a16="http://schemas.microsoft.com/office/drawing/2014/main" id="{FDAEED9E-DFCD-42C5-A16F-964C323934D7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71887" y="3892144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</p:grpSp>
                  <p:grpSp>
                    <p:nvGrpSpPr>
                      <p:cNvPr id="1164" name="Graphic 174">
                        <a:extLst>
                          <a:ext uri="{FF2B5EF4-FFF2-40B4-BE49-F238E27FC236}">
                            <a16:creationId xmlns:a16="http://schemas.microsoft.com/office/drawing/2014/main" id="{4045A780-E4ED-4946-BB38-1D6737CA17D1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6592076" y="3874535"/>
                        <a:ext cx="165158" cy="16283"/>
                        <a:chOff x="6592076" y="3874535"/>
                        <a:chExt cx="165158" cy="16283"/>
                      </a:xfrm>
                      <a:solidFill>
                        <a:schemeClr val="accent1"/>
                      </a:solidFill>
                    </p:grpSpPr>
                    <p:sp>
                      <p:nvSpPr>
                        <p:cNvPr id="1165" name="Freeform: Shape 1164">
                          <a:extLst>
                            <a:ext uri="{FF2B5EF4-FFF2-40B4-BE49-F238E27FC236}">
                              <a16:creationId xmlns:a16="http://schemas.microsoft.com/office/drawing/2014/main" id="{0CAD78D0-A49A-438A-BFDE-722C25A18075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92076" y="3874535"/>
                          <a:ext cx="165158" cy="16283"/>
                        </a:xfrm>
                        <a:custGeom>
                          <a:avLst/>
                          <a:gdLst>
                            <a:gd name="connsiteX0" fmla="*/ 164553 w 165158"/>
                            <a:gd name="connsiteY0" fmla="*/ 16911 h 16283"/>
                            <a:gd name="connsiteX1" fmla="*/ 1465 w 165158"/>
                            <a:gd name="connsiteY1" fmla="*/ 16911 h 16283"/>
                            <a:gd name="connsiteX2" fmla="*/ 0 w 165158"/>
                            <a:gd name="connsiteY2" fmla="*/ 15446 h 16283"/>
                            <a:gd name="connsiteX3" fmla="*/ 0 w 165158"/>
                            <a:gd name="connsiteY3" fmla="*/ 1465 h 16283"/>
                            <a:gd name="connsiteX4" fmla="*/ 1465 w 165158"/>
                            <a:gd name="connsiteY4" fmla="*/ 0 h 16283"/>
                            <a:gd name="connsiteX5" fmla="*/ 164553 w 165158"/>
                            <a:gd name="connsiteY5" fmla="*/ 0 h 16283"/>
                            <a:gd name="connsiteX6" fmla="*/ 166019 w 165158"/>
                            <a:gd name="connsiteY6" fmla="*/ 1465 h 16283"/>
                            <a:gd name="connsiteX7" fmla="*/ 166019 w 165158"/>
                            <a:gd name="connsiteY7" fmla="*/ 15446 h 16283"/>
                            <a:gd name="connsiteX8" fmla="*/ 164553 w 165158"/>
                            <a:gd name="connsiteY8" fmla="*/ 1691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165158" h="16283">
                              <a:moveTo>
                                <a:pt x="164553" y="16911"/>
                              </a:moveTo>
                              <a:lnTo>
                                <a:pt x="1465" y="16911"/>
                              </a:lnTo>
                              <a:cubicBezTo>
                                <a:pt x="651" y="16911"/>
                                <a:pt x="0" y="16260"/>
                                <a:pt x="0" y="15446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164553" y="0"/>
                              </a:lnTo>
                              <a:cubicBezTo>
                                <a:pt x="165367" y="0"/>
                                <a:pt x="166019" y="651"/>
                                <a:pt x="166019" y="1465"/>
                              </a:cubicBezTo>
                              <a:lnTo>
                                <a:pt x="166019" y="15446"/>
                              </a:lnTo>
                              <a:cubicBezTo>
                                <a:pt x="166019" y="16260"/>
                                <a:pt x="165367" y="16911"/>
                                <a:pt x="164553" y="1691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19439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166" name="Freeform: Shape 1165">
                          <a:extLst>
                            <a:ext uri="{FF2B5EF4-FFF2-40B4-BE49-F238E27FC236}">
                              <a16:creationId xmlns:a16="http://schemas.microsoft.com/office/drawing/2014/main" id="{549B9D10-CC87-4DFF-B5F2-AACA3B2D11B6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71887" y="3875233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64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167" name="Freeform: Shape 1166">
                          <a:extLst>
                            <a:ext uri="{FF2B5EF4-FFF2-40B4-BE49-F238E27FC236}">
                              <a16:creationId xmlns:a16="http://schemas.microsoft.com/office/drawing/2014/main" id="{45D6FCAC-13DF-4A5C-B33D-5DF3DC0A5EB6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79773" y="3875233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64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168" name="Freeform: Shape 1167">
                          <a:extLst>
                            <a:ext uri="{FF2B5EF4-FFF2-40B4-BE49-F238E27FC236}">
                              <a16:creationId xmlns:a16="http://schemas.microsoft.com/office/drawing/2014/main" id="{398D23ED-9031-4FC6-B6E3-5594F64AB00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87635" y="3875233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64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169" name="Freeform: Shape 1168">
                          <a:extLst>
                            <a:ext uri="{FF2B5EF4-FFF2-40B4-BE49-F238E27FC236}">
                              <a16:creationId xmlns:a16="http://schemas.microsoft.com/office/drawing/2014/main" id="{6E9582E4-C69B-46BB-8D0B-4FF469B06D9A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95521" y="3875233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64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170" name="Freeform: Shape 1169">
                          <a:extLst>
                            <a:ext uri="{FF2B5EF4-FFF2-40B4-BE49-F238E27FC236}">
                              <a16:creationId xmlns:a16="http://schemas.microsoft.com/office/drawing/2014/main" id="{784D425C-0FCC-4FB7-8D4D-75444282ECE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03383" y="3875233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64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171" name="Freeform: Shape 1170">
                          <a:extLst>
                            <a:ext uri="{FF2B5EF4-FFF2-40B4-BE49-F238E27FC236}">
                              <a16:creationId xmlns:a16="http://schemas.microsoft.com/office/drawing/2014/main" id="{F7F27F5E-1D8B-462A-87DD-6936A9B128F8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11269" y="3875233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64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172" name="Freeform: Shape 1171">
                          <a:extLst>
                            <a:ext uri="{FF2B5EF4-FFF2-40B4-BE49-F238E27FC236}">
                              <a16:creationId xmlns:a16="http://schemas.microsoft.com/office/drawing/2014/main" id="{8F0213BA-B902-4884-A272-3AB7D9F0F445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19132" y="3875233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64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173" name="Freeform: Shape 1172">
                          <a:extLst>
                            <a:ext uri="{FF2B5EF4-FFF2-40B4-BE49-F238E27FC236}">
                              <a16:creationId xmlns:a16="http://schemas.microsoft.com/office/drawing/2014/main" id="{321DDB68-F29E-4123-8F3C-993D77B97318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27017" y="3875233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64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174" name="Freeform: Shape 1173">
                          <a:extLst>
                            <a:ext uri="{FF2B5EF4-FFF2-40B4-BE49-F238E27FC236}">
                              <a16:creationId xmlns:a16="http://schemas.microsoft.com/office/drawing/2014/main" id="{0F484B92-EBF8-4CFA-B5F8-7936B3ADDC4A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34903" y="3875233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64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175" name="Freeform: Shape 1174">
                          <a:extLst>
                            <a:ext uri="{FF2B5EF4-FFF2-40B4-BE49-F238E27FC236}">
                              <a16:creationId xmlns:a16="http://schemas.microsoft.com/office/drawing/2014/main" id="{11700902-AA08-42A7-8F0E-DB4FC3318A62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42765" y="3875233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64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176" name="Freeform: Shape 1175">
                          <a:extLst>
                            <a:ext uri="{FF2B5EF4-FFF2-40B4-BE49-F238E27FC236}">
                              <a16:creationId xmlns:a16="http://schemas.microsoft.com/office/drawing/2014/main" id="{4B3006C1-F338-43C8-A4C0-8CBE080CFE80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50651" y="3875233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64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177" name="Freeform: Shape 1176">
                          <a:extLst>
                            <a:ext uri="{FF2B5EF4-FFF2-40B4-BE49-F238E27FC236}">
                              <a16:creationId xmlns:a16="http://schemas.microsoft.com/office/drawing/2014/main" id="{256EF9F7-25B6-4B66-BD02-FC78EB3DD847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08871" y="3875233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64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178" name="Freeform: Shape 1177">
                          <a:extLst>
                            <a:ext uri="{FF2B5EF4-FFF2-40B4-BE49-F238E27FC236}">
                              <a16:creationId xmlns:a16="http://schemas.microsoft.com/office/drawing/2014/main" id="{835583F4-0505-4606-BD19-7B7CC7E4032D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16757" y="3875233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64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179" name="Freeform: Shape 1178">
                          <a:extLst>
                            <a:ext uri="{FF2B5EF4-FFF2-40B4-BE49-F238E27FC236}">
                              <a16:creationId xmlns:a16="http://schemas.microsoft.com/office/drawing/2014/main" id="{3A91D4B5-CBFC-4A33-A869-4BD506D35D17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24619" y="3875233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64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180" name="Freeform: Shape 1179">
                          <a:extLst>
                            <a:ext uri="{FF2B5EF4-FFF2-40B4-BE49-F238E27FC236}">
                              <a16:creationId xmlns:a16="http://schemas.microsoft.com/office/drawing/2014/main" id="{CABA5D04-3227-498E-AAEB-34963CC141DB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93123" y="3875233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64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181" name="Freeform: Shape 1180">
                          <a:extLst>
                            <a:ext uri="{FF2B5EF4-FFF2-40B4-BE49-F238E27FC236}">
                              <a16:creationId xmlns:a16="http://schemas.microsoft.com/office/drawing/2014/main" id="{4B1B8D0B-E9C5-4067-8220-803E2CF2244A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01009" y="3875233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64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182" name="Freeform: Shape 1181">
                          <a:extLst>
                            <a:ext uri="{FF2B5EF4-FFF2-40B4-BE49-F238E27FC236}">
                              <a16:creationId xmlns:a16="http://schemas.microsoft.com/office/drawing/2014/main" id="{C695BEA1-6781-43EA-820A-622D99854F93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08871" y="3875233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64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183" name="Freeform: Shape 1182">
                          <a:extLst>
                            <a:ext uri="{FF2B5EF4-FFF2-40B4-BE49-F238E27FC236}">
                              <a16:creationId xmlns:a16="http://schemas.microsoft.com/office/drawing/2014/main" id="{15C7B2CB-444D-4E27-830F-0D6E28954B34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32505" y="3875233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64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184" name="Freeform: Shape 1183">
                          <a:extLst>
                            <a:ext uri="{FF2B5EF4-FFF2-40B4-BE49-F238E27FC236}">
                              <a16:creationId xmlns:a16="http://schemas.microsoft.com/office/drawing/2014/main" id="{20C0F32D-41EC-4212-8CE7-DFF5391B54A6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40391" y="3875233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64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185" name="Freeform: Shape 1184">
                          <a:extLst>
                            <a:ext uri="{FF2B5EF4-FFF2-40B4-BE49-F238E27FC236}">
                              <a16:creationId xmlns:a16="http://schemas.microsoft.com/office/drawing/2014/main" id="{19F2ED6A-F944-487F-AE30-214155317C91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48253" y="3875233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64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186" name="Freeform: Shape 1185">
                          <a:extLst>
                            <a:ext uri="{FF2B5EF4-FFF2-40B4-BE49-F238E27FC236}">
                              <a16:creationId xmlns:a16="http://schemas.microsoft.com/office/drawing/2014/main" id="{5E6E979A-DFCF-4A5F-B142-272946457FF7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56139" y="3875233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64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187" name="Freeform: Shape 1186">
                          <a:extLst>
                            <a:ext uri="{FF2B5EF4-FFF2-40B4-BE49-F238E27FC236}">
                              <a16:creationId xmlns:a16="http://schemas.microsoft.com/office/drawing/2014/main" id="{293E7944-7DA6-4336-BEB3-3E0537ECBA29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64001" y="3875233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64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</p:grpSp>
                  <p:grpSp>
                    <p:nvGrpSpPr>
                      <p:cNvPr id="1188" name="Graphic 174">
                        <a:extLst>
                          <a:ext uri="{FF2B5EF4-FFF2-40B4-BE49-F238E27FC236}">
                            <a16:creationId xmlns:a16="http://schemas.microsoft.com/office/drawing/2014/main" id="{4045A780-E4ED-4946-BB38-1D6737CA17D1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6599962" y="3857647"/>
                        <a:ext cx="165158" cy="16283"/>
                        <a:chOff x="6599962" y="3857647"/>
                        <a:chExt cx="165158" cy="16283"/>
                      </a:xfrm>
                      <a:solidFill>
                        <a:schemeClr val="accent1"/>
                      </a:solidFill>
                    </p:grpSpPr>
                    <p:sp>
                      <p:nvSpPr>
                        <p:cNvPr id="1189" name="Freeform: Shape 1188">
                          <a:extLst>
                            <a:ext uri="{FF2B5EF4-FFF2-40B4-BE49-F238E27FC236}">
                              <a16:creationId xmlns:a16="http://schemas.microsoft.com/office/drawing/2014/main" id="{EC86A5AF-B9C7-4937-B589-1E6598BBD2FB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99962" y="3857647"/>
                          <a:ext cx="165158" cy="16283"/>
                        </a:xfrm>
                        <a:custGeom>
                          <a:avLst/>
                          <a:gdLst>
                            <a:gd name="connsiteX0" fmla="*/ 164553 w 165158"/>
                            <a:gd name="connsiteY0" fmla="*/ 16911 h 16283"/>
                            <a:gd name="connsiteX1" fmla="*/ 1465 w 165158"/>
                            <a:gd name="connsiteY1" fmla="*/ 16911 h 16283"/>
                            <a:gd name="connsiteX2" fmla="*/ 0 w 165158"/>
                            <a:gd name="connsiteY2" fmla="*/ 15446 h 16283"/>
                            <a:gd name="connsiteX3" fmla="*/ 0 w 165158"/>
                            <a:gd name="connsiteY3" fmla="*/ 1465 h 16283"/>
                            <a:gd name="connsiteX4" fmla="*/ 1465 w 165158"/>
                            <a:gd name="connsiteY4" fmla="*/ 0 h 16283"/>
                            <a:gd name="connsiteX5" fmla="*/ 164553 w 165158"/>
                            <a:gd name="connsiteY5" fmla="*/ 0 h 16283"/>
                            <a:gd name="connsiteX6" fmla="*/ 166019 w 165158"/>
                            <a:gd name="connsiteY6" fmla="*/ 1465 h 16283"/>
                            <a:gd name="connsiteX7" fmla="*/ 166019 w 165158"/>
                            <a:gd name="connsiteY7" fmla="*/ 15446 h 16283"/>
                            <a:gd name="connsiteX8" fmla="*/ 164553 w 165158"/>
                            <a:gd name="connsiteY8" fmla="*/ 1691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165158" h="16283">
                              <a:moveTo>
                                <a:pt x="164553" y="16911"/>
                              </a:moveTo>
                              <a:lnTo>
                                <a:pt x="1465" y="16911"/>
                              </a:lnTo>
                              <a:cubicBezTo>
                                <a:pt x="651" y="16911"/>
                                <a:pt x="0" y="16260"/>
                                <a:pt x="0" y="15446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164553" y="0"/>
                              </a:lnTo>
                              <a:cubicBezTo>
                                <a:pt x="165367" y="0"/>
                                <a:pt x="166019" y="651"/>
                                <a:pt x="166019" y="1465"/>
                              </a:cubicBezTo>
                              <a:lnTo>
                                <a:pt x="166019" y="15446"/>
                              </a:lnTo>
                              <a:cubicBezTo>
                                <a:pt x="166019" y="16260"/>
                                <a:pt x="165367" y="16911"/>
                                <a:pt x="164553" y="1691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19439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190" name="Freeform: Shape 1189">
                          <a:extLst>
                            <a:ext uri="{FF2B5EF4-FFF2-40B4-BE49-F238E27FC236}">
                              <a16:creationId xmlns:a16="http://schemas.microsoft.com/office/drawing/2014/main" id="{042510DF-CA8A-444A-AAE5-E7C3FD8E90FE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79773" y="3858345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191" name="Freeform: Shape 1190">
                          <a:extLst>
                            <a:ext uri="{FF2B5EF4-FFF2-40B4-BE49-F238E27FC236}">
                              <a16:creationId xmlns:a16="http://schemas.microsoft.com/office/drawing/2014/main" id="{227D5CDE-70B3-4E27-8C44-D39B2F4B3522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87635" y="3858345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192" name="Freeform: Shape 1191">
                          <a:extLst>
                            <a:ext uri="{FF2B5EF4-FFF2-40B4-BE49-F238E27FC236}">
                              <a16:creationId xmlns:a16="http://schemas.microsoft.com/office/drawing/2014/main" id="{FFAFC328-7194-44F4-B543-F8A42B6422A0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95521" y="3858345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193" name="Freeform: Shape 1192">
                          <a:extLst>
                            <a:ext uri="{FF2B5EF4-FFF2-40B4-BE49-F238E27FC236}">
                              <a16:creationId xmlns:a16="http://schemas.microsoft.com/office/drawing/2014/main" id="{43B47F3E-1770-47C3-83B5-832DF6EB7CE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03383" y="3858345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194" name="Freeform: Shape 1193">
                          <a:extLst>
                            <a:ext uri="{FF2B5EF4-FFF2-40B4-BE49-F238E27FC236}">
                              <a16:creationId xmlns:a16="http://schemas.microsoft.com/office/drawing/2014/main" id="{F5901372-1538-4D25-A198-EE78D2BE86EC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11269" y="3858345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195" name="Freeform: Shape 1194">
                          <a:extLst>
                            <a:ext uri="{FF2B5EF4-FFF2-40B4-BE49-F238E27FC236}">
                              <a16:creationId xmlns:a16="http://schemas.microsoft.com/office/drawing/2014/main" id="{BCAECEEF-4FC3-42AE-9722-E321BF7F7370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19132" y="3858345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196" name="Freeform: Shape 1195">
                          <a:extLst>
                            <a:ext uri="{FF2B5EF4-FFF2-40B4-BE49-F238E27FC236}">
                              <a16:creationId xmlns:a16="http://schemas.microsoft.com/office/drawing/2014/main" id="{0402C543-77C1-46A3-B79B-A21D4D1C878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27017" y="3858345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197" name="Freeform: Shape 1196">
                          <a:extLst>
                            <a:ext uri="{FF2B5EF4-FFF2-40B4-BE49-F238E27FC236}">
                              <a16:creationId xmlns:a16="http://schemas.microsoft.com/office/drawing/2014/main" id="{A5C63EC6-312F-4FD1-BF88-DA6CD079DDCE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34903" y="3858345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198" name="Freeform: Shape 1197">
                          <a:extLst>
                            <a:ext uri="{FF2B5EF4-FFF2-40B4-BE49-F238E27FC236}">
                              <a16:creationId xmlns:a16="http://schemas.microsoft.com/office/drawing/2014/main" id="{33FB0A09-F031-44BA-BC6A-512F30D369DD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42765" y="3858345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199" name="Freeform: Shape 1198">
                          <a:extLst>
                            <a:ext uri="{FF2B5EF4-FFF2-40B4-BE49-F238E27FC236}">
                              <a16:creationId xmlns:a16="http://schemas.microsoft.com/office/drawing/2014/main" id="{606E0A79-8708-446F-90FE-79F19473C51A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50651" y="3858345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200" name="Freeform: Shape 1199">
                          <a:extLst>
                            <a:ext uri="{FF2B5EF4-FFF2-40B4-BE49-F238E27FC236}">
                              <a16:creationId xmlns:a16="http://schemas.microsoft.com/office/drawing/2014/main" id="{A06AB71F-D110-42C6-BC4D-C441E50AF9FA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58514" y="3858345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201" name="Freeform: Shape 1200">
                          <a:extLst>
                            <a:ext uri="{FF2B5EF4-FFF2-40B4-BE49-F238E27FC236}">
                              <a16:creationId xmlns:a16="http://schemas.microsoft.com/office/drawing/2014/main" id="{224322E3-730B-40C6-B24B-FCCD4BB82C94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16757" y="3858345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202" name="Freeform: Shape 1201">
                          <a:extLst>
                            <a:ext uri="{FF2B5EF4-FFF2-40B4-BE49-F238E27FC236}">
                              <a16:creationId xmlns:a16="http://schemas.microsoft.com/office/drawing/2014/main" id="{772A1C47-B236-4119-BEB9-CA017F3C6A92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24619" y="3858345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203" name="Freeform: Shape 1202">
                          <a:extLst>
                            <a:ext uri="{FF2B5EF4-FFF2-40B4-BE49-F238E27FC236}">
                              <a16:creationId xmlns:a16="http://schemas.microsoft.com/office/drawing/2014/main" id="{C652DE77-A1E9-43EB-95B8-EDF9CE9CC43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32505" y="3858345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204" name="Freeform: Shape 1203">
                          <a:extLst>
                            <a:ext uri="{FF2B5EF4-FFF2-40B4-BE49-F238E27FC236}">
                              <a16:creationId xmlns:a16="http://schemas.microsoft.com/office/drawing/2014/main" id="{C7CB7001-F42F-4835-91E9-A43866B53AC4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01009" y="3858345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205" name="Freeform: Shape 1204">
                          <a:extLst>
                            <a:ext uri="{FF2B5EF4-FFF2-40B4-BE49-F238E27FC236}">
                              <a16:creationId xmlns:a16="http://schemas.microsoft.com/office/drawing/2014/main" id="{0C54E952-7198-4CE4-B2C9-948647FA5FAB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08871" y="3858345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206" name="Freeform: Shape 1205">
                          <a:extLst>
                            <a:ext uri="{FF2B5EF4-FFF2-40B4-BE49-F238E27FC236}">
                              <a16:creationId xmlns:a16="http://schemas.microsoft.com/office/drawing/2014/main" id="{F9D04628-A1F9-4D6E-8A47-5D14DFACBFE3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16757" y="3858345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207" name="Freeform: Shape 1206">
                          <a:extLst>
                            <a:ext uri="{FF2B5EF4-FFF2-40B4-BE49-F238E27FC236}">
                              <a16:creationId xmlns:a16="http://schemas.microsoft.com/office/drawing/2014/main" id="{2587A80C-ED49-4E50-8986-EEB2C1B118A2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40391" y="3858345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208" name="Freeform: Shape 1207">
                          <a:extLst>
                            <a:ext uri="{FF2B5EF4-FFF2-40B4-BE49-F238E27FC236}">
                              <a16:creationId xmlns:a16="http://schemas.microsoft.com/office/drawing/2014/main" id="{6FC8D335-8D9E-4512-B062-D2EDD3882390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48253" y="3858345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209" name="Freeform: Shape 1208">
                          <a:extLst>
                            <a:ext uri="{FF2B5EF4-FFF2-40B4-BE49-F238E27FC236}">
                              <a16:creationId xmlns:a16="http://schemas.microsoft.com/office/drawing/2014/main" id="{E89A3E07-0F38-4CC8-9EB4-51942E534875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56139" y="3858345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210" name="Freeform: Shape 1209">
                          <a:extLst>
                            <a:ext uri="{FF2B5EF4-FFF2-40B4-BE49-F238E27FC236}">
                              <a16:creationId xmlns:a16="http://schemas.microsoft.com/office/drawing/2014/main" id="{7157E8FA-1009-4309-BBFA-4306ED97BD35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64001" y="3858345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211" name="Freeform: Shape 1210">
                          <a:extLst>
                            <a:ext uri="{FF2B5EF4-FFF2-40B4-BE49-F238E27FC236}">
                              <a16:creationId xmlns:a16="http://schemas.microsoft.com/office/drawing/2014/main" id="{24C76AE7-A2A0-42F4-9FC7-E5DBC4EED8BC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71887" y="3858345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</p:grpSp>
                  <p:grpSp>
                    <p:nvGrpSpPr>
                      <p:cNvPr id="1212" name="Graphic 174">
                        <a:extLst>
                          <a:ext uri="{FF2B5EF4-FFF2-40B4-BE49-F238E27FC236}">
                            <a16:creationId xmlns:a16="http://schemas.microsoft.com/office/drawing/2014/main" id="{4045A780-E4ED-4946-BB38-1D6737CA17D1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6592076" y="3840759"/>
                        <a:ext cx="165158" cy="16283"/>
                        <a:chOff x="6592076" y="3840759"/>
                        <a:chExt cx="165158" cy="16283"/>
                      </a:xfrm>
                      <a:solidFill>
                        <a:schemeClr val="accent1"/>
                      </a:solidFill>
                    </p:grpSpPr>
                    <p:sp>
                      <p:nvSpPr>
                        <p:cNvPr id="1213" name="Freeform: Shape 1212">
                          <a:extLst>
                            <a:ext uri="{FF2B5EF4-FFF2-40B4-BE49-F238E27FC236}">
                              <a16:creationId xmlns:a16="http://schemas.microsoft.com/office/drawing/2014/main" id="{95D55F62-CD60-43CF-B6B8-65293C432A1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92076" y="3840759"/>
                          <a:ext cx="165158" cy="16283"/>
                        </a:xfrm>
                        <a:custGeom>
                          <a:avLst/>
                          <a:gdLst>
                            <a:gd name="connsiteX0" fmla="*/ 164553 w 165158"/>
                            <a:gd name="connsiteY0" fmla="*/ 16911 h 16283"/>
                            <a:gd name="connsiteX1" fmla="*/ 1465 w 165158"/>
                            <a:gd name="connsiteY1" fmla="*/ 16911 h 16283"/>
                            <a:gd name="connsiteX2" fmla="*/ 0 w 165158"/>
                            <a:gd name="connsiteY2" fmla="*/ 15446 h 16283"/>
                            <a:gd name="connsiteX3" fmla="*/ 0 w 165158"/>
                            <a:gd name="connsiteY3" fmla="*/ 1465 h 16283"/>
                            <a:gd name="connsiteX4" fmla="*/ 1465 w 165158"/>
                            <a:gd name="connsiteY4" fmla="*/ 0 h 16283"/>
                            <a:gd name="connsiteX5" fmla="*/ 164553 w 165158"/>
                            <a:gd name="connsiteY5" fmla="*/ 0 h 16283"/>
                            <a:gd name="connsiteX6" fmla="*/ 166019 w 165158"/>
                            <a:gd name="connsiteY6" fmla="*/ 1465 h 16283"/>
                            <a:gd name="connsiteX7" fmla="*/ 166019 w 165158"/>
                            <a:gd name="connsiteY7" fmla="*/ 15446 h 16283"/>
                            <a:gd name="connsiteX8" fmla="*/ 164553 w 165158"/>
                            <a:gd name="connsiteY8" fmla="*/ 1691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165158" h="16283">
                              <a:moveTo>
                                <a:pt x="164553" y="16911"/>
                              </a:moveTo>
                              <a:lnTo>
                                <a:pt x="1465" y="16911"/>
                              </a:lnTo>
                              <a:cubicBezTo>
                                <a:pt x="651" y="16911"/>
                                <a:pt x="0" y="16260"/>
                                <a:pt x="0" y="15446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164553" y="0"/>
                              </a:lnTo>
                              <a:cubicBezTo>
                                <a:pt x="165367" y="0"/>
                                <a:pt x="166019" y="651"/>
                                <a:pt x="166019" y="1465"/>
                              </a:cubicBezTo>
                              <a:lnTo>
                                <a:pt x="166019" y="15446"/>
                              </a:lnTo>
                              <a:cubicBezTo>
                                <a:pt x="166019" y="16260"/>
                                <a:pt x="165367" y="16911"/>
                                <a:pt x="164553" y="1691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19439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214" name="Freeform: Shape 1213">
                          <a:extLst>
                            <a:ext uri="{FF2B5EF4-FFF2-40B4-BE49-F238E27FC236}">
                              <a16:creationId xmlns:a16="http://schemas.microsoft.com/office/drawing/2014/main" id="{52A91614-E045-4D60-9078-1D543A352EFD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71887" y="3841457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215" name="Freeform: Shape 1214">
                          <a:extLst>
                            <a:ext uri="{FF2B5EF4-FFF2-40B4-BE49-F238E27FC236}">
                              <a16:creationId xmlns:a16="http://schemas.microsoft.com/office/drawing/2014/main" id="{A6D2AB0B-75DC-419F-9715-67A1D48B5EA0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79773" y="3841457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216" name="Freeform: Shape 1215">
                          <a:extLst>
                            <a:ext uri="{FF2B5EF4-FFF2-40B4-BE49-F238E27FC236}">
                              <a16:creationId xmlns:a16="http://schemas.microsoft.com/office/drawing/2014/main" id="{3E4DBAF6-B85D-4487-A434-0E646E3C9F49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87635" y="3841457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217" name="Freeform: Shape 1216">
                          <a:extLst>
                            <a:ext uri="{FF2B5EF4-FFF2-40B4-BE49-F238E27FC236}">
                              <a16:creationId xmlns:a16="http://schemas.microsoft.com/office/drawing/2014/main" id="{374E4FF2-41A1-49AA-BEFA-99748F379ED8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95521" y="3841457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218" name="Freeform: Shape 1217">
                          <a:extLst>
                            <a:ext uri="{FF2B5EF4-FFF2-40B4-BE49-F238E27FC236}">
                              <a16:creationId xmlns:a16="http://schemas.microsoft.com/office/drawing/2014/main" id="{9F460A5A-B7BB-46E6-95FA-4399B84DAC36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03383" y="3841457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219" name="Freeform: Shape 1218">
                          <a:extLst>
                            <a:ext uri="{FF2B5EF4-FFF2-40B4-BE49-F238E27FC236}">
                              <a16:creationId xmlns:a16="http://schemas.microsoft.com/office/drawing/2014/main" id="{0222535F-8BF6-48BD-8CDC-151D8927D838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11269" y="3841457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220" name="Freeform: Shape 1219">
                          <a:extLst>
                            <a:ext uri="{FF2B5EF4-FFF2-40B4-BE49-F238E27FC236}">
                              <a16:creationId xmlns:a16="http://schemas.microsoft.com/office/drawing/2014/main" id="{3442E7E7-11E9-46D0-A915-DA4C40B4E494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19132" y="3841457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221" name="Freeform: Shape 1220">
                          <a:extLst>
                            <a:ext uri="{FF2B5EF4-FFF2-40B4-BE49-F238E27FC236}">
                              <a16:creationId xmlns:a16="http://schemas.microsoft.com/office/drawing/2014/main" id="{1B5DA3B7-7AB9-4B67-9B13-68BF9801151D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27017" y="3841457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222" name="Freeform: Shape 1221">
                          <a:extLst>
                            <a:ext uri="{FF2B5EF4-FFF2-40B4-BE49-F238E27FC236}">
                              <a16:creationId xmlns:a16="http://schemas.microsoft.com/office/drawing/2014/main" id="{FA12986A-C2FA-47FB-B300-1EC60F1F3FA1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34903" y="3841457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223" name="Freeform: Shape 1222">
                          <a:extLst>
                            <a:ext uri="{FF2B5EF4-FFF2-40B4-BE49-F238E27FC236}">
                              <a16:creationId xmlns:a16="http://schemas.microsoft.com/office/drawing/2014/main" id="{6C61F9AA-E027-4DC9-9850-0C9B27D2AEBB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42765" y="3841457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224" name="Freeform: Shape 1223">
                          <a:extLst>
                            <a:ext uri="{FF2B5EF4-FFF2-40B4-BE49-F238E27FC236}">
                              <a16:creationId xmlns:a16="http://schemas.microsoft.com/office/drawing/2014/main" id="{E6B51947-CFBA-4631-83CF-2AAEEB99E476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50651" y="3841457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225" name="Freeform: Shape 1224">
                          <a:extLst>
                            <a:ext uri="{FF2B5EF4-FFF2-40B4-BE49-F238E27FC236}">
                              <a16:creationId xmlns:a16="http://schemas.microsoft.com/office/drawing/2014/main" id="{A15655AE-F906-45CD-B7CA-1FE4F68EF166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08871" y="3841457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226" name="Freeform: Shape 1225">
                          <a:extLst>
                            <a:ext uri="{FF2B5EF4-FFF2-40B4-BE49-F238E27FC236}">
                              <a16:creationId xmlns:a16="http://schemas.microsoft.com/office/drawing/2014/main" id="{8756E489-C6BB-4A0E-919A-2EAFF454FE41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16757" y="3841457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227" name="Freeform: Shape 1226">
                          <a:extLst>
                            <a:ext uri="{FF2B5EF4-FFF2-40B4-BE49-F238E27FC236}">
                              <a16:creationId xmlns:a16="http://schemas.microsoft.com/office/drawing/2014/main" id="{7FC490E9-BB8F-4377-84F6-C576E8306962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24619" y="3841457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228" name="Freeform: Shape 1227">
                          <a:extLst>
                            <a:ext uri="{FF2B5EF4-FFF2-40B4-BE49-F238E27FC236}">
                              <a16:creationId xmlns:a16="http://schemas.microsoft.com/office/drawing/2014/main" id="{A10DA86F-0240-407D-BB2B-8B35EEF47192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93123" y="3841457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229" name="Freeform: Shape 1228">
                          <a:extLst>
                            <a:ext uri="{FF2B5EF4-FFF2-40B4-BE49-F238E27FC236}">
                              <a16:creationId xmlns:a16="http://schemas.microsoft.com/office/drawing/2014/main" id="{F5B919E7-C2DF-446D-B836-D1232C71E735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01009" y="3841457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230" name="Freeform: Shape 1229">
                          <a:extLst>
                            <a:ext uri="{FF2B5EF4-FFF2-40B4-BE49-F238E27FC236}">
                              <a16:creationId xmlns:a16="http://schemas.microsoft.com/office/drawing/2014/main" id="{5D9C3537-D91D-408D-8FDB-891B876C2F21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08871" y="3841457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231" name="Freeform: Shape 1230">
                          <a:extLst>
                            <a:ext uri="{FF2B5EF4-FFF2-40B4-BE49-F238E27FC236}">
                              <a16:creationId xmlns:a16="http://schemas.microsoft.com/office/drawing/2014/main" id="{CF9FA1B2-9E78-4D28-91E7-01EA89023A09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32505" y="3841457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232" name="Freeform: Shape 1231">
                          <a:extLst>
                            <a:ext uri="{FF2B5EF4-FFF2-40B4-BE49-F238E27FC236}">
                              <a16:creationId xmlns:a16="http://schemas.microsoft.com/office/drawing/2014/main" id="{3F8C3500-E451-444D-A69C-2F67B48B942A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40391" y="3841457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233" name="Freeform: Shape 1232">
                          <a:extLst>
                            <a:ext uri="{FF2B5EF4-FFF2-40B4-BE49-F238E27FC236}">
                              <a16:creationId xmlns:a16="http://schemas.microsoft.com/office/drawing/2014/main" id="{E65835ED-725C-48EC-9672-B5790CB65A38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48253" y="3841457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234" name="Freeform: Shape 1233">
                          <a:extLst>
                            <a:ext uri="{FF2B5EF4-FFF2-40B4-BE49-F238E27FC236}">
                              <a16:creationId xmlns:a16="http://schemas.microsoft.com/office/drawing/2014/main" id="{E1EC1AAD-0F6A-4715-B703-347E08047828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56139" y="3841457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235" name="Freeform: Shape 1234">
                          <a:extLst>
                            <a:ext uri="{FF2B5EF4-FFF2-40B4-BE49-F238E27FC236}">
                              <a16:creationId xmlns:a16="http://schemas.microsoft.com/office/drawing/2014/main" id="{D0EC7DD8-5FDE-48D7-BF79-7BFF2A454242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64001" y="3841457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</p:grpSp>
                  <p:grpSp>
                    <p:nvGrpSpPr>
                      <p:cNvPr id="1236" name="Graphic 174">
                        <a:extLst>
                          <a:ext uri="{FF2B5EF4-FFF2-40B4-BE49-F238E27FC236}">
                            <a16:creationId xmlns:a16="http://schemas.microsoft.com/office/drawing/2014/main" id="{4045A780-E4ED-4946-BB38-1D6737CA17D1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6597705" y="3823708"/>
                        <a:ext cx="165158" cy="16283"/>
                        <a:chOff x="6597705" y="3823708"/>
                        <a:chExt cx="165158" cy="16283"/>
                      </a:xfrm>
                      <a:solidFill>
                        <a:schemeClr val="accent1"/>
                      </a:solidFill>
                    </p:grpSpPr>
                    <p:sp>
                      <p:nvSpPr>
                        <p:cNvPr id="1237" name="Freeform: Shape 1236">
                          <a:extLst>
                            <a:ext uri="{FF2B5EF4-FFF2-40B4-BE49-F238E27FC236}">
                              <a16:creationId xmlns:a16="http://schemas.microsoft.com/office/drawing/2014/main" id="{C6877BF2-5FA4-4F7F-BB38-94B0857BC327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97705" y="3823708"/>
                          <a:ext cx="165158" cy="16283"/>
                        </a:xfrm>
                        <a:custGeom>
                          <a:avLst/>
                          <a:gdLst>
                            <a:gd name="connsiteX0" fmla="*/ 164553 w 165158"/>
                            <a:gd name="connsiteY0" fmla="*/ 16911 h 16283"/>
                            <a:gd name="connsiteX1" fmla="*/ 1465 w 165158"/>
                            <a:gd name="connsiteY1" fmla="*/ 16911 h 16283"/>
                            <a:gd name="connsiteX2" fmla="*/ 0 w 165158"/>
                            <a:gd name="connsiteY2" fmla="*/ 15446 h 16283"/>
                            <a:gd name="connsiteX3" fmla="*/ 0 w 165158"/>
                            <a:gd name="connsiteY3" fmla="*/ 1465 h 16283"/>
                            <a:gd name="connsiteX4" fmla="*/ 1465 w 165158"/>
                            <a:gd name="connsiteY4" fmla="*/ 0 h 16283"/>
                            <a:gd name="connsiteX5" fmla="*/ 164553 w 165158"/>
                            <a:gd name="connsiteY5" fmla="*/ 0 h 16283"/>
                            <a:gd name="connsiteX6" fmla="*/ 166019 w 165158"/>
                            <a:gd name="connsiteY6" fmla="*/ 1465 h 16283"/>
                            <a:gd name="connsiteX7" fmla="*/ 166019 w 165158"/>
                            <a:gd name="connsiteY7" fmla="*/ 15446 h 16283"/>
                            <a:gd name="connsiteX8" fmla="*/ 164553 w 165158"/>
                            <a:gd name="connsiteY8" fmla="*/ 1691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165158" h="16283">
                              <a:moveTo>
                                <a:pt x="164553" y="16911"/>
                              </a:moveTo>
                              <a:lnTo>
                                <a:pt x="1465" y="16911"/>
                              </a:lnTo>
                              <a:cubicBezTo>
                                <a:pt x="651" y="16911"/>
                                <a:pt x="0" y="16260"/>
                                <a:pt x="0" y="15446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164553" y="0"/>
                              </a:lnTo>
                              <a:cubicBezTo>
                                <a:pt x="165367" y="0"/>
                                <a:pt x="166019" y="651"/>
                                <a:pt x="166019" y="1465"/>
                              </a:cubicBezTo>
                              <a:lnTo>
                                <a:pt x="166019" y="15446"/>
                              </a:lnTo>
                              <a:cubicBezTo>
                                <a:pt x="165996" y="16260"/>
                                <a:pt x="165344" y="16911"/>
                                <a:pt x="164553" y="1691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19439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238" name="Freeform: Shape 1237">
                          <a:extLst>
                            <a:ext uri="{FF2B5EF4-FFF2-40B4-BE49-F238E27FC236}">
                              <a16:creationId xmlns:a16="http://schemas.microsoft.com/office/drawing/2014/main" id="{F42A75F2-37AE-4FFD-B6E7-107A2C3C1575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77493" y="3824406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239" name="Freeform: Shape 1238">
                          <a:extLst>
                            <a:ext uri="{FF2B5EF4-FFF2-40B4-BE49-F238E27FC236}">
                              <a16:creationId xmlns:a16="http://schemas.microsoft.com/office/drawing/2014/main" id="{E63875EE-4286-4FAC-830D-2FE0ADBB520A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85379" y="3824406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240" name="Freeform: Shape 1239">
                          <a:extLst>
                            <a:ext uri="{FF2B5EF4-FFF2-40B4-BE49-F238E27FC236}">
                              <a16:creationId xmlns:a16="http://schemas.microsoft.com/office/drawing/2014/main" id="{23F8FB9F-69CC-43E6-AF0F-95A62C642DB8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93265" y="3824406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241" name="Freeform: Shape 1240">
                          <a:extLst>
                            <a:ext uri="{FF2B5EF4-FFF2-40B4-BE49-F238E27FC236}">
                              <a16:creationId xmlns:a16="http://schemas.microsoft.com/office/drawing/2014/main" id="{79F27CFC-AE17-4F66-8D73-11F65EFB475C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01127" y="3824406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242" name="Freeform: Shape 1241">
                          <a:extLst>
                            <a:ext uri="{FF2B5EF4-FFF2-40B4-BE49-F238E27FC236}">
                              <a16:creationId xmlns:a16="http://schemas.microsoft.com/office/drawing/2014/main" id="{2B566AC8-5232-49D1-A51E-70F578585AF7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09013" y="3824406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243" name="Freeform: Shape 1242">
                          <a:extLst>
                            <a:ext uri="{FF2B5EF4-FFF2-40B4-BE49-F238E27FC236}">
                              <a16:creationId xmlns:a16="http://schemas.microsoft.com/office/drawing/2014/main" id="{96465943-DEDD-404C-B0D3-BBFF6FFAE8C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16875" y="3824406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244" name="Freeform: Shape 1243">
                          <a:extLst>
                            <a:ext uri="{FF2B5EF4-FFF2-40B4-BE49-F238E27FC236}">
                              <a16:creationId xmlns:a16="http://schemas.microsoft.com/office/drawing/2014/main" id="{448F2056-8F8F-4E08-A3DB-A7F538A10FE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24761" y="3824406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245" name="Freeform: Shape 1244">
                          <a:extLst>
                            <a:ext uri="{FF2B5EF4-FFF2-40B4-BE49-F238E27FC236}">
                              <a16:creationId xmlns:a16="http://schemas.microsoft.com/office/drawing/2014/main" id="{BE71EFA5-E4DE-49F8-842B-94833C2C7C97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32623" y="3824406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246" name="Freeform: Shape 1245">
                          <a:extLst>
                            <a:ext uri="{FF2B5EF4-FFF2-40B4-BE49-F238E27FC236}">
                              <a16:creationId xmlns:a16="http://schemas.microsoft.com/office/drawing/2014/main" id="{B974BDB5-0CAA-4677-A275-BFAC199CE6E3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40509" y="3824406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247" name="Freeform: Shape 1246">
                          <a:extLst>
                            <a:ext uri="{FF2B5EF4-FFF2-40B4-BE49-F238E27FC236}">
                              <a16:creationId xmlns:a16="http://schemas.microsoft.com/office/drawing/2014/main" id="{FF67C242-EB6C-4754-986F-270B0CA418E3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48395" y="3824406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248" name="Freeform: Shape 1247">
                          <a:extLst>
                            <a:ext uri="{FF2B5EF4-FFF2-40B4-BE49-F238E27FC236}">
                              <a16:creationId xmlns:a16="http://schemas.microsoft.com/office/drawing/2014/main" id="{2880DD80-CA50-416E-AE2A-54C08BDE6841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56257" y="3824406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249" name="Freeform: Shape 1248">
                          <a:extLst>
                            <a:ext uri="{FF2B5EF4-FFF2-40B4-BE49-F238E27FC236}">
                              <a16:creationId xmlns:a16="http://schemas.microsoft.com/office/drawing/2014/main" id="{8715D036-57BE-40A7-8503-D61205F2F199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14500" y="3824406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250" name="Freeform: Shape 1249">
                          <a:extLst>
                            <a:ext uri="{FF2B5EF4-FFF2-40B4-BE49-F238E27FC236}">
                              <a16:creationId xmlns:a16="http://schemas.microsoft.com/office/drawing/2014/main" id="{3B03491B-95B3-429D-8874-E313DB850A46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22363" y="3824406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251" name="Freeform: Shape 1250">
                          <a:extLst>
                            <a:ext uri="{FF2B5EF4-FFF2-40B4-BE49-F238E27FC236}">
                              <a16:creationId xmlns:a16="http://schemas.microsoft.com/office/drawing/2014/main" id="{18AC88C7-475A-45CE-BBD2-21648EFCED71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30249" y="3824406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252" name="Freeform: Shape 1251">
                          <a:extLst>
                            <a:ext uri="{FF2B5EF4-FFF2-40B4-BE49-F238E27FC236}">
                              <a16:creationId xmlns:a16="http://schemas.microsoft.com/office/drawing/2014/main" id="{5004E6E0-0EA9-4B4A-8820-66A51FFAC9D9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98752" y="3824406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253" name="Freeform: Shape 1252">
                          <a:extLst>
                            <a:ext uri="{FF2B5EF4-FFF2-40B4-BE49-F238E27FC236}">
                              <a16:creationId xmlns:a16="http://schemas.microsoft.com/office/drawing/2014/main" id="{2FB55783-5CD3-47B0-912C-F7049B85EFB6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06615" y="3824406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254" name="Freeform: Shape 1253">
                          <a:extLst>
                            <a:ext uri="{FF2B5EF4-FFF2-40B4-BE49-F238E27FC236}">
                              <a16:creationId xmlns:a16="http://schemas.microsoft.com/office/drawing/2014/main" id="{B8ACF3C1-CA78-42A6-BA9F-05505A0039E6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14500" y="3824406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255" name="Freeform: Shape 1254">
                          <a:extLst>
                            <a:ext uri="{FF2B5EF4-FFF2-40B4-BE49-F238E27FC236}">
                              <a16:creationId xmlns:a16="http://schemas.microsoft.com/office/drawing/2014/main" id="{5B92AA65-F218-474E-90B9-22CA620152F8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38111" y="3824406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256" name="Freeform: Shape 1255">
                          <a:extLst>
                            <a:ext uri="{FF2B5EF4-FFF2-40B4-BE49-F238E27FC236}">
                              <a16:creationId xmlns:a16="http://schemas.microsoft.com/office/drawing/2014/main" id="{EFB37CF8-4C6D-4962-B9B0-E46451B3821E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45997" y="3824406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257" name="Freeform: Shape 1256">
                          <a:extLst>
                            <a:ext uri="{FF2B5EF4-FFF2-40B4-BE49-F238E27FC236}">
                              <a16:creationId xmlns:a16="http://schemas.microsoft.com/office/drawing/2014/main" id="{F02B0F0D-7E56-4444-9451-9F7715024E7A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53882" y="3824406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258" name="Freeform: Shape 1257">
                          <a:extLst>
                            <a:ext uri="{FF2B5EF4-FFF2-40B4-BE49-F238E27FC236}">
                              <a16:creationId xmlns:a16="http://schemas.microsoft.com/office/drawing/2014/main" id="{97595FBF-2235-405A-B519-679868DBF3F7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61745" y="3824406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259" name="Freeform: Shape 1258">
                          <a:extLst>
                            <a:ext uri="{FF2B5EF4-FFF2-40B4-BE49-F238E27FC236}">
                              <a16:creationId xmlns:a16="http://schemas.microsoft.com/office/drawing/2014/main" id="{9B53649E-64C4-48CF-A434-F67EDCDFD2D9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69631" y="3824406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</p:grpSp>
                  <p:grpSp>
                    <p:nvGrpSpPr>
                      <p:cNvPr id="1260" name="Graphic 174">
                        <a:extLst>
                          <a:ext uri="{FF2B5EF4-FFF2-40B4-BE49-F238E27FC236}">
                            <a16:creationId xmlns:a16="http://schemas.microsoft.com/office/drawing/2014/main" id="{4045A780-E4ED-4946-BB38-1D6737CA17D1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6605591" y="3806820"/>
                        <a:ext cx="165158" cy="16283"/>
                        <a:chOff x="6605591" y="3806820"/>
                        <a:chExt cx="165158" cy="16283"/>
                      </a:xfrm>
                      <a:solidFill>
                        <a:schemeClr val="accent1"/>
                      </a:solidFill>
                    </p:grpSpPr>
                    <p:sp>
                      <p:nvSpPr>
                        <p:cNvPr id="1261" name="Freeform: Shape 1260">
                          <a:extLst>
                            <a:ext uri="{FF2B5EF4-FFF2-40B4-BE49-F238E27FC236}">
                              <a16:creationId xmlns:a16="http://schemas.microsoft.com/office/drawing/2014/main" id="{A7851A2E-8A5A-4EA8-AB98-B51CC0FE7581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05591" y="3806820"/>
                          <a:ext cx="165158" cy="16283"/>
                        </a:xfrm>
                        <a:custGeom>
                          <a:avLst/>
                          <a:gdLst>
                            <a:gd name="connsiteX0" fmla="*/ 164553 w 165158"/>
                            <a:gd name="connsiteY0" fmla="*/ 16911 h 16283"/>
                            <a:gd name="connsiteX1" fmla="*/ 1465 w 165158"/>
                            <a:gd name="connsiteY1" fmla="*/ 16911 h 16283"/>
                            <a:gd name="connsiteX2" fmla="*/ 0 w 165158"/>
                            <a:gd name="connsiteY2" fmla="*/ 15446 h 16283"/>
                            <a:gd name="connsiteX3" fmla="*/ 0 w 165158"/>
                            <a:gd name="connsiteY3" fmla="*/ 1465 h 16283"/>
                            <a:gd name="connsiteX4" fmla="*/ 1465 w 165158"/>
                            <a:gd name="connsiteY4" fmla="*/ 0 h 16283"/>
                            <a:gd name="connsiteX5" fmla="*/ 164553 w 165158"/>
                            <a:gd name="connsiteY5" fmla="*/ 0 h 16283"/>
                            <a:gd name="connsiteX6" fmla="*/ 166019 w 165158"/>
                            <a:gd name="connsiteY6" fmla="*/ 1465 h 16283"/>
                            <a:gd name="connsiteX7" fmla="*/ 166019 w 165158"/>
                            <a:gd name="connsiteY7" fmla="*/ 15446 h 16283"/>
                            <a:gd name="connsiteX8" fmla="*/ 164553 w 165158"/>
                            <a:gd name="connsiteY8" fmla="*/ 16911 h 162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165158" h="16283">
                              <a:moveTo>
                                <a:pt x="164553" y="16911"/>
                              </a:moveTo>
                              <a:lnTo>
                                <a:pt x="1465" y="16911"/>
                              </a:lnTo>
                              <a:cubicBezTo>
                                <a:pt x="651" y="16911"/>
                                <a:pt x="0" y="16260"/>
                                <a:pt x="0" y="15446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164553" y="0"/>
                              </a:lnTo>
                              <a:cubicBezTo>
                                <a:pt x="165367" y="0"/>
                                <a:pt x="166019" y="651"/>
                                <a:pt x="166019" y="1465"/>
                              </a:cubicBezTo>
                              <a:lnTo>
                                <a:pt x="166019" y="15446"/>
                              </a:lnTo>
                              <a:cubicBezTo>
                                <a:pt x="165996" y="16260"/>
                                <a:pt x="165344" y="16911"/>
                                <a:pt x="164553" y="16911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19439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262" name="Freeform: Shape 1261">
                          <a:extLst>
                            <a:ext uri="{FF2B5EF4-FFF2-40B4-BE49-F238E27FC236}">
                              <a16:creationId xmlns:a16="http://schemas.microsoft.com/office/drawing/2014/main" id="{4E2F2CBE-AF19-40BA-95B2-68C86082BA3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85379" y="3807518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263" name="Freeform: Shape 1262">
                          <a:extLst>
                            <a:ext uri="{FF2B5EF4-FFF2-40B4-BE49-F238E27FC236}">
                              <a16:creationId xmlns:a16="http://schemas.microsoft.com/office/drawing/2014/main" id="{966F2DEC-35CF-4B9F-92AC-D7AAF3EB4488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93265" y="3807518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264" name="Freeform: Shape 1263">
                          <a:extLst>
                            <a:ext uri="{FF2B5EF4-FFF2-40B4-BE49-F238E27FC236}">
                              <a16:creationId xmlns:a16="http://schemas.microsoft.com/office/drawing/2014/main" id="{9CFEA74D-751D-4CFF-A46A-85D3AE7FDC56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01127" y="3807518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265" name="Freeform: Shape 1264">
                          <a:extLst>
                            <a:ext uri="{FF2B5EF4-FFF2-40B4-BE49-F238E27FC236}">
                              <a16:creationId xmlns:a16="http://schemas.microsoft.com/office/drawing/2014/main" id="{99F1655B-31A9-40E6-9E3C-9856EEA57004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09013" y="3807518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266" name="Freeform: Shape 1265">
                          <a:extLst>
                            <a:ext uri="{FF2B5EF4-FFF2-40B4-BE49-F238E27FC236}">
                              <a16:creationId xmlns:a16="http://schemas.microsoft.com/office/drawing/2014/main" id="{8FCAD2E2-62D5-4053-A0CB-07DCAD438C51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16875" y="3807518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267" name="Freeform: Shape 1266">
                          <a:extLst>
                            <a:ext uri="{FF2B5EF4-FFF2-40B4-BE49-F238E27FC236}">
                              <a16:creationId xmlns:a16="http://schemas.microsoft.com/office/drawing/2014/main" id="{D121DBF3-45AC-4B0B-9BD2-B9E989391081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24761" y="3807518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268" name="Freeform: Shape 1267">
                          <a:extLst>
                            <a:ext uri="{FF2B5EF4-FFF2-40B4-BE49-F238E27FC236}">
                              <a16:creationId xmlns:a16="http://schemas.microsoft.com/office/drawing/2014/main" id="{0CBE2B45-C950-4568-A85C-D7897C1C1206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32623" y="3807518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269" name="Freeform: Shape 1268">
                          <a:extLst>
                            <a:ext uri="{FF2B5EF4-FFF2-40B4-BE49-F238E27FC236}">
                              <a16:creationId xmlns:a16="http://schemas.microsoft.com/office/drawing/2014/main" id="{FD6C6359-60E1-4B5D-8C1E-44AD1BF3D28A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40509" y="3807518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270" name="Freeform: Shape 1269">
                          <a:extLst>
                            <a:ext uri="{FF2B5EF4-FFF2-40B4-BE49-F238E27FC236}">
                              <a16:creationId xmlns:a16="http://schemas.microsoft.com/office/drawing/2014/main" id="{FDA586C5-F46D-4D77-8A36-061BFDED5667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48395" y="3807518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271" name="Freeform: Shape 1270">
                          <a:extLst>
                            <a:ext uri="{FF2B5EF4-FFF2-40B4-BE49-F238E27FC236}">
                              <a16:creationId xmlns:a16="http://schemas.microsoft.com/office/drawing/2014/main" id="{52A83B29-A50C-4251-955F-5E5D10FDD120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56257" y="3807518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272" name="Freeform: Shape 1271">
                          <a:extLst>
                            <a:ext uri="{FF2B5EF4-FFF2-40B4-BE49-F238E27FC236}">
                              <a16:creationId xmlns:a16="http://schemas.microsoft.com/office/drawing/2014/main" id="{03296A43-3DA4-4103-877A-6C8C6E3CD118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64143" y="3807518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273" name="Freeform: Shape 1272">
                          <a:extLst>
                            <a:ext uri="{FF2B5EF4-FFF2-40B4-BE49-F238E27FC236}">
                              <a16:creationId xmlns:a16="http://schemas.microsoft.com/office/drawing/2014/main" id="{757ECB9D-E2B5-4F63-85CD-4434161F01C2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22363" y="3807518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274" name="Freeform: Shape 1273">
                          <a:extLst>
                            <a:ext uri="{FF2B5EF4-FFF2-40B4-BE49-F238E27FC236}">
                              <a16:creationId xmlns:a16="http://schemas.microsoft.com/office/drawing/2014/main" id="{0C95AAAC-6419-478D-9085-4F8EFF4E1926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30249" y="3807518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275" name="Freeform: Shape 1274">
                          <a:extLst>
                            <a:ext uri="{FF2B5EF4-FFF2-40B4-BE49-F238E27FC236}">
                              <a16:creationId xmlns:a16="http://schemas.microsoft.com/office/drawing/2014/main" id="{836F6693-E7BE-4EF3-9CA2-FE9BAA905B77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38111" y="3807518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276" name="Freeform: Shape 1275">
                          <a:extLst>
                            <a:ext uri="{FF2B5EF4-FFF2-40B4-BE49-F238E27FC236}">
                              <a16:creationId xmlns:a16="http://schemas.microsoft.com/office/drawing/2014/main" id="{57FBB1BC-5BF5-4B22-B7CA-6641D15BB9F0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06615" y="3807518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277" name="Freeform: Shape 1276">
                          <a:extLst>
                            <a:ext uri="{FF2B5EF4-FFF2-40B4-BE49-F238E27FC236}">
                              <a16:creationId xmlns:a16="http://schemas.microsoft.com/office/drawing/2014/main" id="{B2FEE981-A436-410E-85EB-21AAA19774E6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14500" y="3807518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278" name="Freeform: Shape 1277">
                          <a:extLst>
                            <a:ext uri="{FF2B5EF4-FFF2-40B4-BE49-F238E27FC236}">
                              <a16:creationId xmlns:a16="http://schemas.microsoft.com/office/drawing/2014/main" id="{E8512661-4963-483F-BD42-4EB802CD7E5C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22363" y="3807518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279" name="Freeform: Shape 1278">
                          <a:extLst>
                            <a:ext uri="{FF2B5EF4-FFF2-40B4-BE49-F238E27FC236}">
                              <a16:creationId xmlns:a16="http://schemas.microsoft.com/office/drawing/2014/main" id="{2C7D0943-3C7A-4D09-BEB2-D2787D9F09D8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45997" y="3807518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280" name="Freeform: Shape 1279">
                          <a:extLst>
                            <a:ext uri="{FF2B5EF4-FFF2-40B4-BE49-F238E27FC236}">
                              <a16:creationId xmlns:a16="http://schemas.microsoft.com/office/drawing/2014/main" id="{7E84D998-624C-44FE-AC98-95EB07D46BD9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53882" y="3807518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281" name="Freeform: Shape 1280">
                          <a:extLst>
                            <a:ext uri="{FF2B5EF4-FFF2-40B4-BE49-F238E27FC236}">
                              <a16:creationId xmlns:a16="http://schemas.microsoft.com/office/drawing/2014/main" id="{FBC8A9FE-B4A0-4DB1-8EEC-C279B6951FF2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61745" y="3807518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282" name="Freeform: Shape 1281">
                          <a:extLst>
                            <a:ext uri="{FF2B5EF4-FFF2-40B4-BE49-F238E27FC236}">
                              <a16:creationId xmlns:a16="http://schemas.microsoft.com/office/drawing/2014/main" id="{27718B1B-557E-4338-B4E0-43A3F443F991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69631" y="3807518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397" y="14841"/>
                                <a:pt x="5746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sp>
                      <p:nvSpPr>
                        <p:cNvPr id="1283" name="Freeform: Shape 1282">
                          <a:extLst>
                            <a:ext uri="{FF2B5EF4-FFF2-40B4-BE49-F238E27FC236}">
                              <a16:creationId xmlns:a16="http://schemas.microsoft.com/office/drawing/2014/main" id="{7232B71F-7421-476C-8746-31F1B8B3A05A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677493" y="3807518"/>
                          <a:ext cx="4652" cy="13957"/>
                        </a:xfrm>
                        <a:custGeom>
                          <a:avLst/>
                          <a:gdLst>
                            <a:gd name="connsiteX0" fmla="*/ 4955 w 4652"/>
                            <a:gd name="connsiteY0" fmla="*/ 15492 h 13957"/>
                            <a:gd name="connsiteX1" fmla="*/ 1465 w 4652"/>
                            <a:gd name="connsiteY1" fmla="*/ 15492 h 13957"/>
                            <a:gd name="connsiteX2" fmla="*/ 0 w 4652"/>
                            <a:gd name="connsiteY2" fmla="*/ 14027 h 13957"/>
                            <a:gd name="connsiteX3" fmla="*/ 0 w 4652"/>
                            <a:gd name="connsiteY3" fmla="*/ 1465 h 13957"/>
                            <a:gd name="connsiteX4" fmla="*/ 1465 w 4652"/>
                            <a:gd name="connsiteY4" fmla="*/ 0 h 13957"/>
                            <a:gd name="connsiteX5" fmla="*/ 4955 w 4652"/>
                            <a:gd name="connsiteY5" fmla="*/ 0 h 13957"/>
                            <a:gd name="connsiteX6" fmla="*/ 6420 w 4652"/>
                            <a:gd name="connsiteY6" fmla="*/ 1465 h 13957"/>
                            <a:gd name="connsiteX7" fmla="*/ 6420 w 4652"/>
                            <a:gd name="connsiteY7" fmla="*/ 14027 h 13957"/>
                            <a:gd name="connsiteX8" fmla="*/ 4955 w 4652"/>
                            <a:gd name="connsiteY8" fmla="*/ 15492 h 1395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4652" h="13957">
                              <a:moveTo>
                                <a:pt x="4955" y="15492"/>
                              </a:moveTo>
                              <a:lnTo>
                                <a:pt x="1465" y="15492"/>
                              </a:lnTo>
                              <a:cubicBezTo>
                                <a:pt x="651" y="15492"/>
                                <a:pt x="0" y="14841"/>
                                <a:pt x="0" y="14027"/>
                              </a:cubicBezTo>
                              <a:lnTo>
                                <a:pt x="0" y="1465"/>
                              </a:lnTo>
                              <a:cubicBezTo>
                                <a:pt x="0" y="651"/>
                                <a:pt x="651" y="0"/>
                                <a:pt x="1465" y="0"/>
                              </a:cubicBezTo>
                              <a:lnTo>
                                <a:pt x="4955" y="0"/>
                              </a:lnTo>
                              <a:cubicBezTo>
                                <a:pt x="5769" y="0"/>
                                <a:pt x="6420" y="651"/>
                                <a:pt x="6420" y="1465"/>
                              </a:cubicBezTo>
                              <a:lnTo>
                                <a:pt x="6420" y="14027"/>
                              </a:lnTo>
                              <a:cubicBezTo>
                                <a:pt x="6420" y="14841"/>
                                <a:pt x="5769" y="15492"/>
                                <a:pt x="4955" y="15492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FFBD41"/>
                        </a:solidFill>
                        <a:ln w="232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</p:grpSp>
                </p:grpSp>
              </p:grpSp>
              <p:grpSp>
                <p:nvGrpSpPr>
                  <p:cNvPr id="1284" name="Graphic 174">
                    <a:extLst>
                      <a:ext uri="{FF2B5EF4-FFF2-40B4-BE49-F238E27FC236}">
                        <a16:creationId xmlns:a16="http://schemas.microsoft.com/office/drawing/2014/main" id="{4045A780-E4ED-4946-BB38-1D6737CA17D1}"/>
                      </a:ext>
                    </a:extLst>
                  </p:cNvPr>
                  <p:cNvGrpSpPr/>
                  <p:nvPr/>
                </p:nvGrpSpPr>
                <p:grpSpPr>
                  <a:xfrm>
                    <a:off x="6158106" y="3993542"/>
                    <a:ext cx="176137" cy="183069"/>
                    <a:chOff x="6158106" y="3993542"/>
                    <a:chExt cx="176137" cy="183069"/>
                  </a:xfrm>
                  <a:solidFill>
                    <a:schemeClr val="accent1"/>
                  </a:solidFill>
                </p:grpSpPr>
                <p:grpSp>
                  <p:nvGrpSpPr>
                    <p:cNvPr id="1285" name="Graphic 174">
                      <a:extLst>
                        <a:ext uri="{FF2B5EF4-FFF2-40B4-BE49-F238E27FC236}">
                          <a16:creationId xmlns:a16="http://schemas.microsoft.com/office/drawing/2014/main" id="{4045A780-E4ED-4946-BB38-1D6737CA17D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6161246" y="4160328"/>
                      <a:ext cx="162832" cy="16283"/>
                      <a:chOff x="6161246" y="4160328"/>
                      <a:chExt cx="162832" cy="16283"/>
                    </a:xfrm>
                    <a:solidFill>
                      <a:schemeClr val="accent1"/>
                    </a:solidFill>
                  </p:grpSpPr>
                  <p:sp>
                    <p:nvSpPr>
                      <p:cNvPr id="1286" name="Freeform: Shape 1285">
                        <a:extLst>
                          <a:ext uri="{FF2B5EF4-FFF2-40B4-BE49-F238E27FC236}">
                            <a16:creationId xmlns:a16="http://schemas.microsoft.com/office/drawing/2014/main" id="{18F115D4-8B70-44A2-B8F8-2F2BDC41C53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61246" y="4160328"/>
                        <a:ext cx="162832" cy="16283"/>
                      </a:xfrm>
                      <a:custGeom>
                        <a:avLst/>
                        <a:gdLst>
                          <a:gd name="connsiteX0" fmla="*/ 162297 w 162831"/>
                          <a:gd name="connsiteY0" fmla="*/ 16679 h 16283"/>
                          <a:gd name="connsiteX1" fmla="*/ 1442 w 162831"/>
                          <a:gd name="connsiteY1" fmla="*/ 16679 h 16283"/>
                          <a:gd name="connsiteX2" fmla="*/ 0 w 162831"/>
                          <a:gd name="connsiteY2" fmla="*/ 15236 h 16283"/>
                          <a:gd name="connsiteX3" fmla="*/ 0 w 162831"/>
                          <a:gd name="connsiteY3" fmla="*/ 1442 h 16283"/>
                          <a:gd name="connsiteX4" fmla="*/ 1442 w 162831"/>
                          <a:gd name="connsiteY4" fmla="*/ 0 h 16283"/>
                          <a:gd name="connsiteX5" fmla="*/ 162297 w 162831"/>
                          <a:gd name="connsiteY5" fmla="*/ 0 h 16283"/>
                          <a:gd name="connsiteX6" fmla="*/ 163739 w 162831"/>
                          <a:gd name="connsiteY6" fmla="*/ 1442 h 16283"/>
                          <a:gd name="connsiteX7" fmla="*/ 163739 w 162831"/>
                          <a:gd name="connsiteY7" fmla="*/ 15236 h 16283"/>
                          <a:gd name="connsiteX8" fmla="*/ 162297 w 162831"/>
                          <a:gd name="connsiteY8" fmla="*/ 16679 h 1628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162831" h="16283">
                            <a:moveTo>
                              <a:pt x="162297" y="16679"/>
                            </a:moveTo>
                            <a:lnTo>
                              <a:pt x="1442" y="16679"/>
                            </a:lnTo>
                            <a:cubicBezTo>
                              <a:pt x="651" y="16679"/>
                              <a:pt x="0" y="16027"/>
                              <a:pt x="0" y="15236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162297" y="0"/>
                            </a:lnTo>
                            <a:cubicBezTo>
                              <a:pt x="163088" y="0"/>
                              <a:pt x="163739" y="651"/>
                              <a:pt x="163739" y="1442"/>
                            </a:cubicBezTo>
                            <a:lnTo>
                              <a:pt x="163739" y="15236"/>
                            </a:lnTo>
                            <a:cubicBezTo>
                              <a:pt x="163739" y="16027"/>
                              <a:pt x="163088" y="16679"/>
                              <a:pt x="162297" y="16679"/>
                            </a:cubicBezTo>
                            <a:close/>
                          </a:path>
                        </a:pathLst>
                      </a:custGeom>
                      <a:solidFill>
                        <a:srgbClr val="F19439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287" name="Freeform: Shape 1286">
                        <a:extLst>
                          <a:ext uri="{FF2B5EF4-FFF2-40B4-BE49-F238E27FC236}">
                            <a16:creationId xmlns:a16="http://schemas.microsoft.com/office/drawing/2014/main" id="{A1FD997D-927D-4FC4-A1DF-A8FF1010BA4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39964" y="4161026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32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288" name="Freeform: Shape 1287">
                        <a:extLst>
                          <a:ext uri="{FF2B5EF4-FFF2-40B4-BE49-F238E27FC236}">
                            <a16:creationId xmlns:a16="http://schemas.microsoft.com/office/drawing/2014/main" id="{BF3BC9C8-4DE5-475A-842D-D7537835088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47733" y="4161026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32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289" name="Freeform: Shape 1288">
                        <a:extLst>
                          <a:ext uri="{FF2B5EF4-FFF2-40B4-BE49-F238E27FC236}">
                            <a16:creationId xmlns:a16="http://schemas.microsoft.com/office/drawing/2014/main" id="{F1FC86FB-32CE-4447-B780-C87D7F38824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55503" y="4161026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32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290" name="Freeform: Shape 1289">
                        <a:extLst>
                          <a:ext uri="{FF2B5EF4-FFF2-40B4-BE49-F238E27FC236}">
                            <a16:creationId xmlns:a16="http://schemas.microsoft.com/office/drawing/2014/main" id="{DAB30401-5C9E-45EA-9BC9-C2B12E576F3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63272" y="4161026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32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291" name="Freeform: Shape 1290">
                        <a:extLst>
                          <a:ext uri="{FF2B5EF4-FFF2-40B4-BE49-F238E27FC236}">
                            <a16:creationId xmlns:a16="http://schemas.microsoft.com/office/drawing/2014/main" id="{FF5BF5F9-2D66-4087-85E5-1EFC044A765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71041" y="4161026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32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292" name="Freeform: Shape 1291">
                        <a:extLst>
                          <a:ext uri="{FF2B5EF4-FFF2-40B4-BE49-F238E27FC236}">
                            <a16:creationId xmlns:a16="http://schemas.microsoft.com/office/drawing/2014/main" id="{01811F36-87F5-40BC-929F-1C9906A3015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78811" y="4161026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32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293" name="Freeform: Shape 1292">
                        <a:extLst>
                          <a:ext uri="{FF2B5EF4-FFF2-40B4-BE49-F238E27FC236}">
                            <a16:creationId xmlns:a16="http://schemas.microsoft.com/office/drawing/2014/main" id="{43C67E75-4506-4F3E-8795-96A70F24DAC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86580" y="4161026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32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294" name="Freeform: Shape 1293">
                        <a:extLst>
                          <a:ext uri="{FF2B5EF4-FFF2-40B4-BE49-F238E27FC236}">
                            <a16:creationId xmlns:a16="http://schemas.microsoft.com/office/drawing/2014/main" id="{A6A2806F-B8B8-4D1B-BCE3-067AFFC3A2B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94350" y="4161026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32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295" name="Freeform: Shape 1294">
                        <a:extLst>
                          <a:ext uri="{FF2B5EF4-FFF2-40B4-BE49-F238E27FC236}">
                            <a16:creationId xmlns:a16="http://schemas.microsoft.com/office/drawing/2014/main" id="{742E5FE5-44D9-4EDC-B46C-95DB13E7EDC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302096" y="4161026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32"/>
                              <a:pt x="5699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296" name="Freeform: Shape 1295">
                        <a:extLst>
                          <a:ext uri="{FF2B5EF4-FFF2-40B4-BE49-F238E27FC236}">
                            <a16:creationId xmlns:a16="http://schemas.microsoft.com/office/drawing/2014/main" id="{9D461E1E-D4CB-4279-AAA7-4B66892A1A8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309865" y="4161026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32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297" name="Freeform: Shape 1296">
                        <a:extLst>
                          <a:ext uri="{FF2B5EF4-FFF2-40B4-BE49-F238E27FC236}">
                            <a16:creationId xmlns:a16="http://schemas.microsoft.com/office/drawing/2014/main" id="{919D1C16-6F9D-44A1-B42B-292558DE9EB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317635" y="4161026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32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298" name="Freeform: Shape 1297">
                        <a:extLst>
                          <a:ext uri="{FF2B5EF4-FFF2-40B4-BE49-F238E27FC236}">
                            <a16:creationId xmlns:a16="http://schemas.microsoft.com/office/drawing/2014/main" id="{3560D078-B81B-4437-81F4-3DBBD6B2B9D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77832" y="4161026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32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299" name="Freeform: Shape 1298">
                        <a:extLst>
                          <a:ext uri="{FF2B5EF4-FFF2-40B4-BE49-F238E27FC236}">
                            <a16:creationId xmlns:a16="http://schemas.microsoft.com/office/drawing/2014/main" id="{6E4C976D-EC3A-4127-8E72-EFEB5F7D6C8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85578" y="4161026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32"/>
                              <a:pt x="5699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300" name="Freeform: Shape 1299">
                        <a:extLst>
                          <a:ext uri="{FF2B5EF4-FFF2-40B4-BE49-F238E27FC236}">
                            <a16:creationId xmlns:a16="http://schemas.microsoft.com/office/drawing/2014/main" id="{23A65501-C432-4E2A-B11E-C3CD6BF400D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93347" y="4161026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32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301" name="Freeform: Shape 1300">
                        <a:extLst>
                          <a:ext uri="{FF2B5EF4-FFF2-40B4-BE49-F238E27FC236}">
                            <a16:creationId xmlns:a16="http://schemas.microsoft.com/office/drawing/2014/main" id="{E9DEAF86-CC09-430D-BF3A-1410687059A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62293" y="4161026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32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302" name="Freeform: Shape 1301">
                        <a:extLst>
                          <a:ext uri="{FF2B5EF4-FFF2-40B4-BE49-F238E27FC236}">
                            <a16:creationId xmlns:a16="http://schemas.microsoft.com/office/drawing/2014/main" id="{9703AFC8-33EA-4217-A470-7F4FB582D45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70062" y="4161026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32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303" name="Freeform: Shape 1302">
                        <a:extLst>
                          <a:ext uri="{FF2B5EF4-FFF2-40B4-BE49-F238E27FC236}">
                            <a16:creationId xmlns:a16="http://schemas.microsoft.com/office/drawing/2014/main" id="{FBD829B6-5D87-45AB-BFCC-A8AE5F0FC0C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77832" y="4161026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32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304" name="Freeform: Shape 1303">
                        <a:extLst>
                          <a:ext uri="{FF2B5EF4-FFF2-40B4-BE49-F238E27FC236}">
                            <a16:creationId xmlns:a16="http://schemas.microsoft.com/office/drawing/2014/main" id="{F41A3074-5C94-4C59-9C95-55D8858FB1A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01117" y="4161026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32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305" name="Freeform: Shape 1304">
                        <a:extLst>
                          <a:ext uri="{FF2B5EF4-FFF2-40B4-BE49-F238E27FC236}">
                            <a16:creationId xmlns:a16="http://schemas.microsoft.com/office/drawing/2014/main" id="{F4A2AE9F-87CA-42EE-90B8-0E341A231A0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08886" y="4161026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32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306" name="Freeform: Shape 1305">
                        <a:extLst>
                          <a:ext uri="{FF2B5EF4-FFF2-40B4-BE49-F238E27FC236}">
                            <a16:creationId xmlns:a16="http://schemas.microsoft.com/office/drawing/2014/main" id="{422950C0-A131-4ABE-82BB-557F18B7881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16655" y="4161026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32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307" name="Freeform: Shape 1306">
                        <a:extLst>
                          <a:ext uri="{FF2B5EF4-FFF2-40B4-BE49-F238E27FC236}">
                            <a16:creationId xmlns:a16="http://schemas.microsoft.com/office/drawing/2014/main" id="{CD172AA9-7F35-4CDA-926B-A0163E10A65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24425" y="4161026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32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308" name="Freeform: Shape 1307">
                        <a:extLst>
                          <a:ext uri="{FF2B5EF4-FFF2-40B4-BE49-F238E27FC236}">
                            <a16:creationId xmlns:a16="http://schemas.microsoft.com/office/drawing/2014/main" id="{91633BBE-F3A1-4760-AF52-9837495600F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32194" y="4161026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32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grpSp>
                  <p:nvGrpSpPr>
                    <p:cNvPr id="1309" name="Graphic 174">
                      <a:extLst>
                        <a:ext uri="{FF2B5EF4-FFF2-40B4-BE49-F238E27FC236}">
                          <a16:creationId xmlns:a16="http://schemas.microsoft.com/office/drawing/2014/main" id="{4045A780-E4ED-4946-BB38-1D6737CA17D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6165875" y="4143650"/>
                      <a:ext cx="162832" cy="16283"/>
                      <a:chOff x="6165875" y="4143650"/>
                      <a:chExt cx="162832" cy="16283"/>
                    </a:xfrm>
                    <a:solidFill>
                      <a:schemeClr val="accent1"/>
                    </a:solidFill>
                  </p:grpSpPr>
                  <p:sp>
                    <p:nvSpPr>
                      <p:cNvPr id="1310" name="Freeform: Shape 1309">
                        <a:extLst>
                          <a:ext uri="{FF2B5EF4-FFF2-40B4-BE49-F238E27FC236}">
                            <a16:creationId xmlns:a16="http://schemas.microsoft.com/office/drawing/2014/main" id="{130BAF78-E7BA-4965-85D1-DFC8A8C4E24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65875" y="4143650"/>
                        <a:ext cx="162832" cy="16283"/>
                      </a:xfrm>
                      <a:custGeom>
                        <a:avLst/>
                        <a:gdLst>
                          <a:gd name="connsiteX0" fmla="*/ 162297 w 162831"/>
                          <a:gd name="connsiteY0" fmla="*/ 16679 h 16283"/>
                          <a:gd name="connsiteX1" fmla="*/ 1442 w 162831"/>
                          <a:gd name="connsiteY1" fmla="*/ 16679 h 16283"/>
                          <a:gd name="connsiteX2" fmla="*/ 0 w 162831"/>
                          <a:gd name="connsiteY2" fmla="*/ 15236 h 16283"/>
                          <a:gd name="connsiteX3" fmla="*/ 0 w 162831"/>
                          <a:gd name="connsiteY3" fmla="*/ 1442 h 16283"/>
                          <a:gd name="connsiteX4" fmla="*/ 1442 w 162831"/>
                          <a:gd name="connsiteY4" fmla="*/ 0 h 16283"/>
                          <a:gd name="connsiteX5" fmla="*/ 162297 w 162831"/>
                          <a:gd name="connsiteY5" fmla="*/ 0 h 16283"/>
                          <a:gd name="connsiteX6" fmla="*/ 163739 w 162831"/>
                          <a:gd name="connsiteY6" fmla="*/ 1442 h 16283"/>
                          <a:gd name="connsiteX7" fmla="*/ 163739 w 162831"/>
                          <a:gd name="connsiteY7" fmla="*/ 15236 h 16283"/>
                          <a:gd name="connsiteX8" fmla="*/ 162297 w 162831"/>
                          <a:gd name="connsiteY8" fmla="*/ 16679 h 1628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162831" h="16283">
                            <a:moveTo>
                              <a:pt x="162297" y="16679"/>
                            </a:moveTo>
                            <a:lnTo>
                              <a:pt x="1442" y="16679"/>
                            </a:lnTo>
                            <a:cubicBezTo>
                              <a:pt x="651" y="16679"/>
                              <a:pt x="0" y="16027"/>
                              <a:pt x="0" y="15236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162297" y="0"/>
                            </a:lnTo>
                            <a:cubicBezTo>
                              <a:pt x="163088" y="0"/>
                              <a:pt x="163739" y="651"/>
                              <a:pt x="163739" y="1442"/>
                            </a:cubicBezTo>
                            <a:lnTo>
                              <a:pt x="163739" y="15236"/>
                            </a:lnTo>
                            <a:cubicBezTo>
                              <a:pt x="163716" y="16051"/>
                              <a:pt x="163088" y="16679"/>
                              <a:pt x="162297" y="16679"/>
                            </a:cubicBezTo>
                            <a:close/>
                          </a:path>
                        </a:pathLst>
                      </a:custGeom>
                      <a:solidFill>
                        <a:srgbClr val="F19439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311" name="Freeform: Shape 1310">
                        <a:extLst>
                          <a:ext uri="{FF2B5EF4-FFF2-40B4-BE49-F238E27FC236}">
                            <a16:creationId xmlns:a16="http://schemas.microsoft.com/office/drawing/2014/main" id="{030F1499-8611-4358-B413-7D01F463462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44570" y="4144371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312" name="Freeform: Shape 1311">
                        <a:extLst>
                          <a:ext uri="{FF2B5EF4-FFF2-40B4-BE49-F238E27FC236}">
                            <a16:creationId xmlns:a16="http://schemas.microsoft.com/office/drawing/2014/main" id="{374AF276-6DC6-401F-BC58-BCD1F8A4DF6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52339" y="4144371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313" name="Freeform: Shape 1312">
                        <a:extLst>
                          <a:ext uri="{FF2B5EF4-FFF2-40B4-BE49-F238E27FC236}">
                            <a16:creationId xmlns:a16="http://schemas.microsoft.com/office/drawing/2014/main" id="{F41BBFDC-0D43-4CF1-99F1-3FE36A45B54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60108" y="4144371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314" name="Freeform: Shape 1313">
                        <a:extLst>
                          <a:ext uri="{FF2B5EF4-FFF2-40B4-BE49-F238E27FC236}">
                            <a16:creationId xmlns:a16="http://schemas.microsoft.com/office/drawing/2014/main" id="{FD2BB3AF-5E6A-4082-9C2D-D0070CD82FC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67878" y="4144371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315" name="Freeform: Shape 1314">
                        <a:extLst>
                          <a:ext uri="{FF2B5EF4-FFF2-40B4-BE49-F238E27FC236}">
                            <a16:creationId xmlns:a16="http://schemas.microsoft.com/office/drawing/2014/main" id="{3EAAB2FC-7048-46B0-B973-18B5300145A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75647" y="4144371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316" name="Freeform: Shape 1315">
                        <a:extLst>
                          <a:ext uri="{FF2B5EF4-FFF2-40B4-BE49-F238E27FC236}">
                            <a16:creationId xmlns:a16="http://schemas.microsoft.com/office/drawing/2014/main" id="{533398D0-6D7B-4D01-B788-71AD75032C3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83417" y="4144371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317" name="Freeform: Shape 1316">
                        <a:extLst>
                          <a:ext uri="{FF2B5EF4-FFF2-40B4-BE49-F238E27FC236}">
                            <a16:creationId xmlns:a16="http://schemas.microsoft.com/office/drawing/2014/main" id="{FECFD59B-A9F3-4C19-B450-23912141627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91186" y="4144371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318" name="Freeform: Shape 1317">
                        <a:extLst>
                          <a:ext uri="{FF2B5EF4-FFF2-40B4-BE49-F238E27FC236}">
                            <a16:creationId xmlns:a16="http://schemas.microsoft.com/office/drawing/2014/main" id="{466363F6-3F58-4A82-9C6C-00FB6E29A19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98955" y="4144371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319" name="Freeform: Shape 1318">
                        <a:extLst>
                          <a:ext uri="{FF2B5EF4-FFF2-40B4-BE49-F238E27FC236}">
                            <a16:creationId xmlns:a16="http://schemas.microsoft.com/office/drawing/2014/main" id="{E330ACFA-B3F9-423D-AF34-39A7CA98CD8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306725" y="4144371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320" name="Freeform: Shape 1319">
                        <a:extLst>
                          <a:ext uri="{FF2B5EF4-FFF2-40B4-BE49-F238E27FC236}">
                            <a16:creationId xmlns:a16="http://schemas.microsoft.com/office/drawing/2014/main" id="{FAAEC813-FC43-4030-9D27-5A03AF64AFB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314494" y="4144371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321" name="Freeform: Shape 1320">
                        <a:extLst>
                          <a:ext uri="{FF2B5EF4-FFF2-40B4-BE49-F238E27FC236}">
                            <a16:creationId xmlns:a16="http://schemas.microsoft.com/office/drawing/2014/main" id="{13005182-C756-455E-8340-A451FB2C48B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322264" y="4144371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322" name="Freeform: Shape 1321">
                        <a:extLst>
                          <a:ext uri="{FF2B5EF4-FFF2-40B4-BE49-F238E27FC236}">
                            <a16:creationId xmlns:a16="http://schemas.microsoft.com/office/drawing/2014/main" id="{24474AC5-F594-482D-8C18-37E69CCB128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82438" y="4144371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323" name="Freeform: Shape 1322">
                        <a:extLst>
                          <a:ext uri="{FF2B5EF4-FFF2-40B4-BE49-F238E27FC236}">
                            <a16:creationId xmlns:a16="http://schemas.microsoft.com/office/drawing/2014/main" id="{9372486A-7A26-4C07-B989-728836876B9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90207" y="4144371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324" name="Freeform: Shape 1323">
                        <a:extLst>
                          <a:ext uri="{FF2B5EF4-FFF2-40B4-BE49-F238E27FC236}">
                            <a16:creationId xmlns:a16="http://schemas.microsoft.com/office/drawing/2014/main" id="{82A3666A-6FB2-4B86-AB96-6CAE8065EDC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97976" y="4144371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325" name="Freeform: Shape 1324">
                        <a:extLst>
                          <a:ext uri="{FF2B5EF4-FFF2-40B4-BE49-F238E27FC236}">
                            <a16:creationId xmlns:a16="http://schemas.microsoft.com/office/drawing/2014/main" id="{7A1BB40C-5479-481A-999A-F88CEDD6AE4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66899" y="4144371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326" name="Freeform: Shape 1325">
                        <a:extLst>
                          <a:ext uri="{FF2B5EF4-FFF2-40B4-BE49-F238E27FC236}">
                            <a16:creationId xmlns:a16="http://schemas.microsoft.com/office/drawing/2014/main" id="{9A66C326-4462-489E-B486-E8A187C2C20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74668" y="4144371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327" name="Freeform: Shape 1326">
                        <a:extLst>
                          <a:ext uri="{FF2B5EF4-FFF2-40B4-BE49-F238E27FC236}">
                            <a16:creationId xmlns:a16="http://schemas.microsoft.com/office/drawing/2014/main" id="{F11C9529-91ED-4728-ADA2-A6997A1B442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82438" y="4144371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328" name="Freeform: Shape 1327">
                        <a:extLst>
                          <a:ext uri="{FF2B5EF4-FFF2-40B4-BE49-F238E27FC236}">
                            <a16:creationId xmlns:a16="http://schemas.microsoft.com/office/drawing/2014/main" id="{8AD1120E-28DA-4C47-B3E2-0D88A31320D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05746" y="4144371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329" name="Freeform: Shape 1328">
                        <a:extLst>
                          <a:ext uri="{FF2B5EF4-FFF2-40B4-BE49-F238E27FC236}">
                            <a16:creationId xmlns:a16="http://schemas.microsoft.com/office/drawing/2014/main" id="{4DEE00C6-F1A3-438F-AF73-1F21D6D2B86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13492" y="4144371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08"/>
                              <a:pt x="5699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330" name="Freeform: Shape 1329">
                        <a:extLst>
                          <a:ext uri="{FF2B5EF4-FFF2-40B4-BE49-F238E27FC236}">
                            <a16:creationId xmlns:a16="http://schemas.microsoft.com/office/drawing/2014/main" id="{3E2A0629-FC60-478E-B92A-71BE93B477D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21261" y="4144371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331" name="Freeform: Shape 1330">
                        <a:extLst>
                          <a:ext uri="{FF2B5EF4-FFF2-40B4-BE49-F238E27FC236}">
                            <a16:creationId xmlns:a16="http://schemas.microsoft.com/office/drawing/2014/main" id="{E6872A6A-51AF-4D09-812B-D34AE9CA091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29031" y="4144371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332" name="Freeform: Shape 1331">
                        <a:extLst>
                          <a:ext uri="{FF2B5EF4-FFF2-40B4-BE49-F238E27FC236}">
                            <a16:creationId xmlns:a16="http://schemas.microsoft.com/office/drawing/2014/main" id="{5A22B2F0-54C3-4A25-BB5D-BD3E0CF11C7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36800" y="4144371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grpSp>
                  <p:nvGrpSpPr>
                    <p:cNvPr id="1333" name="Graphic 174">
                      <a:extLst>
                        <a:ext uri="{FF2B5EF4-FFF2-40B4-BE49-F238E27FC236}">
                          <a16:creationId xmlns:a16="http://schemas.microsoft.com/office/drawing/2014/main" id="{4045A780-E4ED-4946-BB38-1D6737CA17D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6165875" y="4110339"/>
                      <a:ext cx="162832" cy="16283"/>
                      <a:chOff x="6165875" y="4110339"/>
                      <a:chExt cx="162832" cy="16283"/>
                    </a:xfrm>
                    <a:solidFill>
                      <a:schemeClr val="accent1"/>
                    </a:solidFill>
                  </p:grpSpPr>
                  <p:sp>
                    <p:nvSpPr>
                      <p:cNvPr id="1334" name="Freeform: Shape 1333">
                        <a:extLst>
                          <a:ext uri="{FF2B5EF4-FFF2-40B4-BE49-F238E27FC236}">
                            <a16:creationId xmlns:a16="http://schemas.microsoft.com/office/drawing/2014/main" id="{24F24C53-CD43-4C0C-93EB-03C3F833416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65875" y="4110339"/>
                        <a:ext cx="162832" cy="16283"/>
                      </a:xfrm>
                      <a:custGeom>
                        <a:avLst/>
                        <a:gdLst>
                          <a:gd name="connsiteX0" fmla="*/ 162297 w 162831"/>
                          <a:gd name="connsiteY0" fmla="*/ 16679 h 16283"/>
                          <a:gd name="connsiteX1" fmla="*/ 1442 w 162831"/>
                          <a:gd name="connsiteY1" fmla="*/ 16679 h 16283"/>
                          <a:gd name="connsiteX2" fmla="*/ 0 w 162831"/>
                          <a:gd name="connsiteY2" fmla="*/ 15236 h 16283"/>
                          <a:gd name="connsiteX3" fmla="*/ 0 w 162831"/>
                          <a:gd name="connsiteY3" fmla="*/ 1442 h 16283"/>
                          <a:gd name="connsiteX4" fmla="*/ 1442 w 162831"/>
                          <a:gd name="connsiteY4" fmla="*/ 0 h 16283"/>
                          <a:gd name="connsiteX5" fmla="*/ 162297 w 162831"/>
                          <a:gd name="connsiteY5" fmla="*/ 0 h 16283"/>
                          <a:gd name="connsiteX6" fmla="*/ 163739 w 162831"/>
                          <a:gd name="connsiteY6" fmla="*/ 1442 h 16283"/>
                          <a:gd name="connsiteX7" fmla="*/ 163739 w 162831"/>
                          <a:gd name="connsiteY7" fmla="*/ 15236 h 16283"/>
                          <a:gd name="connsiteX8" fmla="*/ 162297 w 162831"/>
                          <a:gd name="connsiteY8" fmla="*/ 16679 h 1628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162831" h="16283">
                            <a:moveTo>
                              <a:pt x="162297" y="16679"/>
                            </a:moveTo>
                            <a:lnTo>
                              <a:pt x="1442" y="16679"/>
                            </a:lnTo>
                            <a:cubicBezTo>
                              <a:pt x="651" y="16679"/>
                              <a:pt x="0" y="16027"/>
                              <a:pt x="0" y="15236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162297" y="0"/>
                            </a:lnTo>
                            <a:cubicBezTo>
                              <a:pt x="163088" y="0"/>
                              <a:pt x="163739" y="651"/>
                              <a:pt x="163739" y="1442"/>
                            </a:cubicBezTo>
                            <a:lnTo>
                              <a:pt x="163739" y="15236"/>
                            </a:lnTo>
                            <a:cubicBezTo>
                              <a:pt x="163716" y="16027"/>
                              <a:pt x="163088" y="16679"/>
                              <a:pt x="162297" y="16679"/>
                            </a:cubicBezTo>
                            <a:close/>
                          </a:path>
                        </a:pathLst>
                      </a:custGeom>
                      <a:solidFill>
                        <a:srgbClr val="F19439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335" name="Freeform: Shape 1334">
                        <a:extLst>
                          <a:ext uri="{FF2B5EF4-FFF2-40B4-BE49-F238E27FC236}">
                            <a16:creationId xmlns:a16="http://schemas.microsoft.com/office/drawing/2014/main" id="{9CDCAC6A-C9C0-4BBB-A9B4-06222F9855B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44570" y="4111037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32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336" name="Freeform: Shape 1335">
                        <a:extLst>
                          <a:ext uri="{FF2B5EF4-FFF2-40B4-BE49-F238E27FC236}">
                            <a16:creationId xmlns:a16="http://schemas.microsoft.com/office/drawing/2014/main" id="{70E92569-D135-49E7-B0D3-D11EFCA6314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52339" y="4111037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32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337" name="Freeform: Shape 1336">
                        <a:extLst>
                          <a:ext uri="{FF2B5EF4-FFF2-40B4-BE49-F238E27FC236}">
                            <a16:creationId xmlns:a16="http://schemas.microsoft.com/office/drawing/2014/main" id="{8F2DBA65-A029-4671-8104-D01BC0F4015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60108" y="4111037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32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338" name="Freeform: Shape 1337">
                        <a:extLst>
                          <a:ext uri="{FF2B5EF4-FFF2-40B4-BE49-F238E27FC236}">
                            <a16:creationId xmlns:a16="http://schemas.microsoft.com/office/drawing/2014/main" id="{FAE25568-3C49-4D3E-B972-D0F6015AE0C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67878" y="4111037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32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339" name="Freeform: Shape 1338">
                        <a:extLst>
                          <a:ext uri="{FF2B5EF4-FFF2-40B4-BE49-F238E27FC236}">
                            <a16:creationId xmlns:a16="http://schemas.microsoft.com/office/drawing/2014/main" id="{C3CBE6D8-B853-4AA6-A3A6-BEF3D0B61F2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75647" y="4111037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32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340" name="Freeform: Shape 1339">
                        <a:extLst>
                          <a:ext uri="{FF2B5EF4-FFF2-40B4-BE49-F238E27FC236}">
                            <a16:creationId xmlns:a16="http://schemas.microsoft.com/office/drawing/2014/main" id="{1E85F392-4137-4293-9145-6574E29350D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83417" y="4111037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32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341" name="Freeform: Shape 1340">
                        <a:extLst>
                          <a:ext uri="{FF2B5EF4-FFF2-40B4-BE49-F238E27FC236}">
                            <a16:creationId xmlns:a16="http://schemas.microsoft.com/office/drawing/2014/main" id="{82685F2B-FF92-49DE-BF10-02ECC4B8D4F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91186" y="4111037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32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342" name="Freeform: Shape 1341">
                        <a:extLst>
                          <a:ext uri="{FF2B5EF4-FFF2-40B4-BE49-F238E27FC236}">
                            <a16:creationId xmlns:a16="http://schemas.microsoft.com/office/drawing/2014/main" id="{89112E45-6F8F-4002-98A5-5FE1ED47468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98955" y="4111037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32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343" name="Freeform: Shape 1342">
                        <a:extLst>
                          <a:ext uri="{FF2B5EF4-FFF2-40B4-BE49-F238E27FC236}">
                            <a16:creationId xmlns:a16="http://schemas.microsoft.com/office/drawing/2014/main" id="{A9F16D10-5F1E-4C2E-B7C9-F1C243FA44B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306725" y="4111037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32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344" name="Freeform: Shape 1343">
                        <a:extLst>
                          <a:ext uri="{FF2B5EF4-FFF2-40B4-BE49-F238E27FC236}">
                            <a16:creationId xmlns:a16="http://schemas.microsoft.com/office/drawing/2014/main" id="{A1C75138-05BC-4159-B9A9-84ED3260AA5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314494" y="4111037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32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345" name="Freeform: Shape 1344">
                        <a:extLst>
                          <a:ext uri="{FF2B5EF4-FFF2-40B4-BE49-F238E27FC236}">
                            <a16:creationId xmlns:a16="http://schemas.microsoft.com/office/drawing/2014/main" id="{BFEC9F04-1B98-4F75-94A4-0D55DA10B98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322264" y="4111037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32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346" name="Freeform: Shape 1345">
                        <a:extLst>
                          <a:ext uri="{FF2B5EF4-FFF2-40B4-BE49-F238E27FC236}">
                            <a16:creationId xmlns:a16="http://schemas.microsoft.com/office/drawing/2014/main" id="{D61E589C-05E9-4AD5-9D0B-AA08BAECD69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82438" y="4111037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32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347" name="Freeform: Shape 1346">
                        <a:extLst>
                          <a:ext uri="{FF2B5EF4-FFF2-40B4-BE49-F238E27FC236}">
                            <a16:creationId xmlns:a16="http://schemas.microsoft.com/office/drawing/2014/main" id="{A444EBB4-2A43-4BC4-A034-391531EF4AF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90207" y="4111037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32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348" name="Freeform: Shape 1347">
                        <a:extLst>
                          <a:ext uri="{FF2B5EF4-FFF2-40B4-BE49-F238E27FC236}">
                            <a16:creationId xmlns:a16="http://schemas.microsoft.com/office/drawing/2014/main" id="{137713A5-EB6C-47E9-B1EC-8A03E1FB16C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97976" y="4111037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32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349" name="Freeform: Shape 1348">
                        <a:extLst>
                          <a:ext uri="{FF2B5EF4-FFF2-40B4-BE49-F238E27FC236}">
                            <a16:creationId xmlns:a16="http://schemas.microsoft.com/office/drawing/2014/main" id="{60BF0564-27B2-4DE1-B2EF-3E7A5299BA0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66899" y="4111037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32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350" name="Freeform: Shape 1349">
                        <a:extLst>
                          <a:ext uri="{FF2B5EF4-FFF2-40B4-BE49-F238E27FC236}">
                            <a16:creationId xmlns:a16="http://schemas.microsoft.com/office/drawing/2014/main" id="{1421856C-0129-48B4-99CF-B8131F7C564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74668" y="4111037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32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351" name="Freeform: Shape 1350">
                        <a:extLst>
                          <a:ext uri="{FF2B5EF4-FFF2-40B4-BE49-F238E27FC236}">
                            <a16:creationId xmlns:a16="http://schemas.microsoft.com/office/drawing/2014/main" id="{5893E4E3-3797-4C19-A8CF-310BAB0CFBF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82438" y="4111037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32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352" name="Freeform: Shape 1351">
                        <a:extLst>
                          <a:ext uri="{FF2B5EF4-FFF2-40B4-BE49-F238E27FC236}">
                            <a16:creationId xmlns:a16="http://schemas.microsoft.com/office/drawing/2014/main" id="{9FA58FDD-3749-4EB3-B084-3A89418DB57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05746" y="4111037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32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353" name="Freeform: Shape 1352">
                        <a:extLst>
                          <a:ext uri="{FF2B5EF4-FFF2-40B4-BE49-F238E27FC236}">
                            <a16:creationId xmlns:a16="http://schemas.microsoft.com/office/drawing/2014/main" id="{0769E7A0-E62C-44F6-A113-30E1CF569DE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13492" y="4111037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32"/>
                              <a:pt x="5699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354" name="Freeform: Shape 1353">
                        <a:extLst>
                          <a:ext uri="{FF2B5EF4-FFF2-40B4-BE49-F238E27FC236}">
                            <a16:creationId xmlns:a16="http://schemas.microsoft.com/office/drawing/2014/main" id="{F850F7C9-E33D-4153-936B-46A17584D8C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21261" y="4111037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32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355" name="Freeform: Shape 1354">
                        <a:extLst>
                          <a:ext uri="{FF2B5EF4-FFF2-40B4-BE49-F238E27FC236}">
                            <a16:creationId xmlns:a16="http://schemas.microsoft.com/office/drawing/2014/main" id="{2BC951B3-AE39-4091-923F-F1D419C27E2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29031" y="4111037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32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356" name="Freeform: Shape 1355">
                        <a:extLst>
                          <a:ext uri="{FF2B5EF4-FFF2-40B4-BE49-F238E27FC236}">
                            <a16:creationId xmlns:a16="http://schemas.microsoft.com/office/drawing/2014/main" id="{7FA2FA0A-AA9B-43BF-80DA-0377F9DB699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36800" y="4111037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32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grpSp>
                  <p:nvGrpSpPr>
                    <p:cNvPr id="1357" name="Graphic 174">
                      <a:extLst>
                        <a:ext uri="{FF2B5EF4-FFF2-40B4-BE49-F238E27FC236}">
                          <a16:creationId xmlns:a16="http://schemas.microsoft.com/office/drawing/2014/main" id="{4045A780-E4ED-4946-BB38-1D6737CA17D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6158106" y="4126994"/>
                      <a:ext cx="162832" cy="16283"/>
                      <a:chOff x="6158106" y="4126994"/>
                      <a:chExt cx="162832" cy="16283"/>
                    </a:xfrm>
                    <a:solidFill>
                      <a:schemeClr val="accent1"/>
                    </a:solidFill>
                  </p:grpSpPr>
                  <p:sp>
                    <p:nvSpPr>
                      <p:cNvPr id="1358" name="Freeform: Shape 1357">
                        <a:extLst>
                          <a:ext uri="{FF2B5EF4-FFF2-40B4-BE49-F238E27FC236}">
                            <a16:creationId xmlns:a16="http://schemas.microsoft.com/office/drawing/2014/main" id="{3FE8FFC7-BD71-4712-8A61-916820A9622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58106" y="4126994"/>
                        <a:ext cx="162832" cy="16283"/>
                      </a:xfrm>
                      <a:custGeom>
                        <a:avLst/>
                        <a:gdLst>
                          <a:gd name="connsiteX0" fmla="*/ 162297 w 162831"/>
                          <a:gd name="connsiteY0" fmla="*/ 16679 h 16283"/>
                          <a:gd name="connsiteX1" fmla="*/ 1442 w 162831"/>
                          <a:gd name="connsiteY1" fmla="*/ 16679 h 16283"/>
                          <a:gd name="connsiteX2" fmla="*/ 0 w 162831"/>
                          <a:gd name="connsiteY2" fmla="*/ 15236 h 16283"/>
                          <a:gd name="connsiteX3" fmla="*/ 0 w 162831"/>
                          <a:gd name="connsiteY3" fmla="*/ 1442 h 16283"/>
                          <a:gd name="connsiteX4" fmla="*/ 1442 w 162831"/>
                          <a:gd name="connsiteY4" fmla="*/ 0 h 16283"/>
                          <a:gd name="connsiteX5" fmla="*/ 162297 w 162831"/>
                          <a:gd name="connsiteY5" fmla="*/ 0 h 16283"/>
                          <a:gd name="connsiteX6" fmla="*/ 163739 w 162831"/>
                          <a:gd name="connsiteY6" fmla="*/ 1442 h 16283"/>
                          <a:gd name="connsiteX7" fmla="*/ 163739 w 162831"/>
                          <a:gd name="connsiteY7" fmla="*/ 15236 h 16283"/>
                          <a:gd name="connsiteX8" fmla="*/ 162297 w 162831"/>
                          <a:gd name="connsiteY8" fmla="*/ 16679 h 1628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162831" h="16283">
                            <a:moveTo>
                              <a:pt x="162297" y="16679"/>
                            </a:moveTo>
                            <a:lnTo>
                              <a:pt x="1442" y="16679"/>
                            </a:lnTo>
                            <a:cubicBezTo>
                              <a:pt x="651" y="16679"/>
                              <a:pt x="0" y="16027"/>
                              <a:pt x="0" y="15236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162297" y="0"/>
                            </a:lnTo>
                            <a:cubicBezTo>
                              <a:pt x="163088" y="0"/>
                              <a:pt x="163739" y="651"/>
                              <a:pt x="163739" y="1442"/>
                            </a:cubicBezTo>
                            <a:lnTo>
                              <a:pt x="163739" y="15236"/>
                            </a:lnTo>
                            <a:cubicBezTo>
                              <a:pt x="163716" y="16027"/>
                              <a:pt x="163088" y="16679"/>
                              <a:pt x="162297" y="16679"/>
                            </a:cubicBezTo>
                            <a:close/>
                          </a:path>
                        </a:pathLst>
                      </a:custGeom>
                      <a:solidFill>
                        <a:srgbClr val="F19439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359" name="Freeform: Shape 1358">
                        <a:extLst>
                          <a:ext uri="{FF2B5EF4-FFF2-40B4-BE49-F238E27FC236}">
                            <a16:creationId xmlns:a16="http://schemas.microsoft.com/office/drawing/2014/main" id="{D485D68A-7AD8-4237-A140-0DC7545FFD1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36800" y="4127715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360" name="Freeform: Shape 1359">
                        <a:extLst>
                          <a:ext uri="{FF2B5EF4-FFF2-40B4-BE49-F238E27FC236}">
                            <a16:creationId xmlns:a16="http://schemas.microsoft.com/office/drawing/2014/main" id="{27D4D887-1852-42C8-8D42-EA3FE7E3BD7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44570" y="4127715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361" name="Freeform: Shape 1360">
                        <a:extLst>
                          <a:ext uri="{FF2B5EF4-FFF2-40B4-BE49-F238E27FC236}">
                            <a16:creationId xmlns:a16="http://schemas.microsoft.com/office/drawing/2014/main" id="{156600A7-7F1C-478C-ADD1-6374B75722E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52339" y="4127715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362" name="Freeform: Shape 1361">
                        <a:extLst>
                          <a:ext uri="{FF2B5EF4-FFF2-40B4-BE49-F238E27FC236}">
                            <a16:creationId xmlns:a16="http://schemas.microsoft.com/office/drawing/2014/main" id="{C0A6DBC1-6FAB-4445-A656-32AD9626734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60108" y="4127715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363" name="Freeform: Shape 1362">
                        <a:extLst>
                          <a:ext uri="{FF2B5EF4-FFF2-40B4-BE49-F238E27FC236}">
                            <a16:creationId xmlns:a16="http://schemas.microsoft.com/office/drawing/2014/main" id="{AE1B939C-FAE9-46DA-809B-9D528C09DF0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67878" y="4127715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364" name="Freeform: Shape 1363">
                        <a:extLst>
                          <a:ext uri="{FF2B5EF4-FFF2-40B4-BE49-F238E27FC236}">
                            <a16:creationId xmlns:a16="http://schemas.microsoft.com/office/drawing/2014/main" id="{658FB393-7944-4972-B646-52C02225F19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75647" y="4127715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365" name="Freeform: Shape 1364">
                        <a:extLst>
                          <a:ext uri="{FF2B5EF4-FFF2-40B4-BE49-F238E27FC236}">
                            <a16:creationId xmlns:a16="http://schemas.microsoft.com/office/drawing/2014/main" id="{59032844-62E8-42E2-ADED-38AA8BCEC13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83417" y="4127715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366" name="Freeform: Shape 1365">
                        <a:extLst>
                          <a:ext uri="{FF2B5EF4-FFF2-40B4-BE49-F238E27FC236}">
                            <a16:creationId xmlns:a16="http://schemas.microsoft.com/office/drawing/2014/main" id="{86F9B111-7CC5-4C2D-AA45-6C539F6B073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91186" y="4127715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367" name="Freeform: Shape 1366">
                        <a:extLst>
                          <a:ext uri="{FF2B5EF4-FFF2-40B4-BE49-F238E27FC236}">
                            <a16:creationId xmlns:a16="http://schemas.microsoft.com/office/drawing/2014/main" id="{571A8595-30CE-4801-9D06-CD02FE5CA5F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98955" y="4127715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368" name="Freeform: Shape 1367">
                        <a:extLst>
                          <a:ext uri="{FF2B5EF4-FFF2-40B4-BE49-F238E27FC236}">
                            <a16:creationId xmlns:a16="http://schemas.microsoft.com/office/drawing/2014/main" id="{EEC7D7A4-C41B-4808-A258-906F086D58E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306725" y="4127715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369" name="Freeform: Shape 1368">
                        <a:extLst>
                          <a:ext uri="{FF2B5EF4-FFF2-40B4-BE49-F238E27FC236}">
                            <a16:creationId xmlns:a16="http://schemas.microsoft.com/office/drawing/2014/main" id="{3DD42B83-A29E-49F6-8E84-306ADD0A4D9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314494" y="4127715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370" name="Freeform: Shape 1369">
                        <a:extLst>
                          <a:ext uri="{FF2B5EF4-FFF2-40B4-BE49-F238E27FC236}">
                            <a16:creationId xmlns:a16="http://schemas.microsoft.com/office/drawing/2014/main" id="{7D2E8DD3-5700-47E7-8B82-2279C185211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74668" y="4127715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371" name="Freeform: Shape 1370">
                        <a:extLst>
                          <a:ext uri="{FF2B5EF4-FFF2-40B4-BE49-F238E27FC236}">
                            <a16:creationId xmlns:a16="http://schemas.microsoft.com/office/drawing/2014/main" id="{B20B17EC-8FF4-48F6-9937-F71D4C103A4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82438" y="4127715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372" name="Freeform: Shape 1371">
                        <a:extLst>
                          <a:ext uri="{FF2B5EF4-FFF2-40B4-BE49-F238E27FC236}">
                            <a16:creationId xmlns:a16="http://schemas.microsoft.com/office/drawing/2014/main" id="{47B74F35-31F0-49C1-BFFC-9C641EC0B6E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90207" y="4127715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373" name="Freeform: Shape 1372">
                        <a:extLst>
                          <a:ext uri="{FF2B5EF4-FFF2-40B4-BE49-F238E27FC236}">
                            <a16:creationId xmlns:a16="http://schemas.microsoft.com/office/drawing/2014/main" id="{6FFFFD37-DB5F-4A3D-B371-81EA5480F82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59129" y="4127715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374" name="Freeform: Shape 1373">
                        <a:extLst>
                          <a:ext uri="{FF2B5EF4-FFF2-40B4-BE49-F238E27FC236}">
                            <a16:creationId xmlns:a16="http://schemas.microsoft.com/office/drawing/2014/main" id="{E1D82A70-E916-4DF7-8BE8-7ED7C7D3808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66899" y="4127715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375" name="Freeform: Shape 1374">
                        <a:extLst>
                          <a:ext uri="{FF2B5EF4-FFF2-40B4-BE49-F238E27FC236}">
                            <a16:creationId xmlns:a16="http://schemas.microsoft.com/office/drawing/2014/main" id="{C86EF5E1-E181-4CD9-993D-011285927B0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74668" y="4127715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376" name="Freeform: Shape 1375">
                        <a:extLst>
                          <a:ext uri="{FF2B5EF4-FFF2-40B4-BE49-F238E27FC236}">
                            <a16:creationId xmlns:a16="http://schemas.microsoft.com/office/drawing/2014/main" id="{7F43C915-467B-4ACB-934B-A37D93B36ED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97976" y="4127715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377" name="Freeform: Shape 1376">
                        <a:extLst>
                          <a:ext uri="{FF2B5EF4-FFF2-40B4-BE49-F238E27FC236}">
                            <a16:creationId xmlns:a16="http://schemas.microsoft.com/office/drawing/2014/main" id="{53B1BE27-3121-4C7C-BB50-BBFCE4B91E5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05746" y="4127715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378" name="Freeform: Shape 1377">
                        <a:extLst>
                          <a:ext uri="{FF2B5EF4-FFF2-40B4-BE49-F238E27FC236}">
                            <a16:creationId xmlns:a16="http://schemas.microsoft.com/office/drawing/2014/main" id="{396649C4-BD66-470A-A268-1A055EDB9A5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13492" y="4127715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08"/>
                              <a:pt x="5699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379" name="Freeform: Shape 1378">
                        <a:extLst>
                          <a:ext uri="{FF2B5EF4-FFF2-40B4-BE49-F238E27FC236}">
                            <a16:creationId xmlns:a16="http://schemas.microsoft.com/office/drawing/2014/main" id="{FF19BF76-BE3E-40E8-95EA-1A4AD4A75FA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21261" y="4127715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380" name="Freeform: Shape 1379">
                        <a:extLst>
                          <a:ext uri="{FF2B5EF4-FFF2-40B4-BE49-F238E27FC236}">
                            <a16:creationId xmlns:a16="http://schemas.microsoft.com/office/drawing/2014/main" id="{A93CD619-125C-4727-A9D6-F77A7DAC073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29031" y="4127715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grpSp>
                  <p:nvGrpSpPr>
                    <p:cNvPr id="1381" name="Graphic 174">
                      <a:extLst>
                        <a:ext uri="{FF2B5EF4-FFF2-40B4-BE49-F238E27FC236}">
                          <a16:creationId xmlns:a16="http://schemas.microsoft.com/office/drawing/2014/main" id="{4045A780-E4ED-4946-BB38-1D6737CA17D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6161246" y="4093660"/>
                      <a:ext cx="162832" cy="16283"/>
                      <a:chOff x="6161246" y="4093660"/>
                      <a:chExt cx="162832" cy="16283"/>
                    </a:xfrm>
                    <a:solidFill>
                      <a:schemeClr val="accent1"/>
                    </a:solidFill>
                  </p:grpSpPr>
                  <p:sp>
                    <p:nvSpPr>
                      <p:cNvPr id="1382" name="Freeform: Shape 1381">
                        <a:extLst>
                          <a:ext uri="{FF2B5EF4-FFF2-40B4-BE49-F238E27FC236}">
                            <a16:creationId xmlns:a16="http://schemas.microsoft.com/office/drawing/2014/main" id="{E92FF770-7A7A-4F57-A051-416739E2512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61246" y="4093660"/>
                        <a:ext cx="162832" cy="16283"/>
                      </a:xfrm>
                      <a:custGeom>
                        <a:avLst/>
                        <a:gdLst>
                          <a:gd name="connsiteX0" fmla="*/ 162297 w 162831"/>
                          <a:gd name="connsiteY0" fmla="*/ 16679 h 16283"/>
                          <a:gd name="connsiteX1" fmla="*/ 1442 w 162831"/>
                          <a:gd name="connsiteY1" fmla="*/ 16679 h 16283"/>
                          <a:gd name="connsiteX2" fmla="*/ 0 w 162831"/>
                          <a:gd name="connsiteY2" fmla="*/ 15236 h 16283"/>
                          <a:gd name="connsiteX3" fmla="*/ 0 w 162831"/>
                          <a:gd name="connsiteY3" fmla="*/ 1442 h 16283"/>
                          <a:gd name="connsiteX4" fmla="*/ 1442 w 162831"/>
                          <a:gd name="connsiteY4" fmla="*/ 0 h 16283"/>
                          <a:gd name="connsiteX5" fmla="*/ 162297 w 162831"/>
                          <a:gd name="connsiteY5" fmla="*/ 0 h 16283"/>
                          <a:gd name="connsiteX6" fmla="*/ 163739 w 162831"/>
                          <a:gd name="connsiteY6" fmla="*/ 1442 h 16283"/>
                          <a:gd name="connsiteX7" fmla="*/ 163739 w 162831"/>
                          <a:gd name="connsiteY7" fmla="*/ 15236 h 16283"/>
                          <a:gd name="connsiteX8" fmla="*/ 162297 w 162831"/>
                          <a:gd name="connsiteY8" fmla="*/ 16679 h 1628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162831" h="16283">
                            <a:moveTo>
                              <a:pt x="162297" y="16679"/>
                            </a:moveTo>
                            <a:lnTo>
                              <a:pt x="1442" y="16679"/>
                            </a:lnTo>
                            <a:cubicBezTo>
                              <a:pt x="651" y="16679"/>
                              <a:pt x="0" y="16027"/>
                              <a:pt x="0" y="15236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162297" y="0"/>
                            </a:lnTo>
                            <a:cubicBezTo>
                              <a:pt x="163088" y="0"/>
                              <a:pt x="163739" y="651"/>
                              <a:pt x="163739" y="1442"/>
                            </a:cubicBezTo>
                            <a:lnTo>
                              <a:pt x="163739" y="15236"/>
                            </a:lnTo>
                            <a:cubicBezTo>
                              <a:pt x="163739" y="16051"/>
                              <a:pt x="163088" y="16679"/>
                              <a:pt x="162297" y="16679"/>
                            </a:cubicBezTo>
                            <a:close/>
                          </a:path>
                        </a:pathLst>
                      </a:custGeom>
                      <a:solidFill>
                        <a:srgbClr val="F19439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383" name="Freeform: Shape 1382">
                        <a:extLst>
                          <a:ext uri="{FF2B5EF4-FFF2-40B4-BE49-F238E27FC236}">
                            <a16:creationId xmlns:a16="http://schemas.microsoft.com/office/drawing/2014/main" id="{7E0E74DC-0EB2-4DCF-993E-37B932E34EA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39964" y="4094381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384" name="Freeform: Shape 1383">
                        <a:extLst>
                          <a:ext uri="{FF2B5EF4-FFF2-40B4-BE49-F238E27FC236}">
                            <a16:creationId xmlns:a16="http://schemas.microsoft.com/office/drawing/2014/main" id="{646DD040-28E7-4FF5-8DD7-3DF8458CC08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47733" y="4094381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385" name="Freeform: Shape 1384">
                        <a:extLst>
                          <a:ext uri="{FF2B5EF4-FFF2-40B4-BE49-F238E27FC236}">
                            <a16:creationId xmlns:a16="http://schemas.microsoft.com/office/drawing/2014/main" id="{A7260595-B6D3-4D41-AB3C-1C832CC1B9B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55503" y="4094381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386" name="Freeform: Shape 1385">
                        <a:extLst>
                          <a:ext uri="{FF2B5EF4-FFF2-40B4-BE49-F238E27FC236}">
                            <a16:creationId xmlns:a16="http://schemas.microsoft.com/office/drawing/2014/main" id="{4EE73C94-F972-4159-8208-5326128D35E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63272" y="4094381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387" name="Freeform: Shape 1386">
                        <a:extLst>
                          <a:ext uri="{FF2B5EF4-FFF2-40B4-BE49-F238E27FC236}">
                            <a16:creationId xmlns:a16="http://schemas.microsoft.com/office/drawing/2014/main" id="{0836EA3E-9C36-4E70-83CD-BADEDABE6CC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71041" y="4094381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388" name="Freeform: Shape 1387">
                        <a:extLst>
                          <a:ext uri="{FF2B5EF4-FFF2-40B4-BE49-F238E27FC236}">
                            <a16:creationId xmlns:a16="http://schemas.microsoft.com/office/drawing/2014/main" id="{2FE02CFD-ECD8-4012-B89C-207406BD6A5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78811" y="4094381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389" name="Freeform: Shape 1388">
                        <a:extLst>
                          <a:ext uri="{FF2B5EF4-FFF2-40B4-BE49-F238E27FC236}">
                            <a16:creationId xmlns:a16="http://schemas.microsoft.com/office/drawing/2014/main" id="{B1C28F3E-64CF-4F07-BE35-13F6CA85FA8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86580" y="4094381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390" name="Freeform: Shape 1389">
                        <a:extLst>
                          <a:ext uri="{FF2B5EF4-FFF2-40B4-BE49-F238E27FC236}">
                            <a16:creationId xmlns:a16="http://schemas.microsoft.com/office/drawing/2014/main" id="{58E75EDD-7DF6-4B21-891D-B7938953F1A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94350" y="4094381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391" name="Freeform: Shape 1390">
                        <a:extLst>
                          <a:ext uri="{FF2B5EF4-FFF2-40B4-BE49-F238E27FC236}">
                            <a16:creationId xmlns:a16="http://schemas.microsoft.com/office/drawing/2014/main" id="{8AFF6AFA-B076-44D9-8F36-D47779EDF1C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302096" y="4094381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08"/>
                              <a:pt x="5699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392" name="Freeform: Shape 1391">
                        <a:extLst>
                          <a:ext uri="{FF2B5EF4-FFF2-40B4-BE49-F238E27FC236}">
                            <a16:creationId xmlns:a16="http://schemas.microsoft.com/office/drawing/2014/main" id="{5BBBF988-847C-47E0-914B-75D5AB57755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309865" y="4094381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393" name="Freeform: Shape 1392">
                        <a:extLst>
                          <a:ext uri="{FF2B5EF4-FFF2-40B4-BE49-F238E27FC236}">
                            <a16:creationId xmlns:a16="http://schemas.microsoft.com/office/drawing/2014/main" id="{51060D71-DB6F-4970-A829-41777A72D4B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317635" y="4094381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394" name="Freeform: Shape 1393">
                        <a:extLst>
                          <a:ext uri="{FF2B5EF4-FFF2-40B4-BE49-F238E27FC236}">
                            <a16:creationId xmlns:a16="http://schemas.microsoft.com/office/drawing/2014/main" id="{837B7498-9AE3-46BE-8FC8-716AC739D31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77832" y="4094381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395" name="Freeform: Shape 1394">
                        <a:extLst>
                          <a:ext uri="{FF2B5EF4-FFF2-40B4-BE49-F238E27FC236}">
                            <a16:creationId xmlns:a16="http://schemas.microsoft.com/office/drawing/2014/main" id="{F6A728F5-3462-4067-9C47-91A42272FF5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85578" y="4094381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08"/>
                              <a:pt x="5699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396" name="Freeform: Shape 1395">
                        <a:extLst>
                          <a:ext uri="{FF2B5EF4-FFF2-40B4-BE49-F238E27FC236}">
                            <a16:creationId xmlns:a16="http://schemas.microsoft.com/office/drawing/2014/main" id="{1E798950-1353-48EE-9332-983F7FDC65D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93347" y="4094381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397" name="Freeform: Shape 1396">
                        <a:extLst>
                          <a:ext uri="{FF2B5EF4-FFF2-40B4-BE49-F238E27FC236}">
                            <a16:creationId xmlns:a16="http://schemas.microsoft.com/office/drawing/2014/main" id="{BA353E05-694F-4A84-A0C0-3555F3E1062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62293" y="4094381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398" name="Freeform: Shape 1397">
                        <a:extLst>
                          <a:ext uri="{FF2B5EF4-FFF2-40B4-BE49-F238E27FC236}">
                            <a16:creationId xmlns:a16="http://schemas.microsoft.com/office/drawing/2014/main" id="{380D5706-8918-465D-AE6F-223F20E922D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70062" y="4094381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399" name="Freeform: Shape 1398">
                        <a:extLst>
                          <a:ext uri="{FF2B5EF4-FFF2-40B4-BE49-F238E27FC236}">
                            <a16:creationId xmlns:a16="http://schemas.microsoft.com/office/drawing/2014/main" id="{38C95A22-1FFD-4682-8DB1-5D10968A6E4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77832" y="4094381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00" name="Freeform: Shape 1399">
                        <a:extLst>
                          <a:ext uri="{FF2B5EF4-FFF2-40B4-BE49-F238E27FC236}">
                            <a16:creationId xmlns:a16="http://schemas.microsoft.com/office/drawing/2014/main" id="{929D226B-7FF9-4699-A669-ECC6DE10AAF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01117" y="4094381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01" name="Freeform: Shape 1400">
                        <a:extLst>
                          <a:ext uri="{FF2B5EF4-FFF2-40B4-BE49-F238E27FC236}">
                            <a16:creationId xmlns:a16="http://schemas.microsoft.com/office/drawing/2014/main" id="{3406C029-CF21-4B40-A696-54811514B56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08886" y="4094381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02" name="Freeform: Shape 1401">
                        <a:extLst>
                          <a:ext uri="{FF2B5EF4-FFF2-40B4-BE49-F238E27FC236}">
                            <a16:creationId xmlns:a16="http://schemas.microsoft.com/office/drawing/2014/main" id="{809EAA26-A63A-4890-AED5-BC69F7AF95C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16655" y="4094381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03" name="Freeform: Shape 1402">
                        <a:extLst>
                          <a:ext uri="{FF2B5EF4-FFF2-40B4-BE49-F238E27FC236}">
                            <a16:creationId xmlns:a16="http://schemas.microsoft.com/office/drawing/2014/main" id="{FFFC1739-1B53-4A20-8E99-E7F798F21BC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24425" y="4094381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04" name="Freeform: Shape 1403">
                        <a:extLst>
                          <a:ext uri="{FF2B5EF4-FFF2-40B4-BE49-F238E27FC236}">
                            <a16:creationId xmlns:a16="http://schemas.microsoft.com/office/drawing/2014/main" id="{A6F62920-B216-4FBC-B378-4512030B06E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32194" y="4094381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grpSp>
                  <p:nvGrpSpPr>
                    <p:cNvPr id="1405" name="Graphic 174">
                      <a:extLst>
                        <a:ext uri="{FF2B5EF4-FFF2-40B4-BE49-F238E27FC236}">
                          <a16:creationId xmlns:a16="http://schemas.microsoft.com/office/drawing/2014/main" id="{4045A780-E4ED-4946-BB38-1D6737CA17D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6165875" y="4077005"/>
                      <a:ext cx="162832" cy="16283"/>
                      <a:chOff x="6165875" y="4077005"/>
                      <a:chExt cx="162832" cy="16283"/>
                    </a:xfrm>
                    <a:solidFill>
                      <a:schemeClr val="accent1"/>
                    </a:solidFill>
                  </p:grpSpPr>
                  <p:sp>
                    <p:nvSpPr>
                      <p:cNvPr id="1406" name="Freeform: Shape 1405">
                        <a:extLst>
                          <a:ext uri="{FF2B5EF4-FFF2-40B4-BE49-F238E27FC236}">
                            <a16:creationId xmlns:a16="http://schemas.microsoft.com/office/drawing/2014/main" id="{4E41F0B4-53F6-42CF-A34A-C84415B762D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65875" y="4077005"/>
                        <a:ext cx="162832" cy="16283"/>
                      </a:xfrm>
                      <a:custGeom>
                        <a:avLst/>
                        <a:gdLst>
                          <a:gd name="connsiteX0" fmla="*/ 162297 w 162831"/>
                          <a:gd name="connsiteY0" fmla="*/ 16679 h 16283"/>
                          <a:gd name="connsiteX1" fmla="*/ 1442 w 162831"/>
                          <a:gd name="connsiteY1" fmla="*/ 16679 h 16283"/>
                          <a:gd name="connsiteX2" fmla="*/ 0 w 162831"/>
                          <a:gd name="connsiteY2" fmla="*/ 15236 h 16283"/>
                          <a:gd name="connsiteX3" fmla="*/ 0 w 162831"/>
                          <a:gd name="connsiteY3" fmla="*/ 1442 h 16283"/>
                          <a:gd name="connsiteX4" fmla="*/ 1442 w 162831"/>
                          <a:gd name="connsiteY4" fmla="*/ 0 h 16283"/>
                          <a:gd name="connsiteX5" fmla="*/ 162297 w 162831"/>
                          <a:gd name="connsiteY5" fmla="*/ 0 h 16283"/>
                          <a:gd name="connsiteX6" fmla="*/ 163739 w 162831"/>
                          <a:gd name="connsiteY6" fmla="*/ 1442 h 16283"/>
                          <a:gd name="connsiteX7" fmla="*/ 163739 w 162831"/>
                          <a:gd name="connsiteY7" fmla="*/ 15236 h 16283"/>
                          <a:gd name="connsiteX8" fmla="*/ 162297 w 162831"/>
                          <a:gd name="connsiteY8" fmla="*/ 16679 h 1628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162831" h="16283">
                            <a:moveTo>
                              <a:pt x="162297" y="16679"/>
                            </a:moveTo>
                            <a:lnTo>
                              <a:pt x="1442" y="16679"/>
                            </a:lnTo>
                            <a:cubicBezTo>
                              <a:pt x="651" y="16679"/>
                              <a:pt x="0" y="16027"/>
                              <a:pt x="0" y="15236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162297" y="0"/>
                            </a:lnTo>
                            <a:cubicBezTo>
                              <a:pt x="163088" y="0"/>
                              <a:pt x="163739" y="651"/>
                              <a:pt x="163739" y="1442"/>
                            </a:cubicBezTo>
                            <a:lnTo>
                              <a:pt x="163739" y="15236"/>
                            </a:lnTo>
                            <a:cubicBezTo>
                              <a:pt x="163716" y="16027"/>
                              <a:pt x="163088" y="16679"/>
                              <a:pt x="162297" y="16679"/>
                            </a:cubicBezTo>
                            <a:close/>
                          </a:path>
                        </a:pathLst>
                      </a:custGeom>
                      <a:solidFill>
                        <a:srgbClr val="F19439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07" name="Freeform: Shape 1406">
                        <a:extLst>
                          <a:ext uri="{FF2B5EF4-FFF2-40B4-BE49-F238E27FC236}">
                            <a16:creationId xmlns:a16="http://schemas.microsoft.com/office/drawing/2014/main" id="{776C718D-825F-4B5B-9243-DDE4A7F378B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44570" y="4077703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32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08" name="Freeform: Shape 1407">
                        <a:extLst>
                          <a:ext uri="{FF2B5EF4-FFF2-40B4-BE49-F238E27FC236}">
                            <a16:creationId xmlns:a16="http://schemas.microsoft.com/office/drawing/2014/main" id="{0493C4D7-E2EB-4B94-9862-AE1E57C9654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52339" y="4077703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32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09" name="Freeform: Shape 1408">
                        <a:extLst>
                          <a:ext uri="{FF2B5EF4-FFF2-40B4-BE49-F238E27FC236}">
                            <a16:creationId xmlns:a16="http://schemas.microsoft.com/office/drawing/2014/main" id="{D4EEC97A-51B4-4522-837D-729DCC72B08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60108" y="4077703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32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10" name="Freeform: Shape 1409">
                        <a:extLst>
                          <a:ext uri="{FF2B5EF4-FFF2-40B4-BE49-F238E27FC236}">
                            <a16:creationId xmlns:a16="http://schemas.microsoft.com/office/drawing/2014/main" id="{E08DD66A-3375-4C79-8680-EF6640ADB0C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67878" y="4077703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32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11" name="Freeform: Shape 1410">
                        <a:extLst>
                          <a:ext uri="{FF2B5EF4-FFF2-40B4-BE49-F238E27FC236}">
                            <a16:creationId xmlns:a16="http://schemas.microsoft.com/office/drawing/2014/main" id="{63D4F18C-B48A-4F62-B1CE-186D12CCD0C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75647" y="4077703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32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12" name="Freeform: Shape 1411">
                        <a:extLst>
                          <a:ext uri="{FF2B5EF4-FFF2-40B4-BE49-F238E27FC236}">
                            <a16:creationId xmlns:a16="http://schemas.microsoft.com/office/drawing/2014/main" id="{7C5CC957-1D9E-43CE-8545-E604CF5E62A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83417" y="4077703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32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13" name="Freeform: Shape 1412">
                        <a:extLst>
                          <a:ext uri="{FF2B5EF4-FFF2-40B4-BE49-F238E27FC236}">
                            <a16:creationId xmlns:a16="http://schemas.microsoft.com/office/drawing/2014/main" id="{E640D9BB-57E5-4A31-B0AA-AF1FF7EF621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91186" y="4077703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32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14" name="Freeform: Shape 1413">
                        <a:extLst>
                          <a:ext uri="{FF2B5EF4-FFF2-40B4-BE49-F238E27FC236}">
                            <a16:creationId xmlns:a16="http://schemas.microsoft.com/office/drawing/2014/main" id="{51321E24-B7AA-4C33-B8B8-0F43E51838C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98955" y="4077703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32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15" name="Freeform: Shape 1414">
                        <a:extLst>
                          <a:ext uri="{FF2B5EF4-FFF2-40B4-BE49-F238E27FC236}">
                            <a16:creationId xmlns:a16="http://schemas.microsoft.com/office/drawing/2014/main" id="{02EFF124-5B1C-4274-BDBB-B5B89A8B77D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306725" y="4077703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32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16" name="Freeform: Shape 1415">
                        <a:extLst>
                          <a:ext uri="{FF2B5EF4-FFF2-40B4-BE49-F238E27FC236}">
                            <a16:creationId xmlns:a16="http://schemas.microsoft.com/office/drawing/2014/main" id="{C55C1390-2A43-4F77-A37A-007524261E9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314494" y="4077703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32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17" name="Freeform: Shape 1416">
                        <a:extLst>
                          <a:ext uri="{FF2B5EF4-FFF2-40B4-BE49-F238E27FC236}">
                            <a16:creationId xmlns:a16="http://schemas.microsoft.com/office/drawing/2014/main" id="{0F1221C7-7DC7-4ADE-B9EA-AB249F45F3F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322264" y="4077703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32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18" name="Freeform: Shape 1417">
                        <a:extLst>
                          <a:ext uri="{FF2B5EF4-FFF2-40B4-BE49-F238E27FC236}">
                            <a16:creationId xmlns:a16="http://schemas.microsoft.com/office/drawing/2014/main" id="{DDD580CC-A0E6-49DD-B8F5-5D10B136ABF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82438" y="4077703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32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19" name="Freeform: Shape 1418">
                        <a:extLst>
                          <a:ext uri="{FF2B5EF4-FFF2-40B4-BE49-F238E27FC236}">
                            <a16:creationId xmlns:a16="http://schemas.microsoft.com/office/drawing/2014/main" id="{3E4FDF13-8D1B-4763-837E-909CBB4B926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90207" y="4077703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32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20" name="Freeform: Shape 1419">
                        <a:extLst>
                          <a:ext uri="{FF2B5EF4-FFF2-40B4-BE49-F238E27FC236}">
                            <a16:creationId xmlns:a16="http://schemas.microsoft.com/office/drawing/2014/main" id="{812A76FB-E1A7-499E-A49A-74890242041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97976" y="4077703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32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21" name="Freeform: Shape 1420">
                        <a:extLst>
                          <a:ext uri="{FF2B5EF4-FFF2-40B4-BE49-F238E27FC236}">
                            <a16:creationId xmlns:a16="http://schemas.microsoft.com/office/drawing/2014/main" id="{5B75AADC-5120-475F-B75C-B6330A372FE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66899" y="4077703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32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22" name="Freeform: Shape 1421">
                        <a:extLst>
                          <a:ext uri="{FF2B5EF4-FFF2-40B4-BE49-F238E27FC236}">
                            <a16:creationId xmlns:a16="http://schemas.microsoft.com/office/drawing/2014/main" id="{2358B5AD-293A-4EFA-9F1A-8C447C00562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74668" y="4077703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32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23" name="Freeform: Shape 1422">
                        <a:extLst>
                          <a:ext uri="{FF2B5EF4-FFF2-40B4-BE49-F238E27FC236}">
                            <a16:creationId xmlns:a16="http://schemas.microsoft.com/office/drawing/2014/main" id="{9425E845-A0DF-422B-B98C-C2911D8E830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82438" y="4077703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32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24" name="Freeform: Shape 1423">
                        <a:extLst>
                          <a:ext uri="{FF2B5EF4-FFF2-40B4-BE49-F238E27FC236}">
                            <a16:creationId xmlns:a16="http://schemas.microsoft.com/office/drawing/2014/main" id="{FD374372-DF3A-4ABA-8B19-94CC121373A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05746" y="4077703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32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25" name="Freeform: Shape 1424">
                        <a:extLst>
                          <a:ext uri="{FF2B5EF4-FFF2-40B4-BE49-F238E27FC236}">
                            <a16:creationId xmlns:a16="http://schemas.microsoft.com/office/drawing/2014/main" id="{658BA20A-39F0-4F6F-A184-D6E59D1DF20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13492" y="4077703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32"/>
                              <a:pt x="5699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26" name="Freeform: Shape 1425">
                        <a:extLst>
                          <a:ext uri="{FF2B5EF4-FFF2-40B4-BE49-F238E27FC236}">
                            <a16:creationId xmlns:a16="http://schemas.microsoft.com/office/drawing/2014/main" id="{E1319849-3878-4185-B0A7-AC4C87BD470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21261" y="4077703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32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27" name="Freeform: Shape 1426">
                        <a:extLst>
                          <a:ext uri="{FF2B5EF4-FFF2-40B4-BE49-F238E27FC236}">
                            <a16:creationId xmlns:a16="http://schemas.microsoft.com/office/drawing/2014/main" id="{C1370320-523A-40B1-AF97-596E4BBB25A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29031" y="4077703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32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28" name="Freeform: Shape 1427">
                        <a:extLst>
                          <a:ext uri="{FF2B5EF4-FFF2-40B4-BE49-F238E27FC236}">
                            <a16:creationId xmlns:a16="http://schemas.microsoft.com/office/drawing/2014/main" id="{4C112D58-0561-4E63-B161-A6D0F021EA0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36800" y="4077703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32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grpSp>
                  <p:nvGrpSpPr>
                    <p:cNvPr id="1429" name="Graphic 174">
                      <a:extLst>
                        <a:ext uri="{FF2B5EF4-FFF2-40B4-BE49-F238E27FC236}">
                          <a16:creationId xmlns:a16="http://schemas.microsoft.com/office/drawing/2014/main" id="{4045A780-E4ED-4946-BB38-1D6737CA17D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6158106" y="4060326"/>
                      <a:ext cx="162832" cy="16283"/>
                      <a:chOff x="6158106" y="4060326"/>
                      <a:chExt cx="162832" cy="16283"/>
                    </a:xfrm>
                    <a:solidFill>
                      <a:schemeClr val="accent1"/>
                    </a:solidFill>
                  </p:grpSpPr>
                  <p:sp>
                    <p:nvSpPr>
                      <p:cNvPr id="1430" name="Freeform: Shape 1429">
                        <a:extLst>
                          <a:ext uri="{FF2B5EF4-FFF2-40B4-BE49-F238E27FC236}">
                            <a16:creationId xmlns:a16="http://schemas.microsoft.com/office/drawing/2014/main" id="{1F7AA16E-9B02-42EE-B52C-207E53E7309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58106" y="4060326"/>
                        <a:ext cx="162832" cy="16283"/>
                      </a:xfrm>
                      <a:custGeom>
                        <a:avLst/>
                        <a:gdLst>
                          <a:gd name="connsiteX0" fmla="*/ 162297 w 162831"/>
                          <a:gd name="connsiteY0" fmla="*/ 16679 h 16283"/>
                          <a:gd name="connsiteX1" fmla="*/ 1442 w 162831"/>
                          <a:gd name="connsiteY1" fmla="*/ 16679 h 16283"/>
                          <a:gd name="connsiteX2" fmla="*/ 0 w 162831"/>
                          <a:gd name="connsiteY2" fmla="*/ 15236 h 16283"/>
                          <a:gd name="connsiteX3" fmla="*/ 0 w 162831"/>
                          <a:gd name="connsiteY3" fmla="*/ 1442 h 16283"/>
                          <a:gd name="connsiteX4" fmla="*/ 1442 w 162831"/>
                          <a:gd name="connsiteY4" fmla="*/ 0 h 16283"/>
                          <a:gd name="connsiteX5" fmla="*/ 162297 w 162831"/>
                          <a:gd name="connsiteY5" fmla="*/ 0 h 16283"/>
                          <a:gd name="connsiteX6" fmla="*/ 163739 w 162831"/>
                          <a:gd name="connsiteY6" fmla="*/ 1442 h 16283"/>
                          <a:gd name="connsiteX7" fmla="*/ 163739 w 162831"/>
                          <a:gd name="connsiteY7" fmla="*/ 15236 h 16283"/>
                          <a:gd name="connsiteX8" fmla="*/ 162297 w 162831"/>
                          <a:gd name="connsiteY8" fmla="*/ 16679 h 1628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162831" h="16283">
                            <a:moveTo>
                              <a:pt x="162297" y="16679"/>
                            </a:moveTo>
                            <a:lnTo>
                              <a:pt x="1442" y="16679"/>
                            </a:lnTo>
                            <a:cubicBezTo>
                              <a:pt x="651" y="16679"/>
                              <a:pt x="0" y="16027"/>
                              <a:pt x="0" y="15236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162297" y="0"/>
                            </a:lnTo>
                            <a:cubicBezTo>
                              <a:pt x="163088" y="0"/>
                              <a:pt x="163739" y="651"/>
                              <a:pt x="163739" y="1442"/>
                            </a:cubicBezTo>
                            <a:lnTo>
                              <a:pt x="163739" y="15236"/>
                            </a:lnTo>
                            <a:cubicBezTo>
                              <a:pt x="163716" y="16051"/>
                              <a:pt x="163088" y="16679"/>
                              <a:pt x="162297" y="16679"/>
                            </a:cubicBezTo>
                            <a:close/>
                          </a:path>
                        </a:pathLst>
                      </a:custGeom>
                      <a:solidFill>
                        <a:srgbClr val="F19439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31" name="Freeform: Shape 1430">
                        <a:extLst>
                          <a:ext uri="{FF2B5EF4-FFF2-40B4-BE49-F238E27FC236}">
                            <a16:creationId xmlns:a16="http://schemas.microsoft.com/office/drawing/2014/main" id="{5AD1C29B-EDAE-4963-8FC9-836C990C974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36800" y="4061047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32" name="Freeform: Shape 1431">
                        <a:extLst>
                          <a:ext uri="{FF2B5EF4-FFF2-40B4-BE49-F238E27FC236}">
                            <a16:creationId xmlns:a16="http://schemas.microsoft.com/office/drawing/2014/main" id="{2AA3F485-8B5E-4EF4-824C-03886AD5F24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44570" y="4061047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33" name="Freeform: Shape 1432">
                        <a:extLst>
                          <a:ext uri="{FF2B5EF4-FFF2-40B4-BE49-F238E27FC236}">
                            <a16:creationId xmlns:a16="http://schemas.microsoft.com/office/drawing/2014/main" id="{C48EDE16-88A1-4136-A7ED-B179F876E6B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52339" y="4061047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34" name="Freeform: Shape 1433">
                        <a:extLst>
                          <a:ext uri="{FF2B5EF4-FFF2-40B4-BE49-F238E27FC236}">
                            <a16:creationId xmlns:a16="http://schemas.microsoft.com/office/drawing/2014/main" id="{574BEECC-322D-43D1-97D8-91E80E8E220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60108" y="4061047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35" name="Freeform: Shape 1434">
                        <a:extLst>
                          <a:ext uri="{FF2B5EF4-FFF2-40B4-BE49-F238E27FC236}">
                            <a16:creationId xmlns:a16="http://schemas.microsoft.com/office/drawing/2014/main" id="{6C63CD29-9F4A-4714-B685-98DED38D0F5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67878" y="4061047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36" name="Freeform: Shape 1435">
                        <a:extLst>
                          <a:ext uri="{FF2B5EF4-FFF2-40B4-BE49-F238E27FC236}">
                            <a16:creationId xmlns:a16="http://schemas.microsoft.com/office/drawing/2014/main" id="{82EB3F53-287D-4374-BF16-BEA09243D61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75647" y="4061047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37" name="Freeform: Shape 1436">
                        <a:extLst>
                          <a:ext uri="{FF2B5EF4-FFF2-40B4-BE49-F238E27FC236}">
                            <a16:creationId xmlns:a16="http://schemas.microsoft.com/office/drawing/2014/main" id="{D2A9AABD-2BB9-4004-9981-92420446454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83417" y="4061047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38" name="Freeform: Shape 1437">
                        <a:extLst>
                          <a:ext uri="{FF2B5EF4-FFF2-40B4-BE49-F238E27FC236}">
                            <a16:creationId xmlns:a16="http://schemas.microsoft.com/office/drawing/2014/main" id="{EDD7AC09-37AB-411D-967E-BA41D6A0966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91186" y="4061047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39" name="Freeform: Shape 1438">
                        <a:extLst>
                          <a:ext uri="{FF2B5EF4-FFF2-40B4-BE49-F238E27FC236}">
                            <a16:creationId xmlns:a16="http://schemas.microsoft.com/office/drawing/2014/main" id="{F0606738-5293-4226-B61A-91BF9DCBF49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98955" y="4061047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40" name="Freeform: Shape 1439">
                        <a:extLst>
                          <a:ext uri="{FF2B5EF4-FFF2-40B4-BE49-F238E27FC236}">
                            <a16:creationId xmlns:a16="http://schemas.microsoft.com/office/drawing/2014/main" id="{1841E24A-DD62-477C-866E-20B4F833BA0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306725" y="4061047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41" name="Freeform: Shape 1440">
                        <a:extLst>
                          <a:ext uri="{FF2B5EF4-FFF2-40B4-BE49-F238E27FC236}">
                            <a16:creationId xmlns:a16="http://schemas.microsoft.com/office/drawing/2014/main" id="{108B0C5D-0744-4316-A4A1-BE1BBFF065D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314494" y="4061047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42" name="Freeform: Shape 1441">
                        <a:extLst>
                          <a:ext uri="{FF2B5EF4-FFF2-40B4-BE49-F238E27FC236}">
                            <a16:creationId xmlns:a16="http://schemas.microsoft.com/office/drawing/2014/main" id="{2C654DAE-D5C3-43DD-91DA-B5C6F95603A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74668" y="4061047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43" name="Freeform: Shape 1442">
                        <a:extLst>
                          <a:ext uri="{FF2B5EF4-FFF2-40B4-BE49-F238E27FC236}">
                            <a16:creationId xmlns:a16="http://schemas.microsoft.com/office/drawing/2014/main" id="{7752A368-8CFB-40AD-8440-3646E5F0452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82438" y="4061047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44" name="Freeform: Shape 1443">
                        <a:extLst>
                          <a:ext uri="{FF2B5EF4-FFF2-40B4-BE49-F238E27FC236}">
                            <a16:creationId xmlns:a16="http://schemas.microsoft.com/office/drawing/2014/main" id="{C2A4D1A1-904E-42D2-81C0-5FB05A46203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90207" y="4061047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45" name="Freeform: Shape 1444">
                        <a:extLst>
                          <a:ext uri="{FF2B5EF4-FFF2-40B4-BE49-F238E27FC236}">
                            <a16:creationId xmlns:a16="http://schemas.microsoft.com/office/drawing/2014/main" id="{7CEB9127-5D0D-44E9-8243-D1CDFBD19EB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59129" y="4061047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46" name="Freeform: Shape 1445">
                        <a:extLst>
                          <a:ext uri="{FF2B5EF4-FFF2-40B4-BE49-F238E27FC236}">
                            <a16:creationId xmlns:a16="http://schemas.microsoft.com/office/drawing/2014/main" id="{008A08D8-4A0E-4D67-A880-DB1E2A93210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66899" y="4061047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47" name="Freeform: Shape 1446">
                        <a:extLst>
                          <a:ext uri="{FF2B5EF4-FFF2-40B4-BE49-F238E27FC236}">
                            <a16:creationId xmlns:a16="http://schemas.microsoft.com/office/drawing/2014/main" id="{4202DC59-3223-4AF0-8028-1D0ECEE5238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74668" y="4061047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48" name="Freeform: Shape 1447">
                        <a:extLst>
                          <a:ext uri="{FF2B5EF4-FFF2-40B4-BE49-F238E27FC236}">
                            <a16:creationId xmlns:a16="http://schemas.microsoft.com/office/drawing/2014/main" id="{E403F847-101C-474E-B37D-4CA10E4267F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97976" y="4061047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49" name="Freeform: Shape 1448">
                        <a:extLst>
                          <a:ext uri="{FF2B5EF4-FFF2-40B4-BE49-F238E27FC236}">
                            <a16:creationId xmlns:a16="http://schemas.microsoft.com/office/drawing/2014/main" id="{C87A7685-3365-438A-BCE9-65D2E960FC1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05746" y="4061047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50" name="Freeform: Shape 1449">
                        <a:extLst>
                          <a:ext uri="{FF2B5EF4-FFF2-40B4-BE49-F238E27FC236}">
                            <a16:creationId xmlns:a16="http://schemas.microsoft.com/office/drawing/2014/main" id="{A1E84E31-C3E5-4D75-8878-E527D385999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13492" y="4061047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08"/>
                              <a:pt x="5699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51" name="Freeform: Shape 1450">
                        <a:extLst>
                          <a:ext uri="{FF2B5EF4-FFF2-40B4-BE49-F238E27FC236}">
                            <a16:creationId xmlns:a16="http://schemas.microsoft.com/office/drawing/2014/main" id="{9A2F01D4-5600-4BBC-A073-92190CF06F0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21261" y="4061047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52" name="Freeform: Shape 1451">
                        <a:extLst>
                          <a:ext uri="{FF2B5EF4-FFF2-40B4-BE49-F238E27FC236}">
                            <a16:creationId xmlns:a16="http://schemas.microsoft.com/office/drawing/2014/main" id="{7C9E7CEC-823A-4906-BC2D-4879ED95ADD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29031" y="4061047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grpSp>
                  <p:nvGrpSpPr>
                    <p:cNvPr id="1453" name="Graphic 174">
                      <a:extLst>
                        <a:ext uri="{FF2B5EF4-FFF2-40B4-BE49-F238E27FC236}">
                          <a16:creationId xmlns:a16="http://schemas.microsoft.com/office/drawing/2014/main" id="{4045A780-E4ED-4946-BB38-1D6737CA17D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6165875" y="4043671"/>
                      <a:ext cx="162832" cy="16283"/>
                      <a:chOff x="6165875" y="4043671"/>
                      <a:chExt cx="162832" cy="16283"/>
                    </a:xfrm>
                    <a:solidFill>
                      <a:schemeClr val="accent1"/>
                    </a:solidFill>
                  </p:grpSpPr>
                  <p:sp>
                    <p:nvSpPr>
                      <p:cNvPr id="1454" name="Freeform: Shape 1453">
                        <a:extLst>
                          <a:ext uri="{FF2B5EF4-FFF2-40B4-BE49-F238E27FC236}">
                            <a16:creationId xmlns:a16="http://schemas.microsoft.com/office/drawing/2014/main" id="{387278D0-64D3-4159-B885-761D8DD6FF9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65875" y="4043671"/>
                        <a:ext cx="162832" cy="16283"/>
                      </a:xfrm>
                      <a:custGeom>
                        <a:avLst/>
                        <a:gdLst>
                          <a:gd name="connsiteX0" fmla="*/ 162297 w 162831"/>
                          <a:gd name="connsiteY0" fmla="*/ 16679 h 16283"/>
                          <a:gd name="connsiteX1" fmla="*/ 1442 w 162831"/>
                          <a:gd name="connsiteY1" fmla="*/ 16679 h 16283"/>
                          <a:gd name="connsiteX2" fmla="*/ 0 w 162831"/>
                          <a:gd name="connsiteY2" fmla="*/ 15236 h 16283"/>
                          <a:gd name="connsiteX3" fmla="*/ 0 w 162831"/>
                          <a:gd name="connsiteY3" fmla="*/ 1442 h 16283"/>
                          <a:gd name="connsiteX4" fmla="*/ 1442 w 162831"/>
                          <a:gd name="connsiteY4" fmla="*/ 0 h 16283"/>
                          <a:gd name="connsiteX5" fmla="*/ 162297 w 162831"/>
                          <a:gd name="connsiteY5" fmla="*/ 0 h 16283"/>
                          <a:gd name="connsiteX6" fmla="*/ 163739 w 162831"/>
                          <a:gd name="connsiteY6" fmla="*/ 1442 h 16283"/>
                          <a:gd name="connsiteX7" fmla="*/ 163739 w 162831"/>
                          <a:gd name="connsiteY7" fmla="*/ 15236 h 16283"/>
                          <a:gd name="connsiteX8" fmla="*/ 162297 w 162831"/>
                          <a:gd name="connsiteY8" fmla="*/ 16679 h 1628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162831" h="16283">
                            <a:moveTo>
                              <a:pt x="162297" y="16679"/>
                            </a:moveTo>
                            <a:lnTo>
                              <a:pt x="1442" y="16679"/>
                            </a:lnTo>
                            <a:cubicBezTo>
                              <a:pt x="651" y="16679"/>
                              <a:pt x="0" y="16027"/>
                              <a:pt x="0" y="15236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162297" y="0"/>
                            </a:lnTo>
                            <a:cubicBezTo>
                              <a:pt x="163088" y="0"/>
                              <a:pt x="163739" y="651"/>
                              <a:pt x="163739" y="1442"/>
                            </a:cubicBezTo>
                            <a:lnTo>
                              <a:pt x="163739" y="15236"/>
                            </a:lnTo>
                            <a:cubicBezTo>
                              <a:pt x="163716" y="16027"/>
                              <a:pt x="163088" y="16679"/>
                              <a:pt x="162297" y="16679"/>
                            </a:cubicBezTo>
                            <a:close/>
                          </a:path>
                        </a:pathLst>
                      </a:custGeom>
                      <a:solidFill>
                        <a:srgbClr val="F19439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55" name="Freeform: Shape 1454">
                        <a:extLst>
                          <a:ext uri="{FF2B5EF4-FFF2-40B4-BE49-F238E27FC236}">
                            <a16:creationId xmlns:a16="http://schemas.microsoft.com/office/drawing/2014/main" id="{6BF2814E-4392-4814-B8E1-A4236ACE610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44570" y="4044392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56" name="Freeform: Shape 1455">
                        <a:extLst>
                          <a:ext uri="{FF2B5EF4-FFF2-40B4-BE49-F238E27FC236}">
                            <a16:creationId xmlns:a16="http://schemas.microsoft.com/office/drawing/2014/main" id="{0FDF45CA-8AD3-4E6A-9159-094E8ADBE75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52339" y="4044392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57" name="Freeform: Shape 1456">
                        <a:extLst>
                          <a:ext uri="{FF2B5EF4-FFF2-40B4-BE49-F238E27FC236}">
                            <a16:creationId xmlns:a16="http://schemas.microsoft.com/office/drawing/2014/main" id="{9CF75DC1-0640-4867-A79D-899ADE64F76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60108" y="4044392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58" name="Freeform: Shape 1457">
                        <a:extLst>
                          <a:ext uri="{FF2B5EF4-FFF2-40B4-BE49-F238E27FC236}">
                            <a16:creationId xmlns:a16="http://schemas.microsoft.com/office/drawing/2014/main" id="{18E8B407-304A-4577-A435-A47B61E076B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67878" y="4044392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59" name="Freeform: Shape 1458">
                        <a:extLst>
                          <a:ext uri="{FF2B5EF4-FFF2-40B4-BE49-F238E27FC236}">
                            <a16:creationId xmlns:a16="http://schemas.microsoft.com/office/drawing/2014/main" id="{7BF77CA1-1F95-460F-A156-8622A07A407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75647" y="4044392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60" name="Freeform: Shape 1459">
                        <a:extLst>
                          <a:ext uri="{FF2B5EF4-FFF2-40B4-BE49-F238E27FC236}">
                            <a16:creationId xmlns:a16="http://schemas.microsoft.com/office/drawing/2014/main" id="{029B0A10-B825-4943-BD8B-072358E177F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83417" y="4044392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61" name="Freeform: Shape 1460">
                        <a:extLst>
                          <a:ext uri="{FF2B5EF4-FFF2-40B4-BE49-F238E27FC236}">
                            <a16:creationId xmlns:a16="http://schemas.microsoft.com/office/drawing/2014/main" id="{B17A22F6-D192-40F1-A2D7-CE389E853D6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91186" y="4044392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62" name="Freeform: Shape 1461">
                        <a:extLst>
                          <a:ext uri="{FF2B5EF4-FFF2-40B4-BE49-F238E27FC236}">
                            <a16:creationId xmlns:a16="http://schemas.microsoft.com/office/drawing/2014/main" id="{8C11C79E-DC94-4C02-AF88-0EF720B001B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98955" y="4044392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63" name="Freeform: Shape 1462">
                        <a:extLst>
                          <a:ext uri="{FF2B5EF4-FFF2-40B4-BE49-F238E27FC236}">
                            <a16:creationId xmlns:a16="http://schemas.microsoft.com/office/drawing/2014/main" id="{B4F58152-A5BA-46C2-AB25-0C6F11899C9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306725" y="4044392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64" name="Freeform: Shape 1463">
                        <a:extLst>
                          <a:ext uri="{FF2B5EF4-FFF2-40B4-BE49-F238E27FC236}">
                            <a16:creationId xmlns:a16="http://schemas.microsoft.com/office/drawing/2014/main" id="{94BA81B0-B088-44C2-AD1C-FAC509065F3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314494" y="4044392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65" name="Freeform: Shape 1464">
                        <a:extLst>
                          <a:ext uri="{FF2B5EF4-FFF2-40B4-BE49-F238E27FC236}">
                            <a16:creationId xmlns:a16="http://schemas.microsoft.com/office/drawing/2014/main" id="{B0E38CD8-82B1-4BB6-ABA6-2F1A86CF6C3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322264" y="4044392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66" name="Freeform: Shape 1465">
                        <a:extLst>
                          <a:ext uri="{FF2B5EF4-FFF2-40B4-BE49-F238E27FC236}">
                            <a16:creationId xmlns:a16="http://schemas.microsoft.com/office/drawing/2014/main" id="{FAF741B9-C97E-4BD9-A6F4-68F69F1E00D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82438" y="4044392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67" name="Freeform: Shape 1466">
                        <a:extLst>
                          <a:ext uri="{FF2B5EF4-FFF2-40B4-BE49-F238E27FC236}">
                            <a16:creationId xmlns:a16="http://schemas.microsoft.com/office/drawing/2014/main" id="{DBBDE7DB-5C39-44F8-97E2-FE555E7A81B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90207" y="4044392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68" name="Freeform: Shape 1467">
                        <a:extLst>
                          <a:ext uri="{FF2B5EF4-FFF2-40B4-BE49-F238E27FC236}">
                            <a16:creationId xmlns:a16="http://schemas.microsoft.com/office/drawing/2014/main" id="{AF3A3CB2-0CB8-4BAF-BFA9-3808CB8CD11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97976" y="4044392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69" name="Freeform: Shape 1468">
                        <a:extLst>
                          <a:ext uri="{FF2B5EF4-FFF2-40B4-BE49-F238E27FC236}">
                            <a16:creationId xmlns:a16="http://schemas.microsoft.com/office/drawing/2014/main" id="{AA52976E-73EB-4672-91AB-16354F7FD11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66899" y="4044392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70" name="Freeform: Shape 1469">
                        <a:extLst>
                          <a:ext uri="{FF2B5EF4-FFF2-40B4-BE49-F238E27FC236}">
                            <a16:creationId xmlns:a16="http://schemas.microsoft.com/office/drawing/2014/main" id="{B13B21A2-47F0-4017-AADB-71EBFE51991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74668" y="4044392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71" name="Freeform: Shape 1470">
                        <a:extLst>
                          <a:ext uri="{FF2B5EF4-FFF2-40B4-BE49-F238E27FC236}">
                            <a16:creationId xmlns:a16="http://schemas.microsoft.com/office/drawing/2014/main" id="{FD669A93-F001-4A9B-A408-067899FCBB4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82438" y="4044392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72" name="Freeform: Shape 1471">
                        <a:extLst>
                          <a:ext uri="{FF2B5EF4-FFF2-40B4-BE49-F238E27FC236}">
                            <a16:creationId xmlns:a16="http://schemas.microsoft.com/office/drawing/2014/main" id="{1DEA4EB0-0465-4835-877A-3011C9D9D1C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05746" y="4044392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73" name="Freeform: Shape 1472">
                        <a:extLst>
                          <a:ext uri="{FF2B5EF4-FFF2-40B4-BE49-F238E27FC236}">
                            <a16:creationId xmlns:a16="http://schemas.microsoft.com/office/drawing/2014/main" id="{86E54B3E-C2AF-48AC-81E5-7D46EF686F6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13492" y="4044392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08"/>
                              <a:pt x="5699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74" name="Freeform: Shape 1473">
                        <a:extLst>
                          <a:ext uri="{FF2B5EF4-FFF2-40B4-BE49-F238E27FC236}">
                            <a16:creationId xmlns:a16="http://schemas.microsoft.com/office/drawing/2014/main" id="{4A32F985-8D17-406F-9287-795FF7F91B5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21261" y="4044392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75" name="Freeform: Shape 1474">
                        <a:extLst>
                          <a:ext uri="{FF2B5EF4-FFF2-40B4-BE49-F238E27FC236}">
                            <a16:creationId xmlns:a16="http://schemas.microsoft.com/office/drawing/2014/main" id="{A8085431-5C47-40B1-8843-1342A8423E9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29031" y="4044392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76" name="Freeform: Shape 1475">
                        <a:extLst>
                          <a:ext uri="{FF2B5EF4-FFF2-40B4-BE49-F238E27FC236}">
                            <a16:creationId xmlns:a16="http://schemas.microsoft.com/office/drawing/2014/main" id="{5B9FCE52-9952-4246-A6B3-950B48DCB0C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36800" y="4044392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grpSp>
                  <p:nvGrpSpPr>
                    <p:cNvPr id="1477" name="Graphic 174">
                      <a:extLst>
                        <a:ext uri="{FF2B5EF4-FFF2-40B4-BE49-F238E27FC236}">
                          <a16:creationId xmlns:a16="http://schemas.microsoft.com/office/drawing/2014/main" id="{4045A780-E4ED-4946-BB38-1D6737CA17D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6158106" y="4027016"/>
                      <a:ext cx="162832" cy="16283"/>
                      <a:chOff x="6158106" y="4027016"/>
                      <a:chExt cx="162832" cy="16283"/>
                    </a:xfrm>
                    <a:solidFill>
                      <a:schemeClr val="accent1"/>
                    </a:solidFill>
                  </p:grpSpPr>
                  <p:sp>
                    <p:nvSpPr>
                      <p:cNvPr id="1478" name="Freeform: Shape 1477">
                        <a:extLst>
                          <a:ext uri="{FF2B5EF4-FFF2-40B4-BE49-F238E27FC236}">
                            <a16:creationId xmlns:a16="http://schemas.microsoft.com/office/drawing/2014/main" id="{62E7150C-A6EB-484C-9CDF-B092C937766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58106" y="4027016"/>
                        <a:ext cx="162832" cy="16283"/>
                      </a:xfrm>
                      <a:custGeom>
                        <a:avLst/>
                        <a:gdLst>
                          <a:gd name="connsiteX0" fmla="*/ 162297 w 162831"/>
                          <a:gd name="connsiteY0" fmla="*/ 16679 h 16283"/>
                          <a:gd name="connsiteX1" fmla="*/ 1442 w 162831"/>
                          <a:gd name="connsiteY1" fmla="*/ 16679 h 16283"/>
                          <a:gd name="connsiteX2" fmla="*/ 0 w 162831"/>
                          <a:gd name="connsiteY2" fmla="*/ 15236 h 16283"/>
                          <a:gd name="connsiteX3" fmla="*/ 0 w 162831"/>
                          <a:gd name="connsiteY3" fmla="*/ 1442 h 16283"/>
                          <a:gd name="connsiteX4" fmla="*/ 1442 w 162831"/>
                          <a:gd name="connsiteY4" fmla="*/ 0 h 16283"/>
                          <a:gd name="connsiteX5" fmla="*/ 162297 w 162831"/>
                          <a:gd name="connsiteY5" fmla="*/ 0 h 16283"/>
                          <a:gd name="connsiteX6" fmla="*/ 163739 w 162831"/>
                          <a:gd name="connsiteY6" fmla="*/ 1442 h 16283"/>
                          <a:gd name="connsiteX7" fmla="*/ 163739 w 162831"/>
                          <a:gd name="connsiteY7" fmla="*/ 15236 h 16283"/>
                          <a:gd name="connsiteX8" fmla="*/ 162297 w 162831"/>
                          <a:gd name="connsiteY8" fmla="*/ 16679 h 1628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162831" h="16283">
                            <a:moveTo>
                              <a:pt x="162297" y="16679"/>
                            </a:moveTo>
                            <a:lnTo>
                              <a:pt x="1442" y="16679"/>
                            </a:lnTo>
                            <a:cubicBezTo>
                              <a:pt x="651" y="16679"/>
                              <a:pt x="0" y="16027"/>
                              <a:pt x="0" y="15236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162297" y="0"/>
                            </a:lnTo>
                            <a:cubicBezTo>
                              <a:pt x="163088" y="0"/>
                              <a:pt x="163739" y="651"/>
                              <a:pt x="163739" y="1442"/>
                            </a:cubicBezTo>
                            <a:lnTo>
                              <a:pt x="163739" y="15236"/>
                            </a:lnTo>
                            <a:cubicBezTo>
                              <a:pt x="163716" y="16027"/>
                              <a:pt x="163088" y="16679"/>
                              <a:pt x="162297" y="16679"/>
                            </a:cubicBezTo>
                            <a:close/>
                          </a:path>
                        </a:pathLst>
                      </a:custGeom>
                      <a:solidFill>
                        <a:srgbClr val="F19439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79" name="Freeform: Shape 1478">
                        <a:extLst>
                          <a:ext uri="{FF2B5EF4-FFF2-40B4-BE49-F238E27FC236}">
                            <a16:creationId xmlns:a16="http://schemas.microsoft.com/office/drawing/2014/main" id="{EB1C80DE-889A-46D9-AA4F-4B30C386AC7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36800" y="4027713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80" name="Freeform: Shape 1479">
                        <a:extLst>
                          <a:ext uri="{FF2B5EF4-FFF2-40B4-BE49-F238E27FC236}">
                            <a16:creationId xmlns:a16="http://schemas.microsoft.com/office/drawing/2014/main" id="{6711DFC0-7842-4F82-B828-D2EA76997E8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44570" y="4027713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81" name="Freeform: Shape 1480">
                        <a:extLst>
                          <a:ext uri="{FF2B5EF4-FFF2-40B4-BE49-F238E27FC236}">
                            <a16:creationId xmlns:a16="http://schemas.microsoft.com/office/drawing/2014/main" id="{24E002DD-9D62-488D-BD92-0E94EF7EC19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52339" y="4027713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82" name="Freeform: Shape 1481">
                        <a:extLst>
                          <a:ext uri="{FF2B5EF4-FFF2-40B4-BE49-F238E27FC236}">
                            <a16:creationId xmlns:a16="http://schemas.microsoft.com/office/drawing/2014/main" id="{A0DD1EE7-853B-4D8E-A17E-D73CFD3B97A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60108" y="4027713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83" name="Freeform: Shape 1482">
                        <a:extLst>
                          <a:ext uri="{FF2B5EF4-FFF2-40B4-BE49-F238E27FC236}">
                            <a16:creationId xmlns:a16="http://schemas.microsoft.com/office/drawing/2014/main" id="{DA140BF9-2C88-46FB-A6DA-382AF9DDE3E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67878" y="4027713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84" name="Freeform: Shape 1483">
                        <a:extLst>
                          <a:ext uri="{FF2B5EF4-FFF2-40B4-BE49-F238E27FC236}">
                            <a16:creationId xmlns:a16="http://schemas.microsoft.com/office/drawing/2014/main" id="{43A0482F-A7CF-490D-9144-544B90F3751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75647" y="4027713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85" name="Freeform: Shape 1484">
                        <a:extLst>
                          <a:ext uri="{FF2B5EF4-FFF2-40B4-BE49-F238E27FC236}">
                            <a16:creationId xmlns:a16="http://schemas.microsoft.com/office/drawing/2014/main" id="{2E6BCF2C-2293-4294-B85E-11EA9B5775E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83417" y="4027713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86" name="Freeform: Shape 1485">
                        <a:extLst>
                          <a:ext uri="{FF2B5EF4-FFF2-40B4-BE49-F238E27FC236}">
                            <a16:creationId xmlns:a16="http://schemas.microsoft.com/office/drawing/2014/main" id="{47F86126-B82E-4991-9D74-F4346E113FE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91186" y="4027713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87" name="Freeform: Shape 1486">
                        <a:extLst>
                          <a:ext uri="{FF2B5EF4-FFF2-40B4-BE49-F238E27FC236}">
                            <a16:creationId xmlns:a16="http://schemas.microsoft.com/office/drawing/2014/main" id="{77A3D064-D031-4CE2-AB8D-6A926D67F61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98955" y="4027713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88" name="Freeform: Shape 1487">
                        <a:extLst>
                          <a:ext uri="{FF2B5EF4-FFF2-40B4-BE49-F238E27FC236}">
                            <a16:creationId xmlns:a16="http://schemas.microsoft.com/office/drawing/2014/main" id="{D9F33D14-A013-4A34-A6EC-12089C32CD9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306725" y="4027713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89" name="Freeform: Shape 1488">
                        <a:extLst>
                          <a:ext uri="{FF2B5EF4-FFF2-40B4-BE49-F238E27FC236}">
                            <a16:creationId xmlns:a16="http://schemas.microsoft.com/office/drawing/2014/main" id="{89F5CDEF-39CB-4934-9E3F-614FE337C82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314494" y="4027713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90" name="Freeform: Shape 1489">
                        <a:extLst>
                          <a:ext uri="{FF2B5EF4-FFF2-40B4-BE49-F238E27FC236}">
                            <a16:creationId xmlns:a16="http://schemas.microsoft.com/office/drawing/2014/main" id="{FD38D015-DCC5-47DB-8B90-F424D60DEC9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74668" y="4027713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91" name="Freeform: Shape 1490">
                        <a:extLst>
                          <a:ext uri="{FF2B5EF4-FFF2-40B4-BE49-F238E27FC236}">
                            <a16:creationId xmlns:a16="http://schemas.microsoft.com/office/drawing/2014/main" id="{2B685EB2-2F4A-4F28-BCED-7C553D14B8A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82438" y="4027713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92" name="Freeform: Shape 1491">
                        <a:extLst>
                          <a:ext uri="{FF2B5EF4-FFF2-40B4-BE49-F238E27FC236}">
                            <a16:creationId xmlns:a16="http://schemas.microsoft.com/office/drawing/2014/main" id="{BA4BE856-E38A-4A2F-8B3A-B53A206BADD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90207" y="4027713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93" name="Freeform: Shape 1492">
                        <a:extLst>
                          <a:ext uri="{FF2B5EF4-FFF2-40B4-BE49-F238E27FC236}">
                            <a16:creationId xmlns:a16="http://schemas.microsoft.com/office/drawing/2014/main" id="{A042BAF7-E06C-483A-90F6-E275A03B254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59129" y="4027713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94" name="Freeform: Shape 1493">
                        <a:extLst>
                          <a:ext uri="{FF2B5EF4-FFF2-40B4-BE49-F238E27FC236}">
                            <a16:creationId xmlns:a16="http://schemas.microsoft.com/office/drawing/2014/main" id="{4011A2AD-49AA-4101-B4D7-5BC2B948745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66899" y="4027713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95" name="Freeform: Shape 1494">
                        <a:extLst>
                          <a:ext uri="{FF2B5EF4-FFF2-40B4-BE49-F238E27FC236}">
                            <a16:creationId xmlns:a16="http://schemas.microsoft.com/office/drawing/2014/main" id="{99EFECD2-7701-4C5B-B316-0C8C8C2D275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74668" y="4027713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96" name="Freeform: Shape 1495">
                        <a:extLst>
                          <a:ext uri="{FF2B5EF4-FFF2-40B4-BE49-F238E27FC236}">
                            <a16:creationId xmlns:a16="http://schemas.microsoft.com/office/drawing/2014/main" id="{85BB402B-FAF9-4929-8AE8-762EC4728A6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97976" y="4027713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97" name="Freeform: Shape 1496">
                        <a:extLst>
                          <a:ext uri="{FF2B5EF4-FFF2-40B4-BE49-F238E27FC236}">
                            <a16:creationId xmlns:a16="http://schemas.microsoft.com/office/drawing/2014/main" id="{B5EF85D2-A535-4B32-9AC0-0D1B9E143F9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05746" y="4027713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98" name="Freeform: Shape 1497">
                        <a:extLst>
                          <a:ext uri="{FF2B5EF4-FFF2-40B4-BE49-F238E27FC236}">
                            <a16:creationId xmlns:a16="http://schemas.microsoft.com/office/drawing/2014/main" id="{933F5A89-3D55-4AE1-B5DE-343299D4F4C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13492" y="4027713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08"/>
                              <a:pt x="5699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99" name="Freeform: Shape 1498">
                        <a:extLst>
                          <a:ext uri="{FF2B5EF4-FFF2-40B4-BE49-F238E27FC236}">
                            <a16:creationId xmlns:a16="http://schemas.microsoft.com/office/drawing/2014/main" id="{119B9A9B-4BA2-44B2-9505-0B515B7755B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21261" y="4027713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500" name="Freeform: Shape 1499">
                        <a:extLst>
                          <a:ext uri="{FF2B5EF4-FFF2-40B4-BE49-F238E27FC236}">
                            <a16:creationId xmlns:a16="http://schemas.microsoft.com/office/drawing/2014/main" id="{E06BD780-D681-4368-A89C-51AFDBED5CF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29031" y="4027713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grpSp>
                  <p:nvGrpSpPr>
                    <p:cNvPr id="1501" name="Graphic 174">
                      <a:extLst>
                        <a:ext uri="{FF2B5EF4-FFF2-40B4-BE49-F238E27FC236}">
                          <a16:creationId xmlns:a16="http://schemas.microsoft.com/office/drawing/2014/main" id="{4045A780-E4ED-4946-BB38-1D6737CA17D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6163642" y="4010197"/>
                      <a:ext cx="162832" cy="16283"/>
                      <a:chOff x="6163642" y="4010197"/>
                      <a:chExt cx="162832" cy="16283"/>
                    </a:xfrm>
                    <a:solidFill>
                      <a:schemeClr val="accent1"/>
                    </a:solidFill>
                  </p:grpSpPr>
                  <p:sp>
                    <p:nvSpPr>
                      <p:cNvPr id="1502" name="Freeform: Shape 1501">
                        <a:extLst>
                          <a:ext uri="{FF2B5EF4-FFF2-40B4-BE49-F238E27FC236}">
                            <a16:creationId xmlns:a16="http://schemas.microsoft.com/office/drawing/2014/main" id="{FB375B45-7A60-4BAE-9873-8B82635562F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63642" y="4010197"/>
                        <a:ext cx="162832" cy="16283"/>
                      </a:xfrm>
                      <a:custGeom>
                        <a:avLst/>
                        <a:gdLst>
                          <a:gd name="connsiteX0" fmla="*/ 162297 w 162831"/>
                          <a:gd name="connsiteY0" fmla="*/ 16679 h 16283"/>
                          <a:gd name="connsiteX1" fmla="*/ 1442 w 162831"/>
                          <a:gd name="connsiteY1" fmla="*/ 16679 h 16283"/>
                          <a:gd name="connsiteX2" fmla="*/ 0 w 162831"/>
                          <a:gd name="connsiteY2" fmla="*/ 15236 h 16283"/>
                          <a:gd name="connsiteX3" fmla="*/ 0 w 162831"/>
                          <a:gd name="connsiteY3" fmla="*/ 1442 h 16283"/>
                          <a:gd name="connsiteX4" fmla="*/ 1442 w 162831"/>
                          <a:gd name="connsiteY4" fmla="*/ 0 h 16283"/>
                          <a:gd name="connsiteX5" fmla="*/ 162297 w 162831"/>
                          <a:gd name="connsiteY5" fmla="*/ 0 h 16283"/>
                          <a:gd name="connsiteX6" fmla="*/ 163739 w 162831"/>
                          <a:gd name="connsiteY6" fmla="*/ 1442 h 16283"/>
                          <a:gd name="connsiteX7" fmla="*/ 163739 w 162831"/>
                          <a:gd name="connsiteY7" fmla="*/ 15236 h 16283"/>
                          <a:gd name="connsiteX8" fmla="*/ 162297 w 162831"/>
                          <a:gd name="connsiteY8" fmla="*/ 16679 h 1628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162831" h="16283">
                            <a:moveTo>
                              <a:pt x="162297" y="16679"/>
                            </a:moveTo>
                            <a:lnTo>
                              <a:pt x="1442" y="16679"/>
                            </a:lnTo>
                            <a:cubicBezTo>
                              <a:pt x="651" y="16679"/>
                              <a:pt x="0" y="16027"/>
                              <a:pt x="0" y="15236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162297" y="0"/>
                            </a:lnTo>
                            <a:cubicBezTo>
                              <a:pt x="163088" y="0"/>
                              <a:pt x="163739" y="651"/>
                              <a:pt x="163739" y="1442"/>
                            </a:cubicBezTo>
                            <a:lnTo>
                              <a:pt x="163739" y="15236"/>
                            </a:lnTo>
                            <a:cubicBezTo>
                              <a:pt x="163716" y="16051"/>
                              <a:pt x="163088" y="16679"/>
                              <a:pt x="162297" y="16679"/>
                            </a:cubicBezTo>
                            <a:close/>
                          </a:path>
                        </a:pathLst>
                      </a:custGeom>
                      <a:solidFill>
                        <a:srgbClr val="F19439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503" name="Freeform: Shape 1502">
                        <a:extLst>
                          <a:ext uri="{FF2B5EF4-FFF2-40B4-BE49-F238E27FC236}">
                            <a16:creationId xmlns:a16="http://schemas.microsoft.com/office/drawing/2014/main" id="{82E70968-467B-472E-AE74-25312AC3148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42336" y="4010918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504" name="Freeform: Shape 1503">
                        <a:extLst>
                          <a:ext uri="{FF2B5EF4-FFF2-40B4-BE49-F238E27FC236}">
                            <a16:creationId xmlns:a16="http://schemas.microsoft.com/office/drawing/2014/main" id="{826DDBC4-4E25-4053-8C3D-5774826CAD8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50106" y="4010918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505" name="Freeform: Shape 1504">
                        <a:extLst>
                          <a:ext uri="{FF2B5EF4-FFF2-40B4-BE49-F238E27FC236}">
                            <a16:creationId xmlns:a16="http://schemas.microsoft.com/office/drawing/2014/main" id="{ACF90D0E-169D-4103-93D0-2342EBACB13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57875" y="4010918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506" name="Freeform: Shape 1505">
                        <a:extLst>
                          <a:ext uri="{FF2B5EF4-FFF2-40B4-BE49-F238E27FC236}">
                            <a16:creationId xmlns:a16="http://schemas.microsoft.com/office/drawing/2014/main" id="{EE717BA6-C285-4141-A000-08F7F6FCAAB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65645" y="4010918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507" name="Freeform: Shape 1506">
                        <a:extLst>
                          <a:ext uri="{FF2B5EF4-FFF2-40B4-BE49-F238E27FC236}">
                            <a16:creationId xmlns:a16="http://schemas.microsoft.com/office/drawing/2014/main" id="{2928BE45-1F67-4751-9464-DFD9E99C02D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73414" y="4010918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508" name="Freeform: Shape 1507">
                        <a:extLst>
                          <a:ext uri="{FF2B5EF4-FFF2-40B4-BE49-F238E27FC236}">
                            <a16:creationId xmlns:a16="http://schemas.microsoft.com/office/drawing/2014/main" id="{5FB0304F-2044-478D-98A0-DD6920E02D7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81183" y="4010918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509" name="Freeform: Shape 1508">
                        <a:extLst>
                          <a:ext uri="{FF2B5EF4-FFF2-40B4-BE49-F238E27FC236}">
                            <a16:creationId xmlns:a16="http://schemas.microsoft.com/office/drawing/2014/main" id="{19DDE339-113A-496B-997D-34FA8F7F17C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88953" y="4010918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510" name="Freeform: Shape 1509">
                        <a:extLst>
                          <a:ext uri="{FF2B5EF4-FFF2-40B4-BE49-F238E27FC236}">
                            <a16:creationId xmlns:a16="http://schemas.microsoft.com/office/drawing/2014/main" id="{50F9137B-41DD-4EDC-BBC6-B2947F5824E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96722" y="4010918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511" name="Freeform: Shape 1510">
                        <a:extLst>
                          <a:ext uri="{FF2B5EF4-FFF2-40B4-BE49-F238E27FC236}">
                            <a16:creationId xmlns:a16="http://schemas.microsoft.com/office/drawing/2014/main" id="{2E36BF94-E2A2-4859-BA2D-E266643484A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304492" y="4010918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512" name="Freeform: Shape 1511">
                        <a:extLst>
                          <a:ext uri="{FF2B5EF4-FFF2-40B4-BE49-F238E27FC236}">
                            <a16:creationId xmlns:a16="http://schemas.microsoft.com/office/drawing/2014/main" id="{984625E9-678B-4AB3-A9EF-8FA4A37432A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312261" y="4010918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513" name="Freeform: Shape 1512">
                        <a:extLst>
                          <a:ext uri="{FF2B5EF4-FFF2-40B4-BE49-F238E27FC236}">
                            <a16:creationId xmlns:a16="http://schemas.microsoft.com/office/drawing/2014/main" id="{24DAF110-8356-4058-A915-FBA07C483E5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320030" y="4010918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514" name="Freeform: Shape 1513">
                        <a:extLst>
                          <a:ext uri="{FF2B5EF4-FFF2-40B4-BE49-F238E27FC236}">
                            <a16:creationId xmlns:a16="http://schemas.microsoft.com/office/drawing/2014/main" id="{4F1084C5-63AE-49A7-A3A6-B16351DB9A3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80204" y="4010918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515" name="Freeform: Shape 1514">
                        <a:extLst>
                          <a:ext uri="{FF2B5EF4-FFF2-40B4-BE49-F238E27FC236}">
                            <a16:creationId xmlns:a16="http://schemas.microsoft.com/office/drawing/2014/main" id="{921D0882-7DB0-4641-929D-F2E33AB129D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87974" y="4010918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516" name="Freeform: Shape 1515">
                        <a:extLst>
                          <a:ext uri="{FF2B5EF4-FFF2-40B4-BE49-F238E27FC236}">
                            <a16:creationId xmlns:a16="http://schemas.microsoft.com/office/drawing/2014/main" id="{28A7DC95-3CFF-47C7-BA7F-7B8C36BBBE7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95743" y="4010918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517" name="Freeform: Shape 1516">
                        <a:extLst>
                          <a:ext uri="{FF2B5EF4-FFF2-40B4-BE49-F238E27FC236}">
                            <a16:creationId xmlns:a16="http://schemas.microsoft.com/office/drawing/2014/main" id="{E876F4AF-9800-4B92-B26E-A337A0D155E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64666" y="4010918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518" name="Freeform: Shape 1517">
                        <a:extLst>
                          <a:ext uri="{FF2B5EF4-FFF2-40B4-BE49-F238E27FC236}">
                            <a16:creationId xmlns:a16="http://schemas.microsoft.com/office/drawing/2014/main" id="{F50315ED-9661-4167-860B-3275C006E31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72435" y="4010918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519" name="Freeform: Shape 1518">
                        <a:extLst>
                          <a:ext uri="{FF2B5EF4-FFF2-40B4-BE49-F238E27FC236}">
                            <a16:creationId xmlns:a16="http://schemas.microsoft.com/office/drawing/2014/main" id="{3BE992B0-D507-468A-A863-2B02A477286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80204" y="4010918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520" name="Freeform: Shape 1519">
                        <a:extLst>
                          <a:ext uri="{FF2B5EF4-FFF2-40B4-BE49-F238E27FC236}">
                            <a16:creationId xmlns:a16="http://schemas.microsoft.com/office/drawing/2014/main" id="{F9A67B93-DF91-4CEB-9474-5130EA1D16E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03513" y="4010918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521" name="Freeform: Shape 1520">
                        <a:extLst>
                          <a:ext uri="{FF2B5EF4-FFF2-40B4-BE49-F238E27FC236}">
                            <a16:creationId xmlns:a16="http://schemas.microsoft.com/office/drawing/2014/main" id="{B8AD2806-62A4-4D15-8DF9-F34C187BB77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11282" y="4010918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522" name="Freeform: Shape 1521">
                        <a:extLst>
                          <a:ext uri="{FF2B5EF4-FFF2-40B4-BE49-F238E27FC236}">
                            <a16:creationId xmlns:a16="http://schemas.microsoft.com/office/drawing/2014/main" id="{74BAA66E-AFF3-4BC8-B849-2275028186D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19051" y="4010918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523" name="Freeform: Shape 1522">
                        <a:extLst>
                          <a:ext uri="{FF2B5EF4-FFF2-40B4-BE49-F238E27FC236}">
                            <a16:creationId xmlns:a16="http://schemas.microsoft.com/office/drawing/2014/main" id="{B2AF9BB7-C6AA-4F54-BC89-FCE8E1F08DB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26821" y="4010918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08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524" name="Freeform: Shape 1523">
                        <a:extLst>
                          <a:ext uri="{FF2B5EF4-FFF2-40B4-BE49-F238E27FC236}">
                            <a16:creationId xmlns:a16="http://schemas.microsoft.com/office/drawing/2014/main" id="{616BAB62-4F67-4EA9-A997-0132B4F7AC3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34567" y="4010918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08"/>
                              <a:pt x="5699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grpSp>
                  <p:nvGrpSpPr>
                    <p:cNvPr id="1525" name="Graphic 174">
                      <a:extLst>
                        <a:ext uri="{FF2B5EF4-FFF2-40B4-BE49-F238E27FC236}">
                          <a16:creationId xmlns:a16="http://schemas.microsoft.com/office/drawing/2014/main" id="{4045A780-E4ED-4946-BB38-1D6737CA17D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6171411" y="3993542"/>
                      <a:ext cx="162832" cy="16283"/>
                      <a:chOff x="6171411" y="3993542"/>
                      <a:chExt cx="162832" cy="16283"/>
                    </a:xfrm>
                    <a:solidFill>
                      <a:schemeClr val="accent1"/>
                    </a:solidFill>
                  </p:grpSpPr>
                  <p:sp>
                    <p:nvSpPr>
                      <p:cNvPr id="1526" name="Freeform: Shape 1525">
                        <a:extLst>
                          <a:ext uri="{FF2B5EF4-FFF2-40B4-BE49-F238E27FC236}">
                            <a16:creationId xmlns:a16="http://schemas.microsoft.com/office/drawing/2014/main" id="{BBD546E9-70AE-4A26-9F57-282F1809AC7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71411" y="3993542"/>
                        <a:ext cx="162832" cy="16283"/>
                      </a:xfrm>
                      <a:custGeom>
                        <a:avLst/>
                        <a:gdLst>
                          <a:gd name="connsiteX0" fmla="*/ 162297 w 162831"/>
                          <a:gd name="connsiteY0" fmla="*/ 16679 h 16283"/>
                          <a:gd name="connsiteX1" fmla="*/ 1442 w 162831"/>
                          <a:gd name="connsiteY1" fmla="*/ 16679 h 16283"/>
                          <a:gd name="connsiteX2" fmla="*/ 0 w 162831"/>
                          <a:gd name="connsiteY2" fmla="*/ 15236 h 16283"/>
                          <a:gd name="connsiteX3" fmla="*/ 0 w 162831"/>
                          <a:gd name="connsiteY3" fmla="*/ 1442 h 16283"/>
                          <a:gd name="connsiteX4" fmla="*/ 1442 w 162831"/>
                          <a:gd name="connsiteY4" fmla="*/ 0 h 16283"/>
                          <a:gd name="connsiteX5" fmla="*/ 162297 w 162831"/>
                          <a:gd name="connsiteY5" fmla="*/ 0 h 16283"/>
                          <a:gd name="connsiteX6" fmla="*/ 163739 w 162831"/>
                          <a:gd name="connsiteY6" fmla="*/ 1442 h 16283"/>
                          <a:gd name="connsiteX7" fmla="*/ 163739 w 162831"/>
                          <a:gd name="connsiteY7" fmla="*/ 15236 h 16283"/>
                          <a:gd name="connsiteX8" fmla="*/ 162297 w 162831"/>
                          <a:gd name="connsiteY8" fmla="*/ 16679 h 1628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162831" h="16283">
                            <a:moveTo>
                              <a:pt x="162297" y="16679"/>
                            </a:moveTo>
                            <a:lnTo>
                              <a:pt x="1442" y="16679"/>
                            </a:lnTo>
                            <a:cubicBezTo>
                              <a:pt x="651" y="16679"/>
                              <a:pt x="0" y="16027"/>
                              <a:pt x="0" y="15236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162297" y="0"/>
                            </a:lnTo>
                            <a:cubicBezTo>
                              <a:pt x="163088" y="0"/>
                              <a:pt x="163739" y="651"/>
                              <a:pt x="163739" y="1442"/>
                            </a:cubicBezTo>
                            <a:lnTo>
                              <a:pt x="163739" y="15236"/>
                            </a:lnTo>
                            <a:cubicBezTo>
                              <a:pt x="163716" y="16027"/>
                              <a:pt x="163088" y="16679"/>
                              <a:pt x="162297" y="16679"/>
                            </a:cubicBezTo>
                            <a:close/>
                          </a:path>
                        </a:pathLst>
                      </a:custGeom>
                      <a:solidFill>
                        <a:srgbClr val="F19439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527" name="Freeform: Shape 1526">
                        <a:extLst>
                          <a:ext uri="{FF2B5EF4-FFF2-40B4-BE49-F238E27FC236}">
                            <a16:creationId xmlns:a16="http://schemas.microsoft.com/office/drawing/2014/main" id="{ABF8C08E-2A6C-4527-A6EE-5F8D27F876E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50106" y="3994240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32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528" name="Freeform: Shape 1527">
                        <a:extLst>
                          <a:ext uri="{FF2B5EF4-FFF2-40B4-BE49-F238E27FC236}">
                            <a16:creationId xmlns:a16="http://schemas.microsoft.com/office/drawing/2014/main" id="{14D5D7AC-9855-4825-B2DF-825C25E2F4C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57875" y="3994240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32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529" name="Freeform: Shape 1528">
                        <a:extLst>
                          <a:ext uri="{FF2B5EF4-FFF2-40B4-BE49-F238E27FC236}">
                            <a16:creationId xmlns:a16="http://schemas.microsoft.com/office/drawing/2014/main" id="{A1F69CA0-5FC1-4AF3-A5E0-FCAC39B0379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65645" y="3994240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32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530" name="Freeform: Shape 1529">
                        <a:extLst>
                          <a:ext uri="{FF2B5EF4-FFF2-40B4-BE49-F238E27FC236}">
                            <a16:creationId xmlns:a16="http://schemas.microsoft.com/office/drawing/2014/main" id="{431FDF49-E36C-468D-9895-A6B642E85F8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73414" y="3994240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32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531" name="Freeform: Shape 1530">
                        <a:extLst>
                          <a:ext uri="{FF2B5EF4-FFF2-40B4-BE49-F238E27FC236}">
                            <a16:creationId xmlns:a16="http://schemas.microsoft.com/office/drawing/2014/main" id="{35D0E4FA-0563-4717-B422-7D6CBD3970B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81183" y="3994240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32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532" name="Freeform: Shape 1531">
                        <a:extLst>
                          <a:ext uri="{FF2B5EF4-FFF2-40B4-BE49-F238E27FC236}">
                            <a16:creationId xmlns:a16="http://schemas.microsoft.com/office/drawing/2014/main" id="{C7CCC855-AC1B-4C78-AD68-10458DE1300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88953" y="3994240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32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533" name="Freeform: Shape 1532">
                        <a:extLst>
                          <a:ext uri="{FF2B5EF4-FFF2-40B4-BE49-F238E27FC236}">
                            <a16:creationId xmlns:a16="http://schemas.microsoft.com/office/drawing/2014/main" id="{35617B6C-0AB3-4FFC-9B22-2BA1FBF70C6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96722" y="3994240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32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534" name="Freeform: Shape 1533">
                        <a:extLst>
                          <a:ext uri="{FF2B5EF4-FFF2-40B4-BE49-F238E27FC236}">
                            <a16:creationId xmlns:a16="http://schemas.microsoft.com/office/drawing/2014/main" id="{C768F08F-0047-4399-8B5C-E863D6F3936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304492" y="3994240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32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535" name="Freeform: Shape 1534">
                        <a:extLst>
                          <a:ext uri="{FF2B5EF4-FFF2-40B4-BE49-F238E27FC236}">
                            <a16:creationId xmlns:a16="http://schemas.microsoft.com/office/drawing/2014/main" id="{2D96B1EF-E691-41E2-B42D-F553659BEF7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312261" y="3994240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32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536" name="Freeform: Shape 1535">
                        <a:extLst>
                          <a:ext uri="{FF2B5EF4-FFF2-40B4-BE49-F238E27FC236}">
                            <a16:creationId xmlns:a16="http://schemas.microsoft.com/office/drawing/2014/main" id="{36373396-CE26-4359-8578-E0BBA0E5BD9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320030" y="3994240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32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537" name="Freeform: Shape 1536">
                        <a:extLst>
                          <a:ext uri="{FF2B5EF4-FFF2-40B4-BE49-F238E27FC236}">
                            <a16:creationId xmlns:a16="http://schemas.microsoft.com/office/drawing/2014/main" id="{5779B178-BCBE-4F17-891E-47AAFC9E35E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327800" y="3994240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32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538" name="Freeform: Shape 1537">
                        <a:extLst>
                          <a:ext uri="{FF2B5EF4-FFF2-40B4-BE49-F238E27FC236}">
                            <a16:creationId xmlns:a16="http://schemas.microsoft.com/office/drawing/2014/main" id="{B234D00C-591A-4999-A605-E06C8DA16E8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87974" y="3994240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32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539" name="Freeform: Shape 1538">
                        <a:extLst>
                          <a:ext uri="{FF2B5EF4-FFF2-40B4-BE49-F238E27FC236}">
                            <a16:creationId xmlns:a16="http://schemas.microsoft.com/office/drawing/2014/main" id="{69F800D1-7C8E-435F-9923-E4720463F5D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95743" y="3994240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32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540" name="Freeform: Shape 1539">
                        <a:extLst>
                          <a:ext uri="{FF2B5EF4-FFF2-40B4-BE49-F238E27FC236}">
                            <a16:creationId xmlns:a16="http://schemas.microsoft.com/office/drawing/2014/main" id="{34A7BDDB-AE98-416A-8C91-C14E11C0BD7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03513" y="3994240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32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541" name="Freeform: Shape 1540">
                        <a:extLst>
                          <a:ext uri="{FF2B5EF4-FFF2-40B4-BE49-F238E27FC236}">
                            <a16:creationId xmlns:a16="http://schemas.microsoft.com/office/drawing/2014/main" id="{901076DC-710A-467F-81D0-3C750482E32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72435" y="3994240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32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542" name="Freeform: Shape 1541">
                        <a:extLst>
                          <a:ext uri="{FF2B5EF4-FFF2-40B4-BE49-F238E27FC236}">
                            <a16:creationId xmlns:a16="http://schemas.microsoft.com/office/drawing/2014/main" id="{5E16239B-3B88-4663-BDB5-72BDFF61D24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80204" y="3994240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32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543" name="Freeform: Shape 1542">
                        <a:extLst>
                          <a:ext uri="{FF2B5EF4-FFF2-40B4-BE49-F238E27FC236}">
                            <a16:creationId xmlns:a16="http://schemas.microsoft.com/office/drawing/2014/main" id="{DDF31AEB-9056-4D9B-B666-E85CA858CEA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87974" y="3994240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32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544" name="Freeform: Shape 1543">
                        <a:extLst>
                          <a:ext uri="{FF2B5EF4-FFF2-40B4-BE49-F238E27FC236}">
                            <a16:creationId xmlns:a16="http://schemas.microsoft.com/office/drawing/2014/main" id="{2153C903-7B21-4717-94DD-B214936C860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11282" y="3994240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32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545" name="Freeform: Shape 1544">
                        <a:extLst>
                          <a:ext uri="{FF2B5EF4-FFF2-40B4-BE49-F238E27FC236}">
                            <a16:creationId xmlns:a16="http://schemas.microsoft.com/office/drawing/2014/main" id="{BB52E43C-AA91-4AF5-A61F-A53FD2A7CA3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19051" y="3994240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32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546" name="Freeform: Shape 1545">
                        <a:extLst>
                          <a:ext uri="{FF2B5EF4-FFF2-40B4-BE49-F238E27FC236}">
                            <a16:creationId xmlns:a16="http://schemas.microsoft.com/office/drawing/2014/main" id="{E1FC982F-A00D-45D2-AF93-06F57583D6C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26821" y="3994240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04" y="14632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547" name="Freeform: Shape 1546">
                        <a:extLst>
                          <a:ext uri="{FF2B5EF4-FFF2-40B4-BE49-F238E27FC236}">
                            <a16:creationId xmlns:a16="http://schemas.microsoft.com/office/drawing/2014/main" id="{2C404A46-7090-4F5E-AE59-7A64977B068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34567" y="3994240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32"/>
                              <a:pt x="5699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548" name="Freeform: Shape 1547">
                        <a:extLst>
                          <a:ext uri="{FF2B5EF4-FFF2-40B4-BE49-F238E27FC236}">
                            <a16:creationId xmlns:a16="http://schemas.microsoft.com/office/drawing/2014/main" id="{3DCFB98B-C37E-4A92-A8F1-612B6253D0D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42336" y="3994240"/>
                        <a:ext cx="4652" cy="13957"/>
                      </a:xfrm>
                      <a:custGeom>
                        <a:avLst/>
                        <a:gdLst>
                          <a:gd name="connsiteX0" fmla="*/ 4885 w 4652"/>
                          <a:gd name="connsiteY0" fmla="*/ 15260 h 13957"/>
                          <a:gd name="connsiteX1" fmla="*/ 1442 w 4652"/>
                          <a:gd name="connsiteY1" fmla="*/ 15260 h 13957"/>
                          <a:gd name="connsiteX2" fmla="*/ 0 w 4652"/>
                          <a:gd name="connsiteY2" fmla="*/ 13817 h 13957"/>
                          <a:gd name="connsiteX3" fmla="*/ 0 w 4652"/>
                          <a:gd name="connsiteY3" fmla="*/ 1442 h 13957"/>
                          <a:gd name="connsiteX4" fmla="*/ 1442 w 4652"/>
                          <a:gd name="connsiteY4" fmla="*/ 0 h 13957"/>
                          <a:gd name="connsiteX5" fmla="*/ 4885 w 4652"/>
                          <a:gd name="connsiteY5" fmla="*/ 0 h 13957"/>
                          <a:gd name="connsiteX6" fmla="*/ 6327 w 4652"/>
                          <a:gd name="connsiteY6" fmla="*/ 1442 h 13957"/>
                          <a:gd name="connsiteX7" fmla="*/ 6327 w 4652"/>
                          <a:gd name="connsiteY7" fmla="*/ 13817 h 13957"/>
                          <a:gd name="connsiteX8" fmla="*/ 4885 w 4652"/>
                          <a:gd name="connsiteY8" fmla="*/ 15260 h 1395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4652" h="13957">
                            <a:moveTo>
                              <a:pt x="4885" y="15260"/>
                            </a:moveTo>
                            <a:lnTo>
                              <a:pt x="1442" y="15260"/>
                            </a:lnTo>
                            <a:cubicBezTo>
                              <a:pt x="651" y="15260"/>
                              <a:pt x="0" y="14608"/>
                              <a:pt x="0" y="13817"/>
                            </a:cubicBezTo>
                            <a:lnTo>
                              <a:pt x="0" y="1442"/>
                            </a:lnTo>
                            <a:cubicBezTo>
                              <a:pt x="0" y="651"/>
                              <a:pt x="651" y="0"/>
                              <a:pt x="1442" y="0"/>
                            </a:cubicBezTo>
                            <a:lnTo>
                              <a:pt x="4885" y="0"/>
                            </a:lnTo>
                            <a:cubicBezTo>
                              <a:pt x="5676" y="0"/>
                              <a:pt x="6327" y="651"/>
                              <a:pt x="6327" y="1442"/>
                            </a:cubicBezTo>
                            <a:lnTo>
                              <a:pt x="6327" y="13817"/>
                            </a:lnTo>
                            <a:cubicBezTo>
                              <a:pt x="6327" y="14632"/>
                              <a:pt x="5676" y="15260"/>
                              <a:pt x="4885" y="15260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</p:grpSp>
              <p:grpSp>
                <p:nvGrpSpPr>
                  <p:cNvPr id="1549" name="Graphic 174">
                    <a:extLst>
                      <a:ext uri="{FF2B5EF4-FFF2-40B4-BE49-F238E27FC236}">
                        <a16:creationId xmlns:a16="http://schemas.microsoft.com/office/drawing/2014/main" id="{4045A780-E4ED-4946-BB38-1D6737CA17D1}"/>
                      </a:ext>
                    </a:extLst>
                  </p:cNvPr>
                  <p:cNvGrpSpPr/>
                  <p:nvPr/>
                </p:nvGrpSpPr>
                <p:grpSpPr>
                  <a:xfrm>
                    <a:off x="6151453" y="4027364"/>
                    <a:ext cx="113982" cy="148875"/>
                    <a:chOff x="6151453" y="4027364"/>
                    <a:chExt cx="113982" cy="148875"/>
                  </a:xfrm>
                  <a:solidFill>
                    <a:schemeClr val="accent1"/>
                  </a:solidFill>
                </p:grpSpPr>
                <p:grpSp>
                  <p:nvGrpSpPr>
                    <p:cNvPr id="1550" name="Graphic 174">
                      <a:extLst>
                        <a:ext uri="{FF2B5EF4-FFF2-40B4-BE49-F238E27FC236}">
                          <a16:creationId xmlns:a16="http://schemas.microsoft.com/office/drawing/2014/main" id="{4045A780-E4ED-4946-BB38-1D6737CA17D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6151453" y="4027364"/>
                      <a:ext cx="113982" cy="148875"/>
                      <a:chOff x="6151453" y="4027364"/>
                      <a:chExt cx="113982" cy="148875"/>
                    </a:xfrm>
                    <a:solidFill>
                      <a:schemeClr val="accent1"/>
                    </a:solidFill>
                  </p:grpSpPr>
                  <p:sp>
                    <p:nvSpPr>
                      <p:cNvPr id="1551" name="Freeform: Shape 1550">
                        <a:extLst>
                          <a:ext uri="{FF2B5EF4-FFF2-40B4-BE49-F238E27FC236}">
                            <a16:creationId xmlns:a16="http://schemas.microsoft.com/office/drawing/2014/main" id="{5597D3D0-B716-4F28-BA96-73972BF1AA7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64712" y="4078052"/>
                        <a:ext cx="2326" cy="2326"/>
                      </a:xfrm>
                      <a:custGeom>
                        <a:avLst/>
                        <a:gdLst>
                          <a:gd name="connsiteX0" fmla="*/ 47 w 0"/>
                          <a:gd name="connsiteY0" fmla="*/ 0 h 0"/>
                          <a:gd name="connsiteX1" fmla="*/ 0 w 0"/>
                          <a:gd name="connsiteY1" fmla="*/ 163 h 0"/>
                          <a:gd name="connsiteX2" fmla="*/ 47 w 0"/>
                          <a:gd name="connsiteY2" fmla="*/ 0 h 0"/>
                          <a:gd name="connsiteX3" fmla="*/ 47 w 0"/>
                          <a:gd name="connsiteY3" fmla="*/ 0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47" y="0"/>
                            </a:moveTo>
                            <a:cubicBezTo>
                              <a:pt x="23" y="46"/>
                              <a:pt x="0" y="116"/>
                              <a:pt x="0" y="163"/>
                            </a:cubicBezTo>
                            <a:cubicBezTo>
                              <a:pt x="0" y="93"/>
                              <a:pt x="0" y="46"/>
                              <a:pt x="47" y="0"/>
                            </a:cubicBezTo>
                            <a:lnTo>
                              <a:pt x="47" y="0"/>
                            </a:ln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552" name="Freeform: Shape 1551">
                        <a:extLst>
                          <a:ext uri="{FF2B5EF4-FFF2-40B4-BE49-F238E27FC236}">
                            <a16:creationId xmlns:a16="http://schemas.microsoft.com/office/drawing/2014/main" id="{C1F224B5-FCAE-4897-AE58-ECE003C2D46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63689" y="4089683"/>
                        <a:ext cx="2326" cy="2326"/>
                      </a:xfrm>
                      <a:custGeom>
                        <a:avLst/>
                        <a:gdLst>
                          <a:gd name="connsiteX0" fmla="*/ 0 w 0"/>
                          <a:gd name="connsiteY0" fmla="*/ 0 h 0"/>
                          <a:gd name="connsiteX1" fmla="*/ 23 w 0"/>
                          <a:gd name="connsiteY1" fmla="*/ 23 h 0"/>
                          <a:gd name="connsiteX2" fmla="*/ 0 w 0"/>
                          <a:gd name="connsiteY2" fmla="*/ 0 h 0"/>
                          <a:gd name="connsiteX3" fmla="*/ 0 w 0"/>
                          <a:gd name="connsiteY3" fmla="*/ 0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0" y="0"/>
                            </a:moveTo>
                            <a:cubicBezTo>
                              <a:pt x="0" y="0"/>
                              <a:pt x="23" y="23"/>
                              <a:pt x="23" y="23"/>
                            </a:cubicBezTo>
                            <a:cubicBezTo>
                              <a:pt x="0" y="23"/>
                              <a:pt x="0" y="23"/>
                              <a:pt x="0" y="0"/>
                            </a:cubicBez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553" name="Freeform: Shape 1552">
                        <a:extLst>
                          <a:ext uri="{FF2B5EF4-FFF2-40B4-BE49-F238E27FC236}">
                            <a16:creationId xmlns:a16="http://schemas.microsoft.com/office/drawing/2014/main" id="{4A6BEC32-524B-467B-91AB-2DF23107EC5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62432" y="4091962"/>
                        <a:ext cx="2326" cy="2326"/>
                      </a:xfrm>
                      <a:custGeom>
                        <a:avLst/>
                        <a:gdLst>
                          <a:gd name="connsiteX0" fmla="*/ 302 w 0"/>
                          <a:gd name="connsiteY0" fmla="*/ 0 h 0"/>
                          <a:gd name="connsiteX1" fmla="*/ 0 w 0"/>
                          <a:gd name="connsiteY1" fmla="*/ 535 h 0"/>
                          <a:gd name="connsiteX2" fmla="*/ 0 w 0"/>
                          <a:gd name="connsiteY2" fmla="*/ 535 h 0"/>
                          <a:gd name="connsiteX3" fmla="*/ 302 w 0"/>
                          <a:gd name="connsiteY3" fmla="*/ 0 h 0"/>
                          <a:gd name="connsiteX4" fmla="*/ 302 w 0"/>
                          <a:gd name="connsiteY4" fmla="*/ 0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302" y="0"/>
                            </a:moveTo>
                            <a:cubicBezTo>
                              <a:pt x="186" y="163"/>
                              <a:pt x="70" y="326"/>
                              <a:pt x="0" y="535"/>
                            </a:cubicBezTo>
                            <a:lnTo>
                              <a:pt x="0" y="535"/>
                            </a:lnTo>
                            <a:cubicBezTo>
                              <a:pt x="70" y="349"/>
                              <a:pt x="163" y="163"/>
                              <a:pt x="302" y="0"/>
                            </a:cubicBezTo>
                            <a:lnTo>
                              <a:pt x="302" y="0"/>
                            </a:ln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554" name="Freeform: Shape 1553">
                        <a:extLst>
                          <a:ext uri="{FF2B5EF4-FFF2-40B4-BE49-F238E27FC236}">
                            <a16:creationId xmlns:a16="http://schemas.microsoft.com/office/drawing/2014/main" id="{B5BB7290-8477-49B8-8B24-0153B0F8AA6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62107" y="4094823"/>
                        <a:ext cx="2326" cy="2326"/>
                      </a:xfrm>
                      <a:custGeom>
                        <a:avLst/>
                        <a:gdLst>
                          <a:gd name="connsiteX0" fmla="*/ 0 w 0"/>
                          <a:gd name="connsiteY0" fmla="*/ 326 h 0"/>
                          <a:gd name="connsiteX1" fmla="*/ 0 w 0"/>
                          <a:gd name="connsiteY1" fmla="*/ 326 h 0"/>
                          <a:gd name="connsiteX2" fmla="*/ 0 w 0"/>
                          <a:gd name="connsiteY2" fmla="*/ 0 h 0"/>
                          <a:gd name="connsiteX3" fmla="*/ 0 w 0"/>
                          <a:gd name="connsiteY3" fmla="*/ 326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0" y="326"/>
                            </a:moveTo>
                            <a:lnTo>
                              <a:pt x="0" y="326"/>
                            </a:lnTo>
                            <a:cubicBezTo>
                              <a:pt x="0" y="209"/>
                              <a:pt x="0" y="93"/>
                              <a:pt x="0" y="0"/>
                            </a:cubicBezTo>
                            <a:cubicBezTo>
                              <a:pt x="0" y="93"/>
                              <a:pt x="0" y="209"/>
                              <a:pt x="0" y="326"/>
                            </a:cubicBez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555" name="Freeform: Shape 1554">
                        <a:extLst>
                          <a:ext uri="{FF2B5EF4-FFF2-40B4-BE49-F238E27FC236}">
                            <a16:creationId xmlns:a16="http://schemas.microsoft.com/office/drawing/2014/main" id="{F43610B5-B4CA-44EF-82C5-1307D2A25A8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63386" y="4089380"/>
                        <a:ext cx="2326" cy="2326"/>
                      </a:xfrm>
                      <a:custGeom>
                        <a:avLst/>
                        <a:gdLst>
                          <a:gd name="connsiteX0" fmla="*/ 0 w 0"/>
                          <a:gd name="connsiteY0" fmla="*/ 0 h 0"/>
                          <a:gd name="connsiteX1" fmla="*/ 0 w 0"/>
                          <a:gd name="connsiteY1" fmla="*/ 0 h 0"/>
                          <a:gd name="connsiteX2" fmla="*/ 0 w 0"/>
                          <a:gd name="connsiteY2" fmla="*/ 0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0" y="0"/>
                            </a:moveTo>
                            <a:lnTo>
                              <a:pt x="0" y="0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556" name="Freeform: Shape 1555">
                        <a:extLst>
                          <a:ext uri="{FF2B5EF4-FFF2-40B4-BE49-F238E27FC236}">
                            <a16:creationId xmlns:a16="http://schemas.microsoft.com/office/drawing/2014/main" id="{F37E6CC9-E999-47DB-AAE9-6751544A2AE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63107" y="4097103"/>
                        <a:ext cx="2326" cy="2326"/>
                      </a:xfrm>
                      <a:custGeom>
                        <a:avLst/>
                        <a:gdLst>
                          <a:gd name="connsiteX0" fmla="*/ 23 w 0"/>
                          <a:gd name="connsiteY0" fmla="*/ 0 h 0"/>
                          <a:gd name="connsiteX1" fmla="*/ 23 w 0"/>
                          <a:gd name="connsiteY1" fmla="*/ 0 h 0"/>
                          <a:gd name="connsiteX2" fmla="*/ 0 w 0"/>
                          <a:gd name="connsiteY2" fmla="*/ 0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23" y="0"/>
                            </a:moveTo>
                            <a:lnTo>
                              <a:pt x="23" y="0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557" name="Freeform: Shape 1556">
                        <a:extLst>
                          <a:ext uri="{FF2B5EF4-FFF2-40B4-BE49-F238E27FC236}">
                            <a16:creationId xmlns:a16="http://schemas.microsoft.com/office/drawing/2014/main" id="{7E8FBEC6-BD95-4B31-AF07-1BA5E06CEEC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64177" y="4084193"/>
                        <a:ext cx="2326" cy="2326"/>
                      </a:xfrm>
                      <a:custGeom>
                        <a:avLst/>
                        <a:gdLst>
                          <a:gd name="connsiteX0" fmla="*/ 0 w 0"/>
                          <a:gd name="connsiteY0" fmla="*/ 23 h 0"/>
                          <a:gd name="connsiteX1" fmla="*/ 0 w 0"/>
                          <a:gd name="connsiteY1" fmla="*/ 23 h 0"/>
                          <a:gd name="connsiteX2" fmla="*/ 116 w 0"/>
                          <a:gd name="connsiteY2" fmla="*/ 0 h 0"/>
                          <a:gd name="connsiteX3" fmla="*/ 0 w 0"/>
                          <a:gd name="connsiteY3" fmla="*/ 23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0" y="23"/>
                            </a:moveTo>
                            <a:lnTo>
                              <a:pt x="0" y="23"/>
                            </a:lnTo>
                            <a:cubicBezTo>
                              <a:pt x="47" y="23"/>
                              <a:pt x="93" y="23"/>
                              <a:pt x="116" y="0"/>
                            </a:cubicBezTo>
                            <a:cubicBezTo>
                              <a:pt x="93" y="23"/>
                              <a:pt x="47" y="23"/>
                              <a:pt x="0" y="23"/>
                            </a:cubicBez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558" name="Freeform: Shape 1557">
                        <a:extLst>
                          <a:ext uri="{FF2B5EF4-FFF2-40B4-BE49-F238E27FC236}">
                            <a16:creationId xmlns:a16="http://schemas.microsoft.com/office/drawing/2014/main" id="{4DC57182-3198-4864-9C6D-4058ED8F2C2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64322" y="4081558"/>
                        <a:ext cx="2326" cy="2326"/>
                      </a:xfrm>
                      <a:custGeom>
                        <a:avLst/>
                        <a:gdLst>
                          <a:gd name="connsiteX0" fmla="*/ 17 w 0"/>
                          <a:gd name="connsiteY0" fmla="*/ 53 h 0"/>
                          <a:gd name="connsiteX1" fmla="*/ 17 w 0"/>
                          <a:gd name="connsiteY1" fmla="*/ 53 h 0"/>
                          <a:gd name="connsiteX2" fmla="*/ 17 w 0"/>
                          <a:gd name="connsiteY2" fmla="*/ 6 h 0"/>
                          <a:gd name="connsiteX3" fmla="*/ 17 w 0"/>
                          <a:gd name="connsiteY3" fmla="*/ 53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17" y="53"/>
                            </a:moveTo>
                            <a:lnTo>
                              <a:pt x="17" y="53"/>
                            </a:lnTo>
                            <a:lnTo>
                              <a:pt x="17" y="6"/>
                            </a:lnTo>
                            <a:cubicBezTo>
                              <a:pt x="-6" y="-17"/>
                              <a:pt x="-6" y="30"/>
                              <a:pt x="17" y="53"/>
                            </a:cubicBez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559" name="Freeform: Shape 1558">
                        <a:extLst>
                          <a:ext uri="{FF2B5EF4-FFF2-40B4-BE49-F238E27FC236}">
                            <a16:creationId xmlns:a16="http://schemas.microsoft.com/office/drawing/2014/main" id="{A77E104D-E752-4C3A-926F-6B104E1F7D8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62944" y="4088380"/>
                        <a:ext cx="2326" cy="2326"/>
                      </a:xfrm>
                      <a:custGeom>
                        <a:avLst/>
                        <a:gdLst>
                          <a:gd name="connsiteX0" fmla="*/ 0 w 0"/>
                          <a:gd name="connsiteY0" fmla="*/ 0 h 0"/>
                          <a:gd name="connsiteX1" fmla="*/ 23 w 0"/>
                          <a:gd name="connsiteY1" fmla="*/ 116 h 0"/>
                          <a:gd name="connsiteX2" fmla="*/ 0 w 0"/>
                          <a:gd name="connsiteY2" fmla="*/ 0 h 0"/>
                          <a:gd name="connsiteX3" fmla="*/ 0 w 0"/>
                          <a:gd name="connsiteY3" fmla="*/ 0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0" y="0"/>
                            </a:moveTo>
                            <a:cubicBezTo>
                              <a:pt x="0" y="46"/>
                              <a:pt x="0" y="70"/>
                              <a:pt x="23" y="116"/>
                            </a:cubicBezTo>
                            <a:cubicBezTo>
                              <a:pt x="0" y="70"/>
                              <a:pt x="0" y="23"/>
                              <a:pt x="0" y="0"/>
                            </a:cubicBez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560" name="Freeform: Shape 1559">
                        <a:extLst>
                          <a:ext uri="{FF2B5EF4-FFF2-40B4-BE49-F238E27FC236}">
                            <a16:creationId xmlns:a16="http://schemas.microsoft.com/office/drawing/2014/main" id="{DA1B10AB-F1B8-40EC-9C79-E8822E99E2A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63782" y="4084286"/>
                        <a:ext cx="2326" cy="2326"/>
                      </a:xfrm>
                      <a:custGeom>
                        <a:avLst/>
                        <a:gdLst>
                          <a:gd name="connsiteX0" fmla="*/ 0 w 0"/>
                          <a:gd name="connsiteY0" fmla="*/ 209 h 0"/>
                          <a:gd name="connsiteX1" fmla="*/ 0 w 0"/>
                          <a:gd name="connsiteY1" fmla="*/ 209 h 0"/>
                          <a:gd name="connsiteX2" fmla="*/ 256 w 0"/>
                          <a:gd name="connsiteY2" fmla="*/ 0 h 0"/>
                          <a:gd name="connsiteX3" fmla="*/ 0 w 0"/>
                          <a:gd name="connsiteY3" fmla="*/ 209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0" y="209"/>
                            </a:moveTo>
                            <a:lnTo>
                              <a:pt x="0" y="209"/>
                            </a:lnTo>
                            <a:cubicBezTo>
                              <a:pt x="93" y="140"/>
                              <a:pt x="163" y="70"/>
                              <a:pt x="256" y="0"/>
                            </a:cubicBezTo>
                            <a:cubicBezTo>
                              <a:pt x="186" y="70"/>
                              <a:pt x="93" y="140"/>
                              <a:pt x="0" y="209"/>
                            </a:cubicBez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561" name="Freeform: Shape 1560">
                        <a:extLst>
                          <a:ext uri="{FF2B5EF4-FFF2-40B4-BE49-F238E27FC236}">
                            <a16:creationId xmlns:a16="http://schemas.microsoft.com/office/drawing/2014/main" id="{88604DBF-0938-4523-9505-0578ACF2B77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63433" y="4084658"/>
                        <a:ext cx="2326" cy="2326"/>
                      </a:xfrm>
                      <a:custGeom>
                        <a:avLst/>
                        <a:gdLst>
                          <a:gd name="connsiteX0" fmla="*/ 209 w 0"/>
                          <a:gd name="connsiteY0" fmla="*/ 0 h 0"/>
                          <a:gd name="connsiteX1" fmla="*/ 0 w 0"/>
                          <a:gd name="connsiteY1" fmla="*/ 326 h 0"/>
                          <a:gd name="connsiteX2" fmla="*/ 0 w 0"/>
                          <a:gd name="connsiteY2" fmla="*/ 326 h 0"/>
                          <a:gd name="connsiteX3" fmla="*/ 209 w 0"/>
                          <a:gd name="connsiteY3" fmla="*/ 0 h 0"/>
                          <a:gd name="connsiteX4" fmla="*/ 209 w 0"/>
                          <a:gd name="connsiteY4" fmla="*/ 0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209" y="0"/>
                            </a:moveTo>
                            <a:cubicBezTo>
                              <a:pt x="140" y="93"/>
                              <a:pt x="70" y="209"/>
                              <a:pt x="0" y="326"/>
                            </a:cubicBezTo>
                            <a:lnTo>
                              <a:pt x="0" y="326"/>
                            </a:lnTo>
                            <a:cubicBezTo>
                              <a:pt x="47" y="233"/>
                              <a:pt x="116" y="116"/>
                              <a:pt x="209" y="0"/>
                            </a:cubicBezTo>
                            <a:lnTo>
                              <a:pt x="209" y="0"/>
                            </a:ln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562" name="Freeform: Shape 1561">
                        <a:extLst>
                          <a:ext uri="{FF2B5EF4-FFF2-40B4-BE49-F238E27FC236}">
                            <a16:creationId xmlns:a16="http://schemas.microsoft.com/office/drawing/2014/main" id="{F4FBE05A-27A9-4FB1-B6FB-02720A53DF5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54570" y="4082774"/>
                        <a:ext cx="9305" cy="2326"/>
                      </a:xfrm>
                      <a:custGeom>
                        <a:avLst/>
                        <a:gdLst>
                          <a:gd name="connsiteX0" fmla="*/ 10072 w 9304"/>
                          <a:gd name="connsiteY0" fmla="*/ 1349 h 0"/>
                          <a:gd name="connsiteX1" fmla="*/ 10072 w 9304"/>
                          <a:gd name="connsiteY1" fmla="*/ 1349 h 0"/>
                          <a:gd name="connsiteX2" fmla="*/ 10421 w 9304"/>
                          <a:gd name="connsiteY2" fmla="*/ 1396 h 0"/>
                          <a:gd name="connsiteX3" fmla="*/ 10445 w 9304"/>
                          <a:gd name="connsiteY3" fmla="*/ 1396 h 0"/>
                          <a:gd name="connsiteX4" fmla="*/ 10700 w 9304"/>
                          <a:gd name="connsiteY4" fmla="*/ 0 h 0"/>
                          <a:gd name="connsiteX5" fmla="*/ 10700 w 9304"/>
                          <a:gd name="connsiteY5" fmla="*/ 0 h 0"/>
                          <a:gd name="connsiteX6" fmla="*/ 256 w 9304"/>
                          <a:gd name="connsiteY6" fmla="*/ 0 h 0"/>
                          <a:gd name="connsiteX7" fmla="*/ 0 w 9304"/>
                          <a:gd name="connsiteY7" fmla="*/ 1349 h 0"/>
                          <a:gd name="connsiteX8" fmla="*/ 10072 w 9304"/>
                          <a:gd name="connsiteY8" fmla="*/ 1349 h 0"/>
                          <a:gd name="connsiteX9" fmla="*/ 10072 w 9304"/>
                          <a:gd name="connsiteY9" fmla="*/ 1349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</a:cxnLst>
                        <a:rect l="l" t="t" r="r" b="b"/>
                        <a:pathLst>
                          <a:path w="9304">
                            <a:moveTo>
                              <a:pt x="10072" y="1349"/>
                            </a:moveTo>
                            <a:lnTo>
                              <a:pt x="10072" y="1349"/>
                            </a:lnTo>
                            <a:cubicBezTo>
                              <a:pt x="10189" y="1349"/>
                              <a:pt x="10305" y="1372"/>
                              <a:pt x="10421" y="1396"/>
                            </a:cubicBezTo>
                            <a:lnTo>
                              <a:pt x="10445" y="1396"/>
                            </a:lnTo>
                            <a:cubicBezTo>
                              <a:pt x="10538" y="930"/>
                              <a:pt x="10607" y="465"/>
                              <a:pt x="10700" y="0"/>
                            </a:cubicBezTo>
                            <a:lnTo>
                              <a:pt x="10700" y="0"/>
                            </a:lnTo>
                            <a:lnTo>
                              <a:pt x="256" y="0"/>
                            </a:lnTo>
                            <a:cubicBezTo>
                              <a:pt x="163" y="442"/>
                              <a:pt x="93" y="884"/>
                              <a:pt x="0" y="1349"/>
                            </a:cubicBezTo>
                            <a:lnTo>
                              <a:pt x="10072" y="1349"/>
                            </a:lnTo>
                            <a:lnTo>
                              <a:pt x="10072" y="1349"/>
                            </a:ln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563" name="Freeform: Shape 1562">
                        <a:extLst>
                          <a:ext uri="{FF2B5EF4-FFF2-40B4-BE49-F238E27FC236}">
                            <a16:creationId xmlns:a16="http://schemas.microsoft.com/office/drawing/2014/main" id="{C0C9BDDD-1544-49D2-8A2F-CEAF9C1E81B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63968" y="4119085"/>
                        <a:ext cx="2326" cy="2326"/>
                      </a:xfrm>
                      <a:custGeom>
                        <a:avLst/>
                        <a:gdLst>
                          <a:gd name="connsiteX0" fmla="*/ 0 w 0"/>
                          <a:gd name="connsiteY0" fmla="*/ 0 h 0"/>
                          <a:gd name="connsiteX1" fmla="*/ 488 w 0"/>
                          <a:gd name="connsiteY1" fmla="*/ 116 h 0"/>
                          <a:gd name="connsiteX2" fmla="*/ 0 w 0"/>
                          <a:gd name="connsiteY2" fmla="*/ 0 h 0"/>
                          <a:gd name="connsiteX3" fmla="*/ 0 w 0"/>
                          <a:gd name="connsiteY3" fmla="*/ 0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0" y="0"/>
                            </a:moveTo>
                            <a:cubicBezTo>
                              <a:pt x="163" y="70"/>
                              <a:pt x="326" y="116"/>
                              <a:pt x="488" y="116"/>
                            </a:cubicBezTo>
                            <a:cubicBezTo>
                              <a:pt x="326" y="116"/>
                              <a:pt x="163" y="70"/>
                              <a:pt x="0" y="0"/>
                            </a:cubicBez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564" name="Freeform: Shape 1563">
                        <a:extLst>
                          <a:ext uri="{FF2B5EF4-FFF2-40B4-BE49-F238E27FC236}">
                            <a16:creationId xmlns:a16="http://schemas.microsoft.com/office/drawing/2014/main" id="{FC4396D6-A6AD-4D64-A68C-1C70A8F5078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53570" y="4089938"/>
                        <a:ext cx="9305" cy="2326"/>
                      </a:xfrm>
                      <a:custGeom>
                        <a:avLst/>
                        <a:gdLst>
                          <a:gd name="connsiteX0" fmla="*/ 10398 w 9304"/>
                          <a:gd name="connsiteY0" fmla="*/ 1442 h 0"/>
                          <a:gd name="connsiteX1" fmla="*/ 10421 w 9304"/>
                          <a:gd name="connsiteY1" fmla="*/ 1442 h 0"/>
                          <a:gd name="connsiteX2" fmla="*/ 10421 w 9304"/>
                          <a:gd name="connsiteY2" fmla="*/ 1442 h 0"/>
                          <a:gd name="connsiteX3" fmla="*/ 10584 w 9304"/>
                          <a:gd name="connsiteY3" fmla="*/ 0 h 0"/>
                          <a:gd name="connsiteX4" fmla="*/ 163 w 9304"/>
                          <a:gd name="connsiteY4" fmla="*/ 0 h 0"/>
                          <a:gd name="connsiteX5" fmla="*/ 163 w 9304"/>
                          <a:gd name="connsiteY5" fmla="*/ 0 h 0"/>
                          <a:gd name="connsiteX6" fmla="*/ 0 w 9304"/>
                          <a:gd name="connsiteY6" fmla="*/ 1442 h 0"/>
                          <a:gd name="connsiteX7" fmla="*/ 10235 w 9304"/>
                          <a:gd name="connsiteY7" fmla="*/ 1442 h 0"/>
                          <a:gd name="connsiteX8" fmla="*/ 10398 w 9304"/>
                          <a:gd name="connsiteY8" fmla="*/ 1442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9304">
                            <a:moveTo>
                              <a:pt x="10398" y="1442"/>
                            </a:moveTo>
                            <a:lnTo>
                              <a:pt x="10421" y="1442"/>
                            </a:lnTo>
                            <a:lnTo>
                              <a:pt x="10421" y="1442"/>
                            </a:lnTo>
                            <a:cubicBezTo>
                              <a:pt x="10468" y="954"/>
                              <a:pt x="10538" y="488"/>
                              <a:pt x="10584" y="0"/>
                            </a:cubicBezTo>
                            <a:lnTo>
                              <a:pt x="163" y="0"/>
                            </a:lnTo>
                            <a:lnTo>
                              <a:pt x="163" y="0"/>
                            </a:lnTo>
                            <a:cubicBezTo>
                              <a:pt x="116" y="488"/>
                              <a:pt x="47" y="954"/>
                              <a:pt x="0" y="1442"/>
                            </a:cubicBezTo>
                            <a:lnTo>
                              <a:pt x="10235" y="1442"/>
                            </a:lnTo>
                            <a:cubicBezTo>
                              <a:pt x="10282" y="1442"/>
                              <a:pt x="10328" y="1442"/>
                              <a:pt x="10398" y="1442"/>
                            </a:cubicBez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565" name="Freeform: Shape 1564">
                        <a:extLst>
                          <a:ext uri="{FF2B5EF4-FFF2-40B4-BE49-F238E27FC236}">
                            <a16:creationId xmlns:a16="http://schemas.microsoft.com/office/drawing/2014/main" id="{AC4C8397-DE95-46D0-8E7B-84C16AFBF60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62037" y="4108059"/>
                        <a:ext cx="2326" cy="2326"/>
                      </a:xfrm>
                      <a:custGeom>
                        <a:avLst/>
                        <a:gdLst>
                          <a:gd name="connsiteX0" fmla="*/ 0 w 0"/>
                          <a:gd name="connsiteY0" fmla="*/ 0 h 0"/>
                          <a:gd name="connsiteX1" fmla="*/ 0 w 0"/>
                          <a:gd name="connsiteY1" fmla="*/ 372 h 0"/>
                          <a:gd name="connsiteX2" fmla="*/ 0 w 0"/>
                          <a:gd name="connsiteY2" fmla="*/ 0 h 0"/>
                          <a:gd name="connsiteX3" fmla="*/ 0 w 0"/>
                          <a:gd name="connsiteY3" fmla="*/ 0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0" y="0"/>
                            </a:moveTo>
                            <a:cubicBezTo>
                              <a:pt x="0" y="116"/>
                              <a:pt x="0" y="256"/>
                              <a:pt x="0" y="372"/>
                            </a:cubicBezTo>
                            <a:cubicBezTo>
                              <a:pt x="0" y="233"/>
                              <a:pt x="0" y="116"/>
                              <a:pt x="0" y="0"/>
                            </a:cubicBez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566" name="Freeform: Shape 1565">
                        <a:extLst>
                          <a:ext uri="{FF2B5EF4-FFF2-40B4-BE49-F238E27FC236}">
                            <a16:creationId xmlns:a16="http://schemas.microsoft.com/office/drawing/2014/main" id="{4FBEB55C-20C8-41CF-A4B5-4ADD7C0C783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63549" y="4118736"/>
                        <a:ext cx="2326" cy="2326"/>
                      </a:xfrm>
                      <a:custGeom>
                        <a:avLst/>
                        <a:gdLst>
                          <a:gd name="connsiteX0" fmla="*/ 0 w 0"/>
                          <a:gd name="connsiteY0" fmla="*/ 0 h 0"/>
                          <a:gd name="connsiteX1" fmla="*/ 302 w 0"/>
                          <a:gd name="connsiteY1" fmla="*/ 233 h 0"/>
                          <a:gd name="connsiteX2" fmla="*/ 302 w 0"/>
                          <a:gd name="connsiteY2" fmla="*/ 233 h 0"/>
                          <a:gd name="connsiteX3" fmla="*/ 0 w 0"/>
                          <a:gd name="connsiteY3" fmla="*/ 0 h 0"/>
                          <a:gd name="connsiteX4" fmla="*/ 0 w 0"/>
                          <a:gd name="connsiteY4" fmla="*/ 0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0" y="0"/>
                            </a:moveTo>
                            <a:cubicBezTo>
                              <a:pt x="93" y="93"/>
                              <a:pt x="186" y="163"/>
                              <a:pt x="302" y="233"/>
                            </a:cubicBezTo>
                            <a:lnTo>
                              <a:pt x="302" y="233"/>
                            </a:lnTo>
                            <a:cubicBezTo>
                              <a:pt x="186" y="163"/>
                              <a:pt x="93" y="93"/>
                              <a:pt x="0" y="0"/>
                            </a:cubicBez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567" name="Freeform: Shape 1566">
                        <a:extLst>
                          <a:ext uri="{FF2B5EF4-FFF2-40B4-BE49-F238E27FC236}">
                            <a16:creationId xmlns:a16="http://schemas.microsoft.com/office/drawing/2014/main" id="{33D9298F-19A4-4DDE-A961-6F30A3C54DE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62060" y="4107664"/>
                        <a:ext cx="2326" cy="2326"/>
                      </a:xfrm>
                      <a:custGeom>
                        <a:avLst/>
                        <a:gdLst>
                          <a:gd name="connsiteX0" fmla="*/ 23 w 0"/>
                          <a:gd name="connsiteY0" fmla="*/ 0 h 0"/>
                          <a:gd name="connsiteX1" fmla="*/ 0 w 0"/>
                          <a:gd name="connsiteY1" fmla="*/ 163 h 0"/>
                          <a:gd name="connsiteX2" fmla="*/ 23 w 0"/>
                          <a:gd name="connsiteY2" fmla="*/ 0 h 0"/>
                          <a:gd name="connsiteX3" fmla="*/ 23 w 0"/>
                          <a:gd name="connsiteY3" fmla="*/ 0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23" y="0"/>
                            </a:moveTo>
                            <a:cubicBezTo>
                              <a:pt x="23" y="47"/>
                              <a:pt x="0" y="116"/>
                              <a:pt x="0" y="163"/>
                            </a:cubicBezTo>
                            <a:cubicBezTo>
                              <a:pt x="23" y="93"/>
                              <a:pt x="23" y="47"/>
                              <a:pt x="23" y="0"/>
                            </a:cubicBezTo>
                            <a:lnTo>
                              <a:pt x="23" y="0"/>
                            </a:ln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568" name="Freeform: Shape 1567">
                        <a:extLst>
                          <a:ext uri="{FF2B5EF4-FFF2-40B4-BE49-F238E27FC236}">
                            <a16:creationId xmlns:a16="http://schemas.microsoft.com/office/drawing/2014/main" id="{8BB79372-6D48-4C6F-81A8-95AF652C23E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63177" y="4113968"/>
                        <a:ext cx="2326" cy="2326"/>
                      </a:xfrm>
                      <a:custGeom>
                        <a:avLst/>
                        <a:gdLst>
                          <a:gd name="connsiteX0" fmla="*/ 0 w 0"/>
                          <a:gd name="connsiteY0" fmla="*/ 0 h 0"/>
                          <a:gd name="connsiteX1" fmla="*/ 0 w 0"/>
                          <a:gd name="connsiteY1" fmla="*/ 0 h 0"/>
                          <a:gd name="connsiteX2" fmla="*/ 0 w 0"/>
                          <a:gd name="connsiteY2" fmla="*/ 0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0" y="0"/>
                            </a:moveTo>
                            <a:lnTo>
                              <a:pt x="0" y="0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569" name="Freeform: Shape 1568">
                        <a:extLst>
                          <a:ext uri="{FF2B5EF4-FFF2-40B4-BE49-F238E27FC236}">
                            <a16:creationId xmlns:a16="http://schemas.microsoft.com/office/drawing/2014/main" id="{21C77CD7-F2E1-490F-A9AC-E3BF5FB3AB6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63177" y="4111781"/>
                        <a:ext cx="2326" cy="2326"/>
                      </a:xfrm>
                      <a:custGeom>
                        <a:avLst/>
                        <a:gdLst>
                          <a:gd name="connsiteX0" fmla="*/ 0 w 0"/>
                          <a:gd name="connsiteY0" fmla="*/ 0 h 0"/>
                          <a:gd name="connsiteX1" fmla="*/ 209 w 0"/>
                          <a:gd name="connsiteY1" fmla="*/ 46 h 0"/>
                          <a:gd name="connsiteX2" fmla="*/ 0 w 0"/>
                          <a:gd name="connsiteY2" fmla="*/ 0 h 0"/>
                          <a:gd name="connsiteX3" fmla="*/ 0 w 0"/>
                          <a:gd name="connsiteY3" fmla="*/ 0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0" y="0"/>
                            </a:moveTo>
                            <a:cubicBezTo>
                              <a:pt x="70" y="46"/>
                              <a:pt x="140" y="46"/>
                              <a:pt x="209" y="46"/>
                            </a:cubicBezTo>
                            <a:cubicBezTo>
                              <a:pt x="140" y="46"/>
                              <a:pt x="47" y="46"/>
                              <a:pt x="0" y="0"/>
                            </a:cubicBez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570" name="Freeform: Shape 1569">
                        <a:extLst>
                          <a:ext uri="{FF2B5EF4-FFF2-40B4-BE49-F238E27FC236}">
                            <a16:creationId xmlns:a16="http://schemas.microsoft.com/office/drawing/2014/main" id="{E31A3D98-4F75-4000-BC68-F7CD9CDBCB4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60851" y="4062722"/>
                        <a:ext cx="9305" cy="2326"/>
                      </a:xfrm>
                      <a:custGeom>
                        <a:avLst/>
                        <a:gdLst>
                          <a:gd name="connsiteX0" fmla="*/ 9095 w 9304"/>
                          <a:gd name="connsiteY0" fmla="*/ 977 h 0"/>
                          <a:gd name="connsiteX1" fmla="*/ 9095 w 9304"/>
                          <a:gd name="connsiteY1" fmla="*/ 977 h 0"/>
                          <a:gd name="connsiteX2" fmla="*/ 9468 w 9304"/>
                          <a:gd name="connsiteY2" fmla="*/ 907 h 0"/>
                          <a:gd name="connsiteX3" fmla="*/ 10258 w 9304"/>
                          <a:gd name="connsiteY3" fmla="*/ 1210 h 0"/>
                          <a:gd name="connsiteX4" fmla="*/ 10282 w 9304"/>
                          <a:gd name="connsiteY4" fmla="*/ 1233 h 0"/>
                          <a:gd name="connsiteX5" fmla="*/ 10840 w 9304"/>
                          <a:gd name="connsiteY5" fmla="*/ 0 h 0"/>
                          <a:gd name="connsiteX6" fmla="*/ 419 w 9304"/>
                          <a:gd name="connsiteY6" fmla="*/ 0 h 0"/>
                          <a:gd name="connsiteX7" fmla="*/ 419 w 9304"/>
                          <a:gd name="connsiteY7" fmla="*/ 0 h 0"/>
                          <a:gd name="connsiteX8" fmla="*/ 0 w 9304"/>
                          <a:gd name="connsiteY8" fmla="*/ 907 h 0"/>
                          <a:gd name="connsiteX9" fmla="*/ 9491 w 9304"/>
                          <a:gd name="connsiteY9" fmla="*/ 907 h 0"/>
                          <a:gd name="connsiteX10" fmla="*/ 9095 w 9304"/>
                          <a:gd name="connsiteY10" fmla="*/ 977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</a:cxnLst>
                        <a:rect l="l" t="t" r="r" b="b"/>
                        <a:pathLst>
                          <a:path w="9304">
                            <a:moveTo>
                              <a:pt x="9095" y="977"/>
                            </a:moveTo>
                            <a:lnTo>
                              <a:pt x="9095" y="977"/>
                            </a:lnTo>
                            <a:cubicBezTo>
                              <a:pt x="9212" y="930"/>
                              <a:pt x="9351" y="907"/>
                              <a:pt x="9468" y="907"/>
                            </a:cubicBezTo>
                            <a:cubicBezTo>
                              <a:pt x="9747" y="907"/>
                              <a:pt x="10003" y="1000"/>
                              <a:pt x="10258" y="1210"/>
                            </a:cubicBezTo>
                            <a:lnTo>
                              <a:pt x="10282" y="1233"/>
                            </a:lnTo>
                            <a:cubicBezTo>
                              <a:pt x="10468" y="814"/>
                              <a:pt x="10654" y="419"/>
                              <a:pt x="10840" y="0"/>
                            </a:cubicBezTo>
                            <a:cubicBezTo>
                              <a:pt x="7374" y="0"/>
                              <a:pt x="3908" y="0"/>
                              <a:pt x="419" y="0"/>
                            </a:cubicBezTo>
                            <a:lnTo>
                              <a:pt x="419" y="0"/>
                            </a:lnTo>
                            <a:cubicBezTo>
                              <a:pt x="279" y="302"/>
                              <a:pt x="140" y="605"/>
                              <a:pt x="0" y="907"/>
                            </a:cubicBezTo>
                            <a:lnTo>
                              <a:pt x="9491" y="907"/>
                            </a:lnTo>
                            <a:cubicBezTo>
                              <a:pt x="9351" y="907"/>
                              <a:pt x="9212" y="954"/>
                              <a:pt x="9095" y="977"/>
                            </a:cubicBez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571" name="Freeform: Shape 1570">
                        <a:extLst>
                          <a:ext uri="{FF2B5EF4-FFF2-40B4-BE49-F238E27FC236}">
                            <a16:creationId xmlns:a16="http://schemas.microsoft.com/office/drawing/2014/main" id="{5E1DFC5E-F28E-46FE-A06F-84B9279A609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63642" y="4108990"/>
                        <a:ext cx="2326" cy="2326"/>
                      </a:xfrm>
                      <a:custGeom>
                        <a:avLst/>
                        <a:gdLst>
                          <a:gd name="connsiteX0" fmla="*/ 186 w 0"/>
                          <a:gd name="connsiteY0" fmla="*/ 2326 h 2326"/>
                          <a:gd name="connsiteX1" fmla="*/ 0 w 0"/>
                          <a:gd name="connsiteY1" fmla="*/ 0 h 2326"/>
                          <a:gd name="connsiteX2" fmla="*/ 186 w 0"/>
                          <a:gd name="connsiteY2" fmla="*/ 2326 h 2326"/>
                          <a:gd name="connsiteX3" fmla="*/ 186 w 0"/>
                          <a:gd name="connsiteY3" fmla="*/ 2326 h 232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h="2326">
                            <a:moveTo>
                              <a:pt x="186" y="2326"/>
                            </a:moveTo>
                            <a:cubicBezTo>
                              <a:pt x="116" y="1559"/>
                              <a:pt x="47" y="768"/>
                              <a:pt x="0" y="0"/>
                            </a:cubicBezTo>
                            <a:cubicBezTo>
                              <a:pt x="47" y="791"/>
                              <a:pt x="116" y="1559"/>
                              <a:pt x="186" y="2326"/>
                            </a:cubicBezTo>
                            <a:lnTo>
                              <a:pt x="186" y="2326"/>
                            </a:ln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572" name="Freeform: Shape 1571">
                        <a:extLst>
                          <a:ext uri="{FF2B5EF4-FFF2-40B4-BE49-F238E27FC236}">
                            <a16:creationId xmlns:a16="http://schemas.microsoft.com/office/drawing/2014/main" id="{00A337CD-5BFD-434A-AB79-6FAFE71C549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58269" y="4069073"/>
                        <a:ext cx="9305" cy="2326"/>
                      </a:xfrm>
                      <a:custGeom>
                        <a:avLst/>
                        <a:gdLst>
                          <a:gd name="connsiteX0" fmla="*/ 9677 w 9304"/>
                          <a:gd name="connsiteY0" fmla="*/ 1093 h 0"/>
                          <a:gd name="connsiteX1" fmla="*/ 9677 w 9304"/>
                          <a:gd name="connsiteY1" fmla="*/ 1093 h 0"/>
                          <a:gd name="connsiteX2" fmla="*/ 10328 w 9304"/>
                          <a:gd name="connsiteY2" fmla="*/ 1303 h 0"/>
                          <a:gd name="connsiteX3" fmla="*/ 10328 w 9304"/>
                          <a:gd name="connsiteY3" fmla="*/ 1303 h 0"/>
                          <a:gd name="connsiteX4" fmla="*/ 10817 w 9304"/>
                          <a:gd name="connsiteY4" fmla="*/ 0 h 0"/>
                          <a:gd name="connsiteX5" fmla="*/ 372 w 9304"/>
                          <a:gd name="connsiteY5" fmla="*/ 0 h 0"/>
                          <a:gd name="connsiteX6" fmla="*/ 0 w 9304"/>
                          <a:gd name="connsiteY6" fmla="*/ 1093 h 0"/>
                          <a:gd name="connsiteX7" fmla="*/ 9677 w 9304"/>
                          <a:gd name="connsiteY7" fmla="*/ 1093 h 0"/>
                          <a:gd name="connsiteX8" fmla="*/ 9677 w 9304"/>
                          <a:gd name="connsiteY8" fmla="*/ 1093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9304">
                            <a:moveTo>
                              <a:pt x="9677" y="1093"/>
                            </a:moveTo>
                            <a:lnTo>
                              <a:pt x="9677" y="1093"/>
                            </a:lnTo>
                            <a:cubicBezTo>
                              <a:pt x="9886" y="1093"/>
                              <a:pt x="10119" y="1163"/>
                              <a:pt x="10328" y="1303"/>
                            </a:cubicBezTo>
                            <a:lnTo>
                              <a:pt x="10328" y="1303"/>
                            </a:lnTo>
                            <a:cubicBezTo>
                              <a:pt x="10491" y="884"/>
                              <a:pt x="10654" y="442"/>
                              <a:pt x="10817" y="0"/>
                            </a:cubicBezTo>
                            <a:lnTo>
                              <a:pt x="372" y="0"/>
                            </a:lnTo>
                            <a:cubicBezTo>
                              <a:pt x="233" y="372"/>
                              <a:pt x="116" y="744"/>
                              <a:pt x="0" y="1093"/>
                            </a:cubicBezTo>
                            <a:lnTo>
                              <a:pt x="9677" y="1093"/>
                            </a:lnTo>
                            <a:lnTo>
                              <a:pt x="9677" y="1093"/>
                            </a:ln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573" name="Freeform: Shape 1572">
                        <a:extLst>
                          <a:ext uri="{FF2B5EF4-FFF2-40B4-BE49-F238E27FC236}">
                            <a16:creationId xmlns:a16="http://schemas.microsoft.com/office/drawing/2014/main" id="{CD7C6639-D76E-4EB7-BCF3-FBF8785A863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65340" y="4077191"/>
                        <a:ext cx="2326" cy="2326"/>
                      </a:xfrm>
                      <a:custGeom>
                        <a:avLst/>
                        <a:gdLst>
                          <a:gd name="connsiteX0" fmla="*/ 140 w 0"/>
                          <a:gd name="connsiteY0" fmla="*/ 0 h 0"/>
                          <a:gd name="connsiteX1" fmla="*/ 0 w 0"/>
                          <a:gd name="connsiteY1" fmla="*/ 93 h 0"/>
                          <a:gd name="connsiteX2" fmla="*/ 140 w 0"/>
                          <a:gd name="connsiteY2" fmla="*/ 0 h 0"/>
                          <a:gd name="connsiteX3" fmla="*/ 140 w 0"/>
                          <a:gd name="connsiteY3" fmla="*/ 0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140" y="0"/>
                            </a:moveTo>
                            <a:cubicBezTo>
                              <a:pt x="93" y="23"/>
                              <a:pt x="47" y="70"/>
                              <a:pt x="0" y="93"/>
                            </a:cubicBezTo>
                            <a:cubicBezTo>
                              <a:pt x="47" y="70"/>
                              <a:pt x="93" y="23"/>
                              <a:pt x="140" y="0"/>
                            </a:cubicBezTo>
                            <a:lnTo>
                              <a:pt x="140" y="0"/>
                            </a:ln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574" name="Freeform: Shape 1573">
                        <a:extLst>
                          <a:ext uri="{FF2B5EF4-FFF2-40B4-BE49-F238E27FC236}">
                            <a16:creationId xmlns:a16="http://schemas.microsoft.com/office/drawing/2014/main" id="{4F886E91-BF64-4A03-A83D-4FAE8120EEB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63456" y="4106036"/>
                        <a:ext cx="2326" cy="2326"/>
                      </a:xfrm>
                      <a:custGeom>
                        <a:avLst/>
                        <a:gdLst>
                          <a:gd name="connsiteX0" fmla="*/ 23 w 0"/>
                          <a:gd name="connsiteY0" fmla="*/ 0 h 0"/>
                          <a:gd name="connsiteX1" fmla="*/ 0 w 0"/>
                          <a:gd name="connsiteY1" fmla="*/ 0 h 0"/>
                          <a:gd name="connsiteX2" fmla="*/ 23 w 0"/>
                          <a:gd name="connsiteY2" fmla="*/ 0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23" y="0"/>
                            </a:moveTo>
                            <a:lnTo>
                              <a:pt x="0" y="0"/>
                            </a:lnTo>
                            <a:lnTo>
                              <a:pt x="23" y="0"/>
                            </a:ln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575" name="Freeform: Shape 1574">
                        <a:extLst>
                          <a:ext uri="{FF2B5EF4-FFF2-40B4-BE49-F238E27FC236}">
                            <a16:creationId xmlns:a16="http://schemas.microsoft.com/office/drawing/2014/main" id="{CEDFE398-D3A1-4959-BC03-4D601D72EE1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65294" y="4077168"/>
                        <a:ext cx="2326" cy="4652"/>
                      </a:xfrm>
                      <a:custGeom>
                        <a:avLst/>
                        <a:gdLst>
                          <a:gd name="connsiteX0" fmla="*/ 0 w 0"/>
                          <a:gd name="connsiteY0" fmla="*/ 5606 h 4652"/>
                          <a:gd name="connsiteX1" fmla="*/ 1279 w 0"/>
                          <a:gd name="connsiteY1" fmla="*/ 0 h 4652"/>
                          <a:gd name="connsiteX2" fmla="*/ 0 w 0"/>
                          <a:gd name="connsiteY2" fmla="*/ 5606 h 4652"/>
                          <a:gd name="connsiteX3" fmla="*/ 0 w 0"/>
                          <a:gd name="connsiteY3" fmla="*/ 5606 h 465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h="4652">
                            <a:moveTo>
                              <a:pt x="0" y="5606"/>
                            </a:moveTo>
                            <a:cubicBezTo>
                              <a:pt x="372" y="3699"/>
                              <a:pt x="791" y="1838"/>
                              <a:pt x="1279" y="0"/>
                            </a:cubicBezTo>
                            <a:cubicBezTo>
                              <a:pt x="791" y="1838"/>
                              <a:pt x="372" y="3699"/>
                              <a:pt x="0" y="5606"/>
                            </a:cubicBezTo>
                            <a:lnTo>
                              <a:pt x="0" y="5606"/>
                            </a:ln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576" name="Freeform: Shape 1575">
                        <a:extLst>
                          <a:ext uri="{FF2B5EF4-FFF2-40B4-BE49-F238E27FC236}">
                            <a16:creationId xmlns:a16="http://schemas.microsoft.com/office/drawing/2014/main" id="{DEE23D0B-B0A2-40B5-BBAF-7FA3B89DCF5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62200" y="4107245"/>
                        <a:ext cx="2326" cy="2326"/>
                      </a:xfrm>
                      <a:custGeom>
                        <a:avLst/>
                        <a:gdLst>
                          <a:gd name="connsiteX0" fmla="*/ 0 w 0"/>
                          <a:gd name="connsiteY0" fmla="*/ 0 h 0"/>
                          <a:gd name="connsiteX1" fmla="*/ 0 w 0"/>
                          <a:gd name="connsiteY1" fmla="*/ 0 h 0"/>
                          <a:gd name="connsiteX2" fmla="*/ 0 w 0"/>
                          <a:gd name="connsiteY2" fmla="*/ 0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0" y="0"/>
                            </a:moveTo>
                            <a:lnTo>
                              <a:pt x="0" y="0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577" name="Freeform: Shape 1576">
                        <a:extLst>
                          <a:ext uri="{FF2B5EF4-FFF2-40B4-BE49-F238E27FC236}">
                            <a16:creationId xmlns:a16="http://schemas.microsoft.com/office/drawing/2014/main" id="{FDBB6C4A-F8CC-4438-8E61-1B991B11A9F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66433" y="4075307"/>
                        <a:ext cx="2326" cy="2326"/>
                      </a:xfrm>
                      <a:custGeom>
                        <a:avLst/>
                        <a:gdLst>
                          <a:gd name="connsiteX0" fmla="*/ 0 w 0"/>
                          <a:gd name="connsiteY0" fmla="*/ 0 h 0"/>
                          <a:gd name="connsiteX1" fmla="*/ 140 w 0"/>
                          <a:gd name="connsiteY1" fmla="*/ 140 h 0"/>
                          <a:gd name="connsiteX2" fmla="*/ 0 w 0"/>
                          <a:gd name="connsiteY2" fmla="*/ 0 h 0"/>
                          <a:gd name="connsiteX3" fmla="*/ 0 w 0"/>
                          <a:gd name="connsiteY3" fmla="*/ 0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0" y="0"/>
                            </a:moveTo>
                            <a:cubicBezTo>
                              <a:pt x="47" y="47"/>
                              <a:pt x="93" y="93"/>
                              <a:pt x="140" y="140"/>
                            </a:cubicBezTo>
                            <a:cubicBezTo>
                              <a:pt x="93" y="70"/>
                              <a:pt x="23" y="47"/>
                              <a:pt x="0" y="0"/>
                            </a:cubicBez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578" name="Freeform: Shape 1577">
                        <a:extLst>
                          <a:ext uri="{FF2B5EF4-FFF2-40B4-BE49-F238E27FC236}">
                            <a16:creationId xmlns:a16="http://schemas.microsoft.com/office/drawing/2014/main" id="{EB599074-ED4C-4250-9FCD-59610D8F6C8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66317" y="4075097"/>
                        <a:ext cx="2326" cy="2326"/>
                      </a:xfrm>
                      <a:custGeom>
                        <a:avLst/>
                        <a:gdLst>
                          <a:gd name="connsiteX0" fmla="*/ 70 w 0"/>
                          <a:gd name="connsiteY0" fmla="*/ 163 h 0"/>
                          <a:gd name="connsiteX1" fmla="*/ 70 w 0"/>
                          <a:gd name="connsiteY1" fmla="*/ 163 h 0"/>
                          <a:gd name="connsiteX2" fmla="*/ 0 w 0"/>
                          <a:gd name="connsiteY2" fmla="*/ 0 h 0"/>
                          <a:gd name="connsiteX3" fmla="*/ 70 w 0"/>
                          <a:gd name="connsiteY3" fmla="*/ 163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70" y="163"/>
                            </a:moveTo>
                            <a:lnTo>
                              <a:pt x="70" y="163"/>
                            </a:lnTo>
                            <a:cubicBezTo>
                              <a:pt x="47" y="116"/>
                              <a:pt x="23" y="47"/>
                              <a:pt x="0" y="0"/>
                            </a:cubicBezTo>
                            <a:cubicBezTo>
                              <a:pt x="23" y="70"/>
                              <a:pt x="47" y="116"/>
                              <a:pt x="70" y="163"/>
                            </a:cubicBez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579" name="Freeform: Shape 1578">
                        <a:extLst>
                          <a:ext uri="{FF2B5EF4-FFF2-40B4-BE49-F238E27FC236}">
                            <a16:creationId xmlns:a16="http://schemas.microsoft.com/office/drawing/2014/main" id="{0E4A6A8E-0532-49B5-997F-558AAA2A896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56198" y="4075795"/>
                        <a:ext cx="9305" cy="2326"/>
                      </a:xfrm>
                      <a:custGeom>
                        <a:avLst/>
                        <a:gdLst>
                          <a:gd name="connsiteX0" fmla="*/ 9421 w 9304"/>
                          <a:gd name="connsiteY0" fmla="*/ 1326 h 0"/>
                          <a:gd name="connsiteX1" fmla="*/ 9421 w 9304"/>
                          <a:gd name="connsiteY1" fmla="*/ 1326 h 0"/>
                          <a:gd name="connsiteX2" fmla="*/ 9840 w 9304"/>
                          <a:gd name="connsiteY2" fmla="*/ 1233 h 0"/>
                          <a:gd name="connsiteX3" fmla="*/ 10351 w 9304"/>
                          <a:gd name="connsiteY3" fmla="*/ 1349 h 0"/>
                          <a:gd name="connsiteX4" fmla="*/ 10375 w 9304"/>
                          <a:gd name="connsiteY4" fmla="*/ 1372 h 0"/>
                          <a:gd name="connsiteX5" fmla="*/ 10747 w 9304"/>
                          <a:gd name="connsiteY5" fmla="*/ 0 h 0"/>
                          <a:gd name="connsiteX6" fmla="*/ 326 w 9304"/>
                          <a:gd name="connsiteY6" fmla="*/ 0 h 0"/>
                          <a:gd name="connsiteX7" fmla="*/ 326 w 9304"/>
                          <a:gd name="connsiteY7" fmla="*/ 0 h 0"/>
                          <a:gd name="connsiteX8" fmla="*/ 0 w 9304"/>
                          <a:gd name="connsiteY8" fmla="*/ 1233 h 0"/>
                          <a:gd name="connsiteX9" fmla="*/ 9863 w 9304"/>
                          <a:gd name="connsiteY9" fmla="*/ 1233 h 0"/>
                          <a:gd name="connsiteX10" fmla="*/ 9421 w 9304"/>
                          <a:gd name="connsiteY10" fmla="*/ 1326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</a:cxnLst>
                        <a:rect l="l" t="t" r="r" b="b"/>
                        <a:pathLst>
                          <a:path w="9304">
                            <a:moveTo>
                              <a:pt x="9421" y="1326"/>
                            </a:moveTo>
                            <a:lnTo>
                              <a:pt x="9421" y="1326"/>
                            </a:lnTo>
                            <a:cubicBezTo>
                              <a:pt x="9561" y="1256"/>
                              <a:pt x="9700" y="1233"/>
                              <a:pt x="9840" y="1233"/>
                            </a:cubicBezTo>
                            <a:cubicBezTo>
                              <a:pt x="10003" y="1233"/>
                              <a:pt x="10165" y="1279"/>
                              <a:pt x="10351" y="1349"/>
                            </a:cubicBezTo>
                            <a:cubicBezTo>
                              <a:pt x="10351" y="1349"/>
                              <a:pt x="10351" y="1349"/>
                              <a:pt x="10375" y="1372"/>
                            </a:cubicBezTo>
                            <a:cubicBezTo>
                              <a:pt x="10491" y="907"/>
                              <a:pt x="10607" y="465"/>
                              <a:pt x="10747" y="0"/>
                            </a:cubicBezTo>
                            <a:lnTo>
                              <a:pt x="326" y="0"/>
                            </a:lnTo>
                            <a:lnTo>
                              <a:pt x="326" y="0"/>
                            </a:lnTo>
                            <a:cubicBezTo>
                              <a:pt x="209" y="395"/>
                              <a:pt x="116" y="814"/>
                              <a:pt x="0" y="1233"/>
                            </a:cubicBezTo>
                            <a:lnTo>
                              <a:pt x="9863" y="1233"/>
                            </a:lnTo>
                            <a:cubicBezTo>
                              <a:pt x="9700" y="1233"/>
                              <a:pt x="9561" y="1279"/>
                              <a:pt x="9421" y="1326"/>
                            </a:cubicBez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580" name="Freeform: Shape 1579">
                        <a:extLst>
                          <a:ext uri="{FF2B5EF4-FFF2-40B4-BE49-F238E27FC236}">
                            <a16:creationId xmlns:a16="http://schemas.microsoft.com/office/drawing/2014/main" id="{6AE093A5-80C7-45B1-A79D-1E5369C81C0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89276" y="4038135"/>
                        <a:ext cx="2326" cy="2326"/>
                      </a:xfrm>
                      <a:custGeom>
                        <a:avLst/>
                        <a:gdLst>
                          <a:gd name="connsiteX0" fmla="*/ 0 w 0"/>
                          <a:gd name="connsiteY0" fmla="*/ 0 h 0"/>
                          <a:gd name="connsiteX1" fmla="*/ 465 w 0"/>
                          <a:gd name="connsiteY1" fmla="*/ 675 h 0"/>
                          <a:gd name="connsiteX2" fmla="*/ 488 w 0"/>
                          <a:gd name="connsiteY2" fmla="*/ 698 h 0"/>
                          <a:gd name="connsiteX3" fmla="*/ 488 w 0"/>
                          <a:gd name="connsiteY3" fmla="*/ 698 h 0"/>
                          <a:gd name="connsiteX4" fmla="*/ 698 w 0"/>
                          <a:gd name="connsiteY4" fmla="*/ 535 h 0"/>
                          <a:gd name="connsiteX5" fmla="*/ 1396 w 0"/>
                          <a:gd name="connsiteY5" fmla="*/ 0 h 0"/>
                          <a:gd name="connsiteX6" fmla="*/ 1396 w 0"/>
                          <a:gd name="connsiteY6" fmla="*/ 0 h 0"/>
                          <a:gd name="connsiteX7" fmla="*/ 0 w 0"/>
                          <a:gd name="connsiteY7" fmla="*/ 0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0" y="0"/>
                            </a:moveTo>
                            <a:cubicBezTo>
                              <a:pt x="186" y="163"/>
                              <a:pt x="349" y="372"/>
                              <a:pt x="465" y="675"/>
                            </a:cubicBezTo>
                            <a:lnTo>
                              <a:pt x="488" y="698"/>
                            </a:lnTo>
                            <a:lnTo>
                              <a:pt x="488" y="698"/>
                            </a:lnTo>
                            <a:cubicBezTo>
                              <a:pt x="558" y="651"/>
                              <a:pt x="628" y="582"/>
                              <a:pt x="698" y="535"/>
                            </a:cubicBezTo>
                            <a:cubicBezTo>
                              <a:pt x="930" y="349"/>
                              <a:pt x="1163" y="163"/>
                              <a:pt x="1396" y="0"/>
                            </a:cubicBezTo>
                            <a:lnTo>
                              <a:pt x="1396" y="0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581" name="Freeform: Shape 1580">
                        <a:extLst>
                          <a:ext uri="{FF2B5EF4-FFF2-40B4-BE49-F238E27FC236}">
                            <a16:creationId xmlns:a16="http://schemas.microsoft.com/office/drawing/2014/main" id="{BC124B8E-D844-42F4-9D6F-C98600DD6BC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86183" y="4039065"/>
                        <a:ext cx="2326" cy="2326"/>
                      </a:xfrm>
                      <a:custGeom>
                        <a:avLst/>
                        <a:gdLst>
                          <a:gd name="connsiteX0" fmla="*/ 0 w 2326"/>
                          <a:gd name="connsiteY0" fmla="*/ 2838 h 2326"/>
                          <a:gd name="connsiteX1" fmla="*/ 0 w 2326"/>
                          <a:gd name="connsiteY1" fmla="*/ 2838 h 2326"/>
                          <a:gd name="connsiteX2" fmla="*/ 1745 w 2326"/>
                          <a:gd name="connsiteY2" fmla="*/ 1233 h 2326"/>
                          <a:gd name="connsiteX3" fmla="*/ 3233 w 2326"/>
                          <a:gd name="connsiteY3" fmla="*/ 0 h 2326"/>
                          <a:gd name="connsiteX4" fmla="*/ 0 w 2326"/>
                          <a:gd name="connsiteY4" fmla="*/ 2838 h 232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2326" h="2326">
                            <a:moveTo>
                              <a:pt x="0" y="2838"/>
                            </a:moveTo>
                            <a:lnTo>
                              <a:pt x="0" y="2838"/>
                            </a:lnTo>
                            <a:cubicBezTo>
                              <a:pt x="582" y="2280"/>
                              <a:pt x="1163" y="1768"/>
                              <a:pt x="1745" y="1233"/>
                            </a:cubicBezTo>
                            <a:cubicBezTo>
                              <a:pt x="2233" y="791"/>
                              <a:pt x="2745" y="395"/>
                              <a:pt x="3233" y="0"/>
                            </a:cubicBezTo>
                            <a:cubicBezTo>
                              <a:pt x="2140" y="907"/>
                              <a:pt x="1047" y="1838"/>
                              <a:pt x="0" y="2838"/>
                            </a:cubicBez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582" name="Freeform: Shape 1581">
                        <a:extLst>
                          <a:ext uri="{FF2B5EF4-FFF2-40B4-BE49-F238E27FC236}">
                            <a16:creationId xmlns:a16="http://schemas.microsoft.com/office/drawing/2014/main" id="{77E64788-2AB5-4C5C-80B7-2E575D7900B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90509" y="4036483"/>
                        <a:ext cx="2326" cy="2326"/>
                      </a:xfrm>
                      <a:custGeom>
                        <a:avLst/>
                        <a:gdLst>
                          <a:gd name="connsiteX0" fmla="*/ 47 w 0"/>
                          <a:gd name="connsiteY0" fmla="*/ 0 h 0"/>
                          <a:gd name="connsiteX1" fmla="*/ 0 w 0"/>
                          <a:gd name="connsiteY1" fmla="*/ 419 h 0"/>
                          <a:gd name="connsiteX2" fmla="*/ 47 w 0"/>
                          <a:gd name="connsiteY2" fmla="*/ 0 h 0"/>
                          <a:gd name="connsiteX3" fmla="*/ 47 w 0"/>
                          <a:gd name="connsiteY3" fmla="*/ 0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47" y="0"/>
                            </a:moveTo>
                            <a:cubicBezTo>
                              <a:pt x="23" y="140"/>
                              <a:pt x="23" y="279"/>
                              <a:pt x="0" y="419"/>
                            </a:cubicBezTo>
                            <a:cubicBezTo>
                              <a:pt x="0" y="279"/>
                              <a:pt x="0" y="116"/>
                              <a:pt x="47" y="0"/>
                            </a:cubicBezTo>
                            <a:lnTo>
                              <a:pt x="47" y="0"/>
                            </a:ln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583" name="Freeform: Shape 1582">
                        <a:extLst>
                          <a:ext uri="{FF2B5EF4-FFF2-40B4-BE49-F238E27FC236}">
                            <a16:creationId xmlns:a16="http://schemas.microsoft.com/office/drawing/2014/main" id="{4D5C466C-30B8-410F-9055-E6D8C07A217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85973" y="4039856"/>
                        <a:ext cx="2326" cy="2326"/>
                      </a:xfrm>
                      <a:custGeom>
                        <a:avLst/>
                        <a:gdLst>
                          <a:gd name="connsiteX0" fmla="*/ 0 w 0"/>
                          <a:gd name="connsiteY0" fmla="*/ 326 h 0"/>
                          <a:gd name="connsiteX1" fmla="*/ 0 w 0"/>
                          <a:gd name="connsiteY1" fmla="*/ 326 h 0"/>
                          <a:gd name="connsiteX2" fmla="*/ 93 w 0"/>
                          <a:gd name="connsiteY2" fmla="*/ 0 h 0"/>
                          <a:gd name="connsiteX3" fmla="*/ 0 w 0"/>
                          <a:gd name="connsiteY3" fmla="*/ 326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0" y="326"/>
                            </a:moveTo>
                            <a:lnTo>
                              <a:pt x="0" y="326"/>
                            </a:lnTo>
                            <a:cubicBezTo>
                              <a:pt x="23" y="209"/>
                              <a:pt x="70" y="116"/>
                              <a:pt x="93" y="0"/>
                            </a:cubicBezTo>
                            <a:cubicBezTo>
                              <a:pt x="70" y="116"/>
                              <a:pt x="23" y="233"/>
                              <a:pt x="0" y="326"/>
                            </a:cubicBez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584" name="Freeform: Shape 1583">
                        <a:extLst>
                          <a:ext uri="{FF2B5EF4-FFF2-40B4-BE49-F238E27FC236}">
                            <a16:creationId xmlns:a16="http://schemas.microsoft.com/office/drawing/2014/main" id="{DDB4837C-7182-4E53-BFD9-45332FE5CA1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86671" y="4038135"/>
                        <a:ext cx="2326" cy="2326"/>
                      </a:xfrm>
                      <a:custGeom>
                        <a:avLst/>
                        <a:gdLst>
                          <a:gd name="connsiteX0" fmla="*/ 814 w 0"/>
                          <a:gd name="connsiteY0" fmla="*/ 0 h 0"/>
                          <a:gd name="connsiteX1" fmla="*/ 0 w 0"/>
                          <a:gd name="connsiteY1" fmla="*/ 698 h 0"/>
                          <a:gd name="connsiteX2" fmla="*/ 814 w 0"/>
                          <a:gd name="connsiteY2" fmla="*/ 0 h 0"/>
                          <a:gd name="connsiteX3" fmla="*/ 814 w 0"/>
                          <a:gd name="connsiteY3" fmla="*/ 0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814" y="0"/>
                            </a:moveTo>
                            <a:cubicBezTo>
                              <a:pt x="535" y="233"/>
                              <a:pt x="279" y="465"/>
                              <a:pt x="0" y="698"/>
                            </a:cubicBezTo>
                            <a:cubicBezTo>
                              <a:pt x="256" y="442"/>
                              <a:pt x="535" y="233"/>
                              <a:pt x="814" y="0"/>
                            </a:cubicBezTo>
                            <a:lnTo>
                              <a:pt x="814" y="0"/>
                            </a:ln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585" name="Freeform: Shape 1584">
                        <a:extLst>
                          <a:ext uri="{FF2B5EF4-FFF2-40B4-BE49-F238E27FC236}">
                            <a16:creationId xmlns:a16="http://schemas.microsoft.com/office/drawing/2014/main" id="{053CB1FD-E1CE-4E02-8EA3-EB92EEF31A9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94138" y="4035018"/>
                        <a:ext cx="2326" cy="2326"/>
                      </a:xfrm>
                      <a:custGeom>
                        <a:avLst/>
                        <a:gdLst>
                          <a:gd name="connsiteX0" fmla="*/ 256 w 0"/>
                          <a:gd name="connsiteY0" fmla="*/ 535 h 0"/>
                          <a:gd name="connsiteX1" fmla="*/ 256 w 0"/>
                          <a:gd name="connsiteY1" fmla="*/ 558 h 0"/>
                          <a:gd name="connsiteX2" fmla="*/ 1210 w 0"/>
                          <a:gd name="connsiteY2" fmla="*/ 0 h 0"/>
                          <a:gd name="connsiteX3" fmla="*/ 0 w 0"/>
                          <a:gd name="connsiteY3" fmla="*/ 0 h 0"/>
                          <a:gd name="connsiteX4" fmla="*/ 256 w 0"/>
                          <a:gd name="connsiteY4" fmla="*/ 535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256" y="535"/>
                            </a:moveTo>
                            <a:lnTo>
                              <a:pt x="256" y="558"/>
                            </a:lnTo>
                            <a:cubicBezTo>
                              <a:pt x="582" y="372"/>
                              <a:pt x="884" y="186"/>
                              <a:pt x="1210" y="0"/>
                            </a:cubicBezTo>
                            <a:lnTo>
                              <a:pt x="0" y="0"/>
                            </a:lnTo>
                            <a:cubicBezTo>
                              <a:pt x="93" y="140"/>
                              <a:pt x="186" y="326"/>
                              <a:pt x="256" y="535"/>
                            </a:cubicBez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586" name="Freeform: Shape 1585">
                        <a:extLst>
                          <a:ext uri="{FF2B5EF4-FFF2-40B4-BE49-F238E27FC236}">
                            <a16:creationId xmlns:a16="http://schemas.microsoft.com/office/drawing/2014/main" id="{15C329DB-1DDB-490C-BFB8-05125542DE1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90579" y="4035785"/>
                        <a:ext cx="2326" cy="2326"/>
                      </a:xfrm>
                      <a:custGeom>
                        <a:avLst/>
                        <a:gdLst>
                          <a:gd name="connsiteX0" fmla="*/ 209 w 0"/>
                          <a:gd name="connsiteY0" fmla="*/ 0 h 0"/>
                          <a:gd name="connsiteX1" fmla="*/ 0 w 0"/>
                          <a:gd name="connsiteY1" fmla="*/ 535 h 0"/>
                          <a:gd name="connsiteX2" fmla="*/ 0 w 0"/>
                          <a:gd name="connsiteY2" fmla="*/ 535 h 0"/>
                          <a:gd name="connsiteX3" fmla="*/ 209 w 0"/>
                          <a:gd name="connsiteY3" fmla="*/ 0 h 0"/>
                          <a:gd name="connsiteX4" fmla="*/ 209 w 0"/>
                          <a:gd name="connsiteY4" fmla="*/ 0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209" y="0"/>
                            </a:moveTo>
                            <a:cubicBezTo>
                              <a:pt x="116" y="163"/>
                              <a:pt x="47" y="326"/>
                              <a:pt x="0" y="535"/>
                            </a:cubicBezTo>
                            <a:lnTo>
                              <a:pt x="0" y="535"/>
                            </a:lnTo>
                            <a:cubicBezTo>
                              <a:pt x="47" y="349"/>
                              <a:pt x="140" y="163"/>
                              <a:pt x="209" y="0"/>
                            </a:cubicBezTo>
                            <a:lnTo>
                              <a:pt x="209" y="0"/>
                            </a:ln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587" name="Freeform: Shape 1586">
                        <a:extLst>
                          <a:ext uri="{FF2B5EF4-FFF2-40B4-BE49-F238E27FC236}">
                            <a16:creationId xmlns:a16="http://schemas.microsoft.com/office/drawing/2014/main" id="{BE813619-94E9-44EC-9772-FEDD58280D3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90882" y="4035134"/>
                        <a:ext cx="2326" cy="2326"/>
                      </a:xfrm>
                      <a:custGeom>
                        <a:avLst/>
                        <a:gdLst>
                          <a:gd name="connsiteX0" fmla="*/ 0 w 0"/>
                          <a:gd name="connsiteY0" fmla="*/ 488 h 0"/>
                          <a:gd name="connsiteX1" fmla="*/ 0 w 0"/>
                          <a:gd name="connsiteY1" fmla="*/ 488 h 0"/>
                          <a:gd name="connsiteX2" fmla="*/ 442 w 0"/>
                          <a:gd name="connsiteY2" fmla="*/ 0 h 0"/>
                          <a:gd name="connsiteX3" fmla="*/ 0 w 0"/>
                          <a:gd name="connsiteY3" fmla="*/ 488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0" y="488"/>
                            </a:moveTo>
                            <a:lnTo>
                              <a:pt x="0" y="488"/>
                            </a:lnTo>
                            <a:cubicBezTo>
                              <a:pt x="116" y="279"/>
                              <a:pt x="279" y="116"/>
                              <a:pt x="442" y="0"/>
                            </a:cubicBezTo>
                            <a:cubicBezTo>
                              <a:pt x="279" y="116"/>
                              <a:pt x="116" y="302"/>
                              <a:pt x="0" y="488"/>
                            </a:cubicBez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588" name="Freeform: Shape 1587">
                        <a:extLst>
                          <a:ext uri="{FF2B5EF4-FFF2-40B4-BE49-F238E27FC236}">
                            <a16:creationId xmlns:a16="http://schemas.microsoft.com/office/drawing/2014/main" id="{BA1B9C8B-7A78-4535-9ED0-053F9296C76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90649" y="4035576"/>
                        <a:ext cx="2326" cy="2326"/>
                      </a:xfrm>
                      <a:custGeom>
                        <a:avLst/>
                        <a:gdLst>
                          <a:gd name="connsiteX0" fmla="*/ 0 w 2326"/>
                          <a:gd name="connsiteY0" fmla="*/ 2559 h 2326"/>
                          <a:gd name="connsiteX1" fmla="*/ 954 w 2326"/>
                          <a:gd name="connsiteY1" fmla="*/ 1884 h 2326"/>
                          <a:gd name="connsiteX2" fmla="*/ 1326 w 2326"/>
                          <a:gd name="connsiteY2" fmla="*/ 1605 h 2326"/>
                          <a:gd name="connsiteX3" fmla="*/ 1326 w 2326"/>
                          <a:gd name="connsiteY3" fmla="*/ 1605 h 2326"/>
                          <a:gd name="connsiteX4" fmla="*/ 3745 w 2326"/>
                          <a:gd name="connsiteY4" fmla="*/ 0 h 2326"/>
                          <a:gd name="connsiteX5" fmla="*/ 0 w 2326"/>
                          <a:gd name="connsiteY5" fmla="*/ 2559 h 2326"/>
                          <a:gd name="connsiteX6" fmla="*/ 0 w 2326"/>
                          <a:gd name="connsiteY6" fmla="*/ 2559 h 232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2326" h="2326">
                            <a:moveTo>
                              <a:pt x="0" y="2559"/>
                            </a:moveTo>
                            <a:cubicBezTo>
                              <a:pt x="326" y="2326"/>
                              <a:pt x="628" y="2117"/>
                              <a:pt x="954" y="1884"/>
                            </a:cubicBezTo>
                            <a:cubicBezTo>
                              <a:pt x="1070" y="1791"/>
                              <a:pt x="1210" y="1698"/>
                              <a:pt x="1326" y="1605"/>
                            </a:cubicBezTo>
                            <a:lnTo>
                              <a:pt x="1326" y="1605"/>
                            </a:lnTo>
                            <a:cubicBezTo>
                              <a:pt x="2140" y="1047"/>
                              <a:pt x="2931" y="488"/>
                              <a:pt x="3745" y="0"/>
                            </a:cubicBezTo>
                            <a:cubicBezTo>
                              <a:pt x="2466" y="768"/>
                              <a:pt x="1210" y="1628"/>
                              <a:pt x="0" y="2559"/>
                            </a:cubicBezTo>
                            <a:lnTo>
                              <a:pt x="0" y="2559"/>
                            </a:ln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589" name="Freeform: Shape 1588">
                        <a:extLst>
                          <a:ext uri="{FF2B5EF4-FFF2-40B4-BE49-F238E27FC236}">
                            <a16:creationId xmlns:a16="http://schemas.microsoft.com/office/drawing/2014/main" id="{A2EE89AB-5372-4ED2-BA59-112B7B09412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77756" y="4049719"/>
                        <a:ext cx="2326" cy="2326"/>
                      </a:xfrm>
                      <a:custGeom>
                        <a:avLst/>
                        <a:gdLst>
                          <a:gd name="connsiteX0" fmla="*/ 6 w 0"/>
                          <a:gd name="connsiteY0" fmla="*/ 0 h 0"/>
                          <a:gd name="connsiteX1" fmla="*/ 53 w 0"/>
                          <a:gd name="connsiteY1" fmla="*/ 465 h 0"/>
                          <a:gd name="connsiteX2" fmla="*/ 6 w 0"/>
                          <a:gd name="connsiteY2" fmla="*/ 0 h 0"/>
                          <a:gd name="connsiteX3" fmla="*/ 6 w 0"/>
                          <a:gd name="connsiteY3" fmla="*/ 0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6" y="0"/>
                            </a:moveTo>
                            <a:cubicBezTo>
                              <a:pt x="6" y="163"/>
                              <a:pt x="30" y="302"/>
                              <a:pt x="53" y="465"/>
                            </a:cubicBezTo>
                            <a:cubicBezTo>
                              <a:pt x="30" y="302"/>
                              <a:pt x="-17" y="140"/>
                              <a:pt x="6" y="0"/>
                            </a:cubicBezTo>
                            <a:lnTo>
                              <a:pt x="6" y="0"/>
                            </a:ln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590" name="Freeform: Shape 1589">
                        <a:extLst>
                          <a:ext uri="{FF2B5EF4-FFF2-40B4-BE49-F238E27FC236}">
                            <a16:creationId xmlns:a16="http://schemas.microsoft.com/office/drawing/2014/main" id="{6FA238C4-6BD3-449D-A7A5-E554E3CF6BE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75692" y="4051975"/>
                        <a:ext cx="2326" cy="2326"/>
                      </a:xfrm>
                      <a:custGeom>
                        <a:avLst/>
                        <a:gdLst>
                          <a:gd name="connsiteX0" fmla="*/ 47 w 0"/>
                          <a:gd name="connsiteY0" fmla="*/ 0 h 0"/>
                          <a:gd name="connsiteX1" fmla="*/ 0 w 0"/>
                          <a:gd name="connsiteY1" fmla="*/ 23 h 0"/>
                          <a:gd name="connsiteX2" fmla="*/ 23 w 0"/>
                          <a:gd name="connsiteY2" fmla="*/ 0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47" y="0"/>
                            </a:moveTo>
                            <a:lnTo>
                              <a:pt x="0" y="23"/>
                            </a:lnTo>
                            <a:lnTo>
                              <a:pt x="23" y="0"/>
                            </a:ln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591" name="Freeform: Shape 1590">
                        <a:extLst>
                          <a:ext uri="{FF2B5EF4-FFF2-40B4-BE49-F238E27FC236}">
                            <a16:creationId xmlns:a16="http://schemas.microsoft.com/office/drawing/2014/main" id="{AF2B7824-547A-4825-B8B7-87E44881156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74180" y="4055255"/>
                        <a:ext cx="2326" cy="2326"/>
                      </a:xfrm>
                      <a:custGeom>
                        <a:avLst/>
                        <a:gdLst>
                          <a:gd name="connsiteX0" fmla="*/ 0 w 0"/>
                          <a:gd name="connsiteY0" fmla="*/ 0 h 0"/>
                          <a:gd name="connsiteX1" fmla="*/ 93 w 0"/>
                          <a:gd name="connsiteY1" fmla="*/ 558 h 0"/>
                          <a:gd name="connsiteX2" fmla="*/ 0 w 0"/>
                          <a:gd name="connsiteY2" fmla="*/ 0 h 0"/>
                          <a:gd name="connsiteX3" fmla="*/ 0 w 0"/>
                          <a:gd name="connsiteY3" fmla="*/ 0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0" y="0"/>
                            </a:moveTo>
                            <a:cubicBezTo>
                              <a:pt x="0" y="186"/>
                              <a:pt x="47" y="372"/>
                              <a:pt x="93" y="558"/>
                            </a:cubicBezTo>
                            <a:cubicBezTo>
                              <a:pt x="47" y="372"/>
                              <a:pt x="0" y="186"/>
                              <a:pt x="0" y="0"/>
                            </a:cubicBez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592" name="Freeform: Shape 1591">
                        <a:extLst>
                          <a:ext uri="{FF2B5EF4-FFF2-40B4-BE49-F238E27FC236}">
                            <a16:creationId xmlns:a16="http://schemas.microsoft.com/office/drawing/2014/main" id="{78555C91-43A3-4334-8ABA-DAAF2B1C085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84485" y="4041903"/>
                        <a:ext cx="2326" cy="2326"/>
                      </a:xfrm>
                      <a:custGeom>
                        <a:avLst/>
                        <a:gdLst>
                          <a:gd name="connsiteX0" fmla="*/ 1093 w 0"/>
                          <a:gd name="connsiteY0" fmla="*/ 0 h 0"/>
                          <a:gd name="connsiteX1" fmla="*/ 791 w 0"/>
                          <a:gd name="connsiteY1" fmla="*/ 0 h 0"/>
                          <a:gd name="connsiteX2" fmla="*/ 465 w 0"/>
                          <a:gd name="connsiteY2" fmla="*/ 0 h 0"/>
                          <a:gd name="connsiteX3" fmla="*/ 140 w 0"/>
                          <a:gd name="connsiteY3" fmla="*/ 0 h 0"/>
                          <a:gd name="connsiteX4" fmla="*/ 0 w 0"/>
                          <a:gd name="connsiteY4" fmla="*/ 0 h 0"/>
                          <a:gd name="connsiteX5" fmla="*/ 814 w 0"/>
                          <a:gd name="connsiteY5" fmla="*/ 791 h 0"/>
                          <a:gd name="connsiteX6" fmla="*/ 814 w 0"/>
                          <a:gd name="connsiteY6" fmla="*/ 814 h 0"/>
                          <a:gd name="connsiteX7" fmla="*/ 1675 w 0"/>
                          <a:gd name="connsiteY7" fmla="*/ 0 h 0"/>
                          <a:gd name="connsiteX8" fmla="*/ 1372 w 0"/>
                          <a:gd name="connsiteY8" fmla="*/ 0 h 0"/>
                          <a:gd name="connsiteX9" fmla="*/ 1093 w 0"/>
                          <a:gd name="connsiteY9" fmla="*/ 0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1093" y="0"/>
                            </a:moveTo>
                            <a:cubicBezTo>
                              <a:pt x="1000" y="0"/>
                              <a:pt x="884" y="0"/>
                              <a:pt x="791" y="0"/>
                            </a:cubicBezTo>
                            <a:cubicBezTo>
                              <a:pt x="698" y="0"/>
                              <a:pt x="558" y="0"/>
                              <a:pt x="465" y="0"/>
                            </a:cubicBezTo>
                            <a:cubicBezTo>
                              <a:pt x="372" y="0"/>
                              <a:pt x="256" y="0"/>
                              <a:pt x="140" y="0"/>
                            </a:cubicBezTo>
                            <a:cubicBezTo>
                              <a:pt x="93" y="0"/>
                              <a:pt x="47" y="0"/>
                              <a:pt x="0" y="0"/>
                            </a:cubicBezTo>
                            <a:cubicBezTo>
                              <a:pt x="302" y="116"/>
                              <a:pt x="605" y="372"/>
                              <a:pt x="814" y="791"/>
                            </a:cubicBezTo>
                            <a:lnTo>
                              <a:pt x="814" y="814"/>
                            </a:lnTo>
                            <a:cubicBezTo>
                              <a:pt x="1093" y="535"/>
                              <a:pt x="1372" y="279"/>
                              <a:pt x="1675" y="0"/>
                            </a:cubicBezTo>
                            <a:cubicBezTo>
                              <a:pt x="1582" y="0"/>
                              <a:pt x="1465" y="0"/>
                              <a:pt x="1372" y="0"/>
                            </a:cubicBezTo>
                            <a:cubicBezTo>
                              <a:pt x="1303" y="0"/>
                              <a:pt x="1186" y="0"/>
                              <a:pt x="1093" y="0"/>
                            </a:cubicBez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593" name="Freeform: Shape 1592">
                        <a:extLst>
                          <a:ext uri="{FF2B5EF4-FFF2-40B4-BE49-F238E27FC236}">
                            <a16:creationId xmlns:a16="http://schemas.microsoft.com/office/drawing/2014/main" id="{65469BF9-904A-41FF-8730-C7BD9D18794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85935" y="4040275"/>
                        <a:ext cx="2326" cy="2326"/>
                      </a:xfrm>
                      <a:custGeom>
                        <a:avLst/>
                        <a:gdLst>
                          <a:gd name="connsiteX0" fmla="*/ 15 w 0"/>
                          <a:gd name="connsiteY0" fmla="*/ 768 h 0"/>
                          <a:gd name="connsiteX1" fmla="*/ 15 w 0"/>
                          <a:gd name="connsiteY1" fmla="*/ 768 h 0"/>
                          <a:gd name="connsiteX2" fmla="*/ 39 w 0"/>
                          <a:gd name="connsiteY2" fmla="*/ 0 h 0"/>
                          <a:gd name="connsiteX3" fmla="*/ 15 w 0"/>
                          <a:gd name="connsiteY3" fmla="*/ 768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15" y="768"/>
                            </a:moveTo>
                            <a:lnTo>
                              <a:pt x="15" y="768"/>
                            </a:lnTo>
                            <a:cubicBezTo>
                              <a:pt x="-8" y="512"/>
                              <a:pt x="-8" y="256"/>
                              <a:pt x="39" y="0"/>
                            </a:cubicBezTo>
                            <a:cubicBezTo>
                              <a:pt x="-8" y="233"/>
                              <a:pt x="-8" y="512"/>
                              <a:pt x="15" y="768"/>
                            </a:cubicBez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594" name="Freeform: Shape 1593">
                        <a:extLst>
                          <a:ext uri="{FF2B5EF4-FFF2-40B4-BE49-F238E27FC236}">
                            <a16:creationId xmlns:a16="http://schemas.microsoft.com/office/drawing/2014/main" id="{C7799FC0-8538-4819-9976-66150DEE6D8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81786" y="4043857"/>
                        <a:ext cx="2326" cy="2326"/>
                      </a:xfrm>
                      <a:custGeom>
                        <a:avLst/>
                        <a:gdLst>
                          <a:gd name="connsiteX0" fmla="*/ 93 w 0"/>
                          <a:gd name="connsiteY0" fmla="*/ 0 h 0"/>
                          <a:gd name="connsiteX1" fmla="*/ 0 w 0"/>
                          <a:gd name="connsiteY1" fmla="*/ 372 h 0"/>
                          <a:gd name="connsiteX2" fmla="*/ 93 w 0"/>
                          <a:gd name="connsiteY2" fmla="*/ 0 h 0"/>
                          <a:gd name="connsiteX3" fmla="*/ 93 w 0"/>
                          <a:gd name="connsiteY3" fmla="*/ 0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93" y="0"/>
                            </a:moveTo>
                            <a:cubicBezTo>
                              <a:pt x="47" y="116"/>
                              <a:pt x="23" y="256"/>
                              <a:pt x="0" y="372"/>
                            </a:cubicBezTo>
                            <a:cubicBezTo>
                              <a:pt x="23" y="256"/>
                              <a:pt x="47" y="116"/>
                              <a:pt x="93" y="0"/>
                            </a:cubicBezTo>
                            <a:lnTo>
                              <a:pt x="93" y="0"/>
                            </a:ln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595" name="Freeform: Shape 1594">
                        <a:extLst>
                          <a:ext uri="{FF2B5EF4-FFF2-40B4-BE49-F238E27FC236}">
                            <a16:creationId xmlns:a16="http://schemas.microsoft.com/office/drawing/2014/main" id="{840763AA-4C2B-4C9C-B651-BEA424D25C9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78181" y="4051254"/>
                        <a:ext cx="2326" cy="2326"/>
                      </a:xfrm>
                      <a:custGeom>
                        <a:avLst/>
                        <a:gdLst>
                          <a:gd name="connsiteX0" fmla="*/ 0 w 0"/>
                          <a:gd name="connsiteY0" fmla="*/ 0 h 0"/>
                          <a:gd name="connsiteX1" fmla="*/ 23 w 0"/>
                          <a:gd name="connsiteY1" fmla="*/ 23 h 0"/>
                          <a:gd name="connsiteX2" fmla="*/ 23 w 0"/>
                          <a:gd name="connsiteY2" fmla="*/ 23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0" y="0"/>
                            </a:moveTo>
                            <a:lnTo>
                              <a:pt x="23" y="23"/>
                            </a:lnTo>
                            <a:lnTo>
                              <a:pt x="23" y="23"/>
                            </a:ln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596" name="Freeform: Shape 1595">
                        <a:extLst>
                          <a:ext uri="{FF2B5EF4-FFF2-40B4-BE49-F238E27FC236}">
                            <a16:creationId xmlns:a16="http://schemas.microsoft.com/office/drawing/2014/main" id="{6E0EAE17-C694-423C-B784-ACFBFA87EA4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68271" y="4067119"/>
                        <a:ext cx="2326" cy="2326"/>
                      </a:xfrm>
                      <a:custGeom>
                        <a:avLst/>
                        <a:gdLst>
                          <a:gd name="connsiteX0" fmla="*/ 0 w 0"/>
                          <a:gd name="connsiteY0" fmla="*/ 372 h 0"/>
                          <a:gd name="connsiteX1" fmla="*/ 23 w 0"/>
                          <a:gd name="connsiteY1" fmla="*/ 512 h 0"/>
                          <a:gd name="connsiteX2" fmla="*/ 23 w 0"/>
                          <a:gd name="connsiteY2" fmla="*/ 535 h 0"/>
                          <a:gd name="connsiteX3" fmla="*/ 0 w 0"/>
                          <a:gd name="connsiteY3" fmla="*/ 0 h 0"/>
                          <a:gd name="connsiteX4" fmla="*/ 0 w 0"/>
                          <a:gd name="connsiteY4" fmla="*/ 372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0" y="372"/>
                            </a:moveTo>
                            <a:cubicBezTo>
                              <a:pt x="0" y="419"/>
                              <a:pt x="0" y="465"/>
                              <a:pt x="23" y="512"/>
                            </a:cubicBezTo>
                            <a:lnTo>
                              <a:pt x="23" y="535"/>
                            </a:lnTo>
                            <a:cubicBezTo>
                              <a:pt x="0" y="372"/>
                              <a:pt x="0" y="186"/>
                              <a:pt x="0" y="0"/>
                            </a:cubicBezTo>
                            <a:cubicBezTo>
                              <a:pt x="0" y="140"/>
                              <a:pt x="0" y="256"/>
                              <a:pt x="0" y="372"/>
                            </a:cubicBez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597" name="Freeform: Shape 1596">
                        <a:extLst>
                          <a:ext uri="{FF2B5EF4-FFF2-40B4-BE49-F238E27FC236}">
                            <a16:creationId xmlns:a16="http://schemas.microsoft.com/office/drawing/2014/main" id="{C62FF920-EA09-4C54-A64A-FF38561151A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71179" y="4061815"/>
                        <a:ext cx="2326" cy="2326"/>
                      </a:xfrm>
                      <a:custGeom>
                        <a:avLst/>
                        <a:gdLst>
                          <a:gd name="connsiteX0" fmla="*/ 23 w 0"/>
                          <a:gd name="connsiteY0" fmla="*/ 93 h 0"/>
                          <a:gd name="connsiteX1" fmla="*/ 23 w 0"/>
                          <a:gd name="connsiteY1" fmla="*/ 93 h 0"/>
                          <a:gd name="connsiteX2" fmla="*/ 0 w 0"/>
                          <a:gd name="connsiteY2" fmla="*/ 0 h 0"/>
                          <a:gd name="connsiteX3" fmla="*/ 23 w 0"/>
                          <a:gd name="connsiteY3" fmla="*/ 93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23" y="93"/>
                            </a:moveTo>
                            <a:lnTo>
                              <a:pt x="23" y="93"/>
                            </a:lnTo>
                            <a:cubicBezTo>
                              <a:pt x="0" y="70"/>
                              <a:pt x="0" y="23"/>
                              <a:pt x="0" y="0"/>
                            </a:cubicBezTo>
                            <a:cubicBezTo>
                              <a:pt x="0" y="23"/>
                              <a:pt x="0" y="70"/>
                              <a:pt x="23" y="93"/>
                            </a:cubicBez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598" name="Freeform: Shape 1597">
                        <a:extLst>
                          <a:ext uri="{FF2B5EF4-FFF2-40B4-BE49-F238E27FC236}">
                            <a16:creationId xmlns:a16="http://schemas.microsoft.com/office/drawing/2014/main" id="{659F7648-FC8A-46B6-8391-7EF6F17674B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71039" y="4059628"/>
                        <a:ext cx="2326" cy="2326"/>
                      </a:xfrm>
                      <a:custGeom>
                        <a:avLst/>
                        <a:gdLst>
                          <a:gd name="connsiteX0" fmla="*/ 0 w 0"/>
                          <a:gd name="connsiteY0" fmla="*/ 768 h 0"/>
                          <a:gd name="connsiteX1" fmla="*/ 0 w 0"/>
                          <a:gd name="connsiteY1" fmla="*/ 768 h 0"/>
                          <a:gd name="connsiteX2" fmla="*/ 233 w 0"/>
                          <a:gd name="connsiteY2" fmla="*/ 0 h 0"/>
                          <a:gd name="connsiteX3" fmla="*/ 0 w 0"/>
                          <a:gd name="connsiteY3" fmla="*/ 768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0" y="768"/>
                            </a:moveTo>
                            <a:lnTo>
                              <a:pt x="0" y="768"/>
                            </a:lnTo>
                            <a:cubicBezTo>
                              <a:pt x="47" y="488"/>
                              <a:pt x="116" y="233"/>
                              <a:pt x="233" y="0"/>
                            </a:cubicBezTo>
                            <a:cubicBezTo>
                              <a:pt x="116" y="233"/>
                              <a:pt x="23" y="488"/>
                              <a:pt x="0" y="768"/>
                            </a:cubicBez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599" name="Freeform: Shape 1598">
                        <a:extLst>
                          <a:ext uri="{FF2B5EF4-FFF2-40B4-BE49-F238E27FC236}">
                            <a16:creationId xmlns:a16="http://schemas.microsoft.com/office/drawing/2014/main" id="{82553FC9-416C-41DB-B0CD-4F8F562FD73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99093" y="4032598"/>
                        <a:ext cx="2326" cy="2326"/>
                      </a:xfrm>
                      <a:custGeom>
                        <a:avLst/>
                        <a:gdLst>
                          <a:gd name="connsiteX0" fmla="*/ 163 w 0"/>
                          <a:gd name="connsiteY0" fmla="*/ 372 h 0"/>
                          <a:gd name="connsiteX1" fmla="*/ 163 w 0"/>
                          <a:gd name="connsiteY1" fmla="*/ 419 h 0"/>
                          <a:gd name="connsiteX2" fmla="*/ 1140 w 0"/>
                          <a:gd name="connsiteY2" fmla="*/ 0 h 0"/>
                          <a:gd name="connsiteX3" fmla="*/ 0 w 0"/>
                          <a:gd name="connsiteY3" fmla="*/ 0 h 0"/>
                          <a:gd name="connsiteX4" fmla="*/ 163 w 0"/>
                          <a:gd name="connsiteY4" fmla="*/ 372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163" y="372"/>
                            </a:moveTo>
                            <a:cubicBezTo>
                              <a:pt x="163" y="372"/>
                              <a:pt x="163" y="395"/>
                              <a:pt x="163" y="419"/>
                            </a:cubicBezTo>
                            <a:cubicBezTo>
                              <a:pt x="488" y="279"/>
                              <a:pt x="814" y="140"/>
                              <a:pt x="1140" y="0"/>
                            </a:cubicBezTo>
                            <a:lnTo>
                              <a:pt x="0" y="0"/>
                            </a:lnTo>
                            <a:cubicBezTo>
                              <a:pt x="70" y="116"/>
                              <a:pt x="116" y="233"/>
                              <a:pt x="163" y="372"/>
                            </a:cubicBez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600" name="Freeform: Shape 1599">
                        <a:extLst>
                          <a:ext uri="{FF2B5EF4-FFF2-40B4-BE49-F238E27FC236}">
                            <a16:creationId xmlns:a16="http://schemas.microsoft.com/office/drawing/2014/main" id="{0C29F170-92DD-4510-A037-0F148EC94A4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69574" y="4063792"/>
                        <a:ext cx="2326" cy="2326"/>
                      </a:xfrm>
                      <a:custGeom>
                        <a:avLst/>
                        <a:gdLst>
                          <a:gd name="connsiteX0" fmla="*/ 209 w 0"/>
                          <a:gd name="connsiteY0" fmla="*/ 0 h 0"/>
                          <a:gd name="connsiteX1" fmla="*/ 0 w 0"/>
                          <a:gd name="connsiteY1" fmla="*/ 116 h 0"/>
                          <a:gd name="connsiteX2" fmla="*/ 0 w 0"/>
                          <a:gd name="connsiteY2" fmla="*/ 116 h 0"/>
                          <a:gd name="connsiteX3" fmla="*/ 209 w 0"/>
                          <a:gd name="connsiteY3" fmla="*/ 0 h 0"/>
                          <a:gd name="connsiteX4" fmla="*/ 209 w 0"/>
                          <a:gd name="connsiteY4" fmla="*/ 0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209" y="0"/>
                            </a:moveTo>
                            <a:cubicBezTo>
                              <a:pt x="140" y="46"/>
                              <a:pt x="70" y="46"/>
                              <a:pt x="0" y="116"/>
                            </a:cubicBezTo>
                            <a:lnTo>
                              <a:pt x="0" y="116"/>
                            </a:lnTo>
                            <a:cubicBezTo>
                              <a:pt x="70" y="70"/>
                              <a:pt x="140" y="46"/>
                              <a:pt x="209" y="0"/>
                            </a:cubicBezTo>
                            <a:lnTo>
                              <a:pt x="209" y="0"/>
                            </a:ln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601" name="Freeform: Shape 1600">
                        <a:extLst>
                          <a:ext uri="{FF2B5EF4-FFF2-40B4-BE49-F238E27FC236}">
                            <a16:creationId xmlns:a16="http://schemas.microsoft.com/office/drawing/2014/main" id="{4033DCFD-8B36-497D-8F07-769034A5CA0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68434" y="4064723"/>
                        <a:ext cx="2326" cy="2326"/>
                      </a:xfrm>
                      <a:custGeom>
                        <a:avLst/>
                        <a:gdLst>
                          <a:gd name="connsiteX0" fmla="*/ 535 w 0"/>
                          <a:gd name="connsiteY0" fmla="*/ 0 h 0"/>
                          <a:gd name="connsiteX1" fmla="*/ 535 w 0"/>
                          <a:gd name="connsiteY1" fmla="*/ 0 h 0"/>
                          <a:gd name="connsiteX2" fmla="*/ 0 w 0"/>
                          <a:gd name="connsiteY2" fmla="*/ 1326 h 0"/>
                          <a:gd name="connsiteX3" fmla="*/ 535 w 0"/>
                          <a:gd name="connsiteY3" fmla="*/ 0 h 0"/>
                          <a:gd name="connsiteX4" fmla="*/ 535 w 0"/>
                          <a:gd name="connsiteY4" fmla="*/ 0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535" y="0"/>
                            </a:moveTo>
                            <a:lnTo>
                              <a:pt x="535" y="0"/>
                            </a:lnTo>
                            <a:cubicBezTo>
                              <a:pt x="349" y="465"/>
                              <a:pt x="163" y="907"/>
                              <a:pt x="0" y="1326"/>
                            </a:cubicBezTo>
                            <a:cubicBezTo>
                              <a:pt x="186" y="907"/>
                              <a:pt x="349" y="442"/>
                              <a:pt x="535" y="0"/>
                            </a:cubicBezTo>
                            <a:lnTo>
                              <a:pt x="535" y="0"/>
                            </a:ln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602" name="Freeform: Shape 1601">
                        <a:extLst>
                          <a:ext uri="{FF2B5EF4-FFF2-40B4-BE49-F238E27FC236}">
                            <a16:creationId xmlns:a16="http://schemas.microsoft.com/office/drawing/2014/main" id="{324B6E65-D177-4B14-9293-3F3BBDD0455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72249" y="4057721"/>
                        <a:ext cx="2326" cy="2326"/>
                      </a:xfrm>
                      <a:custGeom>
                        <a:avLst/>
                        <a:gdLst>
                          <a:gd name="connsiteX0" fmla="*/ 209 w 0"/>
                          <a:gd name="connsiteY0" fmla="*/ 0 h 0"/>
                          <a:gd name="connsiteX1" fmla="*/ 0 w 0"/>
                          <a:gd name="connsiteY1" fmla="*/ 186 h 0"/>
                          <a:gd name="connsiteX2" fmla="*/ 0 w 0"/>
                          <a:gd name="connsiteY2" fmla="*/ 186 h 0"/>
                          <a:gd name="connsiteX3" fmla="*/ 209 w 0"/>
                          <a:gd name="connsiteY3" fmla="*/ 0 h 0"/>
                          <a:gd name="connsiteX4" fmla="*/ 209 w 0"/>
                          <a:gd name="connsiteY4" fmla="*/ 0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209" y="0"/>
                            </a:moveTo>
                            <a:cubicBezTo>
                              <a:pt x="140" y="47"/>
                              <a:pt x="70" y="116"/>
                              <a:pt x="0" y="186"/>
                            </a:cubicBezTo>
                            <a:lnTo>
                              <a:pt x="0" y="186"/>
                            </a:lnTo>
                            <a:cubicBezTo>
                              <a:pt x="70" y="116"/>
                              <a:pt x="140" y="47"/>
                              <a:pt x="209" y="0"/>
                            </a:cubicBezTo>
                            <a:lnTo>
                              <a:pt x="209" y="0"/>
                            </a:ln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603" name="Freeform: Shape 1602">
                        <a:extLst>
                          <a:ext uri="{FF2B5EF4-FFF2-40B4-BE49-F238E27FC236}">
                            <a16:creationId xmlns:a16="http://schemas.microsoft.com/office/drawing/2014/main" id="{72F64A46-CF44-403D-A747-566CEB3F809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71272" y="4058209"/>
                        <a:ext cx="2326" cy="2326"/>
                      </a:xfrm>
                      <a:custGeom>
                        <a:avLst/>
                        <a:gdLst>
                          <a:gd name="connsiteX0" fmla="*/ 744 w 0"/>
                          <a:gd name="connsiteY0" fmla="*/ 0 h 0"/>
                          <a:gd name="connsiteX1" fmla="*/ 628 w 0"/>
                          <a:gd name="connsiteY1" fmla="*/ 163 h 0"/>
                          <a:gd name="connsiteX2" fmla="*/ 0 w 0"/>
                          <a:gd name="connsiteY2" fmla="*/ 1396 h 0"/>
                          <a:gd name="connsiteX3" fmla="*/ 628 w 0"/>
                          <a:gd name="connsiteY3" fmla="*/ 163 h 0"/>
                          <a:gd name="connsiteX4" fmla="*/ 744 w 0"/>
                          <a:gd name="connsiteY4" fmla="*/ 0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744" y="0"/>
                            </a:moveTo>
                            <a:cubicBezTo>
                              <a:pt x="698" y="70"/>
                              <a:pt x="675" y="116"/>
                              <a:pt x="628" y="163"/>
                            </a:cubicBezTo>
                            <a:cubicBezTo>
                              <a:pt x="419" y="582"/>
                              <a:pt x="209" y="977"/>
                              <a:pt x="0" y="1396"/>
                            </a:cubicBezTo>
                            <a:cubicBezTo>
                              <a:pt x="209" y="977"/>
                              <a:pt x="419" y="582"/>
                              <a:pt x="628" y="163"/>
                            </a:cubicBezTo>
                            <a:cubicBezTo>
                              <a:pt x="651" y="116"/>
                              <a:pt x="698" y="70"/>
                              <a:pt x="744" y="0"/>
                            </a:cubicBez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604" name="Freeform: Shape 1603">
                        <a:extLst>
                          <a:ext uri="{FF2B5EF4-FFF2-40B4-BE49-F238E27FC236}">
                            <a16:creationId xmlns:a16="http://schemas.microsoft.com/office/drawing/2014/main" id="{6AA6ECA4-5B2B-4F9E-87F4-783CE284B52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72830" y="4057479"/>
                        <a:ext cx="2326" cy="2326"/>
                      </a:xfrm>
                      <a:custGeom>
                        <a:avLst/>
                        <a:gdLst>
                          <a:gd name="connsiteX0" fmla="*/ 0 w 0"/>
                          <a:gd name="connsiteY0" fmla="*/ 56 h 0"/>
                          <a:gd name="connsiteX1" fmla="*/ 0 w 0"/>
                          <a:gd name="connsiteY1" fmla="*/ 56 h 0"/>
                          <a:gd name="connsiteX2" fmla="*/ 326 w 0"/>
                          <a:gd name="connsiteY2" fmla="*/ 9 h 0"/>
                          <a:gd name="connsiteX3" fmla="*/ 0 w 0"/>
                          <a:gd name="connsiteY3" fmla="*/ 56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0" y="56"/>
                            </a:moveTo>
                            <a:lnTo>
                              <a:pt x="0" y="56"/>
                            </a:lnTo>
                            <a:cubicBezTo>
                              <a:pt x="116" y="9"/>
                              <a:pt x="209" y="9"/>
                              <a:pt x="326" y="9"/>
                            </a:cubicBezTo>
                            <a:cubicBezTo>
                              <a:pt x="209" y="-14"/>
                              <a:pt x="116" y="9"/>
                              <a:pt x="0" y="56"/>
                            </a:cubicBez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605" name="Freeform: Shape 1604">
                        <a:extLst>
                          <a:ext uri="{FF2B5EF4-FFF2-40B4-BE49-F238E27FC236}">
                            <a16:creationId xmlns:a16="http://schemas.microsoft.com/office/drawing/2014/main" id="{63017321-542F-424B-8F04-8C6E5EF7908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68248" y="4066072"/>
                        <a:ext cx="2326" cy="2326"/>
                      </a:xfrm>
                      <a:custGeom>
                        <a:avLst/>
                        <a:gdLst>
                          <a:gd name="connsiteX0" fmla="*/ 23 w 0"/>
                          <a:gd name="connsiteY0" fmla="*/ 675 h 0"/>
                          <a:gd name="connsiteX1" fmla="*/ 0 w 0"/>
                          <a:gd name="connsiteY1" fmla="*/ 791 h 0"/>
                          <a:gd name="connsiteX2" fmla="*/ 186 w 0"/>
                          <a:gd name="connsiteY2" fmla="*/ 0 h 0"/>
                          <a:gd name="connsiteX3" fmla="*/ 23 w 0"/>
                          <a:gd name="connsiteY3" fmla="*/ 675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23" y="675"/>
                            </a:moveTo>
                            <a:cubicBezTo>
                              <a:pt x="23" y="721"/>
                              <a:pt x="23" y="744"/>
                              <a:pt x="0" y="791"/>
                            </a:cubicBezTo>
                            <a:cubicBezTo>
                              <a:pt x="23" y="512"/>
                              <a:pt x="93" y="256"/>
                              <a:pt x="186" y="0"/>
                            </a:cubicBezTo>
                            <a:cubicBezTo>
                              <a:pt x="116" y="209"/>
                              <a:pt x="47" y="442"/>
                              <a:pt x="23" y="675"/>
                            </a:cubicBez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606" name="Freeform: Shape 1605">
                        <a:extLst>
                          <a:ext uri="{FF2B5EF4-FFF2-40B4-BE49-F238E27FC236}">
                            <a16:creationId xmlns:a16="http://schemas.microsoft.com/office/drawing/2014/main" id="{3E37F40C-9304-406B-B8D3-AFFF0D0F1B1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07351" y="4029970"/>
                        <a:ext cx="2326" cy="2326"/>
                      </a:xfrm>
                      <a:custGeom>
                        <a:avLst/>
                        <a:gdLst>
                          <a:gd name="connsiteX0" fmla="*/ 2070 w 2326"/>
                          <a:gd name="connsiteY0" fmla="*/ 47 h 0"/>
                          <a:gd name="connsiteX1" fmla="*/ 0 w 2326"/>
                          <a:gd name="connsiteY1" fmla="*/ 419 h 0"/>
                          <a:gd name="connsiteX2" fmla="*/ 2070 w 2326"/>
                          <a:gd name="connsiteY2" fmla="*/ 47 h 0"/>
                          <a:gd name="connsiteX3" fmla="*/ 2396 w 2326"/>
                          <a:gd name="connsiteY3" fmla="*/ 0 h 0"/>
                          <a:gd name="connsiteX4" fmla="*/ 2070 w 2326"/>
                          <a:gd name="connsiteY4" fmla="*/ 0 h 0"/>
                          <a:gd name="connsiteX5" fmla="*/ 2070 w 2326"/>
                          <a:gd name="connsiteY5" fmla="*/ 47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</a:cxnLst>
                        <a:rect l="l" t="t" r="r" b="b"/>
                        <a:pathLst>
                          <a:path w="2326">
                            <a:moveTo>
                              <a:pt x="2070" y="47"/>
                            </a:moveTo>
                            <a:cubicBezTo>
                              <a:pt x="1372" y="163"/>
                              <a:pt x="675" y="256"/>
                              <a:pt x="0" y="419"/>
                            </a:cubicBezTo>
                            <a:cubicBezTo>
                              <a:pt x="675" y="279"/>
                              <a:pt x="1372" y="163"/>
                              <a:pt x="2070" y="47"/>
                            </a:cubicBezTo>
                            <a:cubicBezTo>
                              <a:pt x="2163" y="47"/>
                              <a:pt x="2280" y="23"/>
                              <a:pt x="2396" y="0"/>
                            </a:cubicBezTo>
                            <a:lnTo>
                              <a:pt x="2070" y="0"/>
                            </a:lnTo>
                            <a:lnTo>
                              <a:pt x="2070" y="47"/>
                            </a:ln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607" name="Freeform: Shape 1606">
                        <a:extLst>
                          <a:ext uri="{FF2B5EF4-FFF2-40B4-BE49-F238E27FC236}">
                            <a16:creationId xmlns:a16="http://schemas.microsoft.com/office/drawing/2014/main" id="{683A6225-4377-4864-BC03-526BB8B8ACD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71411" y="4046323"/>
                        <a:ext cx="9305" cy="2326"/>
                      </a:xfrm>
                      <a:custGeom>
                        <a:avLst/>
                        <a:gdLst>
                          <a:gd name="connsiteX0" fmla="*/ 8653 w 9304"/>
                          <a:gd name="connsiteY0" fmla="*/ 186 h 0"/>
                          <a:gd name="connsiteX1" fmla="*/ 8653 w 9304"/>
                          <a:gd name="connsiteY1" fmla="*/ 186 h 0"/>
                          <a:gd name="connsiteX2" fmla="*/ 9816 w 9304"/>
                          <a:gd name="connsiteY2" fmla="*/ 907 h 0"/>
                          <a:gd name="connsiteX3" fmla="*/ 9816 w 9304"/>
                          <a:gd name="connsiteY3" fmla="*/ 930 h 0"/>
                          <a:gd name="connsiteX4" fmla="*/ 10607 w 9304"/>
                          <a:gd name="connsiteY4" fmla="*/ 0 h 0"/>
                          <a:gd name="connsiteX5" fmla="*/ 9374 w 9304"/>
                          <a:gd name="connsiteY5" fmla="*/ 0 h 0"/>
                          <a:gd name="connsiteX6" fmla="*/ 8095 w 9304"/>
                          <a:gd name="connsiteY6" fmla="*/ 0 h 0"/>
                          <a:gd name="connsiteX7" fmla="*/ 6769 w 9304"/>
                          <a:gd name="connsiteY7" fmla="*/ 0 h 0"/>
                          <a:gd name="connsiteX8" fmla="*/ 5397 w 9304"/>
                          <a:gd name="connsiteY8" fmla="*/ 0 h 0"/>
                          <a:gd name="connsiteX9" fmla="*/ 4048 w 9304"/>
                          <a:gd name="connsiteY9" fmla="*/ 0 h 0"/>
                          <a:gd name="connsiteX10" fmla="*/ 2698 w 9304"/>
                          <a:gd name="connsiteY10" fmla="*/ 0 h 0"/>
                          <a:gd name="connsiteX11" fmla="*/ 1396 w 9304"/>
                          <a:gd name="connsiteY11" fmla="*/ 0 h 0"/>
                          <a:gd name="connsiteX12" fmla="*/ 163 w 9304"/>
                          <a:gd name="connsiteY12" fmla="*/ 0 h 0"/>
                          <a:gd name="connsiteX13" fmla="*/ 0 w 9304"/>
                          <a:gd name="connsiteY13" fmla="*/ 209 h 0"/>
                          <a:gd name="connsiteX14" fmla="*/ 8653 w 9304"/>
                          <a:gd name="connsiteY14" fmla="*/ 209 h 0"/>
                          <a:gd name="connsiteX15" fmla="*/ 8653 w 9304"/>
                          <a:gd name="connsiteY15" fmla="*/ 186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</a:cxnLst>
                        <a:rect l="l" t="t" r="r" b="b"/>
                        <a:pathLst>
                          <a:path w="9304">
                            <a:moveTo>
                              <a:pt x="8653" y="186"/>
                            </a:moveTo>
                            <a:lnTo>
                              <a:pt x="8653" y="186"/>
                            </a:lnTo>
                            <a:cubicBezTo>
                              <a:pt x="9072" y="186"/>
                              <a:pt x="9491" y="419"/>
                              <a:pt x="9816" y="907"/>
                            </a:cubicBezTo>
                            <a:lnTo>
                              <a:pt x="9816" y="930"/>
                            </a:lnTo>
                            <a:cubicBezTo>
                              <a:pt x="10096" y="605"/>
                              <a:pt x="10351" y="302"/>
                              <a:pt x="10607" y="0"/>
                            </a:cubicBezTo>
                            <a:cubicBezTo>
                              <a:pt x="10235" y="0"/>
                              <a:pt x="9747" y="0"/>
                              <a:pt x="9374" y="0"/>
                            </a:cubicBezTo>
                            <a:cubicBezTo>
                              <a:pt x="9002" y="0"/>
                              <a:pt x="8467" y="0"/>
                              <a:pt x="8095" y="0"/>
                            </a:cubicBezTo>
                            <a:cubicBezTo>
                              <a:pt x="7700" y="0"/>
                              <a:pt x="7165" y="0"/>
                              <a:pt x="6769" y="0"/>
                            </a:cubicBezTo>
                            <a:cubicBezTo>
                              <a:pt x="6350" y="0"/>
                              <a:pt x="5815" y="0"/>
                              <a:pt x="5397" y="0"/>
                            </a:cubicBezTo>
                            <a:cubicBezTo>
                              <a:pt x="5001" y="0"/>
                              <a:pt x="4443" y="0"/>
                              <a:pt x="4048" y="0"/>
                            </a:cubicBezTo>
                            <a:cubicBezTo>
                              <a:pt x="3652" y="0"/>
                              <a:pt x="3094" y="0"/>
                              <a:pt x="2698" y="0"/>
                            </a:cubicBezTo>
                            <a:cubicBezTo>
                              <a:pt x="2303" y="0"/>
                              <a:pt x="1791" y="0"/>
                              <a:pt x="1396" y="0"/>
                            </a:cubicBezTo>
                            <a:cubicBezTo>
                              <a:pt x="1024" y="0"/>
                              <a:pt x="535" y="0"/>
                              <a:pt x="163" y="0"/>
                            </a:cubicBezTo>
                            <a:cubicBezTo>
                              <a:pt x="116" y="70"/>
                              <a:pt x="70" y="140"/>
                              <a:pt x="0" y="209"/>
                            </a:cubicBezTo>
                            <a:lnTo>
                              <a:pt x="8653" y="209"/>
                            </a:lnTo>
                            <a:lnTo>
                              <a:pt x="8653" y="186"/>
                            </a:ln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608" name="Freeform: Shape 1607">
                        <a:extLst>
                          <a:ext uri="{FF2B5EF4-FFF2-40B4-BE49-F238E27FC236}">
                            <a16:creationId xmlns:a16="http://schemas.microsoft.com/office/drawing/2014/main" id="{1CB8A6DE-2FE1-43C4-8A83-AED175499A0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04210" y="4030854"/>
                        <a:ext cx="2326" cy="2326"/>
                      </a:xfrm>
                      <a:custGeom>
                        <a:avLst/>
                        <a:gdLst>
                          <a:gd name="connsiteX0" fmla="*/ 70 w 0"/>
                          <a:gd name="connsiteY0" fmla="*/ 256 h 0"/>
                          <a:gd name="connsiteX1" fmla="*/ 70 w 0"/>
                          <a:gd name="connsiteY1" fmla="*/ 279 h 0"/>
                          <a:gd name="connsiteX2" fmla="*/ 1093 w 0"/>
                          <a:gd name="connsiteY2" fmla="*/ 0 h 0"/>
                          <a:gd name="connsiteX3" fmla="*/ 0 w 0"/>
                          <a:gd name="connsiteY3" fmla="*/ 0 h 0"/>
                          <a:gd name="connsiteX4" fmla="*/ 70 w 0"/>
                          <a:gd name="connsiteY4" fmla="*/ 256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70" y="256"/>
                            </a:moveTo>
                            <a:lnTo>
                              <a:pt x="70" y="279"/>
                            </a:lnTo>
                            <a:cubicBezTo>
                              <a:pt x="419" y="186"/>
                              <a:pt x="744" y="93"/>
                              <a:pt x="1093" y="0"/>
                            </a:cubicBezTo>
                            <a:cubicBezTo>
                              <a:pt x="768" y="0"/>
                              <a:pt x="349" y="0"/>
                              <a:pt x="0" y="0"/>
                            </a:cubicBezTo>
                            <a:cubicBezTo>
                              <a:pt x="23" y="93"/>
                              <a:pt x="47" y="163"/>
                              <a:pt x="70" y="256"/>
                            </a:cubicBez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609" name="Freeform: Shape 1608">
                        <a:extLst>
                          <a:ext uri="{FF2B5EF4-FFF2-40B4-BE49-F238E27FC236}">
                            <a16:creationId xmlns:a16="http://schemas.microsoft.com/office/drawing/2014/main" id="{23AF5AE0-6E0F-4D00-B2BB-A479D62C545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63898" y="4056767"/>
                        <a:ext cx="9305" cy="2326"/>
                      </a:xfrm>
                      <a:custGeom>
                        <a:avLst/>
                        <a:gdLst>
                          <a:gd name="connsiteX0" fmla="*/ 10165 w 9304"/>
                          <a:gd name="connsiteY0" fmla="*/ 1117 h 0"/>
                          <a:gd name="connsiteX1" fmla="*/ 10165 w 9304"/>
                          <a:gd name="connsiteY1" fmla="*/ 1117 h 0"/>
                          <a:gd name="connsiteX2" fmla="*/ 10817 w 9304"/>
                          <a:gd name="connsiteY2" fmla="*/ 0 h 0"/>
                          <a:gd name="connsiteX3" fmla="*/ 395 w 9304"/>
                          <a:gd name="connsiteY3" fmla="*/ 0 h 0"/>
                          <a:gd name="connsiteX4" fmla="*/ 0 w 9304"/>
                          <a:gd name="connsiteY4" fmla="*/ 698 h 0"/>
                          <a:gd name="connsiteX5" fmla="*/ 9235 w 9304"/>
                          <a:gd name="connsiteY5" fmla="*/ 698 h 0"/>
                          <a:gd name="connsiteX6" fmla="*/ 10165 w 9304"/>
                          <a:gd name="connsiteY6" fmla="*/ 1117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9304">
                            <a:moveTo>
                              <a:pt x="10165" y="1117"/>
                            </a:moveTo>
                            <a:lnTo>
                              <a:pt x="10165" y="1117"/>
                            </a:lnTo>
                            <a:cubicBezTo>
                              <a:pt x="10398" y="744"/>
                              <a:pt x="10607" y="372"/>
                              <a:pt x="10817" y="0"/>
                            </a:cubicBezTo>
                            <a:lnTo>
                              <a:pt x="395" y="0"/>
                            </a:lnTo>
                            <a:cubicBezTo>
                              <a:pt x="256" y="233"/>
                              <a:pt x="140" y="465"/>
                              <a:pt x="0" y="698"/>
                            </a:cubicBezTo>
                            <a:lnTo>
                              <a:pt x="9235" y="698"/>
                            </a:lnTo>
                            <a:cubicBezTo>
                              <a:pt x="9584" y="698"/>
                              <a:pt x="9886" y="837"/>
                              <a:pt x="10165" y="1117"/>
                            </a:cubicBez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610" name="Freeform: Shape 1609">
                        <a:extLst>
                          <a:ext uri="{FF2B5EF4-FFF2-40B4-BE49-F238E27FC236}">
                            <a16:creationId xmlns:a16="http://schemas.microsoft.com/office/drawing/2014/main" id="{EC7D8F9F-A126-49F5-BAD9-C374F954F1F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67434" y="4051277"/>
                        <a:ext cx="9305" cy="2326"/>
                      </a:xfrm>
                      <a:custGeom>
                        <a:avLst/>
                        <a:gdLst>
                          <a:gd name="connsiteX0" fmla="*/ 8979 w 9304"/>
                          <a:gd name="connsiteY0" fmla="*/ 465 h 0"/>
                          <a:gd name="connsiteX1" fmla="*/ 8979 w 9304"/>
                          <a:gd name="connsiteY1" fmla="*/ 465 h 0"/>
                          <a:gd name="connsiteX2" fmla="*/ 10026 w 9304"/>
                          <a:gd name="connsiteY2" fmla="*/ 1024 h 0"/>
                          <a:gd name="connsiteX3" fmla="*/ 10026 w 9304"/>
                          <a:gd name="connsiteY3" fmla="*/ 1047 h 0"/>
                          <a:gd name="connsiteX4" fmla="*/ 10398 w 9304"/>
                          <a:gd name="connsiteY4" fmla="*/ 535 h 0"/>
                          <a:gd name="connsiteX5" fmla="*/ 10747 w 9304"/>
                          <a:gd name="connsiteY5" fmla="*/ 0 h 0"/>
                          <a:gd name="connsiteX6" fmla="*/ 10607 w 9304"/>
                          <a:gd name="connsiteY6" fmla="*/ 0 h 0"/>
                          <a:gd name="connsiteX7" fmla="*/ 10445 w 9304"/>
                          <a:gd name="connsiteY7" fmla="*/ 0 h 0"/>
                          <a:gd name="connsiteX8" fmla="*/ 10282 w 9304"/>
                          <a:gd name="connsiteY8" fmla="*/ 0 h 0"/>
                          <a:gd name="connsiteX9" fmla="*/ 10142 w 9304"/>
                          <a:gd name="connsiteY9" fmla="*/ 0 h 0"/>
                          <a:gd name="connsiteX10" fmla="*/ 9979 w 9304"/>
                          <a:gd name="connsiteY10" fmla="*/ 0 h 0"/>
                          <a:gd name="connsiteX11" fmla="*/ 9816 w 9304"/>
                          <a:gd name="connsiteY11" fmla="*/ 0 h 0"/>
                          <a:gd name="connsiteX12" fmla="*/ 9654 w 9304"/>
                          <a:gd name="connsiteY12" fmla="*/ 0 h 0"/>
                          <a:gd name="connsiteX13" fmla="*/ 9491 w 9304"/>
                          <a:gd name="connsiteY13" fmla="*/ 0 h 0"/>
                          <a:gd name="connsiteX14" fmla="*/ 9165 w 9304"/>
                          <a:gd name="connsiteY14" fmla="*/ 0 h 0"/>
                          <a:gd name="connsiteX15" fmla="*/ 8839 w 9304"/>
                          <a:gd name="connsiteY15" fmla="*/ 0 h 0"/>
                          <a:gd name="connsiteX16" fmla="*/ 8514 w 9304"/>
                          <a:gd name="connsiteY16" fmla="*/ 0 h 0"/>
                          <a:gd name="connsiteX17" fmla="*/ 8188 w 9304"/>
                          <a:gd name="connsiteY17" fmla="*/ 0 h 0"/>
                          <a:gd name="connsiteX18" fmla="*/ 7862 w 9304"/>
                          <a:gd name="connsiteY18" fmla="*/ 0 h 0"/>
                          <a:gd name="connsiteX19" fmla="*/ 7537 w 9304"/>
                          <a:gd name="connsiteY19" fmla="*/ 0 h 0"/>
                          <a:gd name="connsiteX20" fmla="*/ 7211 w 9304"/>
                          <a:gd name="connsiteY20" fmla="*/ 0 h 0"/>
                          <a:gd name="connsiteX21" fmla="*/ 6862 w 9304"/>
                          <a:gd name="connsiteY21" fmla="*/ 0 h 0"/>
                          <a:gd name="connsiteX22" fmla="*/ 6699 w 9304"/>
                          <a:gd name="connsiteY22" fmla="*/ 0 h 0"/>
                          <a:gd name="connsiteX23" fmla="*/ 6537 w 9304"/>
                          <a:gd name="connsiteY23" fmla="*/ 0 h 0"/>
                          <a:gd name="connsiteX24" fmla="*/ 6374 w 9304"/>
                          <a:gd name="connsiteY24" fmla="*/ 0 h 0"/>
                          <a:gd name="connsiteX25" fmla="*/ 6211 w 9304"/>
                          <a:gd name="connsiteY25" fmla="*/ 0 h 0"/>
                          <a:gd name="connsiteX26" fmla="*/ 6048 w 9304"/>
                          <a:gd name="connsiteY26" fmla="*/ 0 h 0"/>
                          <a:gd name="connsiteX27" fmla="*/ 5885 w 9304"/>
                          <a:gd name="connsiteY27" fmla="*/ 0 h 0"/>
                          <a:gd name="connsiteX28" fmla="*/ 5722 w 9304"/>
                          <a:gd name="connsiteY28" fmla="*/ 0 h 0"/>
                          <a:gd name="connsiteX29" fmla="*/ 5560 w 9304"/>
                          <a:gd name="connsiteY29" fmla="*/ 0 h 0"/>
                          <a:gd name="connsiteX30" fmla="*/ 4885 w 9304"/>
                          <a:gd name="connsiteY30" fmla="*/ 0 h 0"/>
                          <a:gd name="connsiteX31" fmla="*/ 4210 w 9304"/>
                          <a:gd name="connsiteY31" fmla="*/ 0 h 0"/>
                          <a:gd name="connsiteX32" fmla="*/ 3536 w 9304"/>
                          <a:gd name="connsiteY32" fmla="*/ 0 h 0"/>
                          <a:gd name="connsiteX33" fmla="*/ 2861 w 9304"/>
                          <a:gd name="connsiteY33" fmla="*/ 0 h 0"/>
                          <a:gd name="connsiteX34" fmla="*/ 2210 w 9304"/>
                          <a:gd name="connsiteY34" fmla="*/ 0 h 0"/>
                          <a:gd name="connsiteX35" fmla="*/ 1559 w 9304"/>
                          <a:gd name="connsiteY35" fmla="*/ 0 h 0"/>
                          <a:gd name="connsiteX36" fmla="*/ 930 w 9304"/>
                          <a:gd name="connsiteY36" fmla="*/ 0 h 0"/>
                          <a:gd name="connsiteX37" fmla="*/ 326 w 9304"/>
                          <a:gd name="connsiteY37" fmla="*/ 0 h 0"/>
                          <a:gd name="connsiteX38" fmla="*/ 0 w 9304"/>
                          <a:gd name="connsiteY38" fmla="*/ 465 h 0"/>
                          <a:gd name="connsiteX39" fmla="*/ 8979 w 9304"/>
                          <a:gd name="connsiteY39" fmla="*/ 465 h 0"/>
                          <a:gd name="connsiteX40" fmla="*/ 8979 w 9304"/>
                          <a:gd name="connsiteY40" fmla="*/ 465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</a:cxnLst>
                        <a:rect l="l" t="t" r="r" b="b"/>
                        <a:pathLst>
                          <a:path w="9304">
                            <a:moveTo>
                              <a:pt x="8979" y="465"/>
                            </a:moveTo>
                            <a:lnTo>
                              <a:pt x="8979" y="465"/>
                            </a:lnTo>
                            <a:cubicBezTo>
                              <a:pt x="9351" y="465"/>
                              <a:pt x="9723" y="651"/>
                              <a:pt x="10026" y="1024"/>
                            </a:cubicBezTo>
                            <a:lnTo>
                              <a:pt x="10026" y="1047"/>
                            </a:lnTo>
                            <a:cubicBezTo>
                              <a:pt x="10142" y="884"/>
                              <a:pt x="10258" y="698"/>
                              <a:pt x="10398" y="535"/>
                            </a:cubicBezTo>
                            <a:cubicBezTo>
                              <a:pt x="10514" y="349"/>
                              <a:pt x="10631" y="186"/>
                              <a:pt x="10747" y="0"/>
                            </a:cubicBezTo>
                            <a:cubicBezTo>
                              <a:pt x="10700" y="0"/>
                              <a:pt x="10654" y="0"/>
                              <a:pt x="10607" y="0"/>
                            </a:cubicBezTo>
                            <a:cubicBezTo>
                              <a:pt x="10561" y="0"/>
                              <a:pt x="10491" y="0"/>
                              <a:pt x="10445" y="0"/>
                            </a:cubicBezTo>
                            <a:cubicBezTo>
                              <a:pt x="10398" y="0"/>
                              <a:pt x="10328" y="0"/>
                              <a:pt x="10282" y="0"/>
                            </a:cubicBezTo>
                            <a:cubicBezTo>
                              <a:pt x="10235" y="0"/>
                              <a:pt x="10165" y="0"/>
                              <a:pt x="10142" y="0"/>
                            </a:cubicBezTo>
                            <a:cubicBezTo>
                              <a:pt x="10096" y="0"/>
                              <a:pt x="10026" y="0"/>
                              <a:pt x="9979" y="0"/>
                            </a:cubicBezTo>
                            <a:cubicBezTo>
                              <a:pt x="9933" y="0"/>
                              <a:pt x="9863" y="0"/>
                              <a:pt x="9816" y="0"/>
                            </a:cubicBezTo>
                            <a:cubicBezTo>
                              <a:pt x="9770" y="0"/>
                              <a:pt x="9700" y="0"/>
                              <a:pt x="9654" y="0"/>
                            </a:cubicBezTo>
                            <a:cubicBezTo>
                              <a:pt x="9607" y="0"/>
                              <a:pt x="9537" y="0"/>
                              <a:pt x="9491" y="0"/>
                            </a:cubicBezTo>
                            <a:cubicBezTo>
                              <a:pt x="9398" y="0"/>
                              <a:pt x="9281" y="0"/>
                              <a:pt x="9165" y="0"/>
                            </a:cubicBezTo>
                            <a:cubicBezTo>
                              <a:pt x="9049" y="0"/>
                              <a:pt x="8933" y="0"/>
                              <a:pt x="8839" y="0"/>
                            </a:cubicBezTo>
                            <a:cubicBezTo>
                              <a:pt x="8723" y="0"/>
                              <a:pt x="8607" y="0"/>
                              <a:pt x="8514" y="0"/>
                            </a:cubicBezTo>
                            <a:cubicBezTo>
                              <a:pt x="8397" y="0"/>
                              <a:pt x="8281" y="0"/>
                              <a:pt x="8188" y="0"/>
                            </a:cubicBezTo>
                            <a:cubicBezTo>
                              <a:pt x="8095" y="0"/>
                              <a:pt x="7955" y="0"/>
                              <a:pt x="7862" y="0"/>
                            </a:cubicBezTo>
                            <a:cubicBezTo>
                              <a:pt x="7769" y="0"/>
                              <a:pt x="7630" y="0"/>
                              <a:pt x="7537" y="0"/>
                            </a:cubicBezTo>
                            <a:cubicBezTo>
                              <a:pt x="7444" y="0"/>
                              <a:pt x="7304" y="0"/>
                              <a:pt x="7211" y="0"/>
                            </a:cubicBezTo>
                            <a:cubicBezTo>
                              <a:pt x="7118" y="0"/>
                              <a:pt x="6979" y="0"/>
                              <a:pt x="6862" y="0"/>
                            </a:cubicBezTo>
                            <a:cubicBezTo>
                              <a:pt x="6816" y="0"/>
                              <a:pt x="6746" y="0"/>
                              <a:pt x="6699" y="0"/>
                            </a:cubicBezTo>
                            <a:cubicBezTo>
                              <a:pt x="6630" y="0"/>
                              <a:pt x="6583" y="0"/>
                              <a:pt x="6537" y="0"/>
                            </a:cubicBezTo>
                            <a:cubicBezTo>
                              <a:pt x="6490" y="0"/>
                              <a:pt x="6420" y="0"/>
                              <a:pt x="6374" y="0"/>
                            </a:cubicBezTo>
                            <a:cubicBezTo>
                              <a:pt x="6327" y="0"/>
                              <a:pt x="6257" y="0"/>
                              <a:pt x="6211" y="0"/>
                            </a:cubicBezTo>
                            <a:cubicBezTo>
                              <a:pt x="6164" y="0"/>
                              <a:pt x="6095" y="0"/>
                              <a:pt x="6048" y="0"/>
                            </a:cubicBezTo>
                            <a:cubicBezTo>
                              <a:pt x="6002" y="0"/>
                              <a:pt x="5932" y="0"/>
                              <a:pt x="5885" y="0"/>
                            </a:cubicBezTo>
                            <a:cubicBezTo>
                              <a:pt x="5839" y="0"/>
                              <a:pt x="5769" y="0"/>
                              <a:pt x="5722" y="0"/>
                            </a:cubicBezTo>
                            <a:cubicBezTo>
                              <a:pt x="5676" y="0"/>
                              <a:pt x="5606" y="0"/>
                              <a:pt x="5560" y="0"/>
                            </a:cubicBezTo>
                            <a:cubicBezTo>
                              <a:pt x="5350" y="0"/>
                              <a:pt x="5071" y="0"/>
                              <a:pt x="4885" y="0"/>
                            </a:cubicBezTo>
                            <a:cubicBezTo>
                              <a:pt x="4676" y="0"/>
                              <a:pt x="4396" y="0"/>
                              <a:pt x="4210" y="0"/>
                            </a:cubicBezTo>
                            <a:cubicBezTo>
                              <a:pt x="4001" y="0"/>
                              <a:pt x="3722" y="0"/>
                              <a:pt x="3536" y="0"/>
                            </a:cubicBezTo>
                            <a:cubicBezTo>
                              <a:pt x="3326" y="0"/>
                              <a:pt x="3071" y="0"/>
                              <a:pt x="2861" y="0"/>
                            </a:cubicBezTo>
                            <a:cubicBezTo>
                              <a:pt x="2675" y="0"/>
                              <a:pt x="2419" y="0"/>
                              <a:pt x="2210" y="0"/>
                            </a:cubicBezTo>
                            <a:cubicBezTo>
                              <a:pt x="2024" y="0"/>
                              <a:pt x="1768" y="0"/>
                              <a:pt x="1559" y="0"/>
                            </a:cubicBezTo>
                            <a:cubicBezTo>
                              <a:pt x="1372" y="0"/>
                              <a:pt x="1140" y="0"/>
                              <a:pt x="930" y="0"/>
                            </a:cubicBezTo>
                            <a:cubicBezTo>
                              <a:pt x="768" y="0"/>
                              <a:pt x="512" y="0"/>
                              <a:pt x="326" y="0"/>
                            </a:cubicBezTo>
                            <a:cubicBezTo>
                              <a:pt x="233" y="163"/>
                              <a:pt x="116" y="326"/>
                              <a:pt x="0" y="465"/>
                            </a:cubicBezTo>
                            <a:lnTo>
                              <a:pt x="8979" y="465"/>
                            </a:lnTo>
                            <a:lnTo>
                              <a:pt x="8979" y="465"/>
                            </a:ln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611" name="Freeform: Shape 1610">
                        <a:extLst>
                          <a:ext uri="{FF2B5EF4-FFF2-40B4-BE49-F238E27FC236}">
                            <a16:creationId xmlns:a16="http://schemas.microsoft.com/office/drawing/2014/main" id="{C5CA6B5D-F927-4111-8489-3F3023B30D2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68387" y="4067933"/>
                        <a:ext cx="2326" cy="2326"/>
                      </a:xfrm>
                      <a:custGeom>
                        <a:avLst/>
                        <a:gdLst>
                          <a:gd name="connsiteX0" fmla="*/ 23 w 0"/>
                          <a:gd name="connsiteY0" fmla="*/ 93 h 0"/>
                          <a:gd name="connsiteX1" fmla="*/ 116 w 0"/>
                          <a:gd name="connsiteY1" fmla="*/ 326 h 0"/>
                          <a:gd name="connsiteX2" fmla="*/ 0 w 0"/>
                          <a:gd name="connsiteY2" fmla="*/ 0 h 0"/>
                          <a:gd name="connsiteX3" fmla="*/ 23 w 0"/>
                          <a:gd name="connsiteY3" fmla="*/ 93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23" y="93"/>
                            </a:moveTo>
                            <a:cubicBezTo>
                              <a:pt x="47" y="186"/>
                              <a:pt x="93" y="256"/>
                              <a:pt x="116" y="326"/>
                            </a:cubicBezTo>
                            <a:cubicBezTo>
                              <a:pt x="70" y="209"/>
                              <a:pt x="23" y="116"/>
                              <a:pt x="0" y="0"/>
                            </a:cubicBezTo>
                            <a:cubicBezTo>
                              <a:pt x="0" y="46"/>
                              <a:pt x="0" y="70"/>
                              <a:pt x="23" y="93"/>
                            </a:cubicBez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612" name="Freeform: Shape 1611">
                        <a:extLst>
                          <a:ext uri="{FF2B5EF4-FFF2-40B4-BE49-F238E27FC236}">
                            <a16:creationId xmlns:a16="http://schemas.microsoft.com/office/drawing/2014/main" id="{2069C8A0-409F-4F2B-9936-D65C59028D9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68690" y="4068631"/>
                        <a:ext cx="2326" cy="2326"/>
                      </a:xfrm>
                      <a:custGeom>
                        <a:avLst/>
                        <a:gdLst>
                          <a:gd name="connsiteX0" fmla="*/ 23 w 0"/>
                          <a:gd name="connsiteY0" fmla="*/ 47 h 0"/>
                          <a:gd name="connsiteX1" fmla="*/ 349 w 0"/>
                          <a:gd name="connsiteY1" fmla="*/ 442 h 0"/>
                          <a:gd name="connsiteX2" fmla="*/ 0 w 0"/>
                          <a:gd name="connsiteY2" fmla="*/ 0 h 0"/>
                          <a:gd name="connsiteX3" fmla="*/ 23 w 0"/>
                          <a:gd name="connsiteY3" fmla="*/ 47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23" y="47"/>
                            </a:moveTo>
                            <a:cubicBezTo>
                              <a:pt x="116" y="186"/>
                              <a:pt x="233" y="326"/>
                              <a:pt x="349" y="442"/>
                            </a:cubicBezTo>
                            <a:cubicBezTo>
                              <a:pt x="209" y="326"/>
                              <a:pt x="93" y="163"/>
                              <a:pt x="0" y="0"/>
                            </a:cubicBezTo>
                            <a:cubicBezTo>
                              <a:pt x="0" y="0"/>
                              <a:pt x="0" y="23"/>
                              <a:pt x="23" y="47"/>
                            </a:cubicBez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613" name="Freeform: Shape 1612">
                        <a:extLst>
                          <a:ext uri="{FF2B5EF4-FFF2-40B4-BE49-F238E27FC236}">
                            <a16:creationId xmlns:a16="http://schemas.microsoft.com/office/drawing/2014/main" id="{08FDB7D6-6103-4FD9-BE86-CE08565CA4E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00349" y="4030900"/>
                        <a:ext cx="2326" cy="2326"/>
                      </a:xfrm>
                      <a:custGeom>
                        <a:avLst/>
                        <a:gdLst>
                          <a:gd name="connsiteX0" fmla="*/ 23 w 0"/>
                          <a:gd name="connsiteY0" fmla="*/ 0 h 0"/>
                          <a:gd name="connsiteX1" fmla="*/ 0 w 0"/>
                          <a:gd name="connsiteY1" fmla="*/ 116 h 0"/>
                          <a:gd name="connsiteX2" fmla="*/ 0 w 0"/>
                          <a:gd name="connsiteY2" fmla="*/ 116 h 0"/>
                          <a:gd name="connsiteX3" fmla="*/ 23 w 0"/>
                          <a:gd name="connsiteY3" fmla="*/ 0 h 0"/>
                          <a:gd name="connsiteX4" fmla="*/ 23 w 0"/>
                          <a:gd name="connsiteY4" fmla="*/ 0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23" y="0"/>
                            </a:moveTo>
                            <a:cubicBezTo>
                              <a:pt x="23" y="23"/>
                              <a:pt x="0" y="70"/>
                              <a:pt x="0" y="116"/>
                            </a:cubicBezTo>
                            <a:lnTo>
                              <a:pt x="0" y="116"/>
                            </a:lnTo>
                            <a:cubicBezTo>
                              <a:pt x="23" y="70"/>
                              <a:pt x="23" y="23"/>
                              <a:pt x="23" y="0"/>
                            </a:cubicBezTo>
                            <a:lnTo>
                              <a:pt x="23" y="0"/>
                            </a:ln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614" name="Freeform: Shape 1613">
                        <a:extLst>
                          <a:ext uri="{FF2B5EF4-FFF2-40B4-BE49-F238E27FC236}">
                            <a16:creationId xmlns:a16="http://schemas.microsoft.com/office/drawing/2014/main" id="{A3FF23E6-FE2F-43ED-B96C-DF2BC8C7D1F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68225" y="4134322"/>
                        <a:ext cx="2326" cy="2326"/>
                      </a:xfrm>
                      <a:custGeom>
                        <a:avLst/>
                        <a:gdLst>
                          <a:gd name="connsiteX0" fmla="*/ 0 w 0"/>
                          <a:gd name="connsiteY0" fmla="*/ 512 h 0"/>
                          <a:gd name="connsiteX1" fmla="*/ 0 w 0"/>
                          <a:gd name="connsiteY1" fmla="*/ 512 h 0"/>
                          <a:gd name="connsiteX2" fmla="*/ 442 w 0"/>
                          <a:gd name="connsiteY2" fmla="*/ 0 h 0"/>
                          <a:gd name="connsiteX3" fmla="*/ 0 w 0"/>
                          <a:gd name="connsiteY3" fmla="*/ 512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0" y="512"/>
                            </a:moveTo>
                            <a:lnTo>
                              <a:pt x="0" y="512"/>
                            </a:lnTo>
                            <a:cubicBezTo>
                              <a:pt x="116" y="302"/>
                              <a:pt x="279" y="140"/>
                              <a:pt x="442" y="0"/>
                            </a:cubicBezTo>
                            <a:cubicBezTo>
                              <a:pt x="279" y="140"/>
                              <a:pt x="140" y="302"/>
                              <a:pt x="0" y="512"/>
                            </a:cubicBez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615" name="Freeform: Shape 1614">
                        <a:extLst>
                          <a:ext uri="{FF2B5EF4-FFF2-40B4-BE49-F238E27FC236}">
                            <a16:creationId xmlns:a16="http://schemas.microsoft.com/office/drawing/2014/main" id="{FAEFBDEE-03CF-4DA8-9F34-D962D79026A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94557" y="4169005"/>
                        <a:ext cx="2326" cy="2326"/>
                      </a:xfrm>
                      <a:custGeom>
                        <a:avLst/>
                        <a:gdLst>
                          <a:gd name="connsiteX0" fmla="*/ 0 w 0"/>
                          <a:gd name="connsiteY0" fmla="*/ 0 h 0"/>
                          <a:gd name="connsiteX1" fmla="*/ 0 w 0"/>
                          <a:gd name="connsiteY1" fmla="*/ 0 h 0"/>
                          <a:gd name="connsiteX2" fmla="*/ 0 w 0"/>
                          <a:gd name="connsiteY2" fmla="*/ 0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0" y="0"/>
                            </a:moveTo>
                            <a:lnTo>
                              <a:pt x="0" y="0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616" name="Freeform: Shape 1615">
                        <a:extLst>
                          <a:ext uri="{FF2B5EF4-FFF2-40B4-BE49-F238E27FC236}">
                            <a16:creationId xmlns:a16="http://schemas.microsoft.com/office/drawing/2014/main" id="{E586CDE8-2E2C-473D-8A6A-CD925345C91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94650" y="4170889"/>
                        <a:ext cx="2326" cy="2326"/>
                      </a:xfrm>
                      <a:custGeom>
                        <a:avLst/>
                        <a:gdLst>
                          <a:gd name="connsiteX0" fmla="*/ 256 w 0"/>
                          <a:gd name="connsiteY0" fmla="*/ 512 h 0"/>
                          <a:gd name="connsiteX1" fmla="*/ 256 w 0"/>
                          <a:gd name="connsiteY1" fmla="*/ 512 h 0"/>
                          <a:gd name="connsiteX2" fmla="*/ 0 w 0"/>
                          <a:gd name="connsiteY2" fmla="*/ 0 h 0"/>
                          <a:gd name="connsiteX3" fmla="*/ 256 w 0"/>
                          <a:gd name="connsiteY3" fmla="*/ 512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256" y="512"/>
                            </a:moveTo>
                            <a:lnTo>
                              <a:pt x="256" y="512"/>
                            </a:lnTo>
                            <a:cubicBezTo>
                              <a:pt x="140" y="349"/>
                              <a:pt x="70" y="186"/>
                              <a:pt x="0" y="0"/>
                            </a:cubicBezTo>
                            <a:cubicBezTo>
                              <a:pt x="70" y="186"/>
                              <a:pt x="140" y="349"/>
                              <a:pt x="256" y="512"/>
                            </a:cubicBez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617" name="Freeform: Shape 1616">
                        <a:extLst>
                          <a:ext uri="{FF2B5EF4-FFF2-40B4-BE49-F238E27FC236}">
                            <a16:creationId xmlns:a16="http://schemas.microsoft.com/office/drawing/2014/main" id="{C3E7EF58-2A54-415C-A52C-4F5AA3696D4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03373" y="4173053"/>
                        <a:ext cx="2326" cy="2326"/>
                      </a:xfrm>
                      <a:custGeom>
                        <a:avLst/>
                        <a:gdLst>
                          <a:gd name="connsiteX0" fmla="*/ 0 w 0"/>
                          <a:gd name="connsiteY0" fmla="*/ 326 h 0"/>
                          <a:gd name="connsiteX1" fmla="*/ 1093 w 0"/>
                          <a:gd name="connsiteY1" fmla="*/ 326 h 0"/>
                          <a:gd name="connsiteX2" fmla="*/ 582 w 0"/>
                          <a:gd name="connsiteY2" fmla="*/ 163 h 0"/>
                          <a:gd name="connsiteX3" fmla="*/ 93 w 0"/>
                          <a:gd name="connsiteY3" fmla="*/ 0 h 0"/>
                          <a:gd name="connsiteX4" fmla="*/ 93 w 0"/>
                          <a:gd name="connsiteY4" fmla="*/ 0 h 0"/>
                          <a:gd name="connsiteX5" fmla="*/ 93 w 0"/>
                          <a:gd name="connsiteY5" fmla="*/ 46 h 0"/>
                          <a:gd name="connsiteX6" fmla="*/ 0 w 0"/>
                          <a:gd name="connsiteY6" fmla="*/ 326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0" y="326"/>
                            </a:moveTo>
                            <a:lnTo>
                              <a:pt x="1093" y="326"/>
                            </a:lnTo>
                            <a:cubicBezTo>
                              <a:pt x="930" y="279"/>
                              <a:pt x="768" y="209"/>
                              <a:pt x="582" y="163"/>
                            </a:cubicBezTo>
                            <a:cubicBezTo>
                              <a:pt x="419" y="116"/>
                              <a:pt x="256" y="70"/>
                              <a:pt x="93" y="0"/>
                            </a:cubicBezTo>
                            <a:lnTo>
                              <a:pt x="93" y="0"/>
                            </a:lnTo>
                            <a:lnTo>
                              <a:pt x="93" y="46"/>
                            </a:lnTo>
                            <a:cubicBezTo>
                              <a:pt x="70" y="140"/>
                              <a:pt x="23" y="233"/>
                              <a:pt x="0" y="326"/>
                            </a:cubicBez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618" name="Freeform: Shape 1617">
                        <a:extLst>
                          <a:ext uri="{FF2B5EF4-FFF2-40B4-BE49-F238E27FC236}">
                            <a16:creationId xmlns:a16="http://schemas.microsoft.com/office/drawing/2014/main" id="{5ABD31AB-E648-44BE-8609-E32698C8B5D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94952" y="4171447"/>
                        <a:ext cx="2326" cy="2326"/>
                      </a:xfrm>
                      <a:custGeom>
                        <a:avLst/>
                        <a:gdLst>
                          <a:gd name="connsiteX0" fmla="*/ 0 w 0"/>
                          <a:gd name="connsiteY0" fmla="*/ 0 h 0"/>
                          <a:gd name="connsiteX1" fmla="*/ 93 w 0"/>
                          <a:gd name="connsiteY1" fmla="*/ 93 h 0"/>
                          <a:gd name="connsiteX2" fmla="*/ 93 w 0"/>
                          <a:gd name="connsiteY2" fmla="*/ 93 h 0"/>
                          <a:gd name="connsiteX3" fmla="*/ 0 w 0"/>
                          <a:gd name="connsiteY3" fmla="*/ 0 h 0"/>
                          <a:gd name="connsiteX4" fmla="*/ 0 w 0"/>
                          <a:gd name="connsiteY4" fmla="*/ 0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0" y="0"/>
                            </a:moveTo>
                            <a:cubicBezTo>
                              <a:pt x="23" y="46"/>
                              <a:pt x="70" y="46"/>
                              <a:pt x="93" y="93"/>
                            </a:cubicBezTo>
                            <a:lnTo>
                              <a:pt x="93" y="93"/>
                            </a:lnTo>
                            <a:cubicBezTo>
                              <a:pt x="70" y="70"/>
                              <a:pt x="23" y="46"/>
                              <a:pt x="0" y="0"/>
                            </a:cubicBez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619" name="Freeform: Shape 1618">
                        <a:extLst>
                          <a:ext uri="{FF2B5EF4-FFF2-40B4-BE49-F238E27FC236}">
                            <a16:creationId xmlns:a16="http://schemas.microsoft.com/office/drawing/2014/main" id="{062401E1-6F06-47C4-9E5C-E372B7C907D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99442" y="4171541"/>
                        <a:ext cx="2326" cy="2326"/>
                      </a:xfrm>
                      <a:custGeom>
                        <a:avLst/>
                        <a:gdLst>
                          <a:gd name="connsiteX0" fmla="*/ 0 w 0"/>
                          <a:gd name="connsiteY0" fmla="*/ 0 h 0"/>
                          <a:gd name="connsiteX1" fmla="*/ 1977 w 0"/>
                          <a:gd name="connsiteY1" fmla="*/ 814 h 0"/>
                          <a:gd name="connsiteX2" fmla="*/ 0 w 0"/>
                          <a:gd name="connsiteY2" fmla="*/ 0 h 0"/>
                          <a:gd name="connsiteX3" fmla="*/ 0 w 0"/>
                          <a:gd name="connsiteY3" fmla="*/ 0 h 0"/>
                          <a:gd name="connsiteX4" fmla="*/ 0 w 0"/>
                          <a:gd name="connsiteY4" fmla="*/ 0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0" y="0"/>
                            </a:moveTo>
                            <a:cubicBezTo>
                              <a:pt x="651" y="279"/>
                              <a:pt x="1326" y="558"/>
                              <a:pt x="1977" y="814"/>
                            </a:cubicBezTo>
                            <a:cubicBezTo>
                              <a:pt x="1326" y="558"/>
                              <a:pt x="675" y="302"/>
                              <a:pt x="0" y="0"/>
                            </a:cubicBezTo>
                            <a:lnTo>
                              <a:pt x="0" y="0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620" name="Freeform: Shape 1619">
                        <a:extLst>
                          <a:ext uri="{FF2B5EF4-FFF2-40B4-BE49-F238E27FC236}">
                            <a16:creationId xmlns:a16="http://schemas.microsoft.com/office/drawing/2014/main" id="{9B3E1400-AC09-4465-8C8D-F1BAE352A70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89788" y="4167493"/>
                        <a:ext cx="2326" cy="2326"/>
                      </a:xfrm>
                      <a:custGeom>
                        <a:avLst/>
                        <a:gdLst>
                          <a:gd name="connsiteX0" fmla="*/ 0 w 0"/>
                          <a:gd name="connsiteY0" fmla="*/ 0 h 0"/>
                          <a:gd name="connsiteX1" fmla="*/ 186 w 0"/>
                          <a:gd name="connsiteY1" fmla="*/ 489 h 0"/>
                          <a:gd name="connsiteX2" fmla="*/ 186 w 0"/>
                          <a:gd name="connsiteY2" fmla="*/ 489 h 0"/>
                          <a:gd name="connsiteX3" fmla="*/ 0 w 0"/>
                          <a:gd name="connsiteY3" fmla="*/ 0 h 0"/>
                          <a:gd name="connsiteX4" fmla="*/ 0 w 0"/>
                          <a:gd name="connsiteY4" fmla="*/ 0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0" y="0"/>
                            </a:moveTo>
                            <a:cubicBezTo>
                              <a:pt x="47" y="163"/>
                              <a:pt x="116" y="326"/>
                              <a:pt x="186" y="489"/>
                            </a:cubicBezTo>
                            <a:lnTo>
                              <a:pt x="186" y="489"/>
                            </a:lnTo>
                            <a:cubicBezTo>
                              <a:pt x="116" y="349"/>
                              <a:pt x="47" y="186"/>
                              <a:pt x="0" y="0"/>
                            </a:cubicBez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621" name="Freeform: Shape 1620">
                        <a:extLst>
                          <a:ext uri="{FF2B5EF4-FFF2-40B4-BE49-F238E27FC236}">
                            <a16:creationId xmlns:a16="http://schemas.microsoft.com/office/drawing/2014/main" id="{FCDD354C-7AFE-4D27-B270-F63DAB6DE0C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96488" y="4170122"/>
                        <a:ext cx="2326" cy="2326"/>
                      </a:xfrm>
                      <a:custGeom>
                        <a:avLst/>
                        <a:gdLst>
                          <a:gd name="connsiteX0" fmla="*/ 1954 w 2326"/>
                          <a:gd name="connsiteY0" fmla="*/ 1024 h 0"/>
                          <a:gd name="connsiteX1" fmla="*/ 1791 w 2326"/>
                          <a:gd name="connsiteY1" fmla="*/ 1442 h 0"/>
                          <a:gd name="connsiteX2" fmla="*/ 2954 w 2326"/>
                          <a:gd name="connsiteY2" fmla="*/ 1442 h 0"/>
                          <a:gd name="connsiteX3" fmla="*/ 1977 w 2326"/>
                          <a:gd name="connsiteY3" fmla="*/ 1000 h 0"/>
                          <a:gd name="connsiteX4" fmla="*/ 0 w 2326"/>
                          <a:gd name="connsiteY4" fmla="*/ 0 h 0"/>
                          <a:gd name="connsiteX5" fmla="*/ 1977 w 2326"/>
                          <a:gd name="connsiteY5" fmla="*/ 1000 h 0"/>
                          <a:gd name="connsiteX6" fmla="*/ 1954 w 2326"/>
                          <a:gd name="connsiteY6" fmla="*/ 1024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2326">
                            <a:moveTo>
                              <a:pt x="1954" y="1024"/>
                            </a:moveTo>
                            <a:cubicBezTo>
                              <a:pt x="1907" y="1186"/>
                              <a:pt x="1838" y="1303"/>
                              <a:pt x="1791" y="1442"/>
                            </a:cubicBezTo>
                            <a:lnTo>
                              <a:pt x="2954" y="1442"/>
                            </a:lnTo>
                            <a:cubicBezTo>
                              <a:pt x="2629" y="1303"/>
                              <a:pt x="2303" y="1140"/>
                              <a:pt x="1977" y="1000"/>
                            </a:cubicBezTo>
                            <a:cubicBezTo>
                              <a:pt x="1326" y="675"/>
                              <a:pt x="651" y="349"/>
                              <a:pt x="0" y="0"/>
                            </a:cubicBezTo>
                            <a:cubicBezTo>
                              <a:pt x="651" y="349"/>
                              <a:pt x="1303" y="675"/>
                              <a:pt x="1977" y="1000"/>
                            </a:cubicBezTo>
                            <a:lnTo>
                              <a:pt x="1954" y="1024"/>
                            </a:ln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622" name="Freeform: Shape 1621">
                        <a:extLst>
                          <a:ext uri="{FF2B5EF4-FFF2-40B4-BE49-F238E27FC236}">
                            <a16:creationId xmlns:a16="http://schemas.microsoft.com/office/drawing/2014/main" id="{91E18F27-784A-45A1-9659-DE95831531A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93324" y="4168423"/>
                        <a:ext cx="2326" cy="2326"/>
                      </a:xfrm>
                      <a:custGeom>
                        <a:avLst/>
                        <a:gdLst>
                          <a:gd name="connsiteX0" fmla="*/ 0 w 0"/>
                          <a:gd name="connsiteY0" fmla="*/ 582 h 0"/>
                          <a:gd name="connsiteX1" fmla="*/ 1233 w 0"/>
                          <a:gd name="connsiteY1" fmla="*/ 582 h 0"/>
                          <a:gd name="connsiteX2" fmla="*/ 279 w 0"/>
                          <a:gd name="connsiteY2" fmla="*/ 0 h 0"/>
                          <a:gd name="connsiteX3" fmla="*/ 279 w 0"/>
                          <a:gd name="connsiteY3" fmla="*/ 23 h 0"/>
                          <a:gd name="connsiteX4" fmla="*/ 0 w 0"/>
                          <a:gd name="connsiteY4" fmla="*/ 582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0" y="582"/>
                            </a:moveTo>
                            <a:lnTo>
                              <a:pt x="1233" y="582"/>
                            </a:lnTo>
                            <a:cubicBezTo>
                              <a:pt x="907" y="395"/>
                              <a:pt x="605" y="186"/>
                              <a:pt x="279" y="0"/>
                            </a:cubicBezTo>
                            <a:lnTo>
                              <a:pt x="279" y="23"/>
                            </a:lnTo>
                            <a:cubicBezTo>
                              <a:pt x="209" y="233"/>
                              <a:pt x="116" y="419"/>
                              <a:pt x="0" y="582"/>
                            </a:cubicBez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623" name="Freeform: Shape 1622">
                        <a:extLst>
                          <a:ext uri="{FF2B5EF4-FFF2-40B4-BE49-F238E27FC236}">
                            <a16:creationId xmlns:a16="http://schemas.microsoft.com/office/drawing/2014/main" id="{8BA7B29B-C933-4742-AC63-93B0C48E5EE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90556" y="4168772"/>
                        <a:ext cx="2326" cy="2326"/>
                      </a:xfrm>
                      <a:custGeom>
                        <a:avLst/>
                        <a:gdLst>
                          <a:gd name="connsiteX0" fmla="*/ 302 w 0"/>
                          <a:gd name="connsiteY0" fmla="*/ 233 h 0"/>
                          <a:gd name="connsiteX1" fmla="*/ 302 w 0"/>
                          <a:gd name="connsiteY1" fmla="*/ 233 h 0"/>
                          <a:gd name="connsiteX2" fmla="*/ 0 w 0"/>
                          <a:gd name="connsiteY2" fmla="*/ 0 h 0"/>
                          <a:gd name="connsiteX3" fmla="*/ 302 w 0"/>
                          <a:gd name="connsiteY3" fmla="*/ 233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302" y="233"/>
                            </a:moveTo>
                            <a:lnTo>
                              <a:pt x="302" y="233"/>
                            </a:lnTo>
                            <a:cubicBezTo>
                              <a:pt x="209" y="163"/>
                              <a:pt x="93" y="93"/>
                              <a:pt x="0" y="0"/>
                            </a:cubicBezTo>
                            <a:cubicBezTo>
                              <a:pt x="116" y="70"/>
                              <a:pt x="209" y="163"/>
                              <a:pt x="302" y="233"/>
                            </a:cubicBez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624" name="Freeform: Shape 1623">
                        <a:extLst>
                          <a:ext uri="{FF2B5EF4-FFF2-40B4-BE49-F238E27FC236}">
                            <a16:creationId xmlns:a16="http://schemas.microsoft.com/office/drawing/2014/main" id="{4A91A33D-CE16-4FDE-B320-48401E5D224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89718" y="4165772"/>
                        <a:ext cx="2326" cy="2326"/>
                      </a:xfrm>
                      <a:custGeom>
                        <a:avLst/>
                        <a:gdLst>
                          <a:gd name="connsiteX0" fmla="*/ 163 w 0"/>
                          <a:gd name="connsiteY0" fmla="*/ 0 h 0"/>
                          <a:gd name="connsiteX1" fmla="*/ 163 w 0"/>
                          <a:gd name="connsiteY1" fmla="*/ 0 h 0"/>
                          <a:gd name="connsiteX2" fmla="*/ 163 w 0"/>
                          <a:gd name="connsiteY2" fmla="*/ 23 h 0"/>
                          <a:gd name="connsiteX3" fmla="*/ 0 w 0"/>
                          <a:gd name="connsiteY3" fmla="*/ 837 h 0"/>
                          <a:gd name="connsiteX4" fmla="*/ 0 w 0"/>
                          <a:gd name="connsiteY4" fmla="*/ 837 h 0"/>
                          <a:gd name="connsiteX5" fmla="*/ 163 w 0"/>
                          <a:gd name="connsiteY5" fmla="*/ 23 h 0"/>
                          <a:gd name="connsiteX6" fmla="*/ 163 w 0"/>
                          <a:gd name="connsiteY6" fmla="*/ 0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163" y="0"/>
                            </a:moveTo>
                            <a:lnTo>
                              <a:pt x="163" y="0"/>
                            </a:lnTo>
                            <a:lnTo>
                              <a:pt x="163" y="23"/>
                            </a:lnTo>
                            <a:cubicBezTo>
                              <a:pt x="70" y="279"/>
                              <a:pt x="23" y="558"/>
                              <a:pt x="0" y="837"/>
                            </a:cubicBezTo>
                            <a:lnTo>
                              <a:pt x="0" y="837"/>
                            </a:lnTo>
                            <a:cubicBezTo>
                              <a:pt x="23" y="558"/>
                              <a:pt x="70" y="279"/>
                              <a:pt x="163" y="23"/>
                            </a:cubicBezTo>
                            <a:lnTo>
                              <a:pt x="163" y="0"/>
                            </a:ln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625" name="Freeform: Shape 1624">
                        <a:extLst>
                          <a:ext uri="{FF2B5EF4-FFF2-40B4-BE49-F238E27FC236}">
                            <a16:creationId xmlns:a16="http://schemas.microsoft.com/office/drawing/2014/main" id="{930224FE-27A4-4103-95B7-B0366020D0B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04466" y="4173960"/>
                        <a:ext cx="2326" cy="2326"/>
                      </a:xfrm>
                      <a:custGeom>
                        <a:avLst/>
                        <a:gdLst>
                          <a:gd name="connsiteX0" fmla="*/ 0 w 0"/>
                          <a:gd name="connsiteY0" fmla="*/ 0 h 0"/>
                          <a:gd name="connsiteX1" fmla="*/ 23 w 0"/>
                          <a:gd name="connsiteY1" fmla="*/ 186 h 0"/>
                          <a:gd name="connsiteX2" fmla="*/ 0 w 0"/>
                          <a:gd name="connsiteY2" fmla="*/ 0 h 0"/>
                          <a:gd name="connsiteX3" fmla="*/ 0 w 0"/>
                          <a:gd name="connsiteY3" fmla="*/ 0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0" y="0"/>
                            </a:moveTo>
                            <a:cubicBezTo>
                              <a:pt x="0" y="70"/>
                              <a:pt x="23" y="140"/>
                              <a:pt x="23" y="186"/>
                            </a:cubicBezTo>
                            <a:cubicBezTo>
                              <a:pt x="0" y="140"/>
                              <a:pt x="0" y="70"/>
                              <a:pt x="0" y="0"/>
                            </a:cubicBez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626" name="Freeform: Shape 1625">
                        <a:extLst>
                          <a:ext uri="{FF2B5EF4-FFF2-40B4-BE49-F238E27FC236}">
                            <a16:creationId xmlns:a16="http://schemas.microsoft.com/office/drawing/2014/main" id="{93C7D974-8CF2-477D-9CE0-EC4007D3D9C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99395" y="4172355"/>
                        <a:ext cx="2326" cy="2326"/>
                      </a:xfrm>
                      <a:custGeom>
                        <a:avLst/>
                        <a:gdLst>
                          <a:gd name="connsiteX0" fmla="*/ 0 w 0"/>
                          <a:gd name="connsiteY0" fmla="*/ 70 h 0"/>
                          <a:gd name="connsiteX1" fmla="*/ 0 w 0"/>
                          <a:gd name="connsiteY1" fmla="*/ 70 h 0"/>
                          <a:gd name="connsiteX2" fmla="*/ 0 w 0"/>
                          <a:gd name="connsiteY2" fmla="*/ 0 h 0"/>
                          <a:gd name="connsiteX3" fmla="*/ 0 w 0"/>
                          <a:gd name="connsiteY3" fmla="*/ 70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0" y="70"/>
                            </a:moveTo>
                            <a:lnTo>
                              <a:pt x="0" y="70"/>
                            </a:lnTo>
                            <a:cubicBezTo>
                              <a:pt x="0" y="47"/>
                              <a:pt x="0" y="23"/>
                              <a:pt x="0" y="0"/>
                            </a:cubicBezTo>
                            <a:cubicBezTo>
                              <a:pt x="0" y="0"/>
                              <a:pt x="0" y="47"/>
                              <a:pt x="0" y="70"/>
                            </a:cubicBez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627" name="Freeform: Shape 1626">
                        <a:extLst>
                          <a:ext uri="{FF2B5EF4-FFF2-40B4-BE49-F238E27FC236}">
                            <a16:creationId xmlns:a16="http://schemas.microsoft.com/office/drawing/2014/main" id="{BDA10C53-6FE6-442F-93BD-E48155EC3A0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04536" y="4174495"/>
                        <a:ext cx="2326" cy="2326"/>
                      </a:xfrm>
                      <a:custGeom>
                        <a:avLst/>
                        <a:gdLst>
                          <a:gd name="connsiteX0" fmla="*/ 0 w 0"/>
                          <a:gd name="connsiteY0" fmla="*/ 23 h 0"/>
                          <a:gd name="connsiteX1" fmla="*/ 0 w 0"/>
                          <a:gd name="connsiteY1" fmla="*/ 23 h 0"/>
                          <a:gd name="connsiteX2" fmla="*/ 0 w 0"/>
                          <a:gd name="connsiteY2" fmla="*/ 0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0" y="23"/>
                            </a:moveTo>
                            <a:lnTo>
                              <a:pt x="0" y="23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628" name="Freeform: Shape 1627">
                        <a:extLst>
                          <a:ext uri="{FF2B5EF4-FFF2-40B4-BE49-F238E27FC236}">
                            <a16:creationId xmlns:a16="http://schemas.microsoft.com/office/drawing/2014/main" id="{F7749C9C-0E28-43F3-9290-1D507A1F7E6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60385" y="4139486"/>
                        <a:ext cx="9305" cy="2326"/>
                      </a:xfrm>
                      <a:custGeom>
                        <a:avLst/>
                        <a:gdLst>
                          <a:gd name="connsiteX0" fmla="*/ 10305 w 9304"/>
                          <a:gd name="connsiteY0" fmla="*/ 0 h 0"/>
                          <a:gd name="connsiteX1" fmla="*/ 10305 w 9304"/>
                          <a:gd name="connsiteY1" fmla="*/ 0 h 0"/>
                          <a:gd name="connsiteX2" fmla="*/ 10305 w 9304"/>
                          <a:gd name="connsiteY2" fmla="*/ 0 h 0"/>
                          <a:gd name="connsiteX3" fmla="*/ 9514 w 9304"/>
                          <a:gd name="connsiteY3" fmla="*/ 302 h 0"/>
                          <a:gd name="connsiteX4" fmla="*/ 9514 w 9304"/>
                          <a:gd name="connsiteY4" fmla="*/ 302 h 0"/>
                          <a:gd name="connsiteX5" fmla="*/ 9514 w 9304"/>
                          <a:gd name="connsiteY5" fmla="*/ 302 h 0"/>
                          <a:gd name="connsiteX6" fmla="*/ 0 w 9304"/>
                          <a:gd name="connsiteY6" fmla="*/ 302 h 0"/>
                          <a:gd name="connsiteX7" fmla="*/ 419 w 9304"/>
                          <a:gd name="connsiteY7" fmla="*/ 1233 h 0"/>
                          <a:gd name="connsiteX8" fmla="*/ 10840 w 9304"/>
                          <a:gd name="connsiteY8" fmla="*/ 1233 h 0"/>
                          <a:gd name="connsiteX9" fmla="*/ 10305 w 9304"/>
                          <a:gd name="connsiteY9" fmla="*/ 0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</a:cxnLst>
                        <a:rect l="l" t="t" r="r" b="b"/>
                        <a:pathLst>
                          <a:path w="9304">
                            <a:moveTo>
                              <a:pt x="10305" y="0"/>
                            </a:moveTo>
                            <a:lnTo>
                              <a:pt x="10305" y="0"/>
                            </a:lnTo>
                            <a:lnTo>
                              <a:pt x="10305" y="0"/>
                            </a:lnTo>
                            <a:cubicBezTo>
                              <a:pt x="10049" y="209"/>
                              <a:pt x="9770" y="302"/>
                              <a:pt x="9514" y="302"/>
                            </a:cubicBezTo>
                            <a:lnTo>
                              <a:pt x="9514" y="302"/>
                            </a:lnTo>
                            <a:lnTo>
                              <a:pt x="9514" y="302"/>
                            </a:lnTo>
                            <a:lnTo>
                              <a:pt x="0" y="302"/>
                            </a:lnTo>
                            <a:cubicBezTo>
                              <a:pt x="140" y="628"/>
                              <a:pt x="256" y="930"/>
                              <a:pt x="419" y="1233"/>
                            </a:cubicBezTo>
                            <a:lnTo>
                              <a:pt x="10840" y="1233"/>
                            </a:lnTo>
                            <a:cubicBezTo>
                              <a:pt x="10654" y="814"/>
                              <a:pt x="10468" y="419"/>
                              <a:pt x="10305" y="0"/>
                            </a:cubicBez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629" name="Freeform: Shape 1628">
                        <a:extLst>
                          <a:ext uri="{FF2B5EF4-FFF2-40B4-BE49-F238E27FC236}">
                            <a16:creationId xmlns:a16="http://schemas.microsoft.com/office/drawing/2014/main" id="{5300461F-6B36-4163-B342-EADEF8E0DD4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04466" y="4173378"/>
                        <a:ext cx="2326" cy="2326"/>
                      </a:xfrm>
                      <a:custGeom>
                        <a:avLst/>
                        <a:gdLst>
                          <a:gd name="connsiteX0" fmla="*/ 0 w 0"/>
                          <a:gd name="connsiteY0" fmla="*/ 0 h 0"/>
                          <a:gd name="connsiteX1" fmla="*/ 0 w 0"/>
                          <a:gd name="connsiteY1" fmla="*/ 23 h 0"/>
                          <a:gd name="connsiteX2" fmla="*/ 0 w 0"/>
                          <a:gd name="connsiteY2" fmla="*/ 0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0" y="0"/>
                            </a:moveTo>
                            <a:lnTo>
                              <a:pt x="0" y="23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630" name="Freeform: Shape 1629">
                        <a:extLst>
                          <a:ext uri="{FF2B5EF4-FFF2-40B4-BE49-F238E27FC236}">
                            <a16:creationId xmlns:a16="http://schemas.microsoft.com/office/drawing/2014/main" id="{8810A23E-3619-4C95-811D-8B0DBD6C942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99465" y="4172890"/>
                        <a:ext cx="2326" cy="2326"/>
                      </a:xfrm>
                      <a:custGeom>
                        <a:avLst/>
                        <a:gdLst>
                          <a:gd name="connsiteX0" fmla="*/ 0 w 0"/>
                          <a:gd name="connsiteY0" fmla="*/ 0 h 0"/>
                          <a:gd name="connsiteX1" fmla="*/ 23 w 0"/>
                          <a:gd name="connsiteY1" fmla="*/ 70 h 0"/>
                          <a:gd name="connsiteX2" fmla="*/ 0 w 0"/>
                          <a:gd name="connsiteY2" fmla="*/ 0 h 0"/>
                          <a:gd name="connsiteX3" fmla="*/ 0 w 0"/>
                          <a:gd name="connsiteY3" fmla="*/ 0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0" y="0"/>
                            </a:moveTo>
                            <a:cubicBezTo>
                              <a:pt x="0" y="23"/>
                              <a:pt x="23" y="46"/>
                              <a:pt x="23" y="70"/>
                            </a:cubicBezTo>
                            <a:cubicBezTo>
                              <a:pt x="0" y="46"/>
                              <a:pt x="0" y="23"/>
                              <a:pt x="0" y="0"/>
                            </a:cubicBez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631" name="Freeform: Shape 1630">
                        <a:extLst>
                          <a:ext uri="{FF2B5EF4-FFF2-40B4-BE49-F238E27FC236}">
                            <a16:creationId xmlns:a16="http://schemas.microsoft.com/office/drawing/2014/main" id="{B039AC23-E64B-43E3-B632-FF404397D75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08560" y="4174309"/>
                        <a:ext cx="2326" cy="2326"/>
                      </a:xfrm>
                      <a:custGeom>
                        <a:avLst/>
                        <a:gdLst>
                          <a:gd name="connsiteX0" fmla="*/ 0 w 0"/>
                          <a:gd name="connsiteY0" fmla="*/ 209 h 0"/>
                          <a:gd name="connsiteX1" fmla="*/ 1024 w 0"/>
                          <a:gd name="connsiteY1" fmla="*/ 209 h 0"/>
                          <a:gd name="connsiteX2" fmla="*/ 1024 w 0"/>
                          <a:gd name="connsiteY2" fmla="*/ 209 h 0"/>
                          <a:gd name="connsiteX3" fmla="*/ 1024 w 0"/>
                          <a:gd name="connsiteY3" fmla="*/ 209 h 0"/>
                          <a:gd name="connsiteX4" fmla="*/ 1024 w 0"/>
                          <a:gd name="connsiteY4" fmla="*/ 163 h 0"/>
                          <a:gd name="connsiteX5" fmla="*/ 70 w 0"/>
                          <a:gd name="connsiteY5" fmla="*/ 0 h 0"/>
                          <a:gd name="connsiteX6" fmla="*/ 70 w 0"/>
                          <a:gd name="connsiteY6" fmla="*/ 0 h 0"/>
                          <a:gd name="connsiteX7" fmla="*/ 70 w 0"/>
                          <a:gd name="connsiteY7" fmla="*/ 46 h 0"/>
                          <a:gd name="connsiteX8" fmla="*/ 0 w 0"/>
                          <a:gd name="connsiteY8" fmla="*/ 209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0" y="209"/>
                            </a:moveTo>
                            <a:lnTo>
                              <a:pt x="1024" y="209"/>
                            </a:lnTo>
                            <a:lnTo>
                              <a:pt x="1024" y="209"/>
                            </a:lnTo>
                            <a:lnTo>
                              <a:pt x="1024" y="209"/>
                            </a:lnTo>
                            <a:lnTo>
                              <a:pt x="1024" y="163"/>
                            </a:lnTo>
                            <a:cubicBezTo>
                              <a:pt x="698" y="116"/>
                              <a:pt x="372" y="70"/>
                              <a:pt x="70" y="0"/>
                            </a:cubicBezTo>
                            <a:lnTo>
                              <a:pt x="70" y="0"/>
                            </a:lnTo>
                            <a:lnTo>
                              <a:pt x="70" y="46"/>
                            </a:lnTo>
                            <a:cubicBezTo>
                              <a:pt x="23" y="93"/>
                              <a:pt x="0" y="140"/>
                              <a:pt x="0" y="209"/>
                            </a:cubicBez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632" name="Freeform: Shape 1631">
                        <a:extLst>
                          <a:ext uri="{FF2B5EF4-FFF2-40B4-BE49-F238E27FC236}">
                            <a16:creationId xmlns:a16="http://schemas.microsoft.com/office/drawing/2014/main" id="{872910BA-2EE8-4F3B-9380-C15216C93A3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99395" y="4172494"/>
                        <a:ext cx="2326" cy="2326"/>
                      </a:xfrm>
                      <a:custGeom>
                        <a:avLst/>
                        <a:gdLst>
                          <a:gd name="connsiteX0" fmla="*/ 0 w 0"/>
                          <a:gd name="connsiteY0" fmla="*/ 0 h 0"/>
                          <a:gd name="connsiteX1" fmla="*/ 0 w 0"/>
                          <a:gd name="connsiteY1" fmla="*/ 0 h 0"/>
                          <a:gd name="connsiteX2" fmla="*/ 0 w 0"/>
                          <a:gd name="connsiteY2" fmla="*/ 0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0" y="0"/>
                            </a:moveTo>
                            <a:lnTo>
                              <a:pt x="0" y="0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633" name="Freeform: Shape 1632">
                        <a:extLst>
                          <a:ext uri="{FF2B5EF4-FFF2-40B4-BE49-F238E27FC236}">
                            <a16:creationId xmlns:a16="http://schemas.microsoft.com/office/drawing/2014/main" id="{27743EAC-FA5D-45CE-8AD2-5DBD22AE2CC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99605" y="4173332"/>
                        <a:ext cx="2326" cy="2326"/>
                      </a:xfrm>
                      <a:custGeom>
                        <a:avLst/>
                        <a:gdLst>
                          <a:gd name="connsiteX0" fmla="*/ 0 w 0"/>
                          <a:gd name="connsiteY0" fmla="*/ 0 h 0"/>
                          <a:gd name="connsiteX1" fmla="*/ 23 w 0"/>
                          <a:gd name="connsiteY1" fmla="*/ 23 h 0"/>
                          <a:gd name="connsiteX2" fmla="*/ 23 w 0"/>
                          <a:gd name="connsiteY2" fmla="*/ 46 h 0"/>
                          <a:gd name="connsiteX3" fmla="*/ 0 w 0"/>
                          <a:gd name="connsiteY3" fmla="*/ 0 h 0"/>
                          <a:gd name="connsiteX4" fmla="*/ 0 w 0"/>
                          <a:gd name="connsiteY4" fmla="*/ 0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0" y="0"/>
                            </a:moveTo>
                            <a:cubicBezTo>
                              <a:pt x="0" y="23"/>
                              <a:pt x="23" y="23"/>
                              <a:pt x="23" y="23"/>
                            </a:cubicBezTo>
                            <a:lnTo>
                              <a:pt x="23" y="46"/>
                            </a:lnTo>
                            <a:cubicBezTo>
                              <a:pt x="23" y="46"/>
                              <a:pt x="23" y="0"/>
                              <a:pt x="0" y="0"/>
                            </a:cubicBez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634" name="Freeform: Shape 1633">
                        <a:extLst>
                          <a:ext uri="{FF2B5EF4-FFF2-40B4-BE49-F238E27FC236}">
                            <a16:creationId xmlns:a16="http://schemas.microsoft.com/office/drawing/2014/main" id="{B81A3402-E5CD-434B-B4E1-952700AD751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94441" y="4169400"/>
                        <a:ext cx="2326" cy="2326"/>
                      </a:xfrm>
                      <a:custGeom>
                        <a:avLst/>
                        <a:gdLst>
                          <a:gd name="connsiteX0" fmla="*/ 0 w 0"/>
                          <a:gd name="connsiteY0" fmla="*/ 442 h 0"/>
                          <a:gd name="connsiteX1" fmla="*/ 0 w 0"/>
                          <a:gd name="connsiteY1" fmla="*/ 442 h 0"/>
                          <a:gd name="connsiteX2" fmla="*/ 47 w 0"/>
                          <a:gd name="connsiteY2" fmla="*/ 0 h 0"/>
                          <a:gd name="connsiteX3" fmla="*/ 0 w 0"/>
                          <a:gd name="connsiteY3" fmla="*/ 442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0" y="442"/>
                            </a:moveTo>
                            <a:lnTo>
                              <a:pt x="0" y="442"/>
                            </a:lnTo>
                            <a:cubicBezTo>
                              <a:pt x="0" y="302"/>
                              <a:pt x="47" y="140"/>
                              <a:pt x="47" y="0"/>
                            </a:cubicBezTo>
                            <a:cubicBezTo>
                              <a:pt x="47" y="163"/>
                              <a:pt x="0" y="302"/>
                              <a:pt x="0" y="442"/>
                            </a:cubicBez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635" name="Freeform: Shape 1634">
                        <a:extLst>
                          <a:ext uri="{FF2B5EF4-FFF2-40B4-BE49-F238E27FC236}">
                            <a16:creationId xmlns:a16="http://schemas.microsoft.com/office/drawing/2014/main" id="{CEFBFBDB-C660-4391-AA92-1F52E13068D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77576" y="4152303"/>
                        <a:ext cx="2326" cy="2326"/>
                      </a:xfrm>
                      <a:custGeom>
                        <a:avLst/>
                        <a:gdLst>
                          <a:gd name="connsiteX0" fmla="*/ 1140 w 0"/>
                          <a:gd name="connsiteY0" fmla="*/ 1605 h 0"/>
                          <a:gd name="connsiteX1" fmla="*/ 605 w 0"/>
                          <a:gd name="connsiteY1" fmla="*/ 861 h 0"/>
                          <a:gd name="connsiteX2" fmla="*/ 0 w 0"/>
                          <a:gd name="connsiteY2" fmla="*/ 0 h 0"/>
                          <a:gd name="connsiteX3" fmla="*/ 0 w 0"/>
                          <a:gd name="connsiteY3" fmla="*/ 0 h 0"/>
                          <a:gd name="connsiteX4" fmla="*/ 0 w 0"/>
                          <a:gd name="connsiteY4" fmla="*/ 0 h 0"/>
                          <a:gd name="connsiteX5" fmla="*/ 1140 w 0"/>
                          <a:gd name="connsiteY5" fmla="*/ 1605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1140" y="1605"/>
                            </a:moveTo>
                            <a:cubicBezTo>
                              <a:pt x="977" y="1349"/>
                              <a:pt x="791" y="1117"/>
                              <a:pt x="605" y="861"/>
                            </a:cubicBezTo>
                            <a:cubicBezTo>
                              <a:pt x="395" y="582"/>
                              <a:pt x="186" y="279"/>
                              <a:pt x="0" y="0"/>
                            </a:cubicBezTo>
                            <a:lnTo>
                              <a:pt x="0" y="0"/>
                            </a:lnTo>
                            <a:lnTo>
                              <a:pt x="0" y="0"/>
                            </a:lnTo>
                            <a:cubicBezTo>
                              <a:pt x="395" y="558"/>
                              <a:pt x="768" y="1093"/>
                              <a:pt x="1140" y="1605"/>
                            </a:cubicBez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636" name="Freeform: Shape 1635">
                        <a:extLst>
                          <a:ext uri="{FF2B5EF4-FFF2-40B4-BE49-F238E27FC236}">
                            <a16:creationId xmlns:a16="http://schemas.microsoft.com/office/drawing/2014/main" id="{E811BE01-7936-480E-B259-78DB62D8AA3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77273" y="4152326"/>
                        <a:ext cx="2326" cy="2326"/>
                      </a:xfrm>
                      <a:custGeom>
                        <a:avLst/>
                        <a:gdLst>
                          <a:gd name="connsiteX0" fmla="*/ 0 w 0"/>
                          <a:gd name="connsiteY0" fmla="*/ 675 h 0"/>
                          <a:gd name="connsiteX1" fmla="*/ 0 w 0"/>
                          <a:gd name="connsiteY1" fmla="*/ 675 h 0"/>
                          <a:gd name="connsiteX2" fmla="*/ 302 w 0"/>
                          <a:gd name="connsiteY2" fmla="*/ 0 h 0"/>
                          <a:gd name="connsiteX3" fmla="*/ 0 w 0"/>
                          <a:gd name="connsiteY3" fmla="*/ 675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0" y="675"/>
                            </a:moveTo>
                            <a:lnTo>
                              <a:pt x="0" y="675"/>
                            </a:lnTo>
                            <a:cubicBezTo>
                              <a:pt x="70" y="442"/>
                              <a:pt x="163" y="209"/>
                              <a:pt x="302" y="0"/>
                            </a:cubicBezTo>
                            <a:cubicBezTo>
                              <a:pt x="163" y="209"/>
                              <a:pt x="70" y="442"/>
                              <a:pt x="0" y="675"/>
                            </a:cubicBez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637" name="Freeform: Shape 1636">
                        <a:extLst>
                          <a:ext uri="{FF2B5EF4-FFF2-40B4-BE49-F238E27FC236}">
                            <a16:creationId xmlns:a16="http://schemas.microsoft.com/office/drawing/2014/main" id="{2631EAC1-1E0C-4F19-A302-E9F08AF1CF0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81135" y="4157397"/>
                        <a:ext cx="2326" cy="2326"/>
                      </a:xfrm>
                      <a:custGeom>
                        <a:avLst/>
                        <a:gdLst>
                          <a:gd name="connsiteX0" fmla="*/ 70 w 0"/>
                          <a:gd name="connsiteY0" fmla="*/ 326 h 0"/>
                          <a:gd name="connsiteX1" fmla="*/ 70 w 0"/>
                          <a:gd name="connsiteY1" fmla="*/ 372 h 0"/>
                          <a:gd name="connsiteX2" fmla="*/ 0 w 0"/>
                          <a:gd name="connsiteY2" fmla="*/ 605 h 0"/>
                          <a:gd name="connsiteX3" fmla="*/ 233 w 0"/>
                          <a:gd name="connsiteY3" fmla="*/ 0 h 0"/>
                          <a:gd name="connsiteX4" fmla="*/ 70 w 0"/>
                          <a:gd name="connsiteY4" fmla="*/ 326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70" y="326"/>
                            </a:moveTo>
                            <a:cubicBezTo>
                              <a:pt x="70" y="326"/>
                              <a:pt x="70" y="349"/>
                              <a:pt x="70" y="372"/>
                            </a:cubicBezTo>
                            <a:cubicBezTo>
                              <a:pt x="47" y="442"/>
                              <a:pt x="23" y="535"/>
                              <a:pt x="0" y="605"/>
                            </a:cubicBezTo>
                            <a:cubicBezTo>
                              <a:pt x="70" y="395"/>
                              <a:pt x="116" y="186"/>
                              <a:pt x="233" y="0"/>
                            </a:cubicBezTo>
                            <a:cubicBezTo>
                              <a:pt x="163" y="93"/>
                              <a:pt x="93" y="209"/>
                              <a:pt x="70" y="326"/>
                            </a:cubicBez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638" name="Freeform: Shape 1637">
                        <a:extLst>
                          <a:ext uri="{FF2B5EF4-FFF2-40B4-BE49-F238E27FC236}">
                            <a16:creationId xmlns:a16="http://schemas.microsoft.com/office/drawing/2014/main" id="{A020A68F-42EA-4517-88D8-74C2F481748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83624" y="4161026"/>
                        <a:ext cx="2326" cy="2326"/>
                      </a:xfrm>
                      <a:custGeom>
                        <a:avLst/>
                        <a:gdLst>
                          <a:gd name="connsiteX0" fmla="*/ 0 w 0"/>
                          <a:gd name="connsiteY0" fmla="*/ 837 h 0"/>
                          <a:gd name="connsiteX1" fmla="*/ 1861 w 0"/>
                          <a:gd name="connsiteY1" fmla="*/ 837 h 0"/>
                          <a:gd name="connsiteX2" fmla="*/ 1024 w 0"/>
                          <a:gd name="connsiteY2" fmla="*/ 0 h 0"/>
                          <a:gd name="connsiteX3" fmla="*/ 1024 w 0"/>
                          <a:gd name="connsiteY3" fmla="*/ 23 h 0"/>
                          <a:gd name="connsiteX4" fmla="*/ 0 w 0"/>
                          <a:gd name="connsiteY4" fmla="*/ 837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0" y="837"/>
                            </a:moveTo>
                            <a:lnTo>
                              <a:pt x="1861" y="837"/>
                            </a:lnTo>
                            <a:cubicBezTo>
                              <a:pt x="1582" y="558"/>
                              <a:pt x="1303" y="279"/>
                              <a:pt x="1024" y="0"/>
                            </a:cubicBezTo>
                            <a:cubicBezTo>
                              <a:pt x="1024" y="0"/>
                              <a:pt x="1024" y="23"/>
                              <a:pt x="1024" y="23"/>
                            </a:cubicBezTo>
                            <a:cubicBezTo>
                              <a:pt x="744" y="489"/>
                              <a:pt x="372" y="768"/>
                              <a:pt x="0" y="837"/>
                            </a:cubicBez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639" name="Freeform: Shape 1638">
                        <a:extLst>
                          <a:ext uri="{FF2B5EF4-FFF2-40B4-BE49-F238E27FC236}">
                            <a16:creationId xmlns:a16="http://schemas.microsoft.com/office/drawing/2014/main" id="{C5C77FF7-2EB3-46C5-A666-138AB2ACA12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73784" y="4147511"/>
                        <a:ext cx="2326" cy="2326"/>
                      </a:xfrm>
                      <a:custGeom>
                        <a:avLst/>
                        <a:gdLst>
                          <a:gd name="connsiteX0" fmla="*/ 0 w 0"/>
                          <a:gd name="connsiteY0" fmla="*/ 0 h 0"/>
                          <a:gd name="connsiteX1" fmla="*/ 0 w 0"/>
                          <a:gd name="connsiteY1" fmla="*/ 0 h 0"/>
                          <a:gd name="connsiteX2" fmla="*/ 0 w 0"/>
                          <a:gd name="connsiteY2" fmla="*/ 0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0" y="0"/>
                            </a:moveTo>
                            <a:lnTo>
                              <a:pt x="0" y="0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640" name="Freeform: Shape 1639">
                        <a:extLst>
                          <a:ext uri="{FF2B5EF4-FFF2-40B4-BE49-F238E27FC236}">
                            <a16:creationId xmlns:a16="http://schemas.microsoft.com/office/drawing/2014/main" id="{89255F2C-38C7-47BE-A753-50BEB700C1C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89881" y="4165748"/>
                        <a:ext cx="2326" cy="2326"/>
                      </a:xfrm>
                      <a:custGeom>
                        <a:avLst/>
                        <a:gdLst>
                          <a:gd name="connsiteX0" fmla="*/ 3722 w 2326"/>
                          <a:gd name="connsiteY0" fmla="*/ 2652 h 2326"/>
                          <a:gd name="connsiteX1" fmla="*/ 1838 w 2326"/>
                          <a:gd name="connsiteY1" fmla="*/ 1372 h 2326"/>
                          <a:gd name="connsiteX2" fmla="*/ 0 w 2326"/>
                          <a:gd name="connsiteY2" fmla="*/ 0 h 2326"/>
                          <a:gd name="connsiteX3" fmla="*/ 0 w 2326"/>
                          <a:gd name="connsiteY3" fmla="*/ 0 h 2326"/>
                          <a:gd name="connsiteX4" fmla="*/ 3722 w 2326"/>
                          <a:gd name="connsiteY4" fmla="*/ 2652 h 232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2326" h="2326">
                            <a:moveTo>
                              <a:pt x="3722" y="2652"/>
                            </a:moveTo>
                            <a:cubicBezTo>
                              <a:pt x="3094" y="2233"/>
                              <a:pt x="2466" y="1814"/>
                              <a:pt x="1838" y="1372"/>
                            </a:cubicBezTo>
                            <a:cubicBezTo>
                              <a:pt x="1210" y="931"/>
                              <a:pt x="605" y="465"/>
                              <a:pt x="0" y="0"/>
                            </a:cubicBezTo>
                            <a:lnTo>
                              <a:pt x="0" y="0"/>
                            </a:lnTo>
                            <a:cubicBezTo>
                              <a:pt x="1210" y="954"/>
                              <a:pt x="2466" y="1838"/>
                              <a:pt x="3722" y="2652"/>
                            </a:cubicBez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641" name="Freeform: Shape 1640">
                        <a:extLst>
                          <a:ext uri="{FF2B5EF4-FFF2-40B4-BE49-F238E27FC236}">
                            <a16:creationId xmlns:a16="http://schemas.microsoft.com/office/drawing/2014/main" id="{B1FC445B-F211-4E61-874F-7641E58F1AC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66829" y="4151233"/>
                        <a:ext cx="9305" cy="2326"/>
                      </a:xfrm>
                      <a:custGeom>
                        <a:avLst/>
                        <a:gdLst>
                          <a:gd name="connsiteX0" fmla="*/ 10770 w 9304"/>
                          <a:gd name="connsiteY0" fmla="*/ 1070 h 0"/>
                          <a:gd name="connsiteX1" fmla="*/ 10072 w 9304"/>
                          <a:gd name="connsiteY1" fmla="*/ 0 h 0"/>
                          <a:gd name="connsiteX2" fmla="*/ 10072 w 9304"/>
                          <a:gd name="connsiteY2" fmla="*/ 0 h 0"/>
                          <a:gd name="connsiteX3" fmla="*/ 10049 w 9304"/>
                          <a:gd name="connsiteY3" fmla="*/ 23 h 0"/>
                          <a:gd name="connsiteX4" fmla="*/ 9026 w 9304"/>
                          <a:gd name="connsiteY4" fmla="*/ 558 h 0"/>
                          <a:gd name="connsiteX5" fmla="*/ 0 w 9304"/>
                          <a:gd name="connsiteY5" fmla="*/ 558 h 0"/>
                          <a:gd name="connsiteX6" fmla="*/ 326 w 9304"/>
                          <a:gd name="connsiteY6" fmla="*/ 1070 h 0"/>
                          <a:gd name="connsiteX7" fmla="*/ 10770 w 9304"/>
                          <a:gd name="connsiteY7" fmla="*/ 1070 h 0"/>
                          <a:gd name="connsiteX8" fmla="*/ 10770 w 9304"/>
                          <a:gd name="connsiteY8" fmla="*/ 1070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9304">
                            <a:moveTo>
                              <a:pt x="10770" y="1070"/>
                            </a:moveTo>
                            <a:cubicBezTo>
                              <a:pt x="10538" y="721"/>
                              <a:pt x="10305" y="372"/>
                              <a:pt x="10072" y="0"/>
                            </a:cubicBezTo>
                            <a:lnTo>
                              <a:pt x="10072" y="0"/>
                            </a:lnTo>
                            <a:lnTo>
                              <a:pt x="10049" y="23"/>
                            </a:lnTo>
                            <a:cubicBezTo>
                              <a:pt x="9747" y="395"/>
                              <a:pt x="9398" y="558"/>
                              <a:pt x="9026" y="558"/>
                            </a:cubicBezTo>
                            <a:lnTo>
                              <a:pt x="0" y="558"/>
                            </a:lnTo>
                            <a:cubicBezTo>
                              <a:pt x="93" y="721"/>
                              <a:pt x="209" y="884"/>
                              <a:pt x="326" y="1070"/>
                            </a:cubicBezTo>
                            <a:lnTo>
                              <a:pt x="10770" y="1070"/>
                            </a:lnTo>
                            <a:lnTo>
                              <a:pt x="10770" y="1070"/>
                            </a:ln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642" name="Freeform: Shape 1641">
                        <a:extLst>
                          <a:ext uri="{FF2B5EF4-FFF2-40B4-BE49-F238E27FC236}">
                            <a16:creationId xmlns:a16="http://schemas.microsoft.com/office/drawing/2014/main" id="{34E98957-B30D-4FFB-B447-1BA92FF1C8B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63479" y="4145580"/>
                        <a:ext cx="9305" cy="2326"/>
                      </a:xfrm>
                      <a:custGeom>
                        <a:avLst/>
                        <a:gdLst>
                          <a:gd name="connsiteX0" fmla="*/ 582 w 9304"/>
                          <a:gd name="connsiteY0" fmla="*/ 1163 h 0"/>
                          <a:gd name="connsiteX1" fmla="*/ 744 w 9304"/>
                          <a:gd name="connsiteY1" fmla="*/ 1163 h 0"/>
                          <a:gd name="connsiteX2" fmla="*/ 907 w 9304"/>
                          <a:gd name="connsiteY2" fmla="*/ 1163 h 0"/>
                          <a:gd name="connsiteX3" fmla="*/ 1070 w 9304"/>
                          <a:gd name="connsiteY3" fmla="*/ 1163 h 0"/>
                          <a:gd name="connsiteX4" fmla="*/ 1233 w 9304"/>
                          <a:gd name="connsiteY4" fmla="*/ 1163 h 0"/>
                          <a:gd name="connsiteX5" fmla="*/ 1396 w 9304"/>
                          <a:gd name="connsiteY5" fmla="*/ 1163 h 0"/>
                          <a:gd name="connsiteX6" fmla="*/ 1559 w 9304"/>
                          <a:gd name="connsiteY6" fmla="*/ 1163 h 0"/>
                          <a:gd name="connsiteX7" fmla="*/ 2512 w 9304"/>
                          <a:gd name="connsiteY7" fmla="*/ 1163 h 0"/>
                          <a:gd name="connsiteX8" fmla="*/ 3513 w 9304"/>
                          <a:gd name="connsiteY8" fmla="*/ 1163 h 0"/>
                          <a:gd name="connsiteX9" fmla="*/ 4536 w 9304"/>
                          <a:gd name="connsiteY9" fmla="*/ 1163 h 0"/>
                          <a:gd name="connsiteX10" fmla="*/ 5560 w 9304"/>
                          <a:gd name="connsiteY10" fmla="*/ 1163 h 0"/>
                          <a:gd name="connsiteX11" fmla="*/ 6583 w 9304"/>
                          <a:gd name="connsiteY11" fmla="*/ 1163 h 0"/>
                          <a:gd name="connsiteX12" fmla="*/ 7607 w 9304"/>
                          <a:gd name="connsiteY12" fmla="*/ 1163 h 0"/>
                          <a:gd name="connsiteX13" fmla="*/ 8607 w 9304"/>
                          <a:gd name="connsiteY13" fmla="*/ 1163 h 0"/>
                          <a:gd name="connsiteX14" fmla="*/ 9561 w 9304"/>
                          <a:gd name="connsiteY14" fmla="*/ 1163 h 0"/>
                          <a:gd name="connsiteX15" fmla="*/ 9723 w 9304"/>
                          <a:gd name="connsiteY15" fmla="*/ 1163 h 0"/>
                          <a:gd name="connsiteX16" fmla="*/ 9886 w 9304"/>
                          <a:gd name="connsiteY16" fmla="*/ 1163 h 0"/>
                          <a:gd name="connsiteX17" fmla="*/ 10049 w 9304"/>
                          <a:gd name="connsiteY17" fmla="*/ 1163 h 0"/>
                          <a:gd name="connsiteX18" fmla="*/ 10212 w 9304"/>
                          <a:gd name="connsiteY18" fmla="*/ 1163 h 0"/>
                          <a:gd name="connsiteX19" fmla="*/ 10375 w 9304"/>
                          <a:gd name="connsiteY19" fmla="*/ 1163 h 0"/>
                          <a:gd name="connsiteX20" fmla="*/ 10538 w 9304"/>
                          <a:gd name="connsiteY20" fmla="*/ 1163 h 0"/>
                          <a:gd name="connsiteX21" fmla="*/ 10677 w 9304"/>
                          <a:gd name="connsiteY21" fmla="*/ 1163 h 0"/>
                          <a:gd name="connsiteX22" fmla="*/ 10840 w 9304"/>
                          <a:gd name="connsiteY22" fmla="*/ 1163 h 0"/>
                          <a:gd name="connsiteX23" fmla="*/ 10212 w 9304"/>
                          <a:gd name="connsiteY23" fmla="*/ 0 h 0"/>
                          <a:gd name="connsiteX24" fmla="*/ 10189 w 9304"/>
                          <a:gd name="connsiteY24" fmla="*/ 23 h 0"/>
                          <a:gd name="connsiteX25" fmla="*/ 9281 w 9304"/>
                          <a:gd name="connsiteY25" fmla="*/ 419 h 0"/>
                          <a:gd name="connsiteX26" fmla="*/ 9281 w 9304"/>
                          <a:gd name="connsiteY26" fmla="*/ 419 h 0"/>
                          <a:gd name="connsiteX27" fmla="*/ 9281 w 9304"/>
                          <a:gd name="connsiteY27" fmla="*/ 419 h 0"/>
                          <a:gd name="connsiteX28" fmla="*/ 0 w 9304"/>
                          <a:gd name="connsiteY28" fmla="*/ 419 h 0"/>
                          <a:gd name="connsiteX29" fmla="*/ 395 w 9304"/>
                          <a:gd name="connsiteY29" fmla="*/ 1163 h 0"/>
                          <a:gd name="connsiteX30" fmla="*/ 558 w 9304"/>
                          <a:gd name="connsiteY30" fmla="*/ 1163 h 0"/>
                          <a:gd name="connsiteX31" fmla="*/ 582 w 9304"/>
                          <a:gd name="connsiteY31" fmla="*/ 1163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</a:cxnLst>
                        <a:rect l="l" t="t" r="r" b="b"/>
                        <a:pathLst>
                          <a:path w="9304">
                            <a:moveTo>
                              <a:pt x="582" y="1163"/>
                            </a:moveTo>
                            <a:cubicBezTo>
                              <a:pt x="628" y="1163"/>
                              <a:pt x="675" y="1163"/>
                              <a:pt x="744" y="1163"/>
                            </a:cubicBezTo>
                            <a:cubicBezTo>
                              <a:pt x="791" y="1163"/>
                              <a:pt x="837" y="1163"/>
                              <a:pt x="907" y="1163"/>
                            </a:cubicBezTo>
                            <a:cubicBezTo>
                              <a:pt x="954" y="1163"/>
                              <a:pt x="1024" y="1163"/>
                              <a:pt x="1070" y="1163"/>
                            </a:cubicBezTo>
                            <a:cubicBezTo>
                              <a:pt x="1117" y="1163"/>
                              <a:pt x="1186" y="1163"/>
                              <a:pt x="1233" y="1163"/>
                            </a:cubicBezTo>
                            <a:cubicBezTo>
                              <a:pt x="1279" y="1163"/>
                              <a:pt x="1349" y="1163"/>
                              <a:pt x="1396" y="1163"/>
                            </a:cubicBezTo>
                            <a:cubicBezTo>
                              <a:pt x="1442" y="1163"/>
                              <a:pt x="1512" y="1163"/>
                              <a:pt x="1559" y="1163"/>
                            </a:cubicBezTo>
                            <a:cubicBezTo>
                              <a:pt x="1838" y="1163"/>
                              <a:pt x="2233" y="1163"/>
                              <a:pt x="2512" y="1163"/>
                            </a:cubicBezTo>
                            <a:cubicBezTo>
                              <a:pt x="2815" y="1163"/>
                              <a:pt x="3210" y="1163"/>
                              <a:pt x="3513" y="1163"/>
                            </a:cubicBezTo>
                            <a:cubicBezTo>
                              <a:pt x="3815" y="1163"/>
                              <a:pt x="4210" y="1163"/>
                              <a:pt x="4536" y="1163"/>
                            </a:cubicBezTo>
                            <a:cubicBezTo>
                              <a:pt x="4838" y="1163"/>
                              <a:pt x="5257" y="1163"/>
                              <a:pt x="5560" y="1163"/>
                            </a:cubicBezTo>
                            <a:cubicBezTo>
                              <a:pt x="5862" y="1163"/>
                              <a:pt x="6281" y="1163"/>
                              <a:pt x="6583" y="1163"/>
                            </a:cubicBezTo>
                            <a:cubicBezTo>
                              <a:pt x="6885" y="1163"/>
                              <a:pt x="7281" y="1163"/>
                              <a:pt x="7607" y="1163"/>
                            </a:cubicBezTo>
                            <a:cubicBezTo>
                              <a:pt x="7909" y="1163"/>
                              <a:pt x="8304" y="1163"/>
                              <a:pt x="8607" y="1163"/>
                            </a:cubicBezTo>
                            <a:cubicBezTo>
                              <a:pt x="8909" y="1163"/>
                              <a:pt x="9281" y="1163"/>
                              <a:pt x="9561" y="1163"/>
                            </a:cubicBezTo>
                            <a:cubicBezTo>
                              <a:pt x="9607" y="1163"/>
                              <a:pt x="9677" y="1163"/>
                              <a:pt x="9723" y="1163"/>
                            </a:cubicBezTo>
                            <a:cubicBezTo>
                              <a:pt x="9770" y="1163"/>
                              <a:pt x="9840" y="1163"/>
                              <a:pt x="9886" y="1163"/>
                            </a:cubicBezTo>
                            <a:cubicBezTo>
                              <a:pt x="9933" y="1163"/>
                              <a:pt x="10003" y="1163"/>
                              <a:pt x="10049" y="1163"/>
                            </a:cubicBezTo>
                            <a:cubicBezTo>
                              <a:pt x="10096" y="1163"/>
                              <a:pt x="10165" y="1163"/>
                              <a:pt x="10212" y="1163"/>
                            </a:cubicBezTo>
                            <a:cubicBezTo>
                              <a:pt x="10258" y="1163"/>
                              <a:pt x="10305" y="1163"/>
                              <a:pt x="10375" y="1163"/>
                            </a:cubicBezTo>
                            <a:cubicBezTo>
                              <a:pt x="10421" y="1163"/>
                              <a:pt x="10468" y="1163"/>
                              <a:pt x="10538" y="1163"/>
                            </a:cubicBezTo>
                            <a:cubicBezTo>
                              <a:pt x="10584" y="1163"/>
                              <a:pt x="10654" y="1163"/>
                              <a:pt x="10677" y="1163"/>
                            </a:cubicBezTo>
                            <a:cubicBezTo>
                              <a:pt x="10724" y="1163"/>
                              <a:pt x="10793" y="1163"/>
                              <a:pt x="10840" y="1163"/>
                            </a:cubicBezTo>
                            <a:cubicBezTo>
                              <a:pt x="10631" y="791"/>
                              <a:pt x="10421" y="395"/>
                              <a:pt x="10212" y="0"/>
                            </a:cubicBezTo>
                            <a:lnTo>
                              <a:pt x="10189" y="23"/>
                            </a:lnTo>
                            <a:cubicBezTo>
                              <a:pt x="9909" y="302"/>
                              <a:pt x="9584" y="419"/>
                              <a:pt x="9281" y="419"/>
                            </a:cubicBezTo>
                            <a:lnTo>
                              <a:pt x="9281" y="419"/>
                            </a:lnTo>
                            <a:lnTo>
                              <a:pt x="9281" y="419"/>
                            </a:lnTo>
                            <a:lnTo>
                              <a:pt x="0" y="419"/>
                            </a:lnTo>
                            <a:cubicBezTo>
                              <a:pt x="140" y="675"/>
                              <a:pt x="279" y="907"/>
                              <a:pt x="395" y="1163"/>
                            </a:cubicBezTo>
                            <a:cubicBezTo>
                              <a:pt x="442" y="1163"/>
                              <a:pt x="512" y="1163"/>
                              <a:pt x="558" y="1163"/>
                            </a:cubicBezTo>
                            <a:cubicBezTo>
                              <a:pt x="488" y="1163"/>
                              <a:pt x="535" y="1163"/>
                              <a:pt x="582" y="1163"/>
                            </a:cubicBez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643" name="Freeform: Shape 1642">
                        <a:extLst>
                          <a:ext uri="{FF2B5EF4-FFF2-40B4-BE49-F238E27FC236}">
                            <a16:creationId xmlns:a16="http://schemas.microsoft.com/office/drawing/2014/main" id="{4A7321CE-E02A-4690-B4C1-6C8112441C4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70510" y="4142207"/>
                        <a:ext cx="2326" cy="2326"/>
                      </a:xfrm>
                      <a:custGeom>
                        <a:avLst/>
                        <a:gdLst>
                          <a:gd name="connsiteX0" fmla="*/ 17 w 0"/>
                          <a:gd name="connsiteY0" fmla="*/ 0 h 0"/>
                          <a:gd name="connsiteX1" fmla="*/ 17 w 0"/>
                          <a:gd name="connsiteY1" fmla="*/ 651 h 0"/>
                          <a:gd name="connsiteX2" fmla="*/ 17 w 0"/>
                          <a:gd name="connsiteY2" fmla="*/ 0 h 0"/>
                          <a:gd name="connsiteX3" fmla="*/ 17 w 0"/>
                          <a:gd name="connsiteY3" fmla="*/ 0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17" y="0"/>
                            </a:moveTo>
                            <a:cubicBezTo>
                              <a:pt x="-6" y="209"/>
                              <a:pt x="-6" y="442"/>
                              <a:pt x="17" y="651"/>
                            </a:cubicBezTo>
                            <a:cubicBezTo>
                              <a:pt x="-6" y="419"/>
                              <a:pt x="-6" y="209"/>
                              <a:pt x="17" y="0"/>
                            </a:cubicBezTo>
                            <a:lnTo>
                              <a:pt x="17" y="0"/>
                            </a:ln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644" name="Freeform: Shape 1643">
                        <a:extLst>
                          <a:ext uri="{FF2B5EF4-FFF2-40B4-BE49-F238E27FC236}">
                            <a16:creationId xmlns:a16="http://schemas.microsoft.com/office/drawing/2014/main" id="{36D3CBF7-75D2-4FD5-AE2E-805C445D74D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70760" y="4156397"/>
                        <a:ext cx="9305" cy="2326"/>
                      </a:xfrm>
                      <a:custGeom>
                        <a:avLst/>
                        <a:gdLst>
                          <a:gd name="connsiteX0" fmla="*/ 10607 w 9304"/>
                          <a:gd name="connsiteY0" fmla="*/ 977 h 0"/>
                          <a:gd name="connsiteX1" fmla="*/ 9840 w 9304"/>
                          <a:gd name="connsiteY1" fmla="*/ 0 h 0"/>
                          <a:gd name="connsiteX2" fmla="*/ 9840 w 9304"/>
                          <a:gd name="connsiteY2" fmla="*/ 0 h 0"/>
                          <a:gd name="connsiteX3" fmla="*/ 9840 w 9304"/>
                          <a:gd name="connsiteY3" fmla="*/ 23 h 0"/>
                          <a:gd name="connsiteX4" fmla="*/ 8700 w 9304"/>
                          <a:gd name="connsiteY4" fmla="*/ 721 h 0"/>
                          <a:gd name="connsiteX5" fmla="*/ 8700 w 9304"/>
                          <a:gd name="connsiteY5" fmla="*/ 721 h 0"/>
                          <a:gd name="connsiteX6" fmla="*/ 8700 w 9304"/>
                          <a:gd name="connsiteY6" fmla="*/ 721 h 0"/>
                          <a:gd name="connsiteX7" fmla="*/ 0 w 9304"/>
                          <a:gd name="connsiteY7" fmla="*/ 721 h 0"/>
                          <a:gd name="connsiteX8" fmla="*/ 209 w 9304"/>
                          <a:gd name="connsiteY8" fmla="*/ 977 h 0"/>
                          <a:gd name="connsiteX9" fmla="*/ 209 w 9304"/>
                          <a:gd name="connsiteY9" fmla="*/ 977 h 0"/>
                          <a:gd name="connsiteX10" fmla="*/ 10607 w 9304"/>
                          <a:gd name="connsiteY10" fmla="*/ 977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</a:cxnLst>
                        <a:rect l="l" t="t" r="r" b="b"/>
                        <a:pathLst>
                          <a:path w="9304">
                            <a:moveTo>
                              <a:pt x="10607" y="977"/>
                            </a:moveTo>
                            <a:cubicBezTo>
                              <a:pt x="10351" y="651"/>
                              <a:pt x="10096" y="326"/>
                              <a:pt x="9840" y="0"/>
                            </a:cubicBezTo>
                            <a:lnTo>
                              <a:pt x="9840" y="0"/>
                            </a:lnTo>
                            <a:lnTo>
                              <a:pt x="9840" y="23"/>
                            </a:lnTo>
                            <a:cubicBezTo>
                              <a:pt x="9537" y="488"/>
                              <a:pt x="9119" y="721"/>
                              <a:pt x="8700" y="721"/>
                            </a:cubicBezTo>
                            <a:lnTo>
                              <a:pt x="8700" y="721"/>
                            </a:lnTo>
                            <a:lnTo>
                              <a:pt x="8700" y="721"/>
                            </a:lnTo>
                            <a:lnTo>
                              <a:pt x="0" y="721"/>
                            </a:lnTo>
                            <a:cubicBezTo>
                              <a:pt x="70" y="791"/>
                              <a:pt x="140" y="884"/>
                              <a:pt x="209" y="977"/>
                            </a:cubicBezTo>
                            <a:lnTo>
                              <a:pt x="209" y="977"/>
                            </a:lnTo>
                            <a:lnTo>
                              <a:pt x="10607" y="977"/>
                            </a:ln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645" name="Freeform: Shape 1644">
                        <a:extLst>
                          <a:ext uri="{FF2B5EF4-FFF2-40B4-BE49-F238E27FC236}">
                            <a16:creationId xmlns:a16="http://schemas.microsoft.com/office/drawing/2014/main" id="{4C5CD7BB-5463-4048-98A1-F2EE670A9B5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85252" y="4162445"/>
                        <a:ext cx="2326" cy="2326"/>
                      </a:xfrm>
                      <a:custGeom>
                        <a:avLst/>
                        <a:gdLst>
                          <a:gd name="connsiteX0" fmla="*/ 0 w 0"/>
                          <a:gd name="connsiteY0" fmla="*/ 233 h 0"/>
                          <a:gd name="connsiteX1" fmla="*/ 0 w 0"/>
                          <a:gd name="connsiteY1" fmla="*/ 233 h 0"/>
                          <a:gd name="connsiteX2" fmla="*/ 70 w 0"/>
                          <a:gd name="connsiteY2" fmla="*/ 0 h 0"/>
                          <a:gd name="connsiteX3" fmla="*/ 0 w 0"/>
                          <a:gd name="connsiteY3" fmla="*/ 233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0" y="233"/>
                            </a:moveTo>
                            <a:lnTo>
                              <a:pt x="0" y="233"/>
                            </a:lnTo>
                            <a:cubicBezTo>
                              <a:pt x="0" y="163"/>
                              <a:pt x="47" y="70"/>
                              <a:pt x="70" y="0"/>
                            </a:cubicBezTo>
                            <a:cubicBezTo>
                              <a:pt x="47" y="70"/>
                              <a:pt x="0" y="163"/>
                              <a:pt x="0" y="233"/>
                            </a:cubicBez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646" name="Freeform: Shape 1645">
                        <a:extLst>
                          <a:ext uri="{FF2B5EF4-FFF2-40B4-BE49-F238E27FC236}">
                            <a16:creationId xmlns:a16="http://schemas.microsoft.com/office/drawing/2014/main" id="{952DD5B5-13F0-4C41-A59B-73BFCFB35AA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81042" y="4158305"/>
                        <a:ext cx="2326" cy="2326"/>
                      </a:xfrm>
                      <a:custGeom>
                        <a:avLst/>
                        <a:gdLst>
                          <a:gd name="connsiteX0" fmla="*/ 0 w 0"/>
                          <a:gd name="connsiteY0" fmla="*/ 93 h 0"/>
                          <a:gd name="connsiteX1" fmla="*/ 0 w 0"/>
                          <a:gd name="connsiteY1" fmla="*/ 209 h 0"/>
                          <a:gd name="connsiteX2" fmla="*/ 0 w 0"/>
                          <a:gd name="connsiteY2" fmla="*/ 488 h 0"/>
                          <a:gd name="connsiteX3" fmla="*/ 23 w 0"/>
                          <a:gd name="connsiteY3" fmla="*/ 0 h 0"/>
                          <a:gd name="connsiteX4" fmla="*/ 0 w 0"/>
                          <a:gd name="connsiteY4" fmla="*/ 93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0" y="93"/>
                            </a:moveTo>
                            <a:cubicBezTo>
                              <a:pt x="0" y="140"/>
                              <a:pt x="0" y="163"/>
                              <a:pt x="0" y="209"/>
                            </a:cubicBezTo>
                            <a:cubicBezTo>
                              <a:pt x="0" y="302"/>
                              <a:pt x="0" y="395"/>
                              <a:pt x="0" y="488"/>
                            </a:cubicBezTo>
                            <a:cubicBezTo>
                              <a:pt x="0" y="326"/>
                              <a:pt x="0" y="163"/>
                              <a:pt x="23" y="0"/>
                            </a:cubicBezTo>
                            <a:cubicBezTo>
                              <a:pt x="0" y="46"/>
                              <a:pt x="0" y="70"/>
                              <a:pt x="0" y="93"/>
                            </a:cubicBez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647" name="Freeform: Shape 1646">
                        <a:extLst>
                          <a:ext uri="{FF2B5EF4-FFF2-40B4-BE49-F238E27FC236}">
                            <a16:creationId xmlns:a16="http://schemas.microsoft.com/office/drawing/2014/main" id="{6A987E27-2CE9-4E94-829D-5D2A17ABAF8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88486" y="4165027"/>
                        <a:ext cx="2326" cy="2326"/>
                      </a:xfrm>
                      <a:custGeom>
                        <a:avLst/>
                        <a:gdLst>
                          <a:gd name="connsiteX0" fmla="*/ 0 w 0"/>
                          <a:gd name="connsiteY0" fmla="*/ 721 h 0"/>
                          <a:gd name="connsiteX1" fmla="*/ 1396 w 0"/>
                          <a:gd name="connsiteY1" fmla="*/ 721 h 0"/>
                          <a:gd name="connsiteX2" fmla="*/ 488 w 0"/>
                          <a:gd name="connsiteY2" fmla="*/ 0 h 0"/>
                          <a:gd name="connsiteX3" fmla="*/ 488 w 0"/>
                          <a:gd name="connsiteY3" fmla="*/ 23 h 0"/>
                          <a:gd name="connsiteX4" fmla="*/ 0 w 0"/>
                          <a:gd name="connsiteY4" fmla="*/ 721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0" y="721"/>
                            </a:moveTo>
                            <a:lnTo>
                              <a:pt x="1396" y="721"/>
                            </a:lnTo>
                            <a:cubicBezTo>
                              <a:pt x="1093" y="489"/>
                              <a:pt x="791" y="256"/>
                              <a:pt x="488" y="0"/>
                            </a:cubicBezTo>
                            <a:lnTo>
                              <a:pt x="488" y="23"/>
                            </a:lnTo>
                            <a:cubicBezTo>
                              <a:pt x="372" y="326"/>
                              <a:pt x="186" y="558"/>
                              <a:pt x="0" y="721"/>
                            </a:cubicBez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648" name="Freeform: Shape 1647">
                        <a:extLst>
                          <a:ext uri="{FF2B5EF4-FFF2-40B4-BE49-F238E27FC236}">
                            <a16:creationId xmlns:a16="http://schemas.microsoft.com/office/drawing/2014/main" id="{69FC3820-B598-46D2-B1FC-A2667EE8C9F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85508" y="4164399"/>
                        <a:ext cx="2326" cy="2326"/>
                      </a:xfrm>
                      <a:custGeom>
                        <a:avLst/>
                        <a:gdLst>
                          <a:gd name="connsiteX0" fmla="*/ 0 w 0"/>
                          <a:gd name="connsiteY0" fmla="*/ 0 h 0"/>
                          <a:gd name="connsiteX1" fmla="*/ 140 w 0"/>
                          <a:gd name="connsiteY1" fmla="*/ 186 h 0"/>
                          <a:gd name="connsiteX2" fmla="*/ 0 w 0"/>
                          <a:gd name="connsiteY2" fmla="*/ 0 h 0"/>
                          <a:gd name="connsiteX3" fmla="*/ 0 w 0"/>
                          <a:gd name="connsiteY3" fmla="*/ 0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0" y="0"/>
                            </a:moveTo>
                            <a:cubicBezTo>
                              <a:pt x="47" y="70"/>
                              <a:pt x="93" y="116"/>
                              <a:pt x="140" y="186"/>
                            </a:cubicBezTo>
                            <a:cubicBezTo>
                              <a:pt x="93" y="116"/>
                              <a:pt x="47" y="70"/>
                              <a:pt x="0" y="0"/>
                            </a:cubicBez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649" name="Freeform: Shape 1648">
                        <a:extLst>
                          <a:ext uri="{FF2B5EF4-FFF2-40B4-BE49-F238E27FC236}">
                            <a16:creationId xmlns:a16="http://schemas.microsoft.com/office/drawing/2014/main" id="{06C603A1-124B-4C11-A9E1-4780EF20EB8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85202" y="4162771"/>
                        <a:ext cx="2326" cy="2326"/>
                      </a:xfrm>
                      <a:custGeom>
                        <a:avLst/>
                        <a:gdLst>
                          <a:gd name="connsiteX0" fmla="*/ 27 w 0"/>
                          <a:gd name="connsiteY0" fmla="*/ 0 h 0"/>
                          <a:gd name="connsiteX1" fmla="*/ 27 w 0"/>
                          <a:gd name="connsiteY1" fmla="*/ 744 h 0"/>
                          <a:gd name="connsiteX2" fmla="*/ 27 w 0"/>
                          <a:gd name="connsiteY2" fmla="*/ 744 h 0"/>
                          <a:gd name="connsiteX3" fmla="*/ 27 w 0"/>
                          <a:gd name="connsiteY3" fmla="*/ 0 h 0"/>
                          <a:gd name="connsiteX4" fmla="*/ 27 w 0"/>
                          <a:gd name="connsiteY4" fmla="*/ 0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27" y="0"/>
                            </a:moveTo>
                            <a:cubicBezTo>
                              <a:pt x="-20" y="256"/>
                              <a:pt x="4" y="489"/>
                              <a:pt x="27" y="744"/>
                            </a:cubicBezTo>
                            <a:lnTo>
                              <a:pt x="27" y="744"/>
                            </a:lnTo>
                            <a:cubicBezTo>
                              <a:pt x="4" y="512"/>
                              <a:pt x="4" y="256"/>
                              <a:pt x="27" y="0"/>
                            </a:cubicBezTo>
                            <a:lnTo>
                              <a:pt x="27" y="0"/>
                            </a:ln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650" name="Freeform: Shape 1649">
                        <a:extLst>
                          <a:ext uri="{FF2B5EF4-FFF2-40B4-BE49-F238E27FC236}">
                            <a16:creationId xmlns:a16="http://schemas.microsoft.com/office/drawing/2014/main" id="{8011C7F3-FB3C-4021-9EA9-1CAC40AF3AE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81228" y="4159886"/>
                        <a:ext cx="2326" cy="2326"/>
                      </a:xfrm>
                      <a:custGeom>
                        <a:avLst/>
                        <a:gdLst>
                          <a:gd name="connsiteX0" fmla="*/ 23 w 0"/>
                          <a:gd name="connsiteY0" fmla="*/ 70 h 0"/>
                          <a:gd name="connsiteX1" fmla="*/ 349 w 0"/>
                          <a:gd name="connsiteY1" fmla="*/ 605 h 0"/>
                          <a:gd name="connsiteX2" fmla="*/ 0 w 0"/>
                          <a:gd name="connsiteY2" fmla="*/ 0 h 0"/>
                          <a:gd name="connsiteX3" fmla="*/ 23 w 0"/>
                          <a:gd name="connsiteY3" fmla="*/ 70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23" y="70"/>
                            </a:moveTo>
                            <a:cubicBezTo>
                              <a:pt x="116" y="279"/>
                              <a:pt x="233" y="465"/>
                              <a:pt x="349" y="605"/>
                            </a:cubicBezTo>
                            <a:cubicBezTo>
                              <a:pt x="186" y="442"/>
                              <a:pt x="93" y="209"/>
                              <a:pt x="0" y="0"/>
                            </a:cubicBezTo>
                            <a:cubicBezTo>
                              <a:pt x="23" y="46"/>
                              <a:pt x="23" y="70"/>
                              <a:pt x="23" y="70"/>
                            </a:cubicBez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651" name="Freeform: Shape 1650">
                        <a:extLst>
                          <a:ext uri="{FF2B5EF4-FFF2-40B4-BE49-F238E27FC236}">
                            <a16:creationId xmlns:a16="http://schemas.microsoft.com/office/drawing/2014/main" id="{6E2AE257-7924-419F-9BAE-F399A189D38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81032" y="4159096"/>
                        <a:ext cx="2326" cy="2326"/>
                      </a:xfrm>
                      <a:custGeom>
                        <a:avLst/>
                        <a:gdLst>
                          <a:gd name="connsiteX0" fmla="*/ 10 w 0"/>
                          <a:gd name="connsiteY0" fmla="*/ 70 h 0"/>
                          <a:gd name="connsiteX1" fmla="*/ 33 w 0"/>
                          <a:gd name="connsiteY1" fmla="*/ 186 h 0"/>
                          <a:gd name="connsiteX2" fmla="*/ 126 w 0"/>
                          <a:gd name="connsiteY2" fmla="*/ 512 h 0"/>
                          <a:gd name="connsiteX3" fmla="*/ 33 w 0"/>
                          <a:gd name="connsiteY3" fmla="*/ 0 h 0"/>
                          <a:gd name="connsiteX4" fmla="*/ 10 w 0"/>
                          <a:gd name="connsiteY4" fmla="*/ 70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10" y="70"/>
                            </a:moveTo>
                            <a:cubicBezTo>
                              <a:pt x="10" y="116"/>
                              <a:pt x="10" y="163"/>
                              <a:pt x="33" y="186"/>
                            </a:cubicBezTo>
                            <a:cubicBezTo>
                              <a:pt x="56" y="302"/>
                              <a:pt x="103" y="395"/>
                              <a:pt x="126" y="512"/>
                            </a:cubicBezTo>
                            <a:cubicBezTo>
                              <a:pt x="79" y="349"/>
                              <a:pt x="33" y="186"/>
                              <a:pt x="33" y="0"/>
                            </a:cubicBezTo>
                            <a:cubicBezTo>
                              <a:pt x="10" y="23"/>
                              <a:pt x="-14" y="46"/>
                              <a:pt x="10" y="70"/>
                            </a:cubicBez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652" name="Freeform: Shape 1651">
                        <a:extLst>
                          <a:ext uri="{FF2B5EF4-FFF2-40B4-BE49-F238E27FC236}">
                            <a16:creationId xmlns:a16="http://schemas.microsoft.com/office/drawing/2014/main" id="{8AE7E145-C65D-4A9E-83CC-1D921F9A835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82438" y="4161445"/>
                        <a:ext cx="2326" cy="2326"/>
                      </a:xfrm>
                      <a:custGeom>
                        <a:avLst/>
                        <a:gdLst>
                          <a:gd name="connsiteX0" fmla="*/ 395 w 0"/>
                          <a:gd name="connsiteY0" fmla="*/ 302 h 0"/>
                          <a:gd name="connsiteX1" fmla="*/ 0 w 0"/>
                          <a:gd name="connsiteY1" fmla="*/ 0 h 0"/>
                          <a:gd name="connsiteX2" fmla="*/ 395 w 0"/>
                          <a:gd name="connsiteY2" fmla="*/ 302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395" y="302"/>
                            </a:moveTo>
                            <a:cubicBezTo>
                              <a:pt x="256" y="233"/>
                              <a:pt x="116" y="140"/>
                              <a:pt x="0" y="0"/>
                            </a:cubicBezTo>
                            <a:cubicBezTo>
                              <a:pt x="116" y="140"/>
                              <a:pt x="233" y="233"/>
                              <a:pt x="395" y="302"/>
                            </a:cubicBez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653" name="Freeform: Shape 1652">
                        <a:extLst>
                          <a:ext uri="{FF2B5EF4-FFF2-40B4-BE49-F238E27FC236}">
                            <a16:creationId xmlns:a16="http://schemas.microsoft.com/office/drawing/2014/main" id="{503E37D7-5E7E-4B28-B3E1-FE640BBC732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83205" y="4161864"/>
                        <a:ext cx="2326" cy="2326"/>
                      </a:xfrm>
                      <a:custGeom>
                        <a:avLst/>
                        <a:gdLst>
                          <a:gd name="connsiteX0" fmla="*/ 0 w 0"/>
                          <a:gd name="connsiteY0" fmla="*/ 0 h 0"/>
                          <a:gd name="connsiteX1" fmla="*/ 0 w 0"/>
                          <a:gd name="connsiteY1" fmla="*/ 0 h 0"/>
                          <a:gd name="connsiteX2" fmla="*/ 0 w 0"/>
                          <a:gd name="connsiteY2" fmla="*/ 0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0" y="0"/>
                            </a:moveTo>
                            <a:lnTo>
                              <a:pt x="0" y="0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654" name="Freeform: Shape 1653">
                        <a:extLst>
                          <a:ext uri="{FF2B5EF4-FFF2-40B4-BE49-F238E27FC236}">
                            <a16:creationId xmlns:a16="http://schemas.microsoft.com/office/drawing/2014/main" id="{89FCB0D6-9ACC-4E75-A896-AACEC939197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68039" y="4137323"/>
                        <a:ext cx="2326" cy="2326"/>
                      </a:xfrm>
                      <a:custGeom>
                        <a:avLst/>
                        <a:gdLst>
                          <a:gd name="connsiteX0" fmla="*/ 0 w 0"/>
                          <a:gd name="connsiteY0" fmla="*/ 0 h 0"/>
                          <a:gd name="connsiteX1" fmla="*/ 512 w 0"/>
                          <a:gd name="connsiteY1" fmla="*/ 1326 h 0"/>
                          <a:gd name="connsiteX2" fmla="*/ 1093 w 0"/>
                          <a:gd name="connsiteY2" fmla="*/ 2187 h 0"/>
                          <a:gd name="connsiteX3" fmla="*/ 512 w 0"/>
                          <a:gd name="connsiteY3" fmla="*/ 1326 h 0"/>
                          <a:gd name="connsiteX4" fmla="*/ 0 w 0"/>
                          <a:gd name="connsiteY4" fmla="*/ 0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0" y="0"/>
                            </a:moveTo>
                            <a:cubicBezTo>
                              <a:pt x="163" y="442"/>
                              <a:pt x="326" y="884"/>
                              <a:pt x="512" y="1326"/>
                            </a:cubicBezTo>
                            <a:cubicBezTo>
                              <a:pt x="651" y="1698"/>
                              <a:pt x="861" y="1977"/>
                              <a:pt x="1093" y="2187"/>
                            </a:cubicBezTo>
                            <a:cubicBezTo>
                              <a:pt x="861" y="2001"/>
                              <a:pt x="651" y="1698"/>
                              <a:pt x="512" y="1326"/>
                            </a:cubicBezTo>
                            <a:cubicBezTo>
                              <a:pt x="326" y="884"/>
                              <a:pt x="140" y="442"/>
                              <a:pt x="0" y="0"/>
                            </a:cubicBez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655" name="Freeform: Shape 1654">
                        <a:extLst>
                          <a:ext uri="{FF2B5EF4-FFF2-40B4-BE49-F238E27FC236}">
                            <a16:creationId xmlns:a16="http://schemas.microsoft.com/office/drawing/2014/main" id="{A8851AB0-9154-4451-AE89-C5B453E07E8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64596" y="4120574"/>
                        <a:ext cx="2326" cy="2326"/>
                      </a:xfrm>
                      <a:custGeom>
                        <a:avLst/>
                        <a:gdLst>
                          <a:gd name="connsiteX0" fmla="*/ 0 w 0"/>
                          <a:gd name="connsiteY0" fmla="*/ 349 h 0"/>
                          <a:gd name="connsiteX1" fmla="*/ 465 w 0"/>
                          <a:gd name="connsiteY1" fmla="*/ 0 h 0"/>
                          <a:gd name="connsiteX2" fmla="*/ 0 w 0"/>
                          <a:gd name="connsiteY2" fmla="*/ 349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0" y="349"/>
                            </a:moveTo>
                            <a:cubicBezTo>
                              <a:pt x="140" y="209"/>
                              <a:pt x="279" y="70"/>
                              <a:pt x="465" y="0"/>
                            </a:cubicBezTo>
                            <a:cubicBezTo>
                              <a:pt x="279" y="70"/>
                              <a:pt x="116" y="186"/>
                              <a:pt x="0" y="349"/>
                            </a:cubicBez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656" name="Freeform: Shape 1655">
                        <a:extLst>
                          <a:ext uri="{FF2B5EF4-FFF2-40B4-BE49-F238E27FC236}">
                            <a16:creationId xmlns:a16="http://schemas.microsoft.com/office/drawing/2014/main" id="{67DDA30A-77A3-4EB6-9A57-7DE3CBDBFA4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55873" y="4120551"/>
                        <a:ext cx="9305" cy="6979"/>
                      </a:xfrm>
                      <a:custGeom>
                        <a:avLst/>
                        <a:gdLst>
                          <a:gd name="connsiteX0" fmla="*/ 10421 w 9304"/>
                          <a:gd name="connsiteY0" fmla="*/ 5653 h 6978"/>
                          <a:gd name="connsiteX1" fmla="*/ 9212 w 9304"/>
                          <a:gd name="connsiteY1" fmla="*/ 0 h 6978"/>
                          <a:gd name="connsiteX2" fmla="*/ 10421 w 9304"/>
                          <a:gd name="connsiteY2" fmla="*/ 5653 h 6978"/>
                          <a:gd name="connsiteX3" fmla="*/ 10421 w 9304"/>
                          <a:gd name="connsiteY3" fmla="*/ 5653 h 6978"/>
                          <a:gd name="connsiteX4" fmla="*/ 9933 w 9304"/>
                          <a:gd name="connsiteY4" fmla="*/ 5769 h 6978"/>
                          <a:gd name="connsiteX5" fmla="*/ 9933 w 9304"/>
                          <a:gd name="connsiteY5" fmla="*/ 5769 h 6978"/>
                          <a:gd name="connsiteX6" fmla="*/ 0 w 9304"/>
                          <a:gd name="connsiteY6" fmla="*/ 5769 h 6978"/>
                          <a:gd name="connsiteX7" fmla="*/ 326 w 9304"/>
                          <a:gd name="connsiteY7" fmla="*/ 7025 h 6978"/>
                          <a:gd name="connsiteX8" fmla="*/ 10770 w 9304"/>
                          <a:gd name="connsiteY8" fmla="*/ 7025 h 6978"/>
                          <a:gd name="connsiteX9" fmla="*/ 10421 w 9304"/>
                          <a:gd name="connsiteY9" fmla="*/ 5653 h 697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</a:cxnLst>
                        <a:rect l="l" t="t" r="r" b="b"/>
                        <a:pathLst>
                          <a:path w="9304" h="6978">
                            <a:moveTo>
                              <a:pt x="10421" y="5653"/>
                            </a:moveTo>
                            <a:cubicBezTo>
                              <a:pt x="9956" y="3815"/>
                              <a:pt x="9561" y="1931"/>
                              <a:pt x="9212" y="0"/>
                            </a:cubicBezTo>
                            <a:cubicBezTo>
                              <a:pt x="9561" y="1931"/>
                              <a:pt x="9956" y="3815"/>
                              <a:pt x="10421" y="5653"/>
                            </a:cubicBezTo>
                            <a:lnTo>
                              <a:pt x="10421" y="5653"/>
                            </a:lnTo>
                            <a:cubicBezTo>
                              <a:pt x="10235" y="5722"/>
                              <a:pt x="10072" y="5769"/>
                              <a:pt x="9933" y="5769"/>
                            </a:cubicBezTo>
                            <a:lnTo>
                              <a:pt x="9933" y="5769"/>
                            </a:lnTo>
                            <a:lnTo>
                              <a:pt x="0" y="5769"/>
                            </a:lnTo>
                            <a:cubicBezTo>
                              <a:pt x="116" y="6188"/>
                              <a:pt x="209" y="6606"/>
                              <a:pt x="326" y="7025"/>
                            </a:cubicBezTo>
                            <a:lnTo>
                              <a:pt x="10770" y="7025"/>
                            </a:lnTo>
                            <a:cubicBezTo>
                              <a:pt x="10654" y="6560"/>
                              <a:pt x="10538" y="6118"/>
                              <a:pt x="10421" y="5653"/>
                            </a:cubicBez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657" name="Freeform: Shape 1656">
                        <a:extLst>
                          <a:ext uri="{FF2B5EF4-FFF2-40B4-BE49-F238E27FC236}">
                            <a16:creationId xmlns:a16="http://schemas.microsoft.com/office/drawing/2014/main" id="{71FF4780-F8E5-4CB4-8975-D5012CEE684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63968" y="4121621"/>
                        <a:ext cx="2326" cy="2326"/>
                      </a:xfrm>
                      <a:custGeom>
                        <a:avLst/>
                        <a:gdLst>
                          <a:gd name="connsiteX0" fmla="*/ 163 w 0"/>
                          <a:gd name="connsiteY0" fmla="*/ 0 h 0"/>
                          <a:gd name="connsiteX1" fmla="*/ 0 w 0"/>
                          <a:gd name="connsiteY1" fmla="*/ 744 h 0"/>
                          <a:gd name="connsiteX2" fmla="*/ 0 w 0"/>
                          <a:gd name="connsiteY2" fmla="*/ 744 h 0"/>
                          <a:gd name="connsiteX3" fmla="*/ 163 w 0"/>
                          <a:gd name="connsiteY3" fmla="*/ 0 h 0"/>
                          <a:gd name="connsiteX4" fmla="*/ 163 w 0"/>
                          <a:gd name="connsiteY4" fmla="*/ 0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163" y="0"/>
                            </a:moveTo>
                            <a:cubicBezTo>
                              <a:pt x="70" y="233"/>
                              <a:pt x="0" y="489"/>
                              <a:pt x="0" y="744"/>
                            </a:cubicBezTo>
                            <a:lnTo>
                              <a:pt x="0" y="744"/>
                            </a:lnTo>
                            <a:cubicBezTo>
                              <a:pt x="0" y="489"/>
                              <a:pt x="47" y="233"/>
                              <a:pt x="163" y="0"/>
                            </a:cubicBezTo>
                            <a:lnTo>
                              <a:pt x="163" y="0"/>
                            </a:ln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658" name="Freeform: Shape 1657">
                        <a:extLst>
                          <a:ext uri="{FF2B5EF4-FFF2-40B4-BE49-F238E27FC236}">
                            <a16:creationId xmlns:a16="http://schemas.microsoft.com/office/drawing/2014/main" id="{C581B66E-9D44-4F2D-8603-8915181FB95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54407" y="4113340"/>
                        <a:ext cx="9305" cy="6979"/>
                      </a:xfrm>
                      <a:custGeom>
                        <a:avLst/>
                        <a:gdLst>
                          <a:gd name="connsiteX0" fmla="*/ 10421 w 9304"/>
                          <a:gd name="connsiteY0" fmla="*/ 5792 h 6978"/>
                          <a:gd name="connsiteX1" fmla="*/ 9607 w 9304"/>
                          <a:gd name="connsiteY1" fmla="*/ 0 h 6978"/>
                          <a:gd name="connsiteX2" fmla="*/ 9607 w 9304"/>
                          <a:gd name="connsiteY2" fmla="*/ 0 h 6978"/>
                          <a:gd name="connsiteX3" fmla="*/ 10421 w 9304"/>
                          <a:gd name="connsiteY3" fmla="*/ 5792 h 6978"/>
                          <a:gd name="connsiteX4" fmla="*/ 10421 w 9304"/>
                          <a:gd name="connsiteY4" fmla="*/ 5792 h 6978"/>
                          <a:gd name="connsiteX5" fmla="*/ 10072 w 9304"/>
                          <a:gd name="connsiteY5" fmla="*/ 5862 h 6978"/>
                          <a:gd name="connsiteX6" fmla="*/ 0 w 9304"/>
                          <a:gd name="connsiteY6" fmla="*/ 5862 h 6978"/>
                          <a:gd name="connsiteX7" fmla="*/ 233 w 9304"/>
                          <a:gd name="connsiteY7" fmla="*/ 7211 h 6978"/>
                          <a:gd name="connsiteX8" fmla="*/ 10654 w 9304"/>
                          <a:gd name="connsiteY8" fmla="*/ 7211 h 6978"/>
                          <a:gd name="connsiteX9" fmla="*/ 10421 w 9304"/>
                          <a:gd name="connsiteY9" fmla="*/ 5792 h 697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</a:cxnLst>
                        <a:rect l="l" t="t" r="r" b="b"/>
                        <a:pathLst>
                          <a:path w="9304" h="6978">
                            <a:moveTo>
                              <a:pt x="10421" y="5792"/>
                            </a:moveTo>
                            <a:cubicBezTo>
                              <a:pt x="10096" y="3908"/>
                              <a:pt x="9840" y="1977"/>
                              <a:pt x="9607" y="0"/>
                            </a:cubicBezTo>
                            <a:lnTo>
                              <a:pt x="9607" y="0"/>
                            </a:lnTo>
                            <a:cubicBezTo>
                              <a:pt x="9840" y="1977"/>
                              <a:pt x="10096" y="3908"/>
                              <a:pt x="10421" y="5792"/>
                            </a:cubicBezTo>
                            <a:cubicBezTo>
                              <a:pt x="10421" y="5815"/>
                              <a:pt x="10398" y="5815"/>
                              <a:pt x="10421" y="5792"/>
                            </a:cubicBezTo>
                            <a:cubicBezTo>
                              <a:pt x="10282" y="5839"/>
                              <a:pt x="10165" y="5862"/>
                              <a:pt x="10072" y="5862"/>
                            </a:cubicBezTo>
                            <a:lnTo>
                              <a:pt x="0" y="5862"/>
                            </a:lnTo>
                            <a:cubicBezTo>
                              <a:pt x="70" y="6304"/>
                              <a:pt x="163" y="6769"/>
                              <a:pt x="233" y="7211"/>
                            </a:cubicBezTo>
                            <a:lnTo>
                              <a:pt x="10654" y="7211"/>
                            </a:lnTo>
                            <a:cubicBezTo>
                              <a:pt x="10584" y="6746"/>
                              <a:pt x="10491" y="6281"/>
                              <a:pt x="10421" y="5792"/>
                            </a:cubicBez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659" name="Freeform: Shape 1658">
                        <a:extLst>
                          <a:ext uri="{FF2B5EF4-FFF2-40B4-BE49-F238E27FC236}">
                            <a16:creationId xmlns:a16="http://schemas.microsoft.com/office/drawing/2014/main" id="{C30E1655-91CE-4413-8D60-4522A8D6ECE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65805" y="4128111"/>
                        <a:ext cx="2326" cy="2326"/>
                      </a:xfrm>
                      <a:custGeom>
                        <a:avLst/>
                        <a:gdLst>
                          <a:gd name="connsiteX0" fmla="*/ 279 w 0"/>
                          <a:gd name="connsiteY0" fmla="*/ 0 h 0"/>
                          <a:gd name="connsiteX1" fmla="*/ 0 w 0"/>
                          <a:gd name="connsiteY1" fmla="*/ 605 h 0"/>
                          <a:gd name="connsiteX2" fmla="*/ 0 w 0"/>
                          <a:gd name="connsiteY2" fmla="*/ 605 h 0"/>
                          <a:gd name="connsiteX3" fmla="*/ 279 w 0"/>
                          <a:gd name="connsiteY3" fmla="*/ 0 h 0"/>
                          <a:gd name="connsiteX4" fmla="*/ 279 w 0"/>
                          <a:gd name="connsiteY4" fmla="*/ 0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279" y="0"/>
                            </a:moveTo>
                            <a:cubicBezTo>
                              <a:pt x="163" y="163"/>
                              <a:pt x="70" y="372"/>
                              <a:pt x="0" y="605"/>
                            </a:cubicBezTo>
                            <a:lnTo>
                              <a:pt x="0" y="605"/>
                            </a:lnTo>
                            <a:cubicBezTo>
                              <a:pt x="70" y="372"/>
                              <a:pt x="140" y="163"/>
                              <a:pt x="279" y="0"/>
                            </a:cubicBezTo>
                            <a:lnTo>
                              <a:pt x="279" y="0"/>
                            </a:ln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660" name="Freeform: Shape 1659">
                        <a:extLst>
                          <a:ext uri="{FF2B5EF4-FFF2-40B4-BE49-F238E27FC236}">
                            <a16:creationId xmlns:a16="http://schemas.microsoft.com/office/drawing/2014/main" id="{9042AD12-985D-4872-9B31-6ED1F32792B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57873" y="4132996"/>
                        <a:ext cx="9305" cy="2326"/>
                      </a:xfrm>
                      <a:custGeom>
                        <a:avLst/>
                        <a:gdLst>
                          <a:gd name="connsiteX0" fmla="*/ 10375 w 9304"/>
                          <a:gd name="connsiteY0" fmla="*/ 0 h 0"/>
                          <a:gd name="connsiteX1" fmla="*/ 10351 w 9304"/>
                          <a:gd name="connsiteY1" fmla="*/ 23 h 0"/>
                          <a:gd name="connsiteX2" fmla="*/ 9723 w 9304"/>
                          <a:gd name="connsiteY2" fmla="*/ 209 h 0"/>
                          <a:gd name="connsiteX3" fmla="*/ 0 w 9304"/>
                          <a:gd name="connsiteY3" fmla="*/ 209 h 0"/>
                          <a:gd name="connsiteX4" fmla="*/ 372 w 9304"/>
                          <a:gd name="connsiteY4" fmla="*/ 1326 h 0"/>
                          <a:gd name="connsiteX5" fmla="*/ 10793 w 9304"/>
                          <a:gd name="connsiteY5" fmla="*/ 1326 h 0"/>
                          <a:gd name="connsiteX6" fmla="*/ 10375 w 9304"/>
                          <a:gd name="connsiteY6" fmla="*/ 0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9304">
                            <a:moveTo>
                              <a:pt x="10375" y="0"/>
                            </a:moveTo>
                            <a:lnTo>
                              <a:pt x="10351" y="23"/>
                            </a:lnTo>
                            <a:cubicBezTo>
                              <a:pt x="10142" y="140"/>
                              <a:pt x="9933" y="209"/>
                              <a:pt x="9723" y="209"/>
                            </a:cubicBezTo>
                            <a:lnTo>
                              <a:pt x="0" y="209"/>
                            </a:lnTo>
                            <a:cubicBezTo>
                              <a:pt x="140" y="582"/>
                              <a:pt x="256" y="954"/>
                              <a:pt x="372" y="1326"/>
                            </a:cubicBezTo>
                            <a:lnTo>
                              <a:pt x="10793" y="1326"/>
                            </a:lnTo>
                            <a:cubicBezTo>
                              <a:pt x="10654" y="884"/>
                              <a:pt x="10514" y="442"/>
                              <a:pt x="10375" y="0"/>
                            </a:cubicBez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661" name="Freeform: Shape 1660">
                        <a:extLst>
                          <a:ext uri="{FF2B5EF4-FFF2-40B4-BE49-F238E27FC236}">
                            <a16:creationId xmlns:a16="http://schemas.microsoft.com/office/drawing/2014/main" id="{DE6FE2BE-969D-4B62-A5F8-DF38B371EF1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66643" y="4127553"/>
                        <a:ext cx="2326" cy="2326"/>
                      </a:xfrm>
                      <a:custGeom>
                        <a:avLst/>
                        <a:gdLst>
                          <a:gd name="connsiteX0" fmla="*/ 1233 w 0"/>
                          <a:gd name="connsiteY0" fmla="*/ 4164 h 2326"/>
                          <a:gd name="connsiteX1" fmla="*/ 1047 w 0"/>
                          <a:gd name="connsiteY1" fmla="*/ 3512 h 2326"/>
                          <a:gd name="connsiteX2" fmla="*/ 0 w 0"/>
                          <a:gd name="connsiteY2" fmla="*/ 0 h 2326"/>
                          <a:gd name="connsiteX3" fmla="*/ 0 w 0"/>
                          <a:gd name="connsiteY3" fmla="*/ 0 h 2326"/>
                          <a:gd name="connsiteX4" fmla="*/ 0 w 0"/>
                          <a:gd name="connsiteY4" fmla="*/ 0 h 2326"/>
                          <a:gd name="connsiteX5" fmla="*/ 1233 w 0"/>
                          <a:gd name="connsiteY5" fmla="*/ 4164 h 232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</a:cxnLst>
                        <a:rect l="l" t="t" r="r" b="b"/>
                        <a:pathLst>
                          <a:path h="2326">
                            <a:moveTo>
                              <a:pt x="1233" y="4164"/>
                            </a:moveTo>
                            <a:cubicBezTo>
                              <a:pt x="1163" y="3954"/>
                              <a:pt x="1117" y="3745"/>
                              <a:pt x="1047" y="3512"/>
                            </a:cubicBezTo>
                            <a:cubicBezTo>
                              <a:pt x="675" y="2349"/>
                              <a:pt x="302" y="1186"/>
                              <a:pt x="0" y="0"/>
                            </a:cubicBezTo>
                            <a:lnTo>
                              <a:pt x="0" y="0"/>
                            </a:lnTo>
                            <a:lnTo>
                              <a:pt x="0" y="0"/>
                            </a:lnTo>
                            <a:cubicBezTo>
                              <a:pt x="372" y="1419"/>
                              <a:pt x="791" y="2791"/>
                              <a:pt x="1233" y="4164"/>
                            </a:cubicBez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662" name="Freeform: Shape 1661">
                        <a:extLst>
                          <a:ext uri="{FF2B5EF4-FFF2-40B4-BE49-F238E27FC236}">
                            <a16:creationId xmlns:a16="http://schemas.microsoft.com/office/drawing/2014/main" id="{3E9249B4-E3FD-4CAD-B3F6-70730E4B0D1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66108" y="4127948"/>
                        <a:ext cx="2326" cy="2326"/>
                      </a:xfrm>
                      <a:custGeom>
                        <a:avLst/>
                        <a:gdLst>
                          <a:gd name="connsiteX0" fmla="*/ 0 w 0"/>
                          <a:gd name="connsiteY0" fmla="*/ 116 h 0"/>
                          <a:gd name="connsiteX1" fmla="*/ 0 w 0"/>
                          <a:gd name="connsiteY1" fmla="*/ 116 h 0"/>
                          <a:gd name="connsiteX2" fmla="*/ 116 w 0"/>
                          <a:gd name="connsiteY2" fmla="*/ 0 h 0"/>
                          <a:gd name="connsiteX3" fmla="*/ 0 w 0"/>
                          <a:gd name="connsiteY3" fmla="*/ 116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0" y="116"/>
                            </a:moveTo>
                            <a:lnTo>
                              <a:pt x="0" y="116"/>
                            </a:lnTo>
                            <a:cubicBezTo>
                              <a:pt x="23" y="70"/>
                              <a:pt x="70" y="47"/>
                              <a:pt x="116" y="0"/>
                            </a:cubicBezTo>
                            <a:cubicBezTo>
                              <a:pt x="70" y="47"/>
                              <a:pt x="23" y="70"/>
                              <a:pt x="0" y="116"/>
                            </a:cubicBez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663" name="Freeform: Shape 1662">
                        <a:extLst>
                          <a:ext uri="{FF2B5EF4-FFF2-40B4-BE49-F238E27FC236}">
                            <a16:creationId xmlns:a16="http://schemas.microsoft.com/office/drawing/2014/main" id="{7523F468-A94B-437A-A275-9426F210123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53453" y="4111781"/>
                        <a:ext cx="9305" cy="2326"/>
                      </a:xfrm>
                      <a:custGeom>
                        <a:avLst/>
                        <a:gdLst>
                          <a:gd name="connsiteX0" fmla="*/ 10561 w 9304"/>
                          <a:gd name="connsiteY0" fmla="*/ 1558 h 0"/>
                          <a:gd name="connsiteX1" fmla="*/ 10421 w 9304"/>
                          <a:gd name="connsiteY1" fmla="*/ 116 h 0"/>
                          <a:gd name="connsiteX2" fmla="*/ 10421 w 9304"/>
                          <a:gd name="connsiteY2" fmla="*/ 0 h 0"/>
                          <a:gd name="connsiteX3" fmla="*/ 10421 w 9304"/>
                          <a:gd name="connsiteY3" fmla="*/ 116 h 0"/>
                          <a:gd name="connsiteX4" fmla="*/ 10398 w 9304"/>
                          <a:gd name="connsiteY4" fmla="*/ 116 h 0"/>
                          <a:gd name="connsiteX5" fmla="*/ 10235 w 9304"/>
                          <a:gd name="connsiteY5" fmla="*/ 116 h 0"/>
                          <a:gd name="connsiteX6" fmla="*/ 10235 w 9304"/>
                          <a:gd name="connsiteY6" fmla="*/ 116 h 0"/>
                          <a:gd name="connsiteX7" fmla="*/ 0 w 9304"/>
                          <a:gd name="connsiteY7" fmla="*/ 116 h 0"/>
                          <a:gd name="connsiteX8" fmla="*/ 140 w 9304"/>
                          <a:gd name="connsiteY8" fmla="*/ 1535 h 0"/>
                          <a:gd name="connsiteX9" fmla="*/ 10561 w 9304"/>
                          <a:gd name="connsiteY9" fmla="*/ 1535 h 0"/>
                          <a:gd name="connsiteX10" fmla="*/ 10561 w 9304"/>
                          <a:gd name="connsiteY10" fmla="*/ 1558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</a:cxnLst>
                        <a:rect l="l" t="t" r="r" b="b"/>
                        <a:pathLst>
                          <a:path w="9304">
                            <a:moveTo>
                              <a:pt x="10561" y="1558"/>
                            </a:moveTo>
                            <a:cubicBezTo>
                              <a:pt x="10514" y="1093"/>
                              <a:pt x="10468" y="605"/>
                              <a:pt x="10421" y="116"/>
                            </a:cubicBezTo>
                            <a:cubicBezTo>
                              <a:pt x="10421" y="70"/>
                              <a:pt x="10421" y="46"/>
                              <a:pt x="10421" y="0"/>
                            </a:cubicBezTo>
                            <a:cubicBezTo>
                              <a:pt x="10421" y="46"/>
                              <a:pt x="10421" y="70"/>
                              <a:pt x="10421" y="116"/>
                            </a:cubicBezTo>
                            <a:lnTo>
                              <a:pt x="10398" y="116"/>
                            </a:lnTo>
                            <a:lnTo>
                              <a:pt x="10235" y="116"/>
                            </a:lnTo>
                            <a:lnTo>
                              <a:pt x="10235" y="116"/>
                            </a:lnTo>
                            <a:lnTo>
                              <a:pt x="0" y="116"/>
                            </a:lnTo>
                            <a:cubicBezTo>
                              <a:pt x="47" y="605"/>
                              <a:pt x="93" y="1070"/>
                              <a:pt x="140" y="1535"/>
                            </a:cubicBezTo>
                            <a:lnTo>
                              <a:pt x="10561" y="1535"/>
                            </a:lnTo>
                            <a:lnTo>
                              <a:pt x="10561" y="1558"/>
                            </a:ln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664" name="Freeform: Shape 1663">
                        <a:extLst>
                          <a:ext uri="{FF2B5EF4-FFF2-40B4-BE49-F238E27FC236}">
                            <a16:creationId xmlns:a16="http://schemas.microsoft.com/office/drawing/2014/main" id="{39FE854D-778E-40D6-9901-924A70B4367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63037" y="4098755"/>
                        <a:ext cx="2326" cy="2326"/>
                      </a:xfrm>
                      <a:custGeom>
                        <a:avLst/>
                        <a:gdLst>
                          <a:gd name="connsiteX0" fmla="*/ 70 w 0"/>
                          <a:gd name="connsiteY0" fmla="*/ 0 h 0"/>
                          <a:gd name="connsiteX1" fmla="*/ 0 w 0"/>
                          <a:gd name="connsiteY1" fmla="*/ 23 h 0"/>
                          <a:gd name="connsiteX2" fmla="*/ 70 w 0"/>
                          <a:gd name="connsiteY2" fmla="*/ 0 h 0"/>
                          <a:gd name="connsiteX3" fmla="*/ 70 w 0"/>
                          <a:gd name="connsiteY3" fmla="*/ 0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70" y="0"/>
                            </a:moveTo>
                            <a:cubicBezTo>
                              <a:pt x="47" y="0"/>
                              <a:pt x="23" y="23"/>
                              <a:pt x="0" y="23"/>
                            </a:cubicBezTo>
                            <a:cubicBezTo>
                              <a:pt x="23" y="23"/>
                              <a:pt x="23" y="0"/>
                              <a:pt x="70" y="0"/>
                            </a:cubicBezTo>
                            <a:lnTo>
                              <a:pt x="70" y="0"/>
                            </a:ln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665" name="Freeform: Shape 1664">
                        <a:extLst>
                          <a:ext uri="{FF2B5EF4-FFF2-40B4-BE49-F238E27FC236}">
                            <a16:creationId xmlns:a16="http://schemas.microsoft.com/office/drawing/2014/main" id="{3D7427A1-1518-4C74-8213-6F4863F2CFC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62339" y="4099336"/>
                        <a:ext cx="2326" cy="2326"/>
                      </a:xfrm>
                      <a:custGeom>
                        <a:avLst/>
                        <a:gdLst>
                          <a:gd name="connsiteX0" fmla="*/ 0 w 0"/>
                          <a:gd name="connsiteY0" fmla="*/ 0 h 0"/>
                          <a:gd name="connsiteX1" fmla="*/ 0 w 0"/>
                          <a:gd name="connsiteY1" fmla="*/ 0 h 0"/>
                          <a:gd name="connsiteX2" fmla="*/ 0 w 0"/>
                          <a:gd name="connsiteY2" fmla="*/ 0 h 0"/>
                          <a:gd name="connsiteX3" fmla="*/ 0 w 0"/>
                          <a:gd name="connsiteY3" fmla="*/ 0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0" y="0"/>
                            </a:moveTo>
                            <a:lnTo>
                              <a:pt x="0" y="0"/>
                            </a:lnTo>
                            <a:lnTo>
                              <a:pt x="0" y="0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666" name="Freeform: Shape 1665">
                        <a:extLst>
                          <a:ext uri="{FF2B5EF4-FFF2-40B4-BE49-F238E27FC236}">
                            <a16:creationId xmlns:a16="http://schemas.microsoft.com/office/drawing/2014/main" id="{AC8470BA-26EB-4F39-B6B0-32485E9B6C8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62967" y="4104407"/>
                        <a:ext cx="2326" cy="2326"/>
                      </a:xfrm>
                      <a:custGeom>
                        <a:avLst/>
                        <a:gdLst>
                          <a:gd name="connsiteX0" fmla="*/ 23 w 0"/>
                          <a:gd name="connsiteY0" fmla="*/ 23 h 0"/>
                          <a:gd name="connsiteX1" fmla="*/ 23 w 0"/>
                          <a:gd name="connsiteY1" fmla="*/ 23 h 0"/>
                          <a:gd name="connsiteX2" fmla="*/ 0 w 0"/>
                          <a:gd name="connsiteY2" fmla="*/ 0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23" y="23"/>
                            </a:moveTo>
                            <a:lnTo>
                              <a:pt x="23" y="23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667" name="Freeform: Shape 1666">
                        <a:extLst>
                          <a:ext uri="{FF2B5EF4-FFF2-40B4-BE49-F238E27FC236}">
                            <a16:creationId xmlns:a16="http://schemas.microsoft.com/office/drawing/2014/main" id="{E5395368-00CD-420C-A369-4B8534A1A44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67843" y="4135671"/>
                        <a:ext cx="2326" cy="2326"/>
                      </a:xfrm>
                      <a:custGeom>
                        <a:avLst/>
                        <a:gdLst>
                          <a:gd name="connsiteX0" fmla="*/ 56 w 0"/>
                          <a:gd name="connsiteY0" fmla="*/ 0 h 0"/>
                          <a:gd name="connsiteX1" fmla="*/ 9 w 0"/>
                          <a:gd name="connsiteY1" fmla="*/ 768 h 0"/>
                          <a:gd name="connsiteX2" fmla="*/ 9 w 0"/>
                          <a:gd name="connsiteY2" fmla="*/ 768 h 0"/>
                          <a:gd name="connsiteX3" fmla="*/ 56 w 0"/>
                          <a:gd name="connsiteY3" fmla="*/ 0 h 0"/>
                          <a:gd name="connsiteX4" fmla="*/ 56 w 0"/>
                          <a:gd name="connsiteY4" fmla="*/ 0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56" y="0"/>
                            </a:moveTo>
                            <a:cubicBezTo>
                              <a:pt x="9" y="256"/>
                              <a:pt x="-14" y="512"/>
                              <a:pt x="9" y="768"/>
                            </a:cubicBezTo>
                            <a:lnTo>
                              <a:pt x="9" y="768"/>
                            </a:lnTo>
                            <a:cubicBezTo>
                              <a:pt x="-14" y="512"/>
                              <a:pt x="9" y="233"/>
                              <a:pt x="56" y="0"/>
                            </a:cubicBezTo>
                            <a:lnTo>
                              <a:pt x="56" y="0"/>
                            </a:ln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668" name="Freeform: Shape 1667">
                        <a:extLst>
                          <a:ext uri="{FF2B5EF4-FFF2-40B4-BE49-F238E27FC236}">
                            <a16:creationId xmlns:a16="http://schemas.microsoft.com/office/drawing/2014/main" id="{B82C3B39-2859-47A2-A6E6-2C38F126AAA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53035" y="4104524"/>
                        <a:ext cx="9305" cy="2326"/>
                      </a:xfrm>
                      <a:custGeom>
                        <a:avLst/>
                        <a:gdLst>
                          <a:gd name="connsiteX0" fmla="*/ 10468 w 9304"/>
                          <a:gd name="connsiteY0" fmla="*/ 1512 h 0"/>
                          <a:gd name="connsiteX1" fmla="*/ 10445 w 9304"/>
                          <a:gd name="connsiteY1" fmla="*/ 1023 h 0"/>
                          <a:gd name="connsiteX2" fmla="*/ 10421 w 9304"/>
                          <a:gd name="connsiteY2" fmla="*/ 0 h 0"/>
                          <a:gd name="connsiteX3" fmla="*/ 10421 w 9304"/>
                          <a:gd name="connsiteY3" fmla="*/ 0 h 0"/>
                          <a:gd name="connsiteX4" fmla="*/ 10398 w 9304"/>
                          <a:gd name="connsiteY4" fmla="*/ 0 h 0"/>
                          <a:gd name="connsiteX5" fmla="*/ 10398 w 9304"/>
                          <a:gd name="connsiteY5" fmla="*/ 0 h 0"/>
                          <a:gd name="connsiteX6" fmla="*/ 10398 w 9304"/>
                          <a:gd name="connsiteY6" fmla="*/ 0 h 0"/>
                          <a:gd name="connsiteX7" fmla="*/ 0 w 9304"/>
                          <a:gd name="connsiteY7" fmla="*/ 0 h 0"/>
                          <a:gd name="connsiteX8" fmla="*/ 47 w 9304"/>
                          <a:gd name="connsiteY8" fmla="*/ 1512 h 0"/>
                          <a:gd name="connsiteX9" fmla="*/ 47 w 9304"/>
                          <a:gd name="connsiteY9" fmla="*/ 1512 h 0"/>
                          <a:gd name="connsiteX10" fmla="*/ 10468 w 9304"/>
                          <a:gd name="connsiteY10" fmla="*/ 1512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</a:cxnLst>
                        <a:rect l="l" t="t" r="r" b="b"/>
                        <a:pathLst>
                          <a:path w="9304">
                            <a:moveTo>
                              <a:pt x="10468" y="1512"/>
                            </a:moveTo>
                            <a:cubicBezTo>
                              <a:pt x="10468" y="1349"/>
                              <a:pt x="10468" y="1186"/>
                              <a:pt x="10445" y="1023"/>
                            </a:cubicBezTo>
                            <a:cubicBezTo>
                              <a:pt x="10445" y="675"/>
                              <a:pt x="10421" y="326"/>
                              <a:pt x="10421" y="0"/>
                            </a:cubicBezTo>
                            <a:lnTo>
                              <a:pt x="10421" y="0"/>
                            </a:lnTo>
                            <a:cubicBezTo>
                              <a:pt x="10421" y="0"/>
                              <a:pt x="10421" y="0"/>
                              <a:pt x="10398" y="0"/>
                            </a:cubicBezTo>
                            <a:lnTo>
                              <a:pt x="10398" y="0"/>
                            </a:lnTo>
                            <a:lnTo>
                              <a:pt x="10398" y="0"/>
                            </a:lnTo>
                            <a:lnTo>
                              <a:pt x="0" y="0"/>
                            </a:lnTo>
                            <a:cubicBezTo>
                              <a:pt x="0" y="512"/>
                              <a:pt x="23" y="1023"/>
                              <a:pt x="47" y="1512"/>
                            </a:cubicBezTo>
                            <a:lnTo>
                              <a:pt x="47" y="1512"/>
                            </a:lnTo>
                            <a:lnTo>
                              <a:pt x="10468" y="1512"/>
                            </a:ln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669" name="Freeform: Shape 1668">
                        <a:extLst>
                          <a:ext uri="{FF2B5EF4-FFF2-40B4-BE49-F238E27FC236}">
                            <a16:creationId xmlns:a16="http://schemas.microsoft.com/office/drawing/2014/main" id="{D1604304-3252-49D7-8C0A-D646231D96C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53058" y="4097243"/>
                        <a:ext cx="9305" cy="2326"/>
                      </a:xfrm>
                      <a:custGeom>
                        <a:avLst/>
                        <a:gdLst>
                          <a:gd name="connsiteX0" fmla="*/ 10398 w 9304"/>
                          <a:gd name="connsiteY0" fmla="*/ 1442 h 0"/>
                          <a:gd name="connsiteX1" fmla="*/ 10398 w 9304"/>
                          <a:gd name="connsiteY1" fmla="*/ 1442 h 0"/>
                          <a:gd name="connsiteX2" fmla="*/ 10491 w 9304"/>
                          <a:gd name="connsiteY2" fmla="*/ 0 h 0"/>
                          <a:gd name="connsiteX3" fmla="*/ 70 w 9304"/>
                          <a:gd name="connsiteY3" fmla="*/ 0 h 0"/>
                          <a:gd name="connsiteX4" fmla="*/ 23 w 9304"/>
                          <a:gd name="connsiteY4" fmla="*/ 814 h 0"/>
                          <a:gd name="connsiteX5" fmla="*/ 0 w 9304"/>
                          <a:gd name="connsiteY5" fmla="*/ 1465 h 0"/>
                          <a:gd name="connsiteX6" fmla="*/ 10375 w 9304"/>
                          <a:gd name="connsiteY6" fmla="*/ 1465 h 0"/>
                          <a:gd name="connsiteX7" fmla="*/ 10398 w 9304"/>
                          <a:gd name="connsiteY7" fmla="*/ 1465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</a:cxnLst>
                        <a:rect l="l" t="t" r="r" b="b"/>
                        <a:pathLst>
                          <a:path w="9304">
                            <a:moveTo>
                              <a:pt x="10398" y="1442"/>
                            </a:moveTo>
                            <a:lnTo>
                              <a:pt x="10398" y="1442"/>
                            </a:lnTo>
                            <a:cubicBezTo>
                              <a:pt x="10445" y="954"/>
                              <a:pt x="10468" y="465"/>
                              <a:pt x="10491" y="0"/>
                            </a:cubicBezTo>
                            <a:lnTo>
                              <a:pt x="70" y="0"/>
                            </a:lnTo>
                            <a:cubicBezTo>
                              <a:pt x="47" y="279"/>
                              <a:pt x="47" y="535"/>
                              <a:pt x="23" y="814"/>
                            </a:cubicBezTo>
                            <a:cubicBezTo>
                              <a:pt x="23" y="1024"/>
                              <a:pt x="0" y="1256"/>
                              <a:pt x="0" y="1465"/>
                            </a:cubicBezTo>
                            <a:lnTo>
                              <a:pt x="10375" y="1465"/>
                            </a:lnTo>
                            <a:lnTo>
                              <a:pt x="10398" y="1465"/>
                            </a:ln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670" name="Freeform: Shape 1669">
                        <a:extLst>
                          <a:ext uri="{FF2B5EF4-FFF2-40B4-BE49-F238E27FC236}">
                            <a16:creationId xmlns:a16="http://schemas.microsoft.com/office/drawing/2014/main" id="{30484452-D9DC-4664-953A-CBA987A7AB2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63223" y="4098685"/>
                        <a:ext cx="2326" cy="2326"/>
                      </a:xfrm>
                      <a:custGeom>
                        <a:avLst/>
                        <a:gdLst>
                          <a:gd name="connsiteX0" fmla="*/ 0 w 0"/>
                          <a:gd name="connsiteY0" fmla="*/ 46 h 0"/>
                          <a:gd name="connsiteX1" fmla="*/ 0 w 0"/>
                          <a:gd name="connsiteY1" fmla="*/ 46 h 0"/>
                          <a:gd name="connsiteX2" fmla="*/ 209 w 0"/>
                          <a:gd name="connsiteY2" fmla="*/ 0 h 0"/>
                          <a:gd name="connsiteX3" fmla="*/ 0 w 0"/>
                          <a:gd name="connsiteY3" fmla="*/ 46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0" y="46"/>
                            </a:moveTo>
                            <a:lnTo>
                              <a:pt x="0" y="46"/>
                            </a:lnTo>
                            <a:cubicBezTo>
                              <a:pt x="70" y="23"/>
                              <a:pt x="116" y="0"/>
                              <a:pt x="209" y="0"/>
                            </a:cubicBezTo>
                            <a:cubicBezTo>
                              <a:pt x="140" y="0"/>
                              <a:pt x="70" y="23"/>
                              <a:pt x="0" y="46"/>
                            </a:cubicBez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671" name="Freeform: Shape 1670">
                        <a:extLst>
                          <a:ext uri="{FF2B5EF4-FFF2-40B4-BE49-F238E27FC236}">
                            <a16:creationId xmlns:a16="http://schemas.microsoft.com/office/drawing/2014/main" id="{A09C3497-7C7E-4A89-9829-7DCFE754405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67945" y="4135276"/>
                        <a:ext cx="2326" cy="2326"/>
                      </a:xfrm>
                      <a:custGeom>
                        <a:avLst/>
                        <a:gdLst>
                          <a:gd name="connsiteX0" fmla="*/ 0 w 0"/>
                          <a:gd name="connsiteY0" fmla="*/ 279 h 0"/>
                          <a:gd name="connsiteX1" fmla="*/ 0 w 0"/>
                          <a:gd name="connsiteY1" fmla="*/ 279 h 0"/>
                          <a:gd name="connsiteX2" fmla="*/ 116 w 0"/>
                          <a:gd name="connsiteY2" fmla="*/ 0 h 0"/>
                          <a:gd name="connsiteX3" fmla="*/ 0 w 0"/>
                          <a:gd name="connsiteY3" fmla="*/ 279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0" y="279"/>
                            </a:moveTo>
                            <a:lnTo>
                              <a:pt x="0" y="279"/>
                            </a:lnTo>
                            <a:cubicBezTo>
                              <a:pt x="23" y="186"/>
                              <a:pt x="70" y="93"/>
                              <a:pt x="116" y="0"/>
                            </a:cubicBezTo>
                            <a:cubicBezTo>
                              <a:pt x="47" y="93"/>
                              <a:pt x="23" y="186"/>
                              <a:pt x="0" y="279"/>
                            </a:cubicBezTo>
                            <a:close/>
                          </a:path>
                        </a:pathLst>
                      </a:custGeom>
                      <a:solidFill>
                        <a:srgbClr val="EA803A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672" name="Freeform: Shape 1671">
                        <a:extLst>
                          <a:ext uri="{FF2B5EF4-FFF2-40B4-BE49-F238E27FC236}">
                            <a16:creationId xmlns:a16="http://schemas.microsoft.com/office/drawing/2014/main" id="{F3BEAB50-48CD-4D9A-A863-79C60BB281A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66017" y="4102221"/>
                        <a:ext cx="2326" cy="2326"/>
                      </a:xfrm>
                      <a:custGeom>
                        <a:avLst/>
                        <a:gdLst>
                          <a:gd name="connsiteX0" fmla="*/ 70 w 0"/>
                          <a:gd name="connsiteY0" fmla="*/ 0 h 2326"/>
                          <a:gd name="connsiteX1" fmla="*/ 0 w 0"/>
                          <a:gd name="connsiteY1" fmla="*/ 3675 h 2326"/>
                          <a:gd name="connsiteX2" fmla="*/ 0 w 0"/>
                          <a:gd name="connsiteY2" fmla="*/ 3675 h 2326"/>
                          <a:gd name="connsiteX3" fmla="*/ 23 w 0"/>
                          <a:gd name="connsiteY3" fmla="*/ 3675 h 2326"/>
                          <a:gd name="connsiteX4" fmla="*/ 0 w 0"/>
                          <a:gd name="connsiteY4" fmla="*/ 3675 h 2326"/>
                          <a:gd name="connsiteX5" fmla="*/ 70 w 0"/>
                          <a:gd name="connsiteY5" fmla="*/ 0 h 232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</a:cxnLst>
                        <a:rect l="l" t="t" r="r" b="b"/>
                        <a:pathLst>
                          <a:path h="2326">
                            <a:moveTo>
                              <a:pt x="70" y="0"/>
                            </a:moveTo>
                            <a:cubicBezTo>
                              <a:pt x="70" y="1233"/>
                              <a:pt x="47" y="2466"/>
                              <a:pt x="0" y="3675"/>
                            </a:cubicBezTo>
                            <a:lnTo>
                              <a:pt x="0" y="3675"/>
                            </a:lnTo>
                            <a:lnTo>
                              <a:pt x="23" y="3675"/>
                            </a:lnTo>
                            <a:lnTo>
                              <a:pt x="0" y="3675"/>
                            </a:lnTo>
                            <a:cubicBezTo>
                              <a:pt x="47" y="2466"/>
                              <a:pt x="70" y="1256"/>
                              <a:pt x="70" y="0"/>
                            </a:cubicBezTo>
                            <a:close/>
                          </a:path>
                        </a:pathLst>
                      </a:custGeom>
                      <a:solidFill>
                        <a:srgbClr val="F19439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673" name="Freeform: Shape 1672">
                        <a:extLst>
                          <a:ext uri="{FF2B5EF4-FFF2-40B4-BE49-F238E27FC236}">
                            <a16:creationId xmlns:a16="http://schemas.microsoft.com/office/drawing/2014/main" id="{D84C2BB2-F14F-4314-B8BA-A2006285E85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61202" y="4102221"/>
                        <a:ext cx="2326" cy="2326"/>
                      </a:xfrm>
                      <a:custGeom>
                        <a:avLst/>
                        <a:gdLst>
                          <a:gd name="connsiteX0" fmla="*/ 70 w 0"/>
                          <a:gd name="connsiteY0" fmla="*/ 0 h 2326"/>
                          <a:gd name="connsiteX1" fmla="*/ 0 w 0"/>
                          <a:gd name="connsiteY1" fmla="*/ 3675 h 2326"/>
                          <a:gd name="connsiteX2" fmla="*/ 0 w 0"/>
                          <a:gd name="connsiteY2" fmla="*/ 3675 h 2326"/>
                          <a:gd name="connsiteX3" fmla="*/ 70 w 0"/>
                          <a:gd name="connsiteY3" fmla="*/ 0 h 2326"/>
                          <a:gd name="connsiteX4" fmla="*/ 70 w 0"/>
                          <a:gd name="connsiteY4" fmla="*/ 0 h 232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h="2326">
                            <a:moveTo>
                              <a:pt x="70" y="0"/>
                            </a:moveTo>
                            <a:cubicBezTo>
                              <a:pt x="70" y="1233"/>
                              <a:pt x="46" y="2466"/>
                              <a:pt x="0" y="3675"/>
                            </a:cubicBezTo>
                            <a:lnTo>
                              <a:pt x="0" y="3675"/>
                            </a:lnTo>
                            <a:cubicBezTo>
                              <a:pt x="46" y="2466"/>
                              <a:pt x="70" y="1256"/>
                              <a:pt x="70" y="0"/>
                            </a:cubicBezTo>
                            <a:lnTo>
                              <a:pt x="70" y="0"/>
                            </a:lnTo>
                            <a:close/>
                          </a:path>
                        </a:pathLst>
                      </a:custGeom>
                      <a:solidFill>
                        <a:srgbClr val="F19439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674" name="Freeform: Shape 1673">
                        <a:extLst>
                          <a:ext uri="{FF2B5EF4-FFF2-40B4-BE49-F238E27FC236}">
                            <a16:creationId xmlns:a16="http://schemas.microsoft.com/office/drawing/2014/main" id="{05E9E7C7-C5F6-4507-9C12-B9C43BFABA8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65505" y="4113223"/>
                        <a:ext cx="2326" cy="2326"/>
                      </a:xfrm>
                      <a:custGeom>
                        <a:avLst/>
                        <a:gdLst>
                          <a:gd name="connsiteX0" fmla="*/ 0 w 0"/>
                          <a:gd name="connsiteY0" fmla="*/ 0 h 0"/>
                          <a:gd name="connsiteX1" fmla="*/ 0 w 0"/>
                          <a:gd name="connsiteY1" fmla="*/ 23 h 0"/>
                          <a:gd name="connsiteX2" fmla="*/ 233 w 0"/>
                          <a:gd name="connsiteY2" fmla="*/ 23 h 0"/>
                          <a:gd name="connsiteX3" fmla="*/ 23 w 0"/>
                          <a:gd name="connsiteY3" fmla="*/ 0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0" y="0"/>
                            </a:moveTo>
                            <a:lnTo>
                              <a:pt x="0" y="23"/>
                            </a:lnTo>
                            <a:lnTo>
                              <a:pt x="233" y="23"/>
                            </a:lnTo>
                            <a:lnTo>
                              <a:pt x="23" y="0"/>
                            </a:lnTo>
                            <a:close/>
                          </a:path>
                        </a:pathLst>
                      </a:custGeom>
                      <a:solidFill>
                        <a:srgbClr val="F19439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675" name="Freeform: Shape 1674">
                        <a:extLst>
                          <a:ext uri="{FF2B5EF4-FFF2-40B4-BE49-F238E27FC236}">
                            <a16:creationId xmlns:a16="http://schemas.microsoft.com/office/drawing/2014/main" id="{2A537DD8-9D80-4C17-8FFB-7BBF57C661C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60620" y="4107361"/>
                        <a:ext cx="2326" cy="4652"/>
                      </a:xfrm>
                      <a:custGeom>
                        <a:avLst/>
                        <a:gdLst>
                          <a:gd name="connsiteX0" fmla="*/ 0 w 0"/>
                          <a:gd name="connsiteY0" fmla="*/ 5885 h 4652"/>
                          <a:gd name="connsiteX1" fmla="*/ 0 w 0"/>
                          <a:gd name="connsiteY1" fmla="*/ 5885 h 4652"/>
                          <a:gd name="connsiteX2" fmla="*/ 512 w 0"/>
                          <a:gd name="connsiteY2" fmla="*/ 0 h 4652"/>
                          <a:gd name="connsiteX3" fmla="*/ 512 w 0"/>
                          <a:gd name="connsiteY3" fmla="*/ 0 h 4652"/>
                          <a:gd name="connsiteX4" fmla="*/ 0 w 0"/>
                          <a:gd name="connsiteY4" fmla="*/ 5885 h 465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h="4652">
                            <a:moveTo>
                              <a:pt x="0" y="5885"/>
                            </a:moveTo>
                            <a:lnTo>
                              <a:pt x="0" y="5885"/>
                            </a:lnTo>
                            <a:cubicBezTo>
                              <a:pt x="233" y="3954"/>
                              <a:pt x="395" y="1977"/>
                              <a:pt x="512" y="0"/>
                            </a:cubicBezTo>
                            <a:lnTo>
                              <a:pt x="512" y="0"/>
                            </a:lnTo>
                            <a:cubicBezTo>
                              <a:pt x="395" y="2000"/>
                              <a:pt x="233" y="3954"/>
                              <a:pt x="0" y="5885"/>
                            </a:cubicBezTo>
                            <a:close/>
                          </a:path>
                        </a:pathLst>
                      </a:custGeom>
                      <a:solidFill>
                        <a:srgbClr val="F19439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676" name="Freeform: Shape 1675">
                        <a:extLst>
                          <a:ext uri="{FF2B5EF4-FFF2-40B4-BE49-F238E27FC236}">
                            <a16:creationId xmlns:a16="http://schemas.microsoft.com/office/drawing/2014/main" id="{927B94D3-4EB2-4EB9-92FB-FA30D648312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64458" y="4120435"/>
                        <a:ext cx="2326" cy="2326"/>
                      </a:xfrm>
                      <a:custGeom>
                        <a:avLst/>
                        <a:gdLst>
                          <a:gd name="connsiteX0" fmla="*/ 23 w 0"/>
                          <a:gd name="connsiteY0" fmla="*/ 0 h 0"/>
                          <a:gd name="connsiteX1" fmla="*/ 23 w 0"/>
                          <a:gd name="connsiteY1" fmla="*/ 0 h 0"/>
                          <a:gd name="connsiteX2" fmla="*/ 0 w 0"/>
                          <a:gd name="connsiteY2" fmla="*/ 70 h 0"/>
                          <a:gd name="connsiteX3" fmla="*/ 372 w 0"/>
                          <a:gd name="connsiteY3" fmla="*/ 70 h 0"/>
                          <a:gd name="connsiteX4" fmla="*/ 23 w 0"/>
                          <a:gd name="connsiteY4" fmla="*/ 0 h 0"/>
                          <a:gd name="connsiteX5" fmla="*/ 23 w 0"/>
                          <a:gd name="connsiteY5" fmla="*/ 0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23" y="0"/>
                            </a:moveTo>
                            <a:lnTo>
                              <a:pt x="23" y="0"/>
                            </a:lnTo>
                            <a:cubicBezTo>
                              <a:pt x="23" y="23"/>
                              <a:pt x="0" y="46"/>
                              <a:pt x="0" y="70"/>
                            </a:cubicBezTo>
                            <a:lnTo>
                              <a:pt x="372" y="70"/>
                            </a:lnTo>
                            <a:cubicBezTo>
                              <a:pt x="279" y="46"/>
                              <a:pt x="163" y="46"/>
                              <a:pt x="23" y="0"/>
                            </a:cubicBezTo>
                            <a:lnTo>
                              <a:pt x="23" y="0"/>
                            </a:lnTo>
                            <a:close/>
                          </a:path>
                        </a:pathLst>
                      </a:custGeom>
                      <a:solidFill>
                        <a:srgbClr val="F19439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677" name="Freeform: Shape 1676">
                        <a:extLst>
                          <a:ext uri="{FF2B5EF4-FFF2-40B4-BE49-F238E27FC236}">
                            <a16:creationId xmlns:a16="http://schemas.microsoft.com/office/drawing/2014/main" id="{91BFD2CC-3790-4AD4-B6D2-03AEA28A829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64458" y="4114689"/>
                        <a:ext cx="2326" cy="4652"/>
                      </a:xfrm>
                      <a:custGeom>
                        <a:avLst/>
                        <a:gdLst>
                          <a:gd name="connsiteX0" fmla="*/ 0 w 0"/>
                          <a:gd name="connsiteY0" fmla="*/ 5746 h 4652"/>
                          <a:gd name="connsiteX1" fmla="*/ 884 w 0"/>
                          <a:gd name="connsiteY1" fmla="*/ 0 h 4652"/>
                          <a:gd name="connsiteX2" fmla="*/ 884 w 0"/>
                          <a:gd name="connsiteY2" fmla="*/ 0 h 4652"/>
                          <a:gd name="connsiteX3" fmla="*/ 0 w 0"/>
                          <a:gd name="connsiteY3" fmla="*/ 5746 h 4652"/>
                          <a:gd name="connsiteX4" fmla="*/ 0 w 0"/>
                          <a:gd name="connsiteY4" fmla="*/ 5746 h 465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h="4652">
                            <a:moveTo>
                              <a:pt x="0" y="5746"/>
                            </a:moveTo>
                            <a:cubicBezTo>
                              <a:pt x="349" y="3861"/>
                              <a:pt x="651" y="1931"/>
                              <a:pt x="884" y="0"/>
                            </a:cubicBezTo>
                            <a:lnTo>
                              <a:pt x="884" y="0"/>
                            </a:lnTo>
                            <a:cubicBezTo>
                              <a:pt x="651" y="1931"/>
                              <a:pt x="349" y="3838"/>
                              <a:pt x="0" y="5746"/>
                            </a:cubicBezTo>
                            <a:lnTo>
                              <a:pt x="0" y="5746"/>
                            </a:lnTo>
                            <a:close/>
                          </a:path>
                        </a:pathLst>
                      </a:custGeom>
                      <a:solidFill>
                        <a:srgbClr val="F19439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678" name="Freeform: Shape 1677">
                        <a:extLst>
                          <a:ext uri="{FF2B5EF4-FFF2-40B4-BE49-F238E27FC236}">
                            <a16:creationId xmlns:a16="http://schemas.microsoft.com/office/drawing/2014/main" id="{D983B09E-8567-424B-8390-F54062A4EF9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59457" y="4114666"/>
                        <a:ext cx="2326" cy="4652"/>
                      </a:xfrm>
                      <a:custGeom>
                        <a:avLst/>
                        <a:gdLst>
                          <a:gd name="connsiteX0" fmla="*/ 0 w 0"/>
                          <a:gd name="connsiteY0" fmla="*/ 5815 h 4652"/>
                          <a:gd name="connsiteX1" fmla="*/ 0 w 0"/>
                          <a:gd name="connsiteY1" fmla="*/ 5815 h 4652"/>
                          <a:gd name="connsiteX2" fmla="*/ 977 w 0"/>
                          <a:gd name="connsiteY2" fmla="*/ 0 h 4652"/>
                          <a:gd name="connsiteX3" fmla="*/ 977 w 0"/>
                          <a:gd name="connsiteY3" fmla="*/ 0 h 4652"/>
                          <a:gd name="connsiteX4" fmla="*/ 0 w 0"/>
                          <a:gd name="connsiteY4" fmla="*/ 5815 h 465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h="4652">
                            <a:moveTo>
                              <a:pt x="0" y="5815"/>
                            </a:moveTo>
                            <a:lnTo>
                              <a:pt x="0" y="5815"/>
                            </a:lnTo>
                            <a:cubicBezTo>
                              <a:pt x="395" y="3908"/>
                              <a:pt x="721" y="1954"/>
                              <a:pt x="977" y="0"/>
                            </a:cubicBezTo>
                            <a:lnTo>
                              <a:pt x="977" y="0"/>
                            </a:lnTo>
                            <a:cubicBezTo>
                              <a:pt x="721" y="1977"/>
                              <a:pt x="395" y="3908"/>
                              <a:pt x="0" y="5815"/>
                            </a:cubicBezTo>
                            <a:close/>
                          </a:path>
                        </a:pathLst>
                      </a:custGeom>
                      <a:solidFill>
                        <a:srgbClr val="F19439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679" name="Freeform: Shape 1678">
                        <a:extLst>
                          <a:ext uri="{FF2B5EF4-FFF2-40B4-BE49-F238E27FC236}">
                            <a16:creationId xmlns:a16="http://schemas.microsoft.com/office/drawing/2014/main" id="{65FF2D6A-F5C1-4D2C-B193-E35EE936BD2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62877" y="4127460"/>
                        <a:ext cx="2326" cy="2326"/>
                      </a:xfrm>
                      <a:custGeom>
                        <a:avLst/>
                        <a:gdLst>
                          <a:gd name="connsiteX0" fmla="*/ 46 w 0"/>
                          <a:gd name="connsiteY0" fmla="*/ 0 h 0"/>
                          <a:gd name="connsiteX1" fmla="*/ 46 w 0"/>
                          <a:gd name="connsiteY1" fmla="*/ 0 h 0"/>
                          <a:gd name="connsiteX2" fmla="*/ 0 w 0"/>
                          <a:gd name="connsiteY2" fmla="*/ 140 h 0"/>
                          <a:gd name="connsiteX3" fmla="*/ 558 w 0"/>
                          <a:gd name="connsiteY3" fmla="*/ 140 h 0"/>
                          <a:gd name="connsiteX4" fmla="*/ 46 w 0"/>
                          <a:gd name="connsiteY4" fmla="*/ 0 h 0"/>
                          <a:gd name="connsiteX5" fmla="*/ 46 w 0"/>
                          <a:gd name="connsiteY5" fmla="*/ 0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46" y="0"/>
                            </a:moveTo>
                            <a:lnTo>
                              <a:pt x="46" y="0"/>
                            </a:lnTo>
                            <a:cubicBezTo>
                              <a:pt x="23" y="46"/>
                              <a:pt x="23" y="93"/>
                              <a:pt x="0" y="140"/>
                            </a:cubicBezTo>
                            <a:cubicBezTo>
                              <a:pt x="186" y="140"/>
                              <a:pt x="395" y="140"/>
                              <a:pt x="558" y="140"/>
                            </a:cubicBezTo>
                            <a:cubicBezTo>
                              <a:pt x="395" y="116"/>
                              <a:pt x="233" y="70"/>
                              <a:pt x="46" y="0"/>
                            </a:cubicBezTo>
                            <a:lnTo>
                              <a:pt x="46" y="0"/>
                            </a:lnTo>
                            <a:close/>
                          </a:path>
                        </a:pathLst>
                      </a:custGeom>
                      <a:solidFill>
                        <a:srgbClr val="F19439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680" name="Freeform: Shape 1679">
                        <a:extLst>
                          <a:ext uri="{FF2B5EF4-FFF2-40B4-BE49-F238E27FC236}">
                            <a16:creationId xmlns:a16="http://schemas.microsoft.com/office/drawing/2014/main" id="{A45F0B0F-4A4E-4A6A-A61B-20C82E704A4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60783" y="4134205"/>
                        <a:ext cx="2326" cy="2326"/>
                      </a:xfrm>
                      <a:custGeom>
                        <a:avLst/>
                        <a:gdLst>
                          <a:gd name="connsiteX0" fmla="*/ 70 w 0"/>
                          <a:gd name="connsiteY0" fmla="*/ 0 h 0"/>
                          <a:gd name="connsiteX1" fmla="*/ 0 w 0"/>
                          <a:gd name="connsiteY1" fmla="*/ 209 h 0"/>
                          <a:gd name="connsiteX2" fmla="*/ 744 w 0"/>
                          <a:gd name="connsiteY2" fmla="*/ 209 h 0"/>
                          <a:gd name="connsiteX3" fmla="*/ 93 w 0"/>
                          <a:gd name="connsiteY3" fmla="*/ 0 h 0"/>
                          <a:gd name="connsiteX4" fmla="*/ 70 w 0"/>
                          <a:gd name="connsiteY4" fmla="*/ 0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70" y="0"/>
                            </a:moveTo>
                            <a:cubicBezTo>
                              <a:pt x="47" y="70"/>
                              <a:pt x="23" y="140"/>
                              <a:pt x="0" y="209"/>
                            </a:cubicBezTo>
                            <a:lnTo>
                              <a:pt x="744" y="209"/>
                            </a:lnTo>
                            <a:cubicBezTo>
                              <a:pt x="535" y="209"/>
                              <a:pt x="302" y="140"/>
                              <a:pt x="93" y="0"/>
                            </a:cubicBezTo>
                            <a:lnTo>
                              <a:pt x="70" y="0"/>
                            </a:lnTo>
                            <a:close/>
                          </a:path>
                        </a:pathLst>
                      </a:custGeom>
                      <a:solidFill>
                        <a:srgbClr val="F19439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681" name="Freeform: Shape 1680">
                        <a:extLst>
                          <a:ext uri="{FF2B5EF4-FFF2-40B4-BE49-F238E27FC236}">
                            <a16:creationId xmlns:a16="http://schemas.microsoft.com/office/drawing/2014/main" id="{DA4FB174-F530-4735-AB2C-739BD33E674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59573" y="4064560"/>
                        <a:ext cx="2326" cy="2326"/>
                      </a:xfrm>
                      <a:custGeom>
                        <a:avLst/>
                        <a:gdLst>
                          <a:gd name="connsiteX0" fmla="*/ 0 w 0"/>
                          <a:gd name="connsiteY0" fmla="*/ 0 h 0"/>
                          <a:gd name="connsiteX1" fmla="*/ 0 w 0"/>
                          <a:gd name="connsiteY1" fmla="*/ 0 h 0"/>
                          <a:gd name="connsiteX2" fmla="*/ 0 w 0"/>
                          <a:gd name="connsiteY2" fmla="*/ 0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0" y="0"/>
                            </a:moveTo>
                            <a:lnTo>
                              <a:pt x="0" y="0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solidFill>
                        <a:srgbClr val="F19439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682" name="Freeform: Shape 1681">
                        <a:extLst>
                          <a:ext uri="{FF2B5EF4-FFF2-40B4-BE49-F238E27FC236}">
                            <a16:creationId xmlns:a16="http://schemas.microsoft.com/office/drawing/2014/main" id="{63C7580A-0E03-42B3-9693-AD00C38BB23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58666" y="4064537"/>
                        <a:ext cx="2326" cy="2326"/>
                      </a:xfrm>
                      <a:custGeom>
                        <a:avLst/>
                        <a:gdLst>
                          <a:gd name="connsiteX0" fmla="*/ 140 w 0"/>
                          <a:gd name="connsiteY0" fmla="*/ 302 h 0"/>
                          <a:gd name="connsiteX1" fmla="*/ 140 w 0"/>
                          <a:gd name="connsiteY1" fmla="*/ 302 h 0"/>
                          <a:gd name="connsiteX2" fmla="*/ 302 w 0"/>
                          <a:gd name="connsiteY2" fmla="*/ 186 h 0"/>
                          <a:gd name="connsiteX3" fmla="*/ 907 w 0"/>
                          <a:gd name="connsiteY3" fmla="*/ 0 h 0"/>
                          <a:gd name="connsiteX4" fmla="*/ 0 w 0"/>
                          <a:gd name="connsiteY4" fmla="*/ 0 h 0"/>
                          <a:gd name="connsiteX5" fmla="*/ 140 w 0"/>
                          <a:gd name="connsiteY5" fmla="*/ 302 h 0"/>
                          <a:gd name="connsiteX6" fmla="*/ 140 w 0"/>
                          <a:gd name="connsiteY6" fmla="*/ 302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140" y="302"/>
                            </a:moveTo>
                            <a:lnTo>
                              <a:pt x="140" y="302"/>
                            </a:lnTo>
                            <a:cubicBezTo>
                              <a:pt x="209" y="256"/>
                              <a:pt x="256" y="233"/>
                              <a:pt x="302" y="186"/>
                            </a:cubicBezTo>
                            <a:cubicBezTo>
                              <a:pt x="489" y="70"/>
                              <a:pt x="675" y="0"/>
                              <a:pt x="907" y="0"/>
                            </a:cubicBezTo>
                            <a:lnTo>
                              <a:pt x="0" y="0"/>
                            </a:lnTo>
                            <a:cubicBezTo>
                              <a:pt x="23" y="116"/>
                              <a:pt x="70" y="209"/>
                              <a:pt x="140" y="302"/>
                            </a:cubicBezTo>
                            <a:lnTo>
                              <a:pt x="140" y="302"/>
                            </a:lnTo>
                            <a:close/>
                          </a:path>
                        </a:pathLst>
                      </a:custGeom>
                      <a:solidFill>
                        <a:srgbClr val="F19439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683" name="Freeform: Shape 1682">
                        <a:extLst>
                          <a:ext uri="{FF2B5EF4-FFF2-40B4-BE49-F238E27FC236}">
                            <a16:creationId xmlns:a16="http://schemas.microsoft.com/office/drawing/2014/main" id="{031C92ED-1A70-411C-8EF6-91B98A0ACA5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58782" y="4064862"/>
                        <a:ext cx="2326" cy="4652"/>
                      </a:xfrm>
                      <a:custGeom>
                        <a:avLst/>
                        <a:gdLst>
                          <a:gd name="connsiteX0" fmla="*/ 2001 w 0"/>
                          <a:gd name="connsiteY0" fmla="*/ 5164 h 4652"/>
                          <a:gd name="connsiteX1" fmla="*/ 2001 w 0"/>
                          <a:gd name="connsiteY1" fmla="*/ 5164 h 4652"/>
                          <a:gd name="connsiteX2" fmla="*/ 0 w 0"/>
                          <a:gd name="connsiteY2" fmla="*/ 0 h 4652"/>
                          <a:gd name="connsiteX3" fmla="*/ 2001 w 0"/>
                          <a:gd name="connsiteY3" fmla="*/ 5164 h 465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h="4652">
                            <a:moveTo>
                              <a:pt x="2001" y="5164"/>
                            </a:moveTo>
                            <a:lnTo>
                              <a:pt x="2001" y="5164"/>
                            </a:lnTo>
                            <a:cubicBezTo>
                              <a:pt x="1372" y="3396"/>
                              <a:pt x="721" y="1675"/>
                              <a:pt x="0" y="0"/>
                            </a:cubicBezTo>
                            <a:cubicBezTo>
                              <a:pt x="721" y="1675"/>
                              <a:pt x="1372" y="3419"/>
                              <a:pt x="2001" y="5164"/>
                            </a:cubicBezTo>
                            <a:close/>
                          </a:path>
                        </a:pathLst>
                      </a:custGeom>
                      <a:solidFill>
                        <a:srgbClr val="F19439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684" name="Freeform: Shape 1683">
                        <a:extLst>
                          <a:ext uri="{FF2B5EF4-FFF2-40B4-BE49-F238E27FC236}">
                            <a16:creationId xmlns:a16="http://schemas.microsoft.com/office/drawing/2014/main" id="{FE7EB6BB-F56E-4AA4-8860-41130D5AC45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55689" y="4058372"/>
                        <a:ext cx="2326" cy="2326"/>
                      </a:xfrm>
                      <a:custGeom>
                        <a:avLst/>
                        <a:gdLst>
                          <a:gd name="connsiteX0" fmla="*/ 233 w 0"/>
                          <a:gd name="connsiteY0" fmla="*/ 372 h 0"/>
                          <a:gd name="connsiteX1" fmla="*/ 582 w 0"/>
                          <a:gd name="connsiteY1" fmla="*/ 140 h 0"/>
                          <a:gd name="connsiteX2" fmla="*/ 582 w 0"/>
                          <a:gd name="connsiteY2" fmla="*/ 140 h 0"/>
                          <a:gd name="connsiteX3" fmla="*/ 721 w 0"/>
                          <a:gd name="connsiteY3" fmla="*/ 70 h 0"/>
                          <a:gd name="connsiteX4" fmla="*/ 721 w 0"/>
                          <a:gd name="connsiteY4" fmla="*/ 70 h 0"/>
                          <a:gd name="connsiteX5" fmla="*/ 977 w 0"/>
                          <a:gd name="connsiteY5" fmla="*/ 23 h 0"/>
                          <a:gd name="connsiteX6" fmla="*/ 1140 w 0"/>
                          <a:gd name="connsiteY6" fmla="*/ 0 h 0"/>
                          <a:gd name="connsiteX7" fmla="*/ 0 w 0"/>
                          <a:gd name="connsiteY7" fmla="*/ 0 h 0"/>
                          <a:gd name="connsiteX8" fmla="*/ 233 w 0"/>
                          <a:gd name="connsiteY8" fmla="*/ 442 h 0"/>
                          <a:gd name="connsiteX9" fmla="*/ 233 w 0"/>
                          <a:gd name="connsiteY9" fmla="*/ 372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233" y="372"/>
                            </a:moveTo>
                            <a:cubicBezTo>
                              <a:pt x="326" y="256"/>
                              <a:pt x="442" y="186"/>
                              <a:pt x="582" y="140"/>
                            </a:cubicBezTo>
                            <a:lnTo>
                              <a:pt x="582" y="140"/>
                            </a:lnTo>
                            <a:cubicBezTo>
                              <a:pt x="628" y="116"/>
                              <a:pt x="675" y="93"/>
                              <a:pt x="721" y="70"/>
                            </a:cubicBezTo>
                            <a:lnTo>
                              <a:pt x="721" y="70"/>
                            </a:lnTo>
                            <a:cubicBezTo>
                              <a:pt x="791" y="47"/>
                              <a:pt x="884" y="23"/>
                              <a:pt x="977" y="23"/>
                            </a:cubicBezTo>
                            <a:cubicBezTo>
                              <a:pt x="1024" y="23"/>
                              <a:pt x="1070" y="0"/>
                              <a:pt x="1140" y="0"/>
                            </a:cubicBezTo>
                            <a:lnTo>
                              <a:pt x="0" y="0"/>
                            </a:lnTo>
                            <a:cubicBezTo>
                              <a:pt x="70" y="140"/>
                              <a:pt x="163" y="279"/>
                              <a:pt x="233" y="442"/>
                            </a:cubicBezTo>
                            <a:cubicBezTo>
                              <a:pt x="209" y="395"/>
                              <a:pt x="209" y="372"/>
                              <a:pt x="233" y="372"/>
                            </a:cubicBezTo>
                            <a:close/>
                          </a:path>
                        </a:pathLst>
                      </a:custGeom>
                      <a:solidFill>
                        <a:srgbClr val="F19439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685" name="Freeform: Shape 1684">
                        <a:extLst>
                          <a:ext uri="{FF2B5EF4-FFF2-40B4-BE49-F238E27FC236}">
                            <a16:creationId xmlns:a16="http://schemas.microsoft.com/office/drawing/2014/main" id="{2141BB69-0BE4-42A4-92DA-C04D5A68878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55875" y="4058768"/>
                        <a:ext cx="2326" cy="4652"/>
                      </a:xfrm>
                      <a:custGeom>
                        <a:avLst/>
                        <a:gdLst>
                          <a:gd name="connsiteX0" fmla="*/ 2373 w 2326"/>
                          <a:gd name="connsiteY0" fmla="*/ 4862 h 4652"/>
                          <a:gd name="connsiteX1" fmla="*/ 2373 w 2326"/>
                          <a:gd name="connsiteY1" fmla="*/ 4862 h 4652"/>
                          <a:gd name="connsiteX2" fmla="*/ 2373 w 2326"/>
                          <a:gd name="connsiteY2" fmla="*/ 4862 h 4652"/>
                          <a:gd name="connsiteX3" fmla="*/ 0 w 2326"/>
                          <a:gd name="connsiteY3" fmla="*/ 0 h 4652"/>
                          <a:gd name="connsiteX4" fmla="*/ 2373 w 2326"/>
                          <a:gd name="connsiteY4" fmla="*/ 4862 h 465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2326" h="4652">
                            <a:moveTo>
                              <a:pt x="2373" y="4862"/>
                            </a:moveTo>
                            <a:lnTo>
                              <a:pt x="2373" y="4862"/>
                            </a:lnTo>
                            <a:lnTo>
                              <a:pt x="2373" y="4862"/>
                            </a:lnTo>
                            <a:cubicBezTo>
                              <a:pt x="1628" y="3210"/>
                              <a:pt x="837" y="1582"/>
                              <a:pt x="0" y="0"/>
                            </a:cubicBezTo>
                            <a:cubicBezTo>
                              <a:pt x="837" y="1559"/>
                              <a:pt x="1628" y="3187"/>
                              <a:pt x="2373" y="4862"/>
                            </a:cubicBezTo>
                            <a:close/>
                          </a:path>
                        </a:pathLst>
                      </a:custGeom>
                      <a:solidFill>
                        <a:srgbClr val="F19439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686" name="Freeform: Shape 1685">
                        <a:extLst>
                          <a:ext uri="{FF2B5EF4-FFF2-40B4-BE49-F238E27FC236}">
                            <a16:creationId xmlns:a16="http://schemas.microsoft.com/office/drawing/2014/main" id="{698427C4-C53B-48BE-998B-B932B9C9E05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56805" y="4058349"/>
                        <a:ext cx="2326" cy="2326"/>
                      </a:xfrm>
                      <a:custGeom>
                        <a:avLst/>
                        <a:gdLst>
                          <a:gd name="connsiteX0" fmla="*/ 0 w 0"/>
                          <a:gd name="connsiteY0" fmla="*/ 0 h 0"/>
                          <a:gd name="connsiteX1" fmla="*/ 0 w 0"/>
                          <a:gd name="connsiteY1" fmla="*/ 0 h 0"/>
                          <a:gd name="connsiteX2" fmla="*/ 0 w 0"/>
                          <a:gd name="connsiteY2" fmla="*/ 0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0" y="0"/>
                            </a:moveTo>
                            <a:lnTo>
                              <a:pt x="0" y="0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solidFill>
                        <a:srgbClr val="F19439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687" name="Freeform: Shape 1686">
                        <a:extLst>
                          <a:ext uri="{FF2B5EF4-FFF2-40B4-BE49-F238E27FC236}">
                            <a16:creationId xmlns:a16="http://schemas.microsoft.com/office/drawing/2014/main" id="{DC6F4979-B4FC-4DFE-B6AF-7DA944E4E9F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55107" y="4146674"/>
                        <a:ext cx="2326" cy="2326"/>
                      </a:xfrm>
                      <a:custGeom>
                        <a:avLst/>
                        <a:gdLst>
                          <a:gd name="connsiteX0" fmla="*/ 256 w 0"/>
                          <a:gd name="connsiteY0" fmla="*/ 0 h 0"/>
                          <a:gd name="connsiteX1" fmla="*/ 0 w 0"/>
                          <a:gd name="connsiteY1" fmla="*/ 442 h 0"/>
                          <a:gd name="connsiteX2" fmla="*/ 1186 w 0"/>
                          <a:gd name="connsiteY2" fmla="*/ 442 h 0"/>
                          <a:gd name="connsiteX3" fmla="*/ 256 w 0"/>
                          <a:gd name="connsiteY3" fmla="*/ 0 h 0"/>
                          <a:gd name="connsiteX4" fmla="*/ 256 w 0"/>
                          <a:gd name="connsiteY4" fmla="*/ 0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256" y="0"/>
                            </a:moveTo>
                            <a:cubicBezTo>
                              <a:pt x="186" y="163"/>
                              <a:pt x="93" y="302"/>
                              <a:pt x="0" y="442"/>
                            </a:cubicBezTo>
                            <a:lnTo>
                              <a:pt x="1186" y="442"/>
                            </a:lnTo>
                            <a:cubicBezTo>
                              <a:pt x="861" y="442"/>
                              <a:pt x="535" y="302"/>
                              <a:pt x="256" y="0"/>
                            </a:cubicBezTo>
                            <a:lnTo>
                              <a:pt x="256" y="0"/>
                            </a:lnTo>
                            <a:close/>
                          </a:path>
                        </a:pathLst>
                      </a:custGeom>
                      <a:solidFill>
                        <a:srgbClr val="F19439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688" name="Freeform: Shape 1687">
                        <a:extLst>
                          <a:ext uri="{FF2B5EF4-FFF2-40B4-BE49-F238E27FC236}">
                            <a16:creationId xmlns:a16="http://schemas.microsoft.com/office/drawing/2014/main" id="{CC87B7A8-6CEB-4739-B975-0C12E6D12C6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55247" y="4057605"/>
                        <a:ext cx="2326" cy="2326"/>
                      </a:xfrm>
                      <a:custGeom>
                        <a:avLst/>
                        <a:gdLst>
                          <a:gd name="connsiteX0" fmla="*/ 0 w 0"/>
                          <a:gd name="connsiteY0" fmla="*/ 0 h 0"/>
                          <a:gd name="connsiteX1" fmla="*/ 0 w 0"/>
                          <a:gd name="connsiteY1" fmla="*/ 0 h 0"/>
                          <a:gd name="connsiteX2" fmla="*/ 0 w 0"/>
                          <a:gd name="connsiteY2" fmla="*/ 0 h 0"/>
                          <a:gd name="connsiteX3" fmla="*/ 0 w 0"/>
                          <a:gd name="connsiteY3" fmla="*/ 0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0" y="0"/>
                            </a:moveTo>
                            <a:lnTo>
                              <a:pt x="0" y="0"/>
                            </a:lnTo>
                            <a:lnTo>
                              <a:pt x="0" y="0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solidFill>
                        <a:srgbClr val="F19439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689" name="Freeform: Shape 1688">
                        <a:extLst>
                          <a:ext uri="{FF2B5EF4-FFF2-40B4-BE49-F238E27FC236}">
                            <a16:creationId xmlns:a16="http://schemas.microsoft.com/office/drawing/2014/main" id="{198AD070-78DB-4A4A-815F-52EE021DCA4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52199" y="4052534"/>
                        <a:ext cx="2326" cy="2326"/>
                      </a:xfrm>
                      <a:custGeom>
                        <a:avLst/>
                        <a:gdLst>
                          <a:gd name="connsiteX0" fmla="*/ 395 w 0"/>
                          <a:gd name="connsiteY0" fmla="*/ 535 h 0"/>
                          <a:gd name="connsiteX1" fmla="*/ 512 w 0"/>
                          <a:gd name="connsiteY1" fmla="*/ 442 h 0"/>
                          <a:gd name="connsiteX2" fmla="*/ 930 w 0"/>
                          <a:gd name="connsiteY2" fmla="*/ 116 h 0"/>
                          <a:gd name="connsiteX3" fmla="*/ 930 w 0"/>
                          <a:gd name="connsiteY3" fmla="*/ 116 h 0"/>
                          <a:gd name="connsiteX4" fmla="*/ 1419 w 0"/>
                          <a:gd name="connsiteY4" fmla="*/ 0 h 0"/>
                          <a:gd name="connsiteX5" fmla="*/ 0 w 0"/>
                          <a:gd name="connsiteY5" fmla="*/ 0 h 0"/>
                          <a:gd name="connsiteX6" fmla="*/ 395 w 0"/>
                          <a:gd name="connsiteY6" fmla="*/ 558 h 0"/>
                          <a:gd name="connsiteX7" fmla="*/ 395 w 0"/>
                          <a:gd name="connsiteY7" fmla="*/ 535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395" y="535"/>
                            </a:moveTo>
                            <a:cubicBezTo>
                              <a:pt x="442" y="488"/>
                              <a:pt x="489" y="488"/>
                              <a:pt x="512" y="442"/>
                            </a:cubicBezTo>
                            <a:cubicBezTo>
                              <a:pt x="651" y="302"/>
                              <a:pt x="791" y="186"/>
                              <a:pt x="930" y="116"/>
                            </a:cubicBezTo>
                            <a:lnTo>
                              <a:pt x="930" y="116"/>
                            </a:lnTo>
                            <a:cubicBezTo>
                              <a:pt x="1093" y="46"/>
                              <a:pt x="1256" y="0"/>
                              <a:pt x="1419" y="0"/>
                            </a:cubicBezTo>
                            <a:lnTo>
                              <a:pt x="0" y="0"/>
                            </a:lnTo>
                            <a:cubicBezTo>
                              <a:pt x="116" y="186"/>
                              <a:pt x="256" y="372"/>
                              <a:pt x="395" y="558"/>
                            </a:cubicBezTo>
                            <a:lnTo>
                              <a:pt x="395" y="535"/>
                            </a:lnTo>
                            <a:close/>
                          </a:path>
                        </a:pathLst>
                      </a:custGeom>
                      <a:solidFill>
                        <a:srgbClr val="F19439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690" name="Freeform: Shape 1689">
                        <a:extLst>
                          <a:ext uri="{FF2B5EF4-FFF2-40B4-BE49-F238E27FC236}">
                            <a16:creationId xmlns:a16="http://schemas.microsoft.com/office/drawing/2014/main" id="{5477F397-81EA-460C-B930-21885B26922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48291" y="4047253"/>
                        <a:ext cx="2326" cy="2326"/>
                      </a:xfrm>
                      <a:custGeom>
                        <a:avLst/>
                        <a:gdLst>
                          <a:gd name="connsiteX0" fmla="*/ 582 w 0"/>
                          <a:gd name="connsiteY0" fmla="*/ 675 h 0"/>
                          <a:gd name="connsiteX1" fmla="*/ 954 w 0"/>
                          <a:gd name="connsiteY1" fmla="*/ 279 h 0"/>
                          <a:gd name="connsiteX2" fmla="*/ 954 w 0"/>
                          <a:gd name="connsiteY2" fmla="*/ 279 h 0"/>
                          <a:gd name="connsiteX3" fmla="*/ 977 w 0"/>
                          <a:gd name="connsiteY3" fmla="*/ 279 h 0"/>
                          <a:gd name="connsiteX4" fmla="*/ 1303 w 0"/>
                          <a:gd name="connsiteY4" fmla="*/ 93 h 0"/>
                          <a:gd name="connsiteX5" fmla="*/ 1303 w 0"/>
                          <a:gd name="connsiteY5" fmla="*/ 93 h 0"/>
                          <a:gd name="connsiteX6" fmla="*/ 1419 w 0"/>
                          <a:gd name="connsiteY6" fmla="*/ 47 h 0"/>
                          <a:gd name="connsiteX7" fmla="*/ 1419 w 0"/>
                          <a:gd name="connsiteY7" fmla="*/ 47 h 0"/>
                          <a:gd name="connsiteX8" fmla="*/ 1745 w 0"/>
                          <a:gd name="connsiteY8" fmla="*/ 0 h 0"/>
                          <a:gd name="connsiteX9" fmla="*/ 0 w 0"/>
                          <a:gd name="connsiteY9" fmla="*/ 0 h 0"/>
                          <a:gd name="connsiteX10" fmla="*/ 582 w 0"/>
                          <a:gd name="connsiteY10" fmla="*/ 675 h 0"/>
                          <a:gd name="connsiteX11" fmla="*/ 582 w 0"/>
                          <a:gd name="connsiteY11" fmla="*/ 675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582" y="675"/>
                            </a:moveTo>
                            <a:cubicBezTo>
                              <a:pt x="698" y="512"/>
                              <a:pt x="814" y="372"/>
                              <a:pt x="954" y="279"/>
                            </a:cubicBezTo>
                            <a:lnTo>
                              <a:pt x="954" y="279"/>
                            </a:lnTo>
                            <a:lnTo>
                              <a:pt x="977" y="279"/>
                            </a:lnTo>
                            <a:cubicBezTo>
                              <a:pt x="1070" y="209"/>
                              <a:pt x="1186" y="140"/>
                              <a:pt x="1303" y="93"/>
                            </a:cubicBezTo>
                            <a:lnTo>
                              <a:pt x="1303" y="93"/>
                            </a:lnTo>
                            <a:cubicBezTo>
                              <a:pt x="1349" y="93"/>
                              <a:pt x="1372" y="70"/>
                              <a:pt x="1419" y="47"/>
                            </a:cubicBezTo>
                            <a:lnTo>
                              <a:pt x="1419" y="47"/>
                            </a:lnTo>
                            <a:cubicBezTo>
                              <a:pt x="1535" y="0"/>
                              <a:pt x="1628" y="0"/>
                              <a:pt x="1745" y="0"/>
                            </a:cubicBezTo>
                            <a:lnTo>
                              <a:pt x="0" y="0"/>
                            </a:lnTo>
                            <a:cubicBezTo>
                              <a:pt x="163" y="233"/>
                              <a:pt x="372" y="465"/>
                              <a:pt x="582" y="675"/>
                            </a:cubicBezTo>
                            <a:lnTo>
                              <a:pt x="582" y="675"/>
                            </a:lnTo>
                            <a:close/>
                          </a:path>
                        </a:pathLst>
                      </a:custGeom>
                      <a:solidFill>
                        <a:srgbClr val="F19439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691" name="Freeform: Shape 1690">
                        <a:extLst>
                          <a:ext uri="{FF2B5EF4-FFF2-40B4-BE49-F238E27FC236}">
                            <a16:creationId xmlns:a16="http://schemas.microsoft.com/office/drawing/2014/main" id="{A59727E8-B07C-4CF0-9B6F-3719DA9DC2F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63156" y="4078005"/>
                        <a:ext cx="2326" cy="2326"/>
                      </a:xfrm>
                      <a:custGeom>
                        <a:avLst/>
                        <a:gdLst>
                          <a:gd name="connsiteX0" fmla="*/ 70 w 0"/>
                          <a:gd name="connsiteY0" fmla="*/ 116 h 0"/>
                          <a:gd name="connsiteX1" fmla="*/ 535 w 0"/>
                          <a:gd name="connsiteY1" fmla="*/ 0 h 0"/>
                          <a:gd name="connsiteX2" fmla="*/ 0 w 0"/>
                          <a:gd name="connsiteY2" fmla="*/ 0 h 0"/>
                          <a:gd name="connsiteX3" fmla="*/ 23 w 0"/>
                          <a:gd name="connsiteY3" fmla="*/ 116 h 0"/>
                          <a:gd name="connsiteX4" fmla="*/ 70 w 0"/>
                          <a:gd name="connsiteY4" fmla="*/ 116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70" y="116"/>
                            </a:moveTo>
                            <a:cubicBezTo>
                              <a:pt x="233" y="47"/>
                              <a:pt x="395" y="0"/>
                              <a:pt x="535" y="0"/>
                            </a:cubicBezTo>
                            <a:lnTo>
                              <a:pt x="0" y="0"/>
                            </a:lnTo>
                            <a:cubicBezTo>
                              <a:pt x="0" y="47"/>
                              <a:pt x="23" y="70"/>
                              <a:pt x="23" y="116"/>
                            </a:cubicBezTo>
                            <a:lnTo>
                              <a:pt x="70" y="116"/>
                            </a:lnTo>
                            <a:close/>
                          </a:path>
                        </a:pathLst>
                      </a:custGeom>
                      <a:solidFill>
                        <a:srgbClr val="F19439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692" name="Freeform: Shape 1691">
                        <a:extLst>
                          <a:ext uri="{FF2B5EF4-FFF2-40B4-BE49-F238E27FC236}">
                            <a16:creationId xmlns:a16="http://schemas.microsoft.com/office/drawing/2014/main" id="{5DFAA2A6-E48B-4026-8699-DD18F9991F2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64412" y="4083774"/>
                        <a:ext cx="2326" cy="2326"/>
                      </a:xfrm>
                      <a:custGeom>
                        <a:avLst/>
                        <a:gdLst>
                          <a:gd name="connsiteX0" fmla="*/ 0 w 0"/>
                          <a:gd name="connsiteY0" fmla="*/ 0 h 0"/>
                          <a:gd name="connsiteX1" fmla="*/ 0 w 0"/>
                          <a:gd name="connsiteY1" fmla="*/ 0 h 0"/>
                          <a:gd name="connsiteX2" fmla="*/ 0 w 0"/>
                          <a:gd name="connsiteY2" fmla="*/ 0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0" y="0"/>
                            </a:moveTo>
                            <a:lnTo>
                              <a:pt x="0" y="0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solidFill>
                        <a:srgbClr val="F19439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693" name="Freeform: Shape 1692">
                        <a:extLst>
                          <a:ext uri="{FF2B5EF4-FFF2-40B4-BE49-F238E27FC236}">
                            <a16:creationId xmlns:a16="http://schemas.microsoft.com/office/drawing/2014/main" id="{30AA5DCC-7D4A-4590-AFF6-9D1A86E91A4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61155" y="4071143"/>
                        <a:ext cx="2326" cy="2326"/>
                      </a:xfrm>
                      <a:custGeom>
                        <a:avLst/>
                        <a:gdLst>
                          <a:gd name="connsiteX0" fmla="*/ 93 w 0"/>
                          <a:gd name="connsiteY0" fmla="*/ 163 h 0"/>
                          <a:gd name="connsiteX1" fmla="*/ 675 w 0"/>
                          <a:gd name="connsiteY1" fmla="*/ 0 h 0"/>
                          <a:gd name="connsiteX2" fmla="*/ 698 w 0"/>
                          <a:gd name="connsiteY2" fmla="*/ 0 h 0"/>
                          <a:gd name="connsiteX3" fmla="*/ 0 w 0"/>
                          <a:gd name="connsiteY3" fmla="*/ 0 h 0"/>
                          <a:gd name="connsiteX4" fmla="*/ 93 w 0"/>
                          <a:gd name="connsiteY4" fmla="*/ 163 h 0"/>
                          <a:gd name="connsiteX5" fmla="*/ 93 w 0"/>
                          <a:gd name="connsiteY5" fmla="*/ 163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93" y="163"/>
                            </a:moveTo>
                            <a:cubicBezTo>
                              <a:pt x="279" y="46"/>
                              <a:pt x="489" y="0"/>
                              <a:pt x="675" y="0"/>
                            </a:cubicBezTo>
                            <a:cubicBezTo>
                              <a:pt x="698" y="0"/>
                              <a:pt x="698" y="0"/>
                              <a:pt x="698" y="0"/>
                            </a:cubicBezTo>
                            <a:lnTo>
                              <a:pt x="0" y="0"/>
                            </a:lnTo>
                            <a:cubicBezTo>
                              <a:pt x="23" y="46"/>
                              <a:pt x="47" y="116"/>
                              <a:pt x="93" y="163"/>
                            </a:cubicBezTo>
                            <a:cubicBezTo>
                              <a:pt x="70" y="186"/>
                              <a:pt x="93" y="186"/>
                              <a:pt x="93" y="163"/>
                            </a:cubicBezTo>
                            <a:close/>
                          </a:path>
                        </a:pathLst>
                      </a:custGeom>
                      <a:solidFill>
                        <a:srgbClr val="F19439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694" name="Freeform: Shape 1693">
                        <a:extLst>
                          <a:ext uri="{FF2B5EF4-FFF2-40B4-BE49-F238E27FC236}">
                            <a16:creationId xmlns:a16="http://schemas.microsoft.com/office/drawing/2014/main" id="{B41C93AE-E406-4F50-A7F2-3B8D063968E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61225" y="4071352"/>
                        <a:ext cx="2326" cy="4652"/>
                      </a:xfrm>
                      <a:custGeom>
                        <a:avLst/>
                        <a:gdLst>
                          <a:gd name="connsiteX0" fmla="*/ 1628 w 0"/>
                          <a:gd name="connsiteY0" fmla="*/ 5420 h 4652"/>
                          <a:gd name="connsiteX1" fmla="*/ 1628 w 0"/>
                          <a:gd name="connsiteY1" fmla="*/ 5420 h 4652"/>
                          <a:gd name="connsiteX2" fmla="*/ 1628 w 0"/>
                          <a:gd name="connsiteY2" fmla="*/ 5420 h 4652"/>
                          <a:gd name="connsiteX3" fmla="*/ 0 w 0"/>
                          <a:gd name="connsiteY3" fmla="*/ 0 h 4652"/>
                          <a:gd name="connsiteX4" fmla="*/ 1628 w 0"/>
                          <a:gd name="connsiteY4" fmla="*/ 5420 h 465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h="4652">
                            <a:moveTo>
                              <a:pt x="1628" y="5420"/>
                            </a:moveTo>
                            <a:lnTo>
                              <a:pt x="1628" y="5420"/>
                            </a:lnTo>
                            <a:lnTo>
                              <a:pt x="1628" y="5420"/>
                            </a:lnTo>
                            <a:cubicBezTo>
                              <a:pt x="1140" y="3582"/>
                              <a:pt x="605" y="1768"/>
                              <a:pt x="0" y="0"/>
                            </a:cubicBezTo>
                            <a:cubicBezTo>
                              <a:pt x="605" y="1745"/>
                              <a:pt x="1140" y="3559"/>
                              <a:pt x="1628" y="5420"/>
                            </a:cubicBezTo>
                            <a:close/>
                          </a:path>
                        </a:pathLst>
                      </a:custGeom>
                      <a:solidFill>
                        <a:srgbClr val="F19439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695" name="Freeform: Shape 1694">
                        <a:extLst>
                          <a:ext uri="{FF2B5EF4-FFF2-40B4-BE49-F238E27FC236}">
                            <a16:creationId xmlns:a16="http://schemas.microsoft.com/office/drawing/2014/main" id="{38157948-87C5-4C23-A9D0-A72714E1C56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62853" y="4076772"/>
                        <a:ext cx="2326" cy="2326"/>
                      </a:xfrm>
                      <a:custGeom>
                        <a:avLst/>
                        <a:gdLst>
                          <a:gd name="connsiteX0" fmla="*/ 0 w 0"/>
                          <a:gd name="connsiteY0" fmla="*/ 0 h 0"/>
                          <a:gd name="connsiteX1" fmla="*/ 0 w 0"/>
                          <a:gd name="connsiteY1" fmla="*/ 0 h 0"/>
                          <a:gd name="connsiteX2" fmla="*/ 0 w 0"/>
                          <a:gd name="connsiteY2" fmla="*/ 0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0" y="0"/>
                            </a:moveTo>
                            <a:lnTo>
                              <a:pt x="0" y="0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solidFill>
                        <a:srgbClr val="F19439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696" name="Freeform: Shape 1695">
                        <a:extLst>
                          <a:ext uri="{FF2B5EF4-FFF2-40B4-BE49-F238E27FC236}">
                            <a16:creationId xmlns:a16="http://schemas.microsoft.com/office/drawing/2014/main" id="{16491084-C826-46DB-B909-BD39C18FB20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58178" y="4135531"/>
                        <a:ext cx="2326" cy="4652"/>
                      </a:xfrm>
                      <a:custGeom>
                        <a:avLst/>
                        <a:gdLst>
                          <a:gd name="connsiteX0" fmla="*/ 0 w 0"/>
                          <a:gd name="connsiteY0" fmla="*/ 5420 h 4652"/>
                          <a:gd name="connsiteX1" fmla="*/ 954 w 0"/>
                          <a:gd name="connsiteY1" fmla="*/ 5420 h 4652"/>
                          <a:gd name="connsiteX2" fmla="*/ 163 w 0"/>
                          <a:gd name="connsiteY2" fmla="*/ 5141 h 4652"/>
                          <a:gd name="connsiteX3" fmla="*/ 140 w 0"/>
                          <a:gd name="connsiteY3" fmla="*/ 5118 h 4652"/>
                          <a:gd name="connsiteX4" fmla="*/ 2210 w 0"/>
                          <a:gd name="connsiteY4" fmla="*/ 0 h 4652"/>
                          <a:gd name="connsiteX5" fmla="*/ 2210 w 0"/>
                          <a:gd name="connsiteY5" fmla="*/ 0 h 4652"/>
                          <a:gd name="connsiteX6" fmla="*/ 140 w 0"/>
                          <a:gd name="connsiteY6" fmla="*/ 5118 h 4652"/>
                          <a:gd name="connsiteX7" fmla="*/ 0 w 0"/>
                          <a:gd name="connsiteY7" fmla="*/ 5420 h 465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</a:cxnLst>
                        <a:rect l="l" t="t" r="r" b="b"/>
                        <a:pathLst>
                          <a:path h="4652">
                            <a:moveTo>
                              <a:pt x="0" y="5420"/>
                            </a:moveTo>
                            <a:lnTo>
                              <a:pt x="954" y="5420"/>
                            </a:lnTo>
                            <a:cubicBezTo>
                              <a:pt x="675" y="5420"/>
                              <a:pt x="419" y="5327"/>
                              <a:pt x="163" y="5141"/>
                            </a:cubicBezTo>
                            <a:lnTo>
                              <a:pt x="140" y="5118"/>
                            </a:lnTo>
                            <a:cubicBezTo>
                              <a:pt x="884" y="3466"/>
                              <a:pt x="1559" y="1745"/>
                              <a:pt x="2210" y="0"/>
                            </a:cubicBezTo>
                            <a:lnTo>
                              <a:pt x="2210" y="0"/>
                            </a:lnTo>
                            <a:cubicBezTo>
                              <a:pt x="1559" y="1745"/>
                              <a:pt x="884" y="3466"/>
                              <a:pt x="140" y="5118"/>
                            </a:cubicBezTo>
                            <a:cubicBezTo>
                              <a:pt x="116" y="5211"/>
                              <a:pt x="47" y="5327"/>
                              <a:pt x="0" y="5420"/>
                            </a:cubicBezTo>
                            <a:close/>
                          </a:path>
                        </a:pathLst>
                      </a:custGeom>
                      <a:solidFill>
                        <a:srgbClr val="F19439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697" name="Freeform: Shape 1696">
                        <a:extLst>
                          <a:ext uri="{FF2B5EF4-FFF2-40B4-BE49-F238E27FC236}">
                            <a16:creationId xmlns:a16="http://schemas.microsoft.com/office/drawing/2014/main" id="{9E606F45-682F-4D54-BC43-AF830F3D191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59131" y="4140951"/>
                        <a:ext cx="2326" cy="2326"/>
                      </a:xfrm>
                      <a:custGeom>
                        <a:avLst/>
                        <a:gdLst>
                          <a:gd name="connsiteX0" fmla="*/ 0 w 0"/>
                          <a:gd name="connsiteY0" fmla="*/ 0 h 0"/>
                          <a:gd name="connsiteX1" fmla="*/ 0 w 0"/>
                          <a:gd name="connsiteY1" fmla="*/ 0 h 0"/>
                          <a:gd name="connsiteX2" fmla="*/ 0 w 0"/>
                          <a:gd name="connsiteY2" fmla="*/ 0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0" y="0"/>
                            </a:moveTo>
                            <a:lnTo>
                              <a:pt x="0" y="0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solidFill>
                        <a:srgbClr val="F19439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698" name="Freeform: Shape 1697">
                        <a:extLst>
                          <a:ext uri="{FF2B5EF4-FFF2-40B4-BE49-F238E27FC236}">
                            <a16:creationId xmlns:a16="http://schemas.microsoft.com/office/drawing/2014/main" id="{F245DACA-D2A5-445B-99C8-22A72E4FA6E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53037" y="4152838"/>
                        <a:ext cx="2326" cy="2326"/>
                      </a:xfrm>
                      <a:custGeom>
                        <a:avLst/>
                        <a:gdLst>
                          <a:gd name="connsiteX0" fmla="*/ 0 w 0"/>
                          <a:gd name="connsiteY0" fmla="*/ 0 h 0"/>
                          <a:gd name="connsiteX1" fmla="*/ 0 w 0"/>
                          <a:gd name="connsiteY1" fmla="*/ 0 h 0"/>
                          <a:gd name="connsiteX2" fmla="*/ 0 w 0"/>
                          <a:gd name="connsiteY2" fmla="*/ 0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0" y="0"/>
                            </a:moveTo>
                            <a:lnTo>
                              <a:pt x="0" y="0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solidFill>
                        <a:srgbClr val="F19439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699" name="Freeform: Shape 1698">
                        <a:extLst>
                          <a:ext uri="{FF2B5EF4-FFF2-40B4-BE49-F238E27FC236}">
                            <a16:creationId xmlns:a16="http://schemas.microsoft.com/office/drawing/2014/main" id="{4E5414C9-24D9-4937-9D77-F64BBC06C3A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51548" y="4152233"/>
                        <a:ext cx="2326" cy="2326"/>
                      </a:xfrm>
                      <a:custGeom>
                        <a:avLst/>
                        <a:gdLst>
                          <a:gd name="connsiteX0" fmla="*/ 419 w 0"/>
                          <a:gd name="connsiteY0" fmla="*/ 0 h 0"/>
                          <a:gd name="connsiteX1" fmla="*/ 419 w 0"/>
                          <a:gd name="connsiteY1" fmla="*/ 0 h 0"/>
                          <a:gd name="connsiteX2" fmla="*/ 0 w 0"/>
                          <a:gd name="connsiteY2" fmla="*/ 605 h 0"/>
                          <a:gd name="connsiteX3" fmla="*/ 1465 w 0"/>
                          <a:gd name="connsiteY3" fmla="*/ 605 h 0"/>
                          <a:gd name="connsiteX4" fmla="*/ 419 w 0"/>
                          <a:gd name="connsiteY4" fmla="*/ 47 h 0"/>
                          <a:gd name="connsiteX5" fmla="*/ 419 w 0"/>
                          <a:gd name="connsiteY5" fmla="*/ 0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419" y="0"/>
                            </a:moveTo>
                            <a:lnTo>
                              <a:pt x="419" y="0"/>
                            </a:lnTo>
                            <a:cubicBezTo>
                              <a:pt x="279" y="209"/>
                              <a:pt x="140" y="395"/>
                              <a:pt x="0" y="605"/>
                            </a:cubicBezTo>
                            <a:lnTo>
                              <a:pt x="1465" y="605"/>
                            </a:lnTo>
                            <a:cubicBezTo>
                              <a:pt x="1093" y="605"/>
                              <a:pt x="721" y="419"/>
                              <a:pt x="419" y="47"/>
                            </a:cubicBezTo>
                            <a:cubicBezTo>
                              <a:pt x="442" y="47"/>
                              <a:pt x="442" y="23"/>
                              <a:pt x="419" y="0"/>
                            </a:cubicBezTo>
                            <a:close/>
                          </a:path>
                        </a:pathLst>
                      </a:custGeom>
                      <a:solidFill>
                        <a:srgbClr val="F19439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700" name="Freeform: Shape 1699">
                        <a:extLst>
                          <a:ext uri="{FF2B5EF4-FFF2-40B4-BE49-F238E27FC236}">
                            <a16:creationId xmlns:a16="http://schemas.microsoft.com/office/drawing/2014/main" id="{D1653B9C-328B-4163-A4D7-7CACE6AB387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54735" y="4147814"/>
                        <a:ext cx="2326" cy="2326"/>
                      </a:xfrm>
                      <a:custGeom>
                        <a:avLst/>
                        <a:gdLst>
                          <a:gd name="connsiteX0" fmla="*/ 0 w 0"/>
                          <a:gd name="connsiteY0" fmla="*/ 0 h 0"/>
                          <a:gd name="connsiteX1" fmla="*/ 0 w 0"/>
                          <a:gd name="connsiteY1" fmla="*/ 0 h 0"/>
                          <a:gd name="connsiteX2" fmla="*/ 0 w 0"/>
                          <a:gd name="connsiteY2" fmla="*/ 0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0" y="0"/>
                            </a:moveTo>
                            <a:lnTo>
                              <a:pt x="0" y="0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solidFill>
                        <a:srgbClr val="F19439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701" name="Freeform: Shape 1700">
                        <a:extLst>
                          <a:ext uri="{FF2B5EF4-FFF2-40B4-BE49-F238E27FC236}">
                            <a16:creationId xmlns:a16="http://schemas.microsoft.com/office/drawing/2014/main" id="{5A241CC6-A62E-476F-AFCA-E0DCAAEAAF2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51246" y="4153303"/>
                        <a:ext cx="2326" cy="2326"/>
                      </a:xfrm>
                      <a:custGeom>
                        <a:avLst/>
                        <a:gdLst>
                          <a:gd name="connsiteX0" fmla="*/ 0 w 0"/>
                          <a:gd name="connsiteY0" fmla="*/ 0 h 0"/>
                          <a:gd name="connsiteX1" fmla="*/ 0 w 0"/>
                          <a:gd name="connsiteY1" fmla="*/ 0 h 0"/>
                          <a:gd name="connsiteX2" fmla="*/ 0 w 0"/>
                          <a:gd name="connsiteY2" fmla="*/ 0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0" y="0"/>
                            </a:moveTo>
                            <a:lnTo>
                              <a:pt x="0" y="0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solidFill>
                        <a:srgbClr val="F19439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702" name="Freeform: Shape 1701">
                        <a:extLst>
                          <a:ext uri="{FF2B5EF4-FFF2-40B4-BE49-F238E27FC236}">
                            <a16:creationId xmlns:a16="http://schemas.microsoft.com/office/drawing/2014/main" id="{ACEFA9E5-11DF-4ED6-A41F-E001CEEC157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47570" y="4157304"/>
                        <a:ext cx="2326" cy="2326"/>
                      </a:xfrm>
                      <a:custGeom>
                        <a:avLst/>
                        <a:gdLst>
                          <a:gd name="connsiteX0" fmla="*/ 651 w 0"/>
                          <a:gd name="connsiteY0" fmla="*/ 23 h 0"/>
                          <a:gd name="connsiteX1" fmla="*/ 651 w 0"/>
                          <a:gd name="connsiteY1" fmla="*/ 0 h 0"/>
                          <a:gd name="connsiteX2" fmla="*/ 651 w 0"/>
                          <a:gd name="connsiteY2" fmla="*/ 0 h 0"/>
                          <a:gd name="connsiteX3" fmla="*/ 651 w 0"/>
                          <a:gd name="connsiteY3" fmla="*/ 0 h 0"/>
                          <a:gd name="connsiteX4" fmla="*/ 628 w 0"/>
                          <a:gd name="connsiteY4" fmla="*/ 0 h 0"/>
                          <a:gd name="connsiteX5" fmla="*/ 0 w 0"/>
                          <a:gd name="connsiteY5" fmla="*/ 744 h 0"/>
                          <a:gd name="connsiteX6" fmla="*/ 1791 w 0"/>
                          <a:gd name="connsiteY6" fmla="*/ 744 h 0"/>
                          <a:gd name="connsiteX7" fmla="*/ 651 w 0"/>
                          <a:gd name="connsiteY7" fmla="*/ 23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651" y="23"/>
                            </a:moveTo>
                            <a:lnTo>
                              <a:pt x="651" y="0"/>
                            </a:lnTo>
                            <a:lnTo>
                              <a:pt x="651" y="0"/>
                            </a:lnTo>
                            <a:lnTo>
                              <a:pt x="651" y="0"/>
                            </a:lnTo>
                            <a:lnTo>
                              <a:pt x="628" y="0"/>
                            </a:lnTo>
                            <a:cubicBezTo>
                              <a:pt x="419" y="256"/>
                              <a:pt x="209" y="489"/>
                              <a:pt x="0" y="744"/>
                            </a:cubicBezTo>
                            <a:lnTo>
                              <a:pt x="1791" y="744"/>
                            </a:lnTo>
                            <a:cubicBezTo>
                              <a:pt x="1372" y="744"/>
                              <a:pt x="954" y="512"/>
                              <a:pt x="651" y="23"/>
                            </a:cubicBezTo>
                            <a:close/>
                          </a:path>
                        </a:pathLst>
                      </a:custGeom>
                      <a:solidFill>
                        <a:srgbClr val="F19439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703" name="Freeform: Shape 1702">
                        <a:extLst>
                          <a:ext uri="{FF2B5EF4-FFF2-40B4-BE49-F238E27FC236}">
                            <a16:creationId xmlns:a16="http://schemas.microsoft.com/office/drawing/2014/main" id="{82D28133-FC9D-4575-9B64-764D602BB84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45384" y="4162724"/>
                        <a:ext cx="2326" cy="2326"/>
                      </a:xfrm>
                      <a:custGeom>
                        <a:avLst/>
                        <a:gdLst>
                          <a:gd name="connsiteX0" fmla="*/ 0 w 0"/>
                          <a:gd name="connsiteY0" fmla="*/ 0 h 0"/>
                          <a:gd name="connsiteX1" fmla="*/ 0 w 0"/>
                          <a:gd name="connsiteY1" fmla="*/ 0 h 0"/>
                          <a:gd name="connsiteX2" fmla="*/ 0 w 0"/>
                          <a:gd name="connsiteY2" fmla="*/ 0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0" y="0"/>
                            </a:moveTo>
                            <a:lnTo>
                              <a:pt x="0" y="0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solidFill>
                        <a:srgbClr val="F19439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704" name="Freeform: Shape 1703">
                        <a:extLst>
                          <a:ext uri="{FF2B5EF4-FFF2-40B4-BE49-F238E27FC236}">
                            <a16:creationId xmlns:a16="http://schemas.microsoft.com/office/drawing/2014/main" id="{33A7E86A-F78E-4A09-ACD1-A5D0AB8D888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43220" y="4161817"/>
                        <a:ext cx="2326" cy="2326"/>
                      </a:xfrm>
                      <a:custGeom>
                        <a:avLst/>
                        <a:gdLst>
                          <a:gd name="connsiteX0" fmla="*/ 1140 w 0"/>
                          <a:gd name="connsiteY0" fmla="*/ 419 h 0"/>
                          <a:gd name="connsiteX1" fmla="*/ 884 w 0"/>
                          <a:gd name="connsiteY1" fmla="*/ 23 h 0"/>
                          <a:gd name="connsiteX2" fmla="*/ 861 w 0"/>
                          <a:gd name="connsiteY2" fmla="*/ 0 h 0"/>
                          <a:gd name="connsiteX3" fmla="*/ 0 w 0"/>
                          <a:gd name="connsiteY3" fmla="*/ 814 h 0"/>
                          <a:gd name="connsiteX4" fmla="*/ 23 w 0"/>
                          <a:gd name="connsiteY4" fmla="*/ 837 h 0"/>
                          <a:gd name="connsiteX5" fmla="*/ 23 w 0"/>
                          <a:gd name="connsiteY5" fmla="*/ 907 h 0"/>
                          <a:gd name="connsiteX6" fmla="*/ 2117 w 0"/>
                          <a:gd name="connsiteY6" fmla="*/ 907 h 0"/>
                          <a:gd name="connsiteX7" fmla="*/ 1419 w 0"/>
                          <a:gd name="connsiteY7" fmla="*/ 675 h 0"/>
                          <a:gd name="connsiteX8" fmla="*/ 1140 w 0"/>
                          <a:gd name="connsiteY8" fmla="*/ 419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1140" y="419"/>
                            </a:moveTo>
                            <a:cubicBezTo>
                              <a:pt x="1047" y="302"/>
                              <a:pt x="954" y="186"/>
                              <a:pt x="884" y="23"/>
                            </a:cubicBezTo>
                            <a:cubicBezTo>
                              <a:pt x="884" y="23"/>
                              <a:pt x="884" y="0"/>
                              <a:pt x="861" y="0"/>
                            </a:cubicBezTo>
                            <a:cubicBezTo>
                              <a:pt x="582" y="279"/>
                              <a:pt x="302" y="558"/>
                              <a:pt x="0" y="814"/>
                            </a:cubicBezTo>
                            <a:cubicBezTo>
                              <a:pt x="0" y="814"/>
                              <a:pt x="0" y="837"/>
                              <a:pt x="23" y="837"/>
                            </a:cubicBezTo>
                            <a:cubicBezTo>
                              <a:pt x="23" y="861"/>
                              <a:pt x="23" y="884"/>
                              <a:pt x="23" y="907"/>
                            </a:cubicBezTo>
                            <a:lnTo>
                              <a:pt x="2117" y="907"/>
                            </a:lnTo>
                            <a:cubicBezTo>
                              <a:pt x="1884" y="907"/>
                              <a:pt x="1628" y="837"/>
                              <a:pt x="1419" y="675"/>
                            </a:cubicBezTo>
                            <a:cubicBezTo>
                              <a:pt x="1349" y="628"/>
                              <a:pt x="1256" y="512"/>
                              <a:pt x="1140" y="419"/>
                            </a:cubicBezTo>
                            <a:close/>
                          </a:path>
                        </a:pathLst>
                      </a:custGeom>
                      <a:solidFill>
                        <a:srgbClr val="F19439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705" name="Freeform: Shape 1704">
                        <a:extLst>
                          <a:ext uri="{FF2B5EF4-FFF2-40B4-BE49-F238E27FC236}">
                            <a16:creationId xmlns:a16="http://schemas.microsoft.com/office/drawing/2014/main" id="{94DAB96D-5792-4B66-B3C8-2EABF21ECAC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70597" y="4157467"/>
                        <a:ext cx="44197" cy="18609"/>
                      </a:xfrm>
                      <a:custGeom>
                        <a:avLst/>
                        <a:gdLst>
                          <a:gd name="connsiteX0" fmla="*/ 45337 w 44197"/>
                          <a:gd name="connsiteY0" fmla="*/ 19447 h 18609"/>
                          <a:gd name="connsiteX1" fmla="*/ 45337 w 44197"/>
                          <a:gd name="connsiteY1" fmla="*/ 19447 h 18609"/>
                          <a:gd name="connsiteX2" fmla="*/ 44872 w 44197"/>
                          <a:gd name="connsiteY2" fmla="*/ 19121 h 18609"/>
                          <a:gd name="connsiteX3" fmla="*/ 44849 w 44197"/>
                          <a:gd name="connsiteY3" fmla="*/ 19098 h 18609"/>
                          <a:gd name="connsiteX4" fmla="*/ 44849 w 44197"/>
                          <a:gd name="connsiteY4" fmla="*/ 19098 h 18609"/>
                          <a:gd name="connsiteX5" fmla="*/ 44244 w 44197"/>
                          <a:gd name="connsiteY5" fmla="*/ 17423 h 18609"/>
                          <a:gd name="connsiteX6" fmla="*/ 44244 w 44197"/>
                          <a:gd name="connsiteY6" fmla="*/ 17377 h 18609"/>
                          <a:gd name="connsiteX7" fmla="*/ 43220 w 44197"/>
                          <a:gd name="connsiteY7" fmla="*/ 17377 h 18609"/>
                          <a:gd name="connsiteX8" fmla="*/ 43220 w 44197"/>
                          <a:gd name="connsiteY8" fmla="*/ 17423 h 18609"/>
                          <a:gd name="connsiteX9" fmla="*/ 41662 w 44197"/>
                          <a:gd name="connsiteY9" fmla="*/ 19517 h 18609"/>
                          <a:gd name="connsiteX10" fmla="*/ 41592 w 44197"/>
                          <a:gd name="connsiteY10" fmla="*/ 19517 h 18609"/>
                          <a:gd name="connsiteX11" fmla="*/ 40522 w 44197"/>
                          <a:gd name="connsiteY11" fmla="*/ 19424 h 18609"/>
                          <a:gd name="connsiteX12" fmla="*/ 39080 w 44197"/>
                          <a:gd name="connsiteY12" fmla="*/ 17051 h 18609"/>
                          <a:gd name="connsiteX13" fmla="*/ 39080 w 44197"/>
                          <a:gd name="connsiteY13" fmla="*/ 17028 h 18609"/>
                          <a:gd name="connsiteX14" fmla="*/ 39033 w 44197"/>
                          <a:gd name="connsiteY14" fmla="*/ 17004 h 18609"/>
                          <a:gd name="connsiteX15" fmla="*/ 39033 w 44197"/>
                          <a:gd name="connsiteY15" fmla="*/ 17051 h 18609"/>
                          <a:gd name="connsiteX16" fmla="*/ 39033 w 44197"/>
                          <a:gd name="connsiteY16" fmla="*/ 17051 h 18609"/>
                          <a:gd name="connsiteX17" fmla="*/ 39033 w 44197"/>
                          <a:gd name="connsiteY17" fmla="*/ 17051 h 18609"/>
                          <a:gd name="connsiteX18" fmla="*/ 38010 w 44197"/>
                          <a:gd name="connsiteY18" fmla="*/ 17051 h 18609"/>
                          <a:gd name="connsiteX19" fmla="*/ 36498 w 44197"/>
                          <a:gd name="connsiteY19" fmla="*/ 18772 h 18609"/>
                          <a:gd name="connsiteX20" fmla="*/ 36265 w 44197"/>
                          <a:gd name="connsiteY20" fmla="*/ 18749 h 18609"/>
                          <a:gd name="connsiteX21" fmla="*/ 35195 w 44197"/>
                          <a:gd name="connsiteY21" fmla="*/ 18516 h 18609"/>
                          <a:gd name="connsiteX22" fmla="*/ 33985 w 44197"/>
                          <a:gd name="connsiteY22" fmla="*/ 17051 h 18609"/>
                          <a:gd name="connsiteX23" fmla="*/ 33985 w 44197"/>
                          <a:gd name="connsiteY23" fmla="*/ 17051 h 18609"/>
                          <a:gd name="connsiteX24" fmla="*/ 33985 w 44197"/>
                          <a:gd name="connsiteY24" fmla="*/ 17028 h 18609"/>
                          <a:gd name="connsiteX25" fmla="*/ 33916 w 44197"/>
                          <a:gd name="connsiteY25" fmla="*/ 16679 h 18609"/>
                          <a:gd name="connsiteX26" fmla="*/ 33892 w 44197"/>
                          <a:gd name="connsiteY26" fmla="*/ 16493 h 18609"/>
                          <a:gd name="connsiteX27" fmla="*/ 33892 w 44197"/>
                          <a:gd name="connsiteY27" fmla="*/ 16493 h 18609"/>
                          <a:gd name="connsiteX28" fmla="*/ 33916 w 44197"/>
                          <a:gd name="connsiteY28" fmla="*/ 15958 h 18609"/>
                          <a:gd name="connsiteX29" fmla="*/ 33916 w 44197"/>
                          <a:gd name="connsiteY29" fmla="*/ 15934 h 18609"/>
                          <a:gd name="connsiteX30" fmla="*/ 33916 w 44197"/>
                          <a:gd name="connsiteY30" fmla="*/ 15911 h 18609"/>
                          <a:gd name="connsiteX31" fmla="*/ 32822 w 44197"/>
                          <a:gd name="connsiteY31" fmla="*/ 15911 h 18609"/>
                          <a:gd name="connsiteX32" fmla="*/ 31380 w 44197"/>
                          <a:gd name="connsiteY32" fmla="*/ 17307 h 18609"/>
                          <a:gd name="connsiteX33" fmla="*/ 31008 w 44197"/>
                          <a:gd name="connsiteY33" fmla="*/ 17237 h 18609"/>
                          <a:gd name="connsiteX34" fmla="*/ 29961 w 44197"/>
                          <a:gd name="connsiteY34" fmla="*/ 16842 h 18609"/>
                          <a:gd name="connsiteX35" fmla="*/ 29077 w 44197"/>
                          <a:gd name="connsiteY35" fmla="*/ 15911 h 18609"/>
                          <a:gd name="connsiteX36" fmla="*/ 29077 w 44197"/>
                          <a:gd name="connsiteY36" fmla="*/ 15911 h 18609"/>
                          <a:gd name="connsiteX37" fmla="*/ 29054 w 44197"/>
                          <a:gd name="connsiteY37" fmla="*/ 15865 h 18609"/>
                          <a:gd name="connsiteX38" fmla="*/ 29054 w 44197"/>
                          <a:gd name="connsiteY38" fmla="*/ 15865 h 18609"/>
                          <a:gd name="connsiteX39" fmla="*/ 28938 w 44197"/>
                          <a:gd name="connsiteY39" fmla="*/ 15492 h 18609"/>
                          <a:gd name="connsiteX40" fmla="*/ 28914 w 44197"/>
                          <a:gd name="connsiteY40" fmla="*/ 15423 h 18609"/>
                          <a:gd name="connsiteX41" fmla="*/ 28914 w 44197"/>
                          <a:gd name="connsiteY41" fmla="*/ 15423 h 18609"/>
                          <a:gd name="connsiteX42" fmla="*/ 28845 w 44197"/>
                          <a:gd name="connsiteY42" fmla="*/ 15050 h 18609"/>
                          <a:gd name="connsiteX43" fmla="*/ 28845 w 44197"/>
                          <a:gd name="connsiteY43" fmla="*/ 15050 h 18609"/>
                          <a:gd name="connsiteX44" fmla="*/ 28845 w 44197"/>
                          <a:gd name="connsiteY44" fmla="*/ 15050 h 18609"/>
                          <a:gd name="connsiteX45" fmla="*/ 28845 w 44197"/>
                          <a:gd name="connsiteY45" fmla="*/ 14981 h 18609"/>
                          <a:gd name="connsiteX46" fmla="*/ 28845 w 44197"/>
                          <a:gd name="connsiteY46" fmla="*/ 14981 h 18609"/>
                          <a:gd name="connsiteX47" fmla="*/ 28845 w 44197"/>
                          <a:gd name="connsiteY47" fmla="*/ 14911 h 18609"/>
                          <a:gd name="connsiteX48" fmla="*/ 28891 w 44197"/>
                          <a:gd name="connsiteY48" fmla="*/ 14120 h 18609"/>
                          <a:gd name="connsiteX49" fmla="*/ 28891 w 44197"/>
                          <a:gd name="connsiteY49" fmla="*/ 14097 h 18609"/>
                          <a:gd name="connsiteX50" fmla="*/ 28891 w 44197"/>
                          <a:gd name="connsiteY50" fmla="*/ 14097 h 18609"/>
                          <a:gd name="connsiteX51" fmla="*/ 27728 w 44197"/>
                          <a:gd name="connsiteY51" fmla="*/ 14097 h 18609"/>
                          <a:gd name="connsiteX52" fmla="*/ 26425 w 44197"/>
                          <a:gd name="connsiteY52" fmla="*/ 15143 h 18609"/>
                          <a:gd name="connsiteX53" fmla="*/ 25890 w 44197"/>
                          <a:gd name="connsiteY53" fmla="*/ 14981 h 18609"/>
                          <a:gd name="connsiteX54" fmla="*/ 24867 w 44197"/>
                          <a:gd name="connsiteY54" fmla="*/ 14446 h 18609"/>
                          <a:gd name="connsiteX55" fmla="*/ 24495 w 44197"/>
                          <a:gd name="connsiteY55" fmla="*/ 14097 h 18609"/>
                          <a:gd name="connsiteX56" fmla="*/ 24495 w 44197"/>
                          <a:gd name="connsiteY56" fmla="*/ 14097 h 18609"/>
                          <a:gd name="connsiteX57" fmla="*/ 24402 w 44197"/>
                          <a:gd name="connsiteY57" fmla="*/ 14004 h 18609"/>
                          <a:gd name="connsiteX58" fmla="*/ 24402 w 44197"/>
                          <a:gd name="connsiteY58" fmla="*/ 14004 h 18609"/>
                          <a:gd name="connsiteX59" fmla="*/ 24355 w 44197"/>
                          <a:gd name="connsiteY59" fmla="*/ 13957 h 18609"/>
                          <a:gd name="connsiteX60" fmla="*/ 24355 w 44197"/>
                          <a:gd name="connsiteY60" fmla="*/ 13957 h 18609"/>
                          <a:gd name="connsiteX61" fmla="*/ 24099 w 44197"/>
                          <a:gd name="connsiteY61" fmla="*/ 13445 h 18609"/>
                          <a:gd name="connsiteX62" fmla="*/ 23890 w 44197"/>
                          <a:gd name="connsiteY62" fmla="*/ 12399 h 18609"/>
                          <a:gd name="connsiteX63" fmla="*/ 23890 w 44197"/>
                          <a:gd name="connsiteY63" fmla="*/ 12399 h 18609"/>
                          <a:gd name="connsiteX64" fmla="*/ 23936 w 44197"/>
                          <a:gd name="connsiteY64" fmla="*/ 11957 h 18609"/>
                          <a:gd name="connsiteX65" fmla="*/ 23983 w 44197"/>
                          <a:gd name="connsiteY65" fmla="*/ 11584 h 18609"/>
                          <a:gd name="connsiteX66" fmla="*/ 23983 w 44197"/>
                          <a:gd name="connsiteY66" fmla="*/ 11561 h 18609"/>
                          <a:gd name="connsiteX67" fmla="*/ 23983 w 44197"/>
                          <a:gd name="connsiteY67" fmla="*/ 11561 h 18609"/>
                          <a:gd name="connsiteX68" fmla="*/ 22750 w 44197"/>
                          <a:gd name="connsiteY68" fmla="*/ 11561 h 18609"/>
                          <a:gd name="connsiteX69" fmla="*/ 21633 w 44197"/>
                          <a:gd name="connsiteY69" fmla="*/ 12236 h 18609"/>
                          <a:gd name="connsiteX70" fmla="*/ 20936 w 44197"/>
                          <a:gd name="connsiteY70" fmla="*/ 12026 h 18609"/>
                          <a:gd name="connsiteX71" fmla="*/ 20284 w 44197"/>
                          <a:gd name="connsiteY71" fmla="*/ 11561 h 18609"/>
                          <a:gd name="connsiteX72" fmla="*/ 20284 w 44197"/>
                          <a:gd name="connsiteY72" fmla="*/ 11561 h 18609"/>
                          <a:gd name="connsiteX73" fmla="*/ 19982 w 44197"/>
                          <a:gd name="connsiteY73" fmla="*/ 11328 h 18609"/>
                          <a:gd name="connsiteX74" fmla="*/ 19400 w 44197"/>
                          <a:gd name="connsiteY74" fmla="*/ 10561 h 18609"/>
                          <a:gd name="connsiteX75" fmla="*/ 19400 w 44197"/>
                          <a:gd name="connsiteY75" fmla="*/ 10561 h 18609"/>
                          <a:gd name="connsiteX76" fmla="*/ 19214 w 44197"/>
                          <a:gd name="connsiteY76" fmla="*/ 10072 h 18609"/>
                          <a:gd name="connsiteX77" fmla="*/ 19214 w 44197"/>
                          <a:gd name="connsiteY77" fmla="*/ 10072 h 18609"/>
                          <a:gd name="connsiteX78" fmla="*/ 19144 w 44197"/>
                          <a:gd name="connsiteY78" fmla="*/ 9165 h 18609"/>
                          <a:gd name="connsiteX79" fmla="*/ 19144 w 44197"/>
                          <a:gd name="connsiteY79" fmla="*/ 9165 h 18609"/>
                          <a:gd name="connsiteX80" fmla="*/ 19307 w 44197"/>
                          <a:gd name="connsiteY80" fmla="*/ 8351 h 18609"/>
                          <a:gd name="connsiteX81" fmla="*/ 19307 w 44197"/>
                          <a:gd name="connsiteY81" fmla="*/ 8328 h 18609"/>
                          <a:gd name="connsiteX82" fmla="*/ 19307 w 44197"/>
                          <a:gd name="connsiteY82" fmla="*/ 8328 h 18609"/>
                          <a:gd name="connsiteX83" fmla="*/ 19307 w 44197"/>
                          <a:gd name="connsiteY83" fmla="*/ 8328 h 18609"/>
                          <a:gd name="connsiteX84" fmla="*/ 17912 w 44197"/>
                          <a:gd name="connsiteY84" fmla="*/ 8328 h 18609"/>
                          <a:gd name="connsiteX85" fmla="*/ 17074 w 44197"/>
                          <a:gd name="connsiteY85" fmla="*/ 8700 h 18609"/>
                          <a:gd name="connsiteX86" fmla="*/ 16260 w 44197"/>
                          <a:gd name="connsiteY86" fmla="*/ 8351 h 18609"/>
                          <a:gd name="connsiteX87" fmla="*/ 15353 w 44197"/>
                          <a:gd name="connsiteY87" fmla="*/ 7537 h 18609"/>
                          <a:gd name="connsiteX88" fmla="*/ 15074 w 44197"/>
                          <a:gd name="connsiteY88" fmla="*/ 7165 h 18609"/>
                          <a:gd name="connsiteX89" fmla="*/ 14934 w 44197"/>
                          <a:gd name="connsiteY89" fmla="*/ 6979 h 18609"/>
                          <a:gd name="connsiteX90" fmla="*/ 14934 w 44197"/>
                          <a:gd name="connsiteY90" fmla="*/ 6979 h 18609"/>
                          <a:gd name="connsiteX91" fmla="*/ 14655 w 44197"/>
                          <a:gd name="connsiteY91" fmla="*/ 6095 h 18609"/>
                          <a:gd name="connsiteX92" fmla="*/ 14655 w 44197"/>
                          <a:gd name="connsiteY92" fmla="*/ 6095 h 18609"/>
                          <a:gd name="connsiteX93" fmla="*/ 14655 w 44197"/>
                          <a:gd name="connsiteY93" fmla="*/ 5350 h 18609"/>
                          <a:gd name="connsiteX94" fmla="*/ 14655 w 44197"/>
                          <a:gd name="connsiteY94" fmla="*/ 5350 h 18609"/>
                          <a:gd name="connsiteX95" fmla="*/ 14655 w 44197"/>
                          <a:gd name="connsiteY95" fmla="*/ 5234 h 18609"/>
                          <a:gd name="connsiteX96" fmla="*/ 14655 w 44197"/>
                          <a:gd name="connsiteY96" fmla="*/ 5234 h 18609"/>
                          <a:gd name="connsiteX97" fmla="*/ 14725 w 44197"/>
                          <a:gd name="connsiteY97" fmla="*/ 5001 h 18609"/>
                          <a:gd name="connsiteX98" fmla="*/ 14887 w 44197"/>
                          <a:gd name="connsiteY98" fmla="*/ 4466 h 18609"/>
                          <a:gd name="connsiteX99" fmla="*/ 14887 w 44197"/>
                          <a:gd name="connsiteY99" fmla="*/ 4443 h 18609"/>
                          <a:gd name="connsiteX100" fmla="*/ 13027 w 44197"/>
                          <a:gd name="connsiteY100" fmla="*/ 4443 h 18609"/>
                          <a:gd name="connsiteX101" fmla="*/ 12794 w 44197"/>
                          <a:gd name="connsiteY101" fmla="*/ 4489 h 18609"/>
                          <a:gd name="connsiteX102" fmla="*/ 12631 w 44197"/>
                          <a:gd name="connsiteY102" fmla="*/ 4443 h 18609"/>
                          <a:gd name="connsiteX103" fmla="*/ 12631 w 44197"/>
                          <a:gd name="connsiteY103" fmla="*/ 4443 h 18609"/>
                          <a:gd name="connsiteX104" fmla="*/ 12631 w 44197"/>
                          <a:gd name="connsiteY104" fmla="*/ 4443 h 18609"/>
                          <a:gd name="connsiteX105" fmla="*/ 12236 w 44197"/>
                          <a:gd name="connsiteY105" fmla="*/ 4327 h 18609"/>
                          <a:gd name="connsiteX106" fmla="*/ 11840 w 44197"/>
                          <a:gd name="connsiteY106" fmla="*/ 4024 h 18609"/>
                          <a:gd name="connsiteX107" fmla="*/ 11003 w 44197"/>
                          <a:gd name="connsiteY107" fmla="*/ 3094 h 18609"/>
                          <a:gd name="connsiteX108" fmla="*/ 10677 w 44197"/>
                          <a:gd name="connsiteY108" fmla="*/ 2559 h 18609"/>
                          <a:gd name="connsiteX109" fmla="*/ 10654 w 44197"/>
                          <a:gd name="connsiteY109" fmla="*/ 2512 h 18609"/>
                          <a:gd name="connsiteX110" fmla="*/ 10561 w 44197"/>
                          <a:gd name="connsiteY110" fmla="*/ 2233 h 18609"/>
                          <a:gd name="connsiteX111" fmla="*/ 10468 w 44197"/>
                          <a:gd name="connsiteY111" fmla="*/ 1907 h 18609"/>
                          <a:gd name="connsiteX112" fmla="*/ 10445 w 44197"/>
                          <a:gd name="connsiteY112" fmla="*/ 1791 h 18609"/>
                          <a:gd name="connsiteX113" fmla="*/ 10445 w 44197"/>
                          <a:gd name="connsiteY113" fmla="*/ 1745 h 18609"/>
                          <a:gd name="connsiteX114" fmla="*/ 10445 w 44197"/>
                          <a:gd name="connsiteY114" fmla="*/ 1442 h 18609"/>
                          <a:gd name="connsiteX115" fmla="*/ 10445 w 44197"/>
                          <a:gd name="connsiteY115" fmla="*/ 1163 h 18609"/>
                          <a:gd name="connsiteX116" fmla="*/ 10445 w 44197"/>
                          <a:gd name="connsiteY116" fmla="*/ 1047 h 18609"/>
                          <a:gd name="connsiteX117" fmla="*/ 10468 w 44197"/>
                          <a:gd name="connsiteY117" fmla="*/ 954 h 18609"/>
                          <a:gd name="connsiteX118" fmla="*/ 10538 w 44197"/>
                          <a:gd name="connsiteY118" fmla="*/ 628 h 18609"/>
                          <a:gd name="connsiteX119" fmla="*/ 10607 w 44197"/>
                          <a:gd name="connsiteY119" fmla="*/ 395 h 18609"/>
                          <a:gd name="connsiteX120" fmla="*/ 10607 w 44197"/>
                          <a:gd name="connsiteY120" fmla="*/ 372 h 18609"/>
                          <a:gd name="connsiteX121" fmla="*/ 10770 w 44197"/>
                          <a:gd name="connsiteY121" fmla="*/ 23 h 18609"/>
                          <a:gd name="connsiteX122" fmla="*/ 10770 w 44197"/>
                          <a:gd name="connsiteY122" fmla="*/ 23 h 18609"/>
                          <a:gd name="connsiteX123" fmla="*/ 10770 w 44197"/>
                          <a:gd name="connsiteY123" fmla="*/ 0 h 18609"/>
                          <a:gd name="connsiteX124" fmla="*/ 10770 w 44197"/>
                          <a:gd name="connsiteY124" fmla="*/ 0 h 18609"/>
                          <a:gd name="connsiteX125" fmla="*/ 349 w 44197"/>
                          <a:gd name="connsiteY125" fmla="*/ 0 h 18609"/>
                          <a:gd name="connsiteX126" fmla="*/ 349 w 44197"/>
                          <a:gd name="connsiteY126" fmla="*/ 0 h 18609"/>
                          <a:gd name="connsiteX127" fmla="*/ 326 w 44197"/>
                          <a:gd name="connsiteY127" fmla="*/ 0 h 18609"/>
                          <a:gd name="connsiteX128" fmla="*/ 163 w 44197"/>
                          <a:gd name="connsiteY128" fmla="*/ 326 h 18609"/>
                          <a:gd name="connsiteX129" fmla="*/ 163 w 44197"/>
                          <a:gd name="connsiteY129" fmla="*/ 326 h 18609"/>
                          <a:gd name="connsiteX130" fmla="*/ 163 w 44197"/>
                          <a:gd name="connsiteY130" fmla="*/ 326 h 18609"/>
                          <a:gd name="connsiteX131" fmla="*/ 163 w 44197"/>
                          <a:gd name="connsiteY131" fmla="*/ 349 h 18609"/>
                          <a:gd name="connsiteX132" fmla="*/ 47 w 44197"/>
                          <a:gd name="connsiteY132" fmla="*/ 814 h 18609"/>
                          <a:gd name="connsiteX133" fmla="*/ 23 w 44197"/>
                          <a:gd name="connsiteY133" fmla="*/ 977 h 18609"/>
                          <a:gd name="connsiteX134" fmla="*/ 0 w 44197"/>
                          <a:gd name="connsiteY134" fmla="*/ 1093 h 18609"/>
                          <a:gd name="connsiteX135" fmla="*/ 0 w 44197"/>
                          <a:gd name="connsiteY135" fmla="*/ 1233 h 18609"/>
                          <a:gd name="connsiteX136" fmla="*/ 0 w 44197"/>
                          <a:gd name="connsiteY136" fmla="*/ 1652 h 18609"/>
                          <a:gd name="connsiteX137" fmla="*/ 23 w 44197"/>
                          <a:gd name="connsiteY137" fmla="*/ 1745 h 18609"/>
                          <a:gd name="connsiteX138" fmla="*/ 47 w 44197"/>
                          <a:gd name="connsiteY138" fmla="*/ 1861 h 18609"/>
                          <a:gd name="connsiteX139" fmla="*/ 93 w 44197"/>
                          <a:gd name="connsiteY139" fmla="*/ 2094 h 18609"/>
                          <a:gd name="connsiteX140" fmla="*/ 186 w 44197"/>
                          <a:gd name="connsiteY140" fmla="*/ 2349 h 18609"/>
                          <a:gd name="connsiteX141" fmla="*/ 256 w 44197"/>
                          <a:gd name="connsiteY141" fmla="*/ 2536 h 18609"/>
                          <a:gd name="connsiteX142" fmla="*/ 582 w 44197"/>
                          <a:gd name="connsiteY142" fmla="*/ 3071 h 18609"/>
                          <a:gd name="connsiteX143" fmla="*/ 1419 w 44197"/>
                          <a:gd name="connsiteY143" fmla="*/ 4001 h 18609"/>
                          <a:gd name="connsiteX144" fmla="*/ 2373 w 44197"/>
                          <a:gd name="connsiteY144" fmla="*/ 4466 h 18609"/>
                          <a:gd name="connsiteX145" fmla="*/ 4466 w 44197"/>
                          <a:gd name="connsiteY145" fmla="*/ 4466 h 18609"/>
                          <a:gd name="connsiteX146" fmla="*/ 4420 w 44197"/>
                          <a:gd name="connsiteY146" fmla="*/ 4583 h 18609"/>
                          <a:gd name="connsiteX147" fmla="*/ 4280 w 44197"/>
                          <a:gd name="connsiteY147" fmla="*/ 5118 h 18609"/>
                          <a:gd name="connsiteX148" fmla="*/ 4257 w 44197"/>
                          <a:gd name="connsiteY148" fmla="*/ 5234 h 18609"/>
                          <a:gd name="connsiteX149" fmla="*/ 4257 w 44197"/>
                          <a:gd name="connsiteY149" fmla="*/ 5350 h 18609"/>
                          <a:gd name="connsiteX150" fmla="*/ 4234 w 44197"/>
                          <a:gd name="connsiteY150" fmla="*/ 5560 h 18609"/>
                          <a:gd name="connsiteX151" fmla="*/ 4234 w 44197"/>
                          <a:gd name="connsiteY151" fmla="*/ 5978 h 18609"/>
                          <a:gd name="connsiteX152" fmla="*/ 4257 w 44197"/>
                          <a:gd name="connsiteY152" fmla="*/ 6095 h 18609"/>
                          <a:gd name="connsiteX153" fmla="*/ 4280 w 44197"/>
                          <a:gd name="connsiteY153" fmla="*/ 6211 h 18609"/>
                          <a:gd name="connsiteX154" fmla="*/ 4327 w 44197"/>
                          <a:gd name="connsiteY154" fmla="*/ 6420 h 18609"/>
                          <a:gd name="connsiteX155" fmla="*/ 4443 w 44197"/>
                          <a:gd name="connsiteY155" fmla="*/ 6746 h 18609"/>
                          <a:gd name="connsiteX156" fmla="*/ 4536 w 44197"/>
                          <a:gd name="connsiteY156" fmla="*/ 6955 h 18609"/>
                          <a:gd name="connsiteX157" fmla="*/ 4955 w 44197"/>
                          <a:gd name="connsiteY157" fmla="*/ 7514 h 18609"/>
                          <a:gd name="connsiteX158" fmla="*/ 5862 w 44197"/>
                          <a:gd name="connsiteY158" fmla="*/ 8328 h 18609"/>
                          <a:gd name="connsiteX159" fmla="*/ 6699 w 44197"/>
                          <a:gd name="connsiteY159" fmla="*/ 8677 h 18609"/>
                          <a:gd name="connsiteX160" fmla="*/ 8839 w 44197"/>
                          <a:gd name="connsiteY160" fmla="*/ 8677 h 18609"/>
                          <a:gd name="connsiteX161" fmla="*/ 8793 w 44197"/>
                          <a:gd name="connsiteY161" fmla="*/ 8816 h 18609"/>
                          <a:gd name="connsiteX162" fmla="*/ 8746 w 44197"/>
                          <a:gd name="connsiteY162" fmla="*/ 9165 h 18609"/>
                          <a:gd name="connsiteX163" fmla="*/ 8746 w 44197"/>
                          <a:gd name="connsiteY163" fmla="*/ 9212 h 18609"/>
                          <a:gd name="connsiteX164" fmla="*/ 8746 w 44197"/>
                          <a:gd name="connsiteY164" fmla="*/ 9235 h 18609"/>
                          <a:gd name="connsiteX165" fmla="*/ 8746 w 44197"/>
                          <a:gd name="connsiteY165" fmla="*/ 9654 h 18609"/>
                          <a:gd name="connsiteX166" fmla="*/ 8793 w 44197"/>
                          <a:gd name="connsiteY166" fmla="*/ 10003 h 18609"/>
                          <a:gd name="connsiteX167" fmla="*/ 8793 w 44197"/>
                          <a:gd name="connsiteY167" fmla="*/ 10072 h 18609"/>
                          <a:gd name="connsiteX168" fmla="*/ 8793 w 44197"/>
                          <a:gd name="connsiteY168" fmla="*/ 10119 h 18609"/>
                          <a:gd name="connsiteX169" fmla="*/ 8979 w 44197"/>
                          <a:gd name="connsiteY169" fmla="*/ 10561 h 18609"/>
                          <a:gd name="connsiteX170" fmla="*/ 9095 w 44197"/>
                          <a:gd name="connsiteY170" fmla="*/ 10817 h 18609"/>
                          <a:gd name="connsiteX171" fmla="*/ 9584 w 44197"/>
                          <a:gd name="connsiteY171" fmla="*/ 11352 h 18609"/>
                          <a:gd name="connsiteX172" fmla="*/ 10538 w 44197"/>
                          <a:gd name="connsiteY172" fmla="*/ 12026 h 18609"/>
                          <a:gd name="connsiteX173" fmla="*/ 11212 w 44197"/>
                          <a:gd name="connsiteY173" fmla="*/ 12236 h 18609"/>
                          <a:gd name="connsiteX174" fmla="*/ 13469 w 44197"/>
                          <a:gd name="connsiteY174" fmla="*/ 12236 h 18609"/>
                          <a:gd name="connsiteX175" fmla="*/ 13469 w 44197"/>
                          <a:gd name="connsiteY175" fmla="*/ 12259 h 18609"/>
                          <a:gd name="connsiteX176" fmla="*/ 13469 w 44197"/>
                          <a:gd name="connsiteY176" fmla="*/ 12422 h 18609"/>
                          <a:gd name="connsiteX177" fmla="*/ 13469 w 44197"/>
                          <a:gd name="connsiteY177" fmla="*/ 12515 h 18609"/>
                          <a:gd name="connsiteX178" fmla="*/ 13469 w 44197"/>
                          <a:gd name="connsiteY178" fmla="*/ 12701 h 18609"/>
                          <a:gd name="connsiteX179" fmla="*/ 13538 w 44197"/>
                          <a:gd name="connsiteY179" fmla="*/ 13143 h 18609"/>
                          <a:gd name="connsiteX180" fmla="*/ 13585 w 44197"/>
                          <a:gd name="connsiteY180" fmla="*/ 13259 h 18609"/>
                          <a:gd name="connsiteX181" fmla="*/ 13631 w 44197"/>
                          <a:gd name="connsiteY181" fmla="*/ 13375 h 18609"/>
                          <a:gd name="connsiteX182" fmla="*/ 13934 w 44197"/>
                          <a:gd name="connsiteY182" fmla="*/ 14004 h 18609"/>
                          <a:gd name="connsiteX183" fmla="*/ 13980 w 44197"/>
                          <a:gd name="connsiteY183" fmla="*/ 14050 h 18609"/>
                          <a:gd name="connsiteX184" fmla="*/ 14469 w 44197"/>
                          <a:gd name="connsiteY184" fmla="*/ 14492 h 18609"/>
                          <a:gd name="connsiteX185" fmla="*/ 15492 w 44197"/>
                          <a:gd name="connsiteY185" fmla="*/ 15027 h 18609"/>
                          <a:gd name="connsiteX186" fmla="*/ 16027 w 44197"/>
                          <a:gd name="connsiteY186" fmla="*/ 15190 h 18609"/>
                          <a:gd name="connsiteX187" fmla="*/ 18447 w 44197"/>
                          <a:gd name="connsiteY187" fmla="*/ 15190 h 18609"/>
                          <a:gd name="connsiteX188" fmla="*/ 18493 w 44197"/>
                          <a:gd name="connsiteY188" fmla="*/ 15492 h 18609"/>
                          <a:gd name="connsiteX189" fmla="*/ 18493 w 44197"/>
                          <a:gd name="connsiteY189" fmla="*/ 15516 h 18609"/>
                          <a:gd name="connsiteX190" fmla="*/ 18516 w 44197"/>
                          <a:gd name="connsiteY190" fmla="*/ 15585 h 18609"/>
                          <a:gd name="connsiteX191" fmla="*/ 18633 w 44197"/>
                          <a:gd name="connsiteY191" fmla="*/ 15934 h 18609"/>
                          <a:gd name="connsiteX192" fmla="*/ 18679 w 44197"/>
                          <a:gd name="connsiteY192" fmla="*/ 16074 h 18609"/>
                          <a:gd name="connsiteX193" fmla="*/ 18842 w 44197"/>
                          <a:gd name="connsiteY193" fmla="*/ 16330 h 18609"/>
                          <a:gd name="connsiteX194" fmla="*/ 18935 w 44197"/>
                          <a:gd name="connsiteY194" fmla="*/ 16446 h 18609"/>
                          <a:gd name="connsiteX195" fmla="*/ 19121 w 44197"/>
                          <a:gd name="connsiteY195" fmla="*/ 16655 h 18609"/>
                          <a:gd name="connsiteX196" fmla="*/ 19214 w 44197"/>
                          <a:gd name="connsiteY196" fmla="*/ 16748 h 18609"/>
                          <a:gd name="connsiteX197" fmla="*/ 19540 w 44197"/>
                          <a:gd name="connsiteY197" fmla="*/ 16935 h 18609"/>
                          <a:gd name="connsiteX198" fmla="*/ 20563 w 44197"/>
                          <a:gd name="connsiteY198" fmla="*/ 17330 h 18609"/>
                          <a:gd name="connsiteX199" fmla="*/ 20959 w 44197"/>
                          <a:gd name="connsiteY199" fmla="*/ 17400 h 18609"/>
                          <a:gd name="connsiteX200" fmla="*/ 23634 w 44197"/>
                          <a:gd name="connsiteY200" fmla="*/ 17400 h 18609"/>
                          <a:gd name="connsiteX201" fmla="*/ 23727 w 44197"/>
                          <a:gd name="connsiteY201" fmla="*/ 17609 h 18609"/>
                          <a:gd name="connsiteX202" fmla="*/ 23750 w 44197"/>
                          <a:gd name="connsiteY202" fmla="*/ 17679 h 18609"/>
                          <a:gd name="connsiteX203" fmla="*/ 23983 w 44197"/>
                          <a:gd name="connsiteY203" fmla="*/ 18074 h 18609"/>
                          <a:gd name="connsiteX204" fmla="*/ 24053 w 44197"/>
                          <a:gd name="connsiteY204" fmla="*/ 18167 h 18609"/>
                          <a:gd name="connsiteX205" fmla="*/ 24285 w 44197"/>
                          <a:gd name="connsiteY205" fmla="*/ 18377 h 18609"/>
                          <a:gd name="connsiteX206" fmla="*/ 24378 w 44197"/>
                          <a:gd name="connsiteY206" fmla="*/ 18447 h 18609"/>
                          <a:gd name="connsiteX207" fmla="*/ 24750 w 44197"/>
                          <a:gd name="connsiteY207" fmla="*/ 18609 h 18609"/>
                          <a:gd name="connsiteX208" fmla="*/ 25820 w 44197"/>
                          <a:gd name="connsiteY208" fmla="*/ 18842 h 18609"/>
                          <a:gd name="connsiteX209" fmla="*/ 26053 w 44197"/>
                          <a:gd name="connsiteY209" fmla="*/ 18865 h 18609"/>
                          <a:gd name="connsiteX210" fmla="*/ 29100 w 44197"/>
                          <a:gd name="connsiteY210" fmla="*/ 18865 h 18609"/>
                          <a:gd name="connsiteX211" fmla="*/ 29240 w 44197"/>
                          <a:gd name="connsiteY211" fmla="*/ 19028 h 18609"/>
                          <a:gd name="connsiteX212" fmla="*/ 29240 w 44197"/>
                          <a:gd name="connsiteY212" fmla="*/ 19028 h 18609"/>
                          <a:gd name="connsiteX213" fmla="*/ 29566 w 44197"/>
                          <a:gd name="connsiteY213" fmla="*/ 19284 h 18609"/>
                          <a:gd name="connsiteX214" fmla="*/ 29659 w 44197"/>
                          <a:gd name="connsiteY214" fmla="*/ 19354 h 18609"/>
                          <a:gd name="connsiteX215" fmla="*/ 30077 w 44197"/>
                          <a:gd name="connsiteY215" fmla="*/ 19470 h 18609"/>
                          <a:gd name="connsiteX216" fmla="*/ 31147 w 44197"/>
                          <a:gd name="connsiteY216" fmla="*/ 19563 h 18609"/>
                          <a:gd name="connsiteX217" fmla="*/ 35055 w 44197"/>
                          <a:gd name="connsiteY217" fmla="*/ 19563 h 18609"/>
                          <a:gd name="connsiteX218" fmla="*/ 35381 w 44197"/>
                          <a:gd name="connsiteY218" fmla="*/ 19610 h 18609"/>
                          <a:gd name="connsiteX219" fmla="*/ 45826 w 44197"/>
                          <a:gd name="connsiteY219" fmla="*/ 19610 h 18609"/>
                          <a:gd name="connsiteX220" fmla="*/ 45337 w 44197"/>
                          <a:gd name="connsiteY220" fmla="*/ 19447 h 18609"/>
                          <a:gd name="connsiteX221" fmla="*/ 45337 w 44197"/>
                          <a:gd name="connsiteY221" fmla="*/ 19447 h 18609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  <a:cxn ang="0">
                            <a:pos x="connsiteX43" y="connsiteY43"/>
                          </a:cxn>
                          <a:cxn ang="0">
                            <a:pos x="connsiteX44" y="connsiteY44"/>
                          </a:cxn>
                          <a:cxn ang="0">
                            <a:pos x="connsiteX45" y="connsiteY45"/>
                          </a:cxn>
                          <a:cxn ang="0">
                            <a:pos x="connsiteX46" y="connsiteY46"/>
                          </a:cxn>
                          <a:cxn ang="0">
                            <a:pos x="connsiteX47" y="connsiteY47"/>
                          </a:cxn>
                          <a:cxn ang="0">
                            <a:pos x="connsiteX48" y="connsiteY48"/>
                          </a:cxn>
                          <a:cxn ang="0">
                            <a:pos x="connsiteX49" y="connsiteY49"/>
                          </a:cxn>
                          <a:cxn ang="0">
                            <a:pos x="connsiteX50" y="connsiteY50"/>
                          </a:cxn>
                          <a:cxn ang="0">
                            <a:pos x="connsiteX51" y="connsiteY51"/>
                          </a:cxn>
                          <a:cxn ang="0">
                            <a:pos x="connsiteX52" y="connsiteY52"/>
                          </a:cxn>
                          <a:cxn ang="0">
                            <a:pos x="connsiteX53" y="connsiteY53"/>
                          </a:cxn>
                          <a:cxn ang="0">
                            <a:pos x="connsiteX54" y="connsiteY54"/>
                          </a:cxn>
                          <a:cxn ang="0">
                            <a:pos x="connsiteX55" y="connsiteY55"/>
                          </a:cxn>
                          <a:cxn ang="0">
                            <a:pos x="connsiteX56" y="connsiteY56"/>
                          </a:cxn>
                          <a:cxn ang="0">
                            <a:pos x="connsiteX57" y="connsiteY57"/>
                          </a:cxn>
                          <a:cxn ang="0">
                            <a:pos x="connsiteX58" y="connsiteY58"/>
                          </a:cxn>
                          <a:cxn ang="0">
                            <a:pos x="connsiteX59" y="connsiteY59"/>
                          </a:cxn>
                          <a:cxn ang="0">
                            <a:pos x="connsiteX60" y="connsiteY60"/>
                          </a:cxn>
                          <a:cxn ang="0">
                            <a:pos x="connsiteX61" y="connsiteY61"/>
                          </a:cxn>
                          <a:cxn ang="0">
                            <a:pos x="connsiteX62" y="connsiteY62"/>
                          </a:cxn>
                          <a:cxn ang="0">
                            <a:pos x="connsiteX63" y="connsiteY63"/>
                          </a:cxn>
                          <a:cxn ang="0">
                            <a:pos x="connsiteX64" y="connsiteY64"/>
                          </a:cxn>
                          <a:cxn ang="0">
                            <a:pos x="connsiteX65" y="connsiteY65"/>
                          </a:cxn>
                          <a:cxn ang="0">
                            <a:pos x="connsiteX66" y="connsiteY66"/>
                          </a:cxn>
                          <a:cxn ang="0">
                            <a:pos x="connsiteX67" y="connsiteY67"/>
                          </a:cxn>
                          <a:cxn ang="0">
                            <a:pos x="connsiteX68" y="connsiteY68"/>
                          </a:cxn>
                          <a:cxn ang="0">
                            <a:pos x="connsiteX69" y="connsiteY69"/>
                          </a:cxn>
                          <a:cxn ang="0">
                            <a:pos x="connsiteX70" y="connsiteY70"/>
                          </a:cxn>
                          <a:cxn ang="0">
                            <a:pos x="connsiteX71" y="connsiteY71"/>
                          </a:cxn>
                          <a:cxn ang="0">
                            <a:pos x="connsiteX72" y="connsiteY72"/>
                          </a:cxn>
                          <a:cxn ang="0">
                            <a:pos x="connsiteX73" y="connsiteY73"/>
                          </a:cxn>
                          <a:cxn ang="0">
                            <a:pos x="connsiteX74" y="connsiteY74"/>
                          </a:cxn>
                          <a:cxn ang="0">
                            <a:pos x="connsiteX75" y="connsiteY75"/>
                          </a:cxn>
                          <a:cxn ang="0">
                            <a:pos x="connsiteX76" y="connsiteY76"/>
                          </a:cxn>
                          <a:cxn ang="0">
                            <a:pos x="connsiteX77" y="connsiteY77"/>
                          </a:cxn>
                          <a:cxn ang="0">
                            <a:pos x="connsiteX78" y="connsiteY78"/>
                          </a:cxn>
                          <a:cxn ang="0">
                            <a:pos x="connsiteX79" y="connsiteY79"/>
                          </a:cxn>
                          <a:cxn ang="0">
                            <a:pos x="connsiteX80" y="connsiteY80"/>
                          </a:cxn>
                          <a:cxn ang="0">
                            <a:pos x="connsiteX81" y="connsiteY81"/>
                          </a:cxn>
                          <a:cxn ang="0">
                            <a:pos x="connsiteX82" y="connsiteY82"/>
                          </a:cxn>
                          <a:cxn ang="0">
                            <a:pos x="connsiteX83" y="connsiteY83"/>
                          </a:cxn>
                          <a:cxn ang="0">
                            <a:pos x="connsiteX84" y="connsiteY84"/>
                          </a:cxn>
                          <a:cxn ang="0">
                            <a:pos x="connsiteX85" y="connsiteY85"/>
                          </a:cxn>
                          <a:cxn ang="0">
                            <a:pos x="connsiteX86" y="connsiteY86"/>
                          </a:cxn>
                          <a:cxn ang="0">
                            <a:pos x="connsiteX87" y="connsiteY87"/>
                          </a:cxn>
                          <a:cxn ang="0">
                            <a:pos x="connsiteX88" y="connsiteY88"/>
                          </a:cxn>
                          <a:cxn ang="0">
                            <a:pos x="connsiteX89" y="connsiteY89"/>
                          </a:cxn>
                          <a:cxn ang="0">
                            <a:pos x="connsiteX90" y="connsiteY90"/>
                          </a:cxn>
                          <a:cxn ang="0">
                            <a:pos x="connsiteX91" y="connsiteY91"/>
                          </a:cxn>
                          <a:cxn ang="0">
                            <a:pos x="connsiteX92" y="connsiteY92"/>
                          </a:cxn>
                          <a:cxn ang="0">
                            <a:pos x="connsiteX93" y="connsiteY93"/>
                          </a:cxn>
                          <a:cxn ang="0">
                            <a:pos x="connsiteX94" y="connsiteY94"/>
                          </a:cxn>
                          <a:cxn ang="0">
                            <a:pos x="connsiteX95" y="connsiteY95"/>
                          </a:cxn>
                          <a:cxn ang="0">
                            <a:pos x="connsiteX96" y="connsiteY96"/>
                          </a:cxn>
                          <a:cxn ang="0">
                            <a:pos x="connsiteX97" y="connsiteY97"/>
                          </a:cxn>
                          <a:cxn ang="0">
                            <a:pos x="connsiteX98" y="connsiteY98"/>
                          </a:cxn>
                          <a:cxn ang="0">
                            <a:pos x="connsiteX99" y="connsiteY99"/>
                          </a:cxn>
                          <a:cxn ang="0">
                            <a:pos x="connsiteX100" y="connsiteY100"/>
                          </a:cxn>
                          <a:cxn ang="0">
                            <a:pos x="connsiteX101" y="connsiteY101"/>
                          </a:cxn>
                          <a:cxn ang="0">
                            <a:pos x="connsiteX102" y="connsiteY102"/>
                          </a:cxn>
                          <a:cxn ang="0">
                            <a:pos x="connsiteX103" y="connsiteY103"/>
                          </a:cxn>
                          <a:cxn ang="0">
                            <a:pos x="connsiteX104" y="connsiteY104"/>
                          </a:cxn>
                          <a:cxn ang="0">
                            <a:pos x="connsiteX105" y="connsiteY105"/>
                          </a:cxn>
                          <a:cxn ang="0">
                            <a:pos x="connsiteX106" y="connsiteY106"/>
                          </a:cxn>
                          <a:cxn ang="0">
                            <a:pos x="connsiteX107" y="connsiteY107"/>
                          </a:cxn>
                          <a:cxn ang="0">
                            <a:pos x="connsiteX108" y="connsiteY108"/>
                          </a:cxn>
                          <a:cxn ang="0">
                            <a:pos x="connsiteX109" y="connsiteY109"/>
                          </a:cxn>
                          <a:cxn ang="0">
                            <a:pos x="connsiteX110" y="connsiteY110"/>
                          </a:cxn>
                          <a:cxn ang="0">
                            <a:pos x="connsiteX111" y="connsiteY111"/>
                          </a:cxn>
                          <a:cxn ang="0">
                            <a:pos x="connsiteX112" y="connsiteY112"/>
                          </a:cxn>
                          <a:cxn ang="0">
                            <a:pos x="connsiteX113" y="connsiteY113"/>
                          </a:cxn>
                          <a:cxn ang="0">
                            <a:pos x="connsiteX114" y="connsiteY114"/>
                          </a:cxn>
                          <a:cxn ang="0">
                            <a:pos x="connsiteX115" y="connsiteY115"/>
                          </a:cxn>
                          <a:cxn ang="0">
                            <a:pos x="connsiteX116" y="connsiteY116"/>
                          </a:cxn>
                          <a:cxn ang="0">
                            <a:pos x="connsiteX117" y="connsiteY117"/>
                          </a:cxn>
                          <a:cxn ang="0">
                            <a:pos x="connsiteX118" y="connsiteY118"/>
                          </a:cxn>
                          <a:cxn ang="0">
                            <a:pos x="connsiteX119" y="connsiteY119"/>
                          </a:cxn>
                          <a:cxn ang="0">
                            <a:pos x="connsiteX120" y="connsiteY120"/>
                          </a:cxn>
                          <a:cxn ang="0">
                            <a:pos x="connsiteX121" y="connsiteY121"/>
                          </a:cxn>
                          <a:cxn ang="0">
                            <a:pos x="connsiteX122" y="connsiteY122"/>
                          </a:cxn>
                          <a:cxn ang="0">
                            <a:pos x="connsiteX123" y="connsiteY123"/>
                          </a:cxn>
                          <a:cxn ang="0">
                            <a:pos x="connsiteX124" y="connsiteY124"/>
                          </a:cxn>
                          <a:cxn ang="0">
                            <a:pos x="connsiteX125" y="connsiteY125"/>
                          </a:cxn>
                          <a:cxn ang="0">
                            <a:pos x="connsiteX126" y="connsiteY126"/>
                          </a:cxn>
                          <a:cxn ang="0">
                            <a:pos x="connsiteX127" y="connsiteY127"/>
                          </a:cxn>
                          <a:cxn ang="0">
                            <a:pos x="connsiteX128" y="connsiteY128"/>
                          </a:cxn>
                          <a:cxn ang="0">
                            <a:pos x="connsiteX129" y="connsiteY129"/>
                          </a:cxn>
                          <a:cxn ang="0">
                            <a:pos x="connsiteX130" y="connsiteY130"/>
                          </a:cxn>
                          <a:cxn ang="0">
                            <a:pos x="connsiteX131" y="connsiteY131"/>
                          </a:cxn>
                          <a:cxn ang="0">
                            <a:pos x="connsiteX132" y="connsiteY132"/>
                          </a:cxn>
                          <a:cxn ang="0">
                            <a:pos x="connsiteX133" y="connsiteY133"/>
                          </a:cxn>
                          <a:cxn ang="0">
                            <a:pos x="connsiteX134" y="connsiteY134"/>
                          </a:cxn>
                          <a:cxn ang="0">
                            <a:pos x="connsiteX135" y="connsiteY135"/>
                          </a:cxn>
                          <a:cxn ang="0">
                            <a:pos x="connsiteX136" y="connsiteY136"/>
                          </a:cxn>
                          <a:cxn ang="0">
                            <a:pos x="connsiteX137" y="connsiteY137"/>
                          </a:cxn>
                          <a:cxn ang="0">
                            <a:pos x="connsiteX138" y="connsiteY138"/>
                          </a:cxn>
                          <a:cxn ang="0">
                            <a:pos x="connsiteX139" y="connsiteY139"/>
                          </a:cxn>
                          <a:cxn ang="0">
                            <a:pos x="connsiteX140" y="connsiteY140"/>
                          </a:cxn>
                          <a:cxn ang="0">
                            <a:pos x="connsiteX141" y="connsiteY141"/>
                          </a:cxn>
                          <a:cxn ang="0">
                            <a:pos x="connsiteX142" y="connsiteY142"/>
                          </a:cxn>
                          <a:cxn ang="0">
                            <a:pos x="connsiteX143" y="connsiteY143"/>
                          </a:cxn>
                          <a:cxn ang="0">
                            <a:pos x="connsiteX144" y="connsiteY144"/>
                          </a:cxn>
                          <a:cxn ang="0">
                            <a:pos x="connsiteX145" y="connsiteY145"/>
                          </a:cxn>
                          <a:cxn ang="0">
                            <a:pos x="connsiteX146" y="connsiteY146"/>
                          </a:cxn>
                          <a:cxn ang="0">
                            <a:pos x="connsiteX147" y="connsiteY147"/>
                          </a:cxn>
                          <a:cxn ang="0">
                            <a:pos x="connsiteX148" y="connsiteY148"/>
                          </a:cxn>
                          <a:cxn ang="0">
                            <a:pos x="connsiteX149" y="connsiteY149"/>
                          </a:cxn>
                          <a:cxn ang="0">
                            <a:pos x="connsiteX150" y="connsiteY150"/>
                          </a:cxn>
                          <a:cxn ang="0">
                            <a:pos x="connsiteX151" y="connsiteY151"/>
                          </a:cxn>
                          <a:cxn ang="0">
                            <a:pos x="connsiteX152" y="connsiteY152"/>
                          </a:cxn>
                          <a:cxn ang="0">
                            <a:pos x="connsiteX153" y="connsiteY153"/>
                          </a:cxn>
                          <a:cxn ang="0">
                            <a:pos x="connsiteX154" y="connsiteY154"/>
                          </a:cxn>
                          <a:cxn ang="0">
                            <a:pos x="connsiteX155" y="connsiteY155"/>
                          </a:cxn>
                          <a:cxn ang="0">
                            <a:pos x="connsiteX156" y="connsiteY156"/>
                          </a:cxn>
                          <a:cxn ang="0">
                            <a:pos x="connsiteX157" y="connsiteY157"/>
                          </a:cxn>
                          <a:cxn ang="0">
                            <a:pos x="connsiteX158" y="connsiteY158"/>
                          </a:cxn>
                          <a:cxn ang="0">
                            <a:pos x="connsiteX159" y="connsiteY159"/>
                          </a:cxn>
                          <a:cxn ang="0">
                            <a:pos x="connsiteX160" y="connsiteY160"/>
                          </a:cxn>
                          <a:cxn ang="0">
                            <a:pos x="connsiteX161" y="connsiteY161"/>
                          </a:cxn>
                          <a:cxn ang="0">
                            <a:pos x="connsiteX162" y="connsiteY162"/>
                          </a:cxn>
                          <a:cxn ang="0">
                            <a:pos x="connsiteX163" y="connsiteY163"/>
                          </a:cxn>
                          <a:cxn ang="0">
                            <a:pos x="connsiteX164" y="connsiteY164"/>
                          </a:cxn>
                          <a:cxn ang="0">
                            <a:pos x="connsiteX165" y="connsiteY165"/>
                          </a:cxn>
                          <a:cxn ang="0">
                            <a:pos x="connsiteX166" y="connsiteY166"/>
                          </a:cxn>
                          <a:cxn ang="0">
                            <a:pos x="connsiteX167" y="connsiteY167"/>
                          </a:cxn>
                          <a:cxn ang="0">
                            <a:pos x="connsiteX168" y="connsiteY168"/>
                          </a:cxn>
                          <a:cxn ang="0">
                            <a:pos x="connsiteX169" y="connsiteY169"/>
                          </a:cxn>
                          <a:cxn ang="0">
                            <a:pos x="connsiteX170" y="connsiteY170"/>
                          </a:cxn>
                          <a:cxn ang="0">
                            <a:pos x="connsiteX171" y="connsiteY171"/>
                          </a:cxn>
                          <a:cxn ang="0">
                            <a:pos x="connsiteX172" y="connsiteY172"/>
                          </a:cxn>
                          <a:cxn ang="0">
                            <a:pos x="connsiteX173" y="connsiteY173"/>
                          </a:cxn>
                          <a:cxn ang="0">
                            <a:pos x="connsiteX174" y="connsiteY174"/>
                          </a:cxn>
                          <a:cxn ang="0">
                            <a:pos x="connsiteX175" y="connsiteY175"/>
                          </a:cxn>
                          <a:cxn ang="0">
                            <a:pos x="connsiteX176" y="connsiteY176"/>
                          </a:cxn>
                          <a:cxn ang="0">
                            <a:pos x="connsiteX177" y="connsiteY177"/>
                          </a:cxn>
                          <a:cxn ang="0">
                            <a:pos x="connsiteX178" y="connsiteY178"/>
                          </a:cxn>
                          <a:cxn ang="0">
                            <a:pos x="connsiteX179" y="connsiteY179"/>
                          </a:cxn>
                          <a:cxn ang="0">
                            <a:pos x="connsiteX180" y="connsiteY180"/>
                          </a:cxn>
                          <a:cxn ang="0">
                            <a:pos x="connsiteX181" y="connsiteY181"/>
                          </a:cxn>
                          <a:cxn ang="0">
                            <a:pos x="connsiteX182" y="connsiteY182"/>
                          </a:cxn>
                          <a:cxn ang="0">
                            <a:pos x="connsiteX183" y="connsiteY183"/>
                          </a:cxn>
                          <a:cxn ang="0">
                            <a:pos x="connsiteX184" y="connsiteY184"/>
                          </a:cxn>
                          <a:cxn ang="0">
                            <a:pos x="connsiteX185" y="connsiteY185"/>
                          </a:cxn>
                          <a:cxn ang="0">
                            <a:pos x="connsiteX186" y="connsiteY186"/>
                          </a:cxn>
                          <a:cxn ang="0">
                            <a:pos x="connsiteX187" y="connsiteY187"/>
                          </a:cxn>
                          <a:cxn ang="0">
                            <a:pos x="connsiteX188" y="connsiteY188"/>
                          </a:cxn>
                          <a:cxn ang="0">
                            <a:pos x="connsiteX189" y="connsiteY189"/>
                          </a:cxn>
                          <a:cxn ang="0">
                            <a:pos x="connsiteX190" y="connsiteY190"/>
                          </a:cxn>
                          <a:cxn ang="0">
                            <a:pos x="connsiteX191" y="connsiteY191"/>
                          </a:cxn>
                          <a:cxn ang="0">
                            <a:pos x="connsiteX192" y="connsiteY192"/>
                          </a:cxn>
                          <a:cxn ang="0">
                            <a:pos x="connsiteX193" y="connsiteY193"/>
                          </a:cxn>
                          <a:cxn ang="0">
                            <a:pos x="connsiteX194" y="connsiteY194"/>
                          </a:cxn>
                          <a:cxn ang="0">
                            <a:pos x="connsiteX195" y="connsiteY195"/>
                          </a:cxn>
                          <a:cxn ang="0">
                            <a:pos x="connsiteX196" y="connsiteY196"/>
                          </a:cxn>
                          <a:cxn ang="0">
                            <a:pos x="connsiteX197" y="connsiteY197"/>
                          </a:cxn>
                          <a:cxn ang="0">
                            <a:pos x="connsiteX198" y="connsiteY198"/>
                          </a:cxn>
                          <a:cxn ang="0">
                            <a:pos x="connsiteX199" y="connsiteY199"/>
                          </a:cxn>
                          <a:cxn ang="0">
                            <a:pos x="connsiteX200" y="connsiteY200"/>
                          </a:cxn>
                          <a:cxn ang="0">
                            <a:pos x="connsiteX201" y="connsiteY201"/>
                          </a:cxn>
                          <a:cxn ang="0">
                            <a:pos x="connsiteX202" y="connsiteY202"/>
                          </a:cxn>
                          <a:cxn ang="0">
                            <a:pos x="connsiteX203" y="connsiteY203"/>
                          </a:cxn>
                          <a:cxn ang="0">
                            <a:pos x="connsiteX204" y="connsiteY204"/>
                          </a:cxn>
                          <a:cxn ang="0">
                            <a:pos x="connsiteX205" y="connsiteY205"/>
                          </a:cxn>
                          <a:cxn ang="0">
                            <a:pos x="connsiteX206" y="connsiteY206"/>
                          </a:cxn>
                          <a:cxn ang="0">
                            <a:pos x="connsiteX207" y="connsiteY207"/>
                          </a:cxn>
                          <a:cxn ang="0">
                            <a:pos x="connsiteX208" y="connsiteY208"/>
                          </a:cxn>
                          <a:cxn ang="0">
                            <a:pos x="connsiteX209" y="connsiteY209"/>
                          </a:cxn>
                          <a:cxn ang="0">
                            <a:pos x="connsiteX210" y="connsiteY210"/>
                          </a:cxn>
                          <a:cxn ang="0">
                            <a:pos x="connsiteX211" y="connsiteY211"/>
                          </a:cxn>
                          <a:cxn ang="0">
                            <a:pos x="connsiteX212" y="connsiteY212"/>
                          </a:cxn>
                          <a:cxn ang="0">
                            <a:pos x="connsiteX213" y="connsiteY213"/>
                          </a:cxn>
                          <a:cxn ang="0">
                            <a:pos x="connsiteX214" y="connsiteY214"/>
                          </a:cxn>
                          <a:cxn ang="0">
                            <a:pos x="connsiteX215" y="connsiteY215"/>
                          </a:cxn>
                          <a:cxn ang="0">
                            <a:pos x="connsiteX216" y="connsiteY216"/>
                          </a:cxn>
                          <a:cxn ang="0">
                            <a:pos x="connsiteX217" y="connsiteY217"/>
                          </a:cxn>
                          <a:cxn ang="0">
                            <a:pos x="connsiteX218" y="connsiteY218"/>
                          </a:cxn>
                          <a:cxn ang="0">
                            <a:pos x="connsiteX219" y="connsiteY219"/>
                          </a:cxn>
                          <a:cxn ang="0">
                            <a:pos x="connsiteX220" y="connsiteY220"/>
                          </a:cxn>
                          <a:cxn ang="0">
                            <a:pos x="connsiteX221" y="connsiteY221"/>
                          </a:cxn>
                        </a:cxnLst>
                        <a:rect l="l" t="t" r="r" b="b"/>
                        <a:pathLst>
                          <a:path w="44197" h="18609">
                            <a:moveTo>
                              <a:pt x="45337" y="19447"/>
                            </a:moveTo>
                            <a:lnTo>
                              <a:pt x="45337" y="19447"/>
                            </a:lnTo>
                            <a:cubicBezTo>
                              <a:pt x="45151" y="19377"/>
                              <a:pt x="45011" y="19261"/>
                              <a:pt x="44872" y="19121"/>
                            </a:cubicBezTo>
                            <a:cubicBezTo>
                              <a:pt x="44849" y="19121"/>
                              <a:pt x="44849" y="19098"/>
                              <a:pt x="44849" y="19098"/>
                            </a:cubicBezTo>
                            <a:lnTo>
                              <a:pt x="44849" y="19098"/>
                            </a:lnTo>
                            <a:cubicBezTo>
                              <a:pt x="44476" y="18702"/>
                              <a:pt x="44244" y="18121"/>
                              <a:pt x="44244" y="17423"/>
                            </a:cubicBezTo>
                            <a:cubicBezTo>
                              <a:pt x="44244" y="17423"/>
                              <a:pt x="44244" y="17400"/>
                              <a:pt x="44244" y="17377"/>
                            </a:cubicBezTo>
                            <a:cubicBezTo>
                              <a:pt x="43848" y="17377"/>
                              <a:pt x="43546" y="17377"/>
                              <a:pt x="43220" y="17377"/>
                            </a:cubicBezTo>
                            <a:lnTo>
                              <a:pt x="43220" y="17423"/>
                            </a:lnTo>
                            <a:cubicBezTo>
                              <a:pt x="43174" y="18609"/>
                              <a:pt x="42476" y="19517"/>
                              <a:pt x="41662" y="19517"/>
                            </a:cubicBezTo>
                            <a:lnTo>
                              <a:pt x="41592" y="19517"/>
                            </a:lnTo>
                            <a:cubicBezTo>
                              <a:pt x="41220" y="19493"/>
                              <a:pt x="40871" y="19470"/>
                              <a:pt x="40522" y="19424"/>
                            </a:cubicBezTo>
                            <a:cubicBezTo>
                              <a:pt x="39661" y="19330"/>
                              <a:pt x="39010" y="18284"/>
                              <a:pt x="39080" y="17051"/>
                            </a:cubicBezTo>
                            <a:cubicBezTo>
                              <a:pt x="39080" y="17051"/>
                              <a:pt x="39080" y="17028"/>
                              <a:pt x="39080" y="17028"/>
                            </a:cubicBezTo>
                            <a:cubicBezTo>
                              <a:pt x="39056" y="17028"/>
                              <a:pt x="39033" y="17004"/>
                              <a:pt x="39033" y="17004"/>
                            </a:cubicBezTo>
                            <a:lnTo>
                              <a:pt x="39033" y="17051"/>
                            </a:lnTo>
                            <a:lnTo>
                              <a:pt x="39033" y="17051"/>
                            </a:lnTo>
                            <a:lnTo>
                              <a:pt x="39033" y="17051"/>
                            </a:lnTo>
                            <a:lnTo>
                              <a:pt x="38010" y="17051"/>
                            </a:lnTo>
                            <a:cubicBezTo>
                              <a:pt x="37847" y="18051"/>
                              <a:pt x="37219" y="18772"/>
                              <a:pt x="36498" y="18772"/>
                            </a:cubicBezTo>
                            <a:lnTo>
                              <a:pt x="36265" y="18749"/>
                            </a:lnTo>
                            <a:cubicBezTo>
                              <a:pt x="35916" y="18656"/>
                              <a:pt x="35567" y="18586"/>
                              <a:pt x="35195" y="18516"/>
                            </a:cubicBezTo>
                            <a:cubicBezTo>
                              <a:pt x="34613" y="18377"/>
                              <a:pt x="34171" y="17795"/>
                              <a:pt x="33985" y="17051"/>
                            </a:cubicBezTo>
                            <a:lnTo>
                              <a:pt x="33985" y="17051"/>
                            </a:lnTo>
                            <a:lnTo>
                              <a:pt x="33985" y="17028"/>
                            </a:lnTo>
                            <a:cubicBezTo>
                              <a:pt x="33962" y="16911"/>
                              <a:pt x="33939" y="16818"/>
                              <a:pt x="33916" y="16679"/>
                            </a:cubicBezTo>
                            <a:cubicBezTo>
                              <a:pt x="33916" y="16632"/>
                              <a:pt x="33892" y="16562"/>
                              <a:pt x="33892" y="16493"/>
                            </a:cubicBezTo>
                            <a:lnTo>
                              <a:pt x="33892" y="16493"/>
                            </a:lnTo>
                            <a:cubicBezTo>
                              <a:pt x="33892" y="16306"/>
                              <a:pt x="33892" y="16120"/>
                              <a:pt x="33916" y="15958"/>
                            </a:cubicBezTo>
                            <a:lnTo>
                              <a:pt x="33916" y="15934"/>
                            </a:lnTo>
                            <a:lnTo>
                              <a:pt x="33916" y="15911"/>
                            </a:lnTo>
                            <a:lnTo>
                              <a:pt x="32822" y="15911"/>
                            </a:lnTo>
                            <a:cubicBezTo>
                              <a:pt x="32590" y="16748"/>
                              <a:pt x="32031" y="17307"/>
                              <a:pt x="31380" y="17307"/>
                            </a:cubicBezTo>
                            <a:cubicBezTo>
                              <a:pt x="31264" y="17307"/>
                              <a:pt x="31124" y="17283"/>
                              <a:pt x="31008" y="17237"/>
                            </a:cubicBezTo>
                            <a:cubicBezTo>
                              <a:pt x="30659" y="17121"/>
                              <a:pt x="30310" y="16981"/>
                              <a:pt x="29961" y="16842"/>
                            </a:cubicBezTo>
                            <a:cubicBezTo>
                              <a:pt x="29566" y="16679"/>
                              <a:pt x="29263" y="16353"/>
                              <a:pt x="29077" y="15911"/>
                            </a:cubicBezTo>
                            <a:lnTo>
                              <a:pt x="29077" y="15911"/>
                            </a:lnTo>
                            <a:cubicBezTo>
                              <a:pt x="29077" y="15911"/>
                              <a:pt x="29077" y="15888"/>
                              <a:pt x="29054" y="15865"/>
                            </a:cubicBezTo>
                            <a:lnTo>
                              <a:pt x="29054" y="15865"/>
                            </a:lnTo>
                            <a:cubicBezTo>
                              <a:pt x="29007" y="15748"/>
                              <a:pt x="28961" y="15632"/>
                              <a:pt x="28938" y="15492"/>
                            </a:cubicBezTo>
                            <a:cubicBezTo>
                              <a:pt x="28938" y="15469"/>
                              <a:pt x="28914" y="15446"/>
                              <a:pt x="28914" y="15423"/>
                            </a:cubicBezTo>
                            <a:lnTo>
                              <a:pt x="28914" y="15423"/>
                            </a:lnTo>
                            <a:cubicBezTo>
                              <a:pt x="28891" y="15306"/>
                              <a:pt x="28868" y="15167"/>
                              <a:pt x="28845" y="15050"/>
                            </a:cubicBezTo>
                            <a:lnTo>
                              <a:pt x="28845" y="15050"/>
                            </a:lnTo>
                            <a:lnTo>
                              <a:pt x="28845" y="15050"/>
                            </a:lnTo>
                            <a:cubicBezTo>
                              <a:pt x="28845" y="15027"/>
                              <a:pt x="28845" y="15004"/>
                              <a:pt x="28845" y="14981"/>
                            </a:cubicBezTo>
                            <a:lnTo>
                              <a:pt x="28845" y="14981"/>
                            </a:lnTo>
                            <a:cubicBezTo>
                              <a:pt x="28845" y="14957"/>
                              <a:pt x="28845" y="14911"/>
                              <a:pt x="28845" y="14911"/>
                            </a:cubicBezTo>
                            <a:cubicBezTo>
                              <a:pt x="28821" y="14632"/>
                              <a:pt x="28845" y="14376"/>
                              <a:pt x="28891" y="14120"/>
                            </a:cubicBezTo>
                            <a:lnTo>
                              <a:pt x="28891" y="14097"/>
                            </a:lnTo>
                            <a:lnTo>
                              <a:pt x="28891" y="14097"/>
                            </a:lnTo>
                            <a:lnTo>
                              <a:pt x="27728" y="14097"/>
                            </a:lnTo>
                            <a:cubicBezTo>
                              <a:pt x="27449" y="14748"/>
                              <a:pt x="26960" y="15143"/>
                              <a:pt x="26425" y="15143"/>
                            </a:cubicBezTo>
                            <a:cubicBezTo>
                              <a:pt x="26239" y="15143"/>
                              <a:pt x="26053" y="15074"/>
                              <a:pt x="25890" y="14981"/>
                            </a:cubicBezTo>
                            <a:cubicBezTo>
                              <a:pt x="25541" y="14818"/>
                              <a:pt x="25216" y="14632"/>
                              <a:pt x="24867" y="14446"/>
                            </a:cubicBezTo>
                            <a:cubicBezTo>
                              <a:pt x="24727" y="14376"/>
                              <a:pt x="24588" y="14236"/>
                              <a:pt x="24495" y="14097"/>
                            </a:cubicBezTo>
                            <a:lnTo>
                              <a:pt x="24495" y="14097"/>
                            </a:lnTo>
                            <a:cubicBezTo>
                              <a:pt x="24471" y="14050"/>
                              <a:pt x="24425" y="14050"/>
                              <a:pt x="24402" y="14004"/>
                            </a:cubicBezTo>
                            <a:lnTo>
                              <a:pt x="24402" y="14004"/>
                            </a:lnTo>
                            <a:cubicBezTo>
                              <a:pt x="24378" y="13980"/>
                              <a:pt x="24355" y="13980"/>
                              <a:pt x="24355" y="13957"/>
                            </a:cubicBezTo>
                            <a:lnTo>
                              <a:pt x="24355" y="13957"/>
                            </a:lnTo>
                            <a:cubicBezTo>
                              <a:pt x="24239" y="13794"/>
                              <a:pt x="24169" y="13631"/>
                              <a:pt x="24099" y="13445"/>
                            </a:cubicBezTo>
                            <a:cubicBezTo>
                              <a:pt x="23983" y="13120"/>
                              <a:pt x="23890" y="12771"/>
                              <a:pt x="23890" y="12399"/>
                            </a:cubicBezTo>
                            <a:lnTo>
                              <a:pt x="23890" y="12399"/>
                            </a:lnTo>
                            <a:cubicBezTo>
                              <a:pt x="23890" y="12259"/>
                              <a:pt x="23936" y="12096"/>
                              <a:pt x="23936" y="11957"/>
                            </a:cubicBezTo>
                            <a:cubicBezTo>
                              <a:pt x="23960" y="11840"/>
                              <a:pt x="23936" y="11701"/>
                              <a:pt x="23983" y="11584"/>
                            </a:cubicBezTo>
                            <a:lnTo>
                              <a:pt x="23983" y="11561"/>
                            </a:lnTo>
                            <a:lnTo>
                              <a:pt x="23983" y="11561"/>
                            </a:lnTo>
                            <a:lnTo>
                              <a:pt x="22750" y="11561"/>
                            </a:lnTo>
                            <a:cubicBezTo>
                              <a:pt x="22448" y="12003"/>
                              <a:pt x="22052" y="12236"/>
                              <a:pt x="21633" y="12236"/>
                            </a:cubicBezTo>
                            <a:cubicBezTo>
                              <a:pt x="21401" y="12236"/>
                              <a:pt x="21168" y="12166"/>
                              <a:pt x="20936" y="12026"/>
                            </a:cubicBezTo>
                            <a:cubicBezTo>
                              <a:pt x="20726" y="11863"/>
                              <a:pt x="20494" y="11724"/>
                              <a:pt x="20284" y="11561"/>
                            </a:cubicBezTo>
                            <a:lnTo>
                              <a:pt x="20284" y="11561"/>
                            </a:lnTo>
                            <a:cubicBezTo>
                              <a:pt x="20191" y="11491"/>
                              <a:pt x="20075" y="11422"/>
                              <a:pt x="19982" y="11328"/>
                            </a:cubicBezTo>
                            <a:cubicBezTo>
                              <a:pt x="19726" y="11142"/>
                              <a:pt x="19540" y="10863"/>
                              <a:pt x="19400" y="10561"/>
                            </a:cubicBezTo>
                            <a:lnTo>
                              <a:pt x="19400" y="10561"/>
                            </a:lnTo>
                            <a:cubicBezTo>
                              <a:pt x="19330" y="10398"/>
                              <a:pt x="19237" y="10235"/>
                              <a:pt x="19214" y="10072"/>
                            </a:cubicBezTo>
                            <a:lnTo>
                              <a:pt x="19214" y="10072"/>
                            </a:lnTo>
                            <a:cubicBezTo>
                              <a:pt x="19144" y="9793"/>
                              <a:pt x="19121" y="9468"/>
                              <a:pt x="19144" y="9165"/>
                            </a:cubicBezTo>
                            <a:lnTo>
                              <a:pt x="19144" y="9165"/>
                            </a:lnTo>
                            <a:cubicBezTo>
                              <a:pt x="19168" y="8886"/>
                              <a:pt x="19214" y="8607"/>
                              <a:pt x="19307" y="8351"/>
                            </a:cubicBezTo>
                            <a:lnTo>
                              <a:pt x="19307" y="8328"/>
                            </a:lnTo>
                            <a:lnTo>
                              <a:pt x="19307" y="8328"/>
                            </a:lnTo>
                            <a:lnTo>
                              <a:pt x="19307" y="8328"/>
                            </a:lnTo>
                            <a:lnTo>
                              <a:pt x="17912" y="8328"/>
                            </a:lnTo>
                            <a:cubicBezTo>
                              <a:pt x="17656" y="8560"/>
                              <a:pt x="17376" y="8700"/>
                              <a:pt x="17074" y="8700"/>
                            </a:cubicBezTo>
                            <a:cubicBezTo>
                              <a:pt x="16795" y="8700"/>
                              <a:pt x="16493" y="8584"/>
                              <a:pt x="16260" y="8351"/>
                            </a:cubicBezTo>
                            <a:cubicBezTo>
                              <a:pt x="15958" y="8072"/>
                              <a:pt x="15655" y="7816"/>
                              <a:pt x="15353" y="7537"/>
                            </a:cubicBezTo>
                            <a:cubicBezTo>
                              <a:pt x="15236" y="7420"/>
                              <a:pt x="15167" y="7281"/>
                              <a:pt x="15074" y="7165"/>
                            </a:cubicBezTo>
                            <a:cubicBezTo>
                              <a:pt x="15027" y="7095"/>
                              <a:pt x="14981" y="7048"/>
                              <a:pt x="14934" y="6979"/>
                            </a:cubicBezTo>
                            <a:lnTo>
                              <a:pt x="14934" y="6979"/>
                            </a:lnTo>
                            <a:cubicBezTo>
                              <a:pt x="14794" y="6699"/>
                              <a:pt x="14701" y="6420"/>
                              <a:pt x="14655" y="6095"/>
                            </a:cubicBezTo>
                            <a:lnTo>
                              <a:pt x="14655" y="6095"/>
                            </a:lnTo>
                            <a:cubicBezTo>
                              <a:pt x="14632" y="5862"/>
                              <a:pt x="14608" y="5606"/>
                              <a:pt x="14655" y="5350"/>
                            </a:cubicBezTo>
                            <a:lnTo>
                              <a:pt x="14655" y="5350"/>
                            </a:lnTo>
                            <a:cubicBezTo>
                              <a:pt x="14655" y="5304"/>
                              <a:pt x="14655" y="5280"/>
                              <a:pt x="14655" y="5234"/>
                            </a:cubicBezTo>
                            <a:lnTo>
                              <a:pt x="14655" y="5234"/>
                            </a:lnTo>
                            <a:cubicBezTo>
                              <a:pt x="14655" y="5164"/>
                              <a:pt x="14701" y="5071"/>
                              <a:pt x="14725" y="5001"/>
                            </a:cubicBezTo>
                            <a:cubicBezTo>
                              <a:pt x="14771" y="4815"/>
                              <a:pt x="14794" y="4629"/>
                              <a:pt x="14887" y="4466"/>
                            </a:cubicBezTo>
                            <a:cubicBezTo>
                              <a:pt x="14887" y="4466"/>
                              <a:pt x="14887" y="4466"/>
                              <a:pt x="14887" y="4443"/>
                            </a:cubicBezTo>
                            <a:lnTo>
                              <a:pt x="13027" y="4443"/>
                            </a:lnTo>
                            <a:cubicBezTo>
                              <a:pt x="12957" y="4466"/>
                              <a:pt x="12864" y="4489"/>
                              <a:pt x="12794" y="4489"/>
                            </a:cubicBezTo>
                            <a:cubicBezTo>
                              <a:pt x="12724" y="4489"/>
                              <a:pt x="12678" y="4466"/>
                              <a:pt x="12631" y="4443"/>
                            </a:cubicBezTo>
                            <a:lnTo>
                              <a:pt x="12631" y="4443"/>
                            </a:lnTo>
                            <a:lnTo>
                              <a:pt x="12631" y="4443"/>
                            </a:lnTo>
                            <a:cubicBezTo>
                              <a:pt x="12492" y="4420"/>
                              <a:pt x="12352" y="4396"/>
                              <a:pt x="12236" y="4327"/>
                            </a:cubicBezTo>
                            <a:cubicBezTo>
                              <a:pt x="12096" y="4257"/>
                              <a:pt x="11957" y="4164"/>
                              <a:pt x="11840" y="4024"/>
                            </a:cubicBezTo>
                            <a:cubicBezTo>
                              <a:pt x="11561" y="3722"/>
                              <a:pt x="11282" y="3419"/>
                              <a:pt x="11003" y="3094"/>
                            </a:cubicBezTo>
                            <a:cubicBezTo>
                              <a:pt x="10863" y="2931"/>
                              <a:pt x="10747" y="2745"/>
                              <a:pt x="10677" y="2559"/>
                            </a:cubicBezTo>
                            <a:cubicBezTo>
                              <a:pt x="10677" y="2536"/>
                              <a:pt x="10677" y="2512"/>
                              <a:pt x="10654" y="2512"/>
                            </a:cubicBezTo>
                            <a:cubicBezTo>
                              <a:pt x="10607" y="2419"/>
                              <a:pt x="10584" y="2326"/>
                              <a:pt x="10561" y="2233"/>
                            </a:cubicBezTo>
                            <a:cubicBezTo>
                              <a:pt x="10538" y="2117"/>
                              <a:pt x="10491" y="2024"/>
                              <a:pt x="10468" y="1907"/>
                            </a:cubicBezTo>
                            <a:cubicBezTo>
                              <a:pt x="10468" y="1861"/>
                              <a:pt x="10445" y="1814"/>
                              <a:pt x="10445" y="1791"/>
                            </a:cubicBezTo>
                            <a:cubicBezTo>
                              <a:pt x="10445" y="1768"/>
                              <a:pt x="10445" y="1745"/>
                              <a:pt x="10445" y="1745"/>
                            </a:cubicBezTo>
                            <a:cubicBezTo>
                              <a:pt x="10445" y="1628"/>
                              <a:pt x="10445" y="1535"/>
                              <a:pt x="10445" y="1442"/>
                            </a:cubicBezTo>
                            <a:cubicBezTo>
                              <a:pt x="10445" y="1349"/>
                              <a:pt x="10445" y="1256"/>
                              <a:pt x="10445" y="1163"/>
                            </a:cubicBezTo>
                            <a:cubicBezTo>
                              <a:pt x="10445" y="1117"/>
                              <a:pt x="10445" y="1093"/>
                              <a:pt x="10445" y="1047"/>
                            </a:cubicBezTo>
                            <a:cubicBezTo>
                              <a:pt x="10445" y="1000"/>
                              <a:pt x="10468" y="977"/>
                              <a:pt x="10468" y="954"/>
                            </a:cubicBezTo>
                            <a:cubicBezTo>
                              <a:pt x="10491" y="837"/>
                              <a:pt x="10514" y="744"/>
                              <a:pt x="10538" y="628"/>
                            </a:cubicBezTo>
                            <a:cubicBezTo>
                              <a:pt x="10561" y="558"/>
                              <a:pt x="10561" y="465"/>
                              <a:pt x="10607" y="395"/>
                            </a:cubicBezTo>
                            <a:cubicBezTo>
                              <a:pt x="10607" y="395"/>
                              <a:pt x="10607" y="372"/>
                              <a:pt x="10607" y="372"/>
                            </a:cubicBezTo>
                            <a:cubicBezTo>
                              <a:pt x="10654" y="256"/>
                              <a:pt x="10700" y="140"/>
                              <a:pt x="10770" y="23"/>
                            </a:cubicBezTo>
                            <a:lnTo>
                              <a:pt x="10770" y="23"/>
                            </a:lnTo>
                            <a:lnTo>
                              <a:pt x="10770" y="0"/>
                            </a:lnTo>
                            <a:lnTo>
                              <a:pt x="10770" y="0"/>
                            </a:lnTo>
                            <a:lnTo>
                              <a:pt x="349" y="0"/>
                            </a:lnTo>
                            <a:lnTo>
                              <a:pt x="349" y="0"/>
                            </a:lnTo>
                            <a:lnTo>
                              <a:pt x="326" y="0"/>
                            </a:lnTo>
                            <a:cubicBezTo>
                              <a:pt x="256" y="116"/>
                              <a:pt x="209" y="209"/>
                              <a:pt x="163" y="326"/>
                            </a:cubicBezTo>
                            <a:lnTo>
                              <a:pt x="163" y="326"/>
                            </a:lnTo>
                            <a:lnTo>
                              <a:pt x="163" y="326"/>
                            </a:lnTo>
                            <a:cubicBezTo>
                              <a:pt x="163" y="326"/>
                              <a:pt x="163" y="349"/>
                              <a:pt x="163" y="349"/>
                            </a:cubicBezTo>
                            <a:cubicBezTo>
                              <a:pt x="116" y="489"/>
                              <a:pt x="70" y="651"/>
                              <a:pt x="47" y="814"/>
                            </a:cubicBezTo>
                            <a:cubicBezTo>
                              <a:pt x="47" y="884"/>
                              <a:pt x="47" y="930"/>
                              <a:pt x="23" y="977"/>
                            </a:cubicBezTo>
                            <a:cubicBezTo>
                              <a:pt x="23" y="1024"/>
                              <a:pt x="23" y="1047"/>
                              <a:pt x="0" y="1093"/>
                            </a:cubicBezTo>
                            <a:cubicBezTo>
                              <a:pt x="0" y="1140"/>
                              <a:pt x="0" y="1186"/>
                              <a:pt x="0" y="1233"/>
                            </a:cubicBezTo>
                            <a:cubicBezTo>
                              <a:pt x="0" y="1372"/>
                              <a:pt x="0" y="1512"/>
                              <a:pt x="0" y="1652"/>
                            </a:cubicBezTo>
                            <a:cubicBezTo>
                              <a:pt x="0" y="1698"/>
                              <a:pt x="0" y="1721"/>
                              <a:pt x="23" y="1745"/>
                            </a:cubicBezTo>
                            <a:cubicBezTo>
                              <a:pt x="23" y="1791"/>
                              <a:pt x="23" y="1838"/>
                              <a:pt x="47" y="1861"/>
                            </a:cubicBezTo>
                            <a:cubicBezTo>
                              <a:pt x="47" y="1931"/>
                              <a:pt x="70" y="2024"/>
                              <a:pt x="93" y="2094"/>
                            </a:cubicBezTo>
                            <a:cubicBezTo>
                              <a:pt x="116" y="2187"/>
                              <a:pt x="140" y="2256"/>
                              <a:pt x="186" y="2349"/>
                            </a:cubicBezTo>
                            <a:cubicBezTo>
                              <a:pt x="209" y="2419"/>
                              <a:pt x="233" y="2466"/>
                              <a:pt x="256" y="2536"/>
                            </a:cubicBezTo>
                            <a:cubicBezTo>
                              <a:pt x="349" y="2722"/>
                              <a:pt x="442" y="2908"/>
                              <a:pt x="582" y="3071"/>
                            </a:cubicBezTo>
                            <a:cubicBezTo>
                              <a:pt x="861" y="3396"/>
                              <a:pt x="1140" y="3699"/>
                              <a:pt x="1419" y="4001"/>
                            </a:cubicBezTo>
                            <a:cubicBezTo>
                              <a:pt x="1698" y="4327"/>
                              <a:pt x="2047" y="4466"/>
                              <a:pt x="2373" y="4466"/>
                            </a:cubicBezTo>
                            <a:lnTo>
                              <a:pt x="4466" y="4466"/>
                            </a:lnTo>
                            <a:cubicBezTo>
                              <a:pt x="4443" y="4513"/>
                              <a:pt x="4420" y="4559"/>
                              <a:pt x="4420" y="4583"/>
                            </a:cubicBezTo>
                            <a:cubicBezTo>
                              <a:pt x="4350" y="4745"/>
                              <a:pt x="4303" y="4931"/>
                              <a:pt x="4280" y="5118"/>
                            </a:cubicBezTo>
                            <a:cubicBezTo>
                              <a:pt x="4280" y="5164"/>
                              <a:pt x="4280" y="5187"/>
                              <a:pt x="4257" y="5234"/>
                            </a:cubicBezTo>
                            <a:cubicBezTo>
                              <a:pt x="4257" y="5280"/>
                              <a:pt x="4257" y="5304"/>
                              <a:pt x="4257" y="5350"/>
                            </a:cubicBezTo>
                            <a:cubicBezTo>
                              <a:pt x="4257" y="5420"/>
                              <a:pt x="4234" y="5490"/>
                              <a:pt x="4234" y="5560"/>
                            </a:cubicBezTo>
                            <a:cubicBezTo>
                              <a:pt x="4234" y="5699"/>
                              <a:pt x="4234" y="5839"/>
                              <a:pt x="4234" y="5978"/>
                            </a:cubicBezTo>
                            <a:cubicBezTo>
                              <a:pt x="4234" y="6025"/>
                              <a:pt x="4257" y="6048"/>
                              <a:pt x="4257" y="6095"/>
                            </a:cubicBezTo>
                            <a:cubicBezTo>
                              <a:pt x="4257" y="6141"/>
                              <a:pt x="4257" y="6164"/>
                              <a:pt x="4280" y="6211"/>
                            </a:cubicBezTo>
                            <a:cubicBezTo>
                              <a:pt x="4280" y="6281"/>
                              <a:pt x="4303" y="6350"/>
                              <a:pt x="4327" y="6420"/>
                            </a:cubicBezTo>
                            <a:cubicBezTo>
                              <a:pt x="4350" y="6537"/>
                              <a:pt x="4420" y="6630"/>
                              <a:pt x="4443" y="6746"/>
                            </a:cubicBezTo>
                            <a:cubicBezTo>
                              <a:pt x="4466" y="6816"/>
                              <a:pt x="4490" y="6909"/>
                              <a:pt x="4536" y="6955"/>
                            </a:cubicBezTo>
                            <a:cubicBezTo>
                              <a:pt x="4652" y="7165"/>
                              <a:pt x="4769" y="7374"/>
                              <a:pt x="4955" y="7514"/>
                            </a:cubicBezTo>
                            <a:cubicBezTo>
                              <a:pt x="5257" y="7793"/>
                              <a:pt x="5536" y="8049"/>
                              <a:pt x="5862" y="8328"/>
                            </a:cubicBezTo>
                            <a:cubicBezTo>
                              <a:pt x="6118" y="8560"/>
                              <a:pt x="6420" y="8677"/>
                              <a:pt x="6699" y="8677"/>
                            </a:cubicBezTo>
                            <a:lnTo>
                              <a:pt x="8839" y="8677"/>
                            </a:lnTo>
                            <a:cubicBezTo>
                              <a:pt x="8839" y="8723"/>
                              <a:pt x="8816" y="8770"/>
                              <a:pt x="8793" y="8816"/>
                            </a:cubicBezTo>
                            <a:cubicBezTo>
                              <a:pt x="8770" y="8932"/>
                              <a:pt x="8746" y="9049"/>
                              <a:pt x="8746" y="9165"/>
                            </a:cubicBezTo>
                            <a:cubicBezTo>
                              <a:pt x="8746" y="9188"/>
                              <a:pt x="8746" y="9188"/>
                              <a:pt x="8746" y="9212"/>
                            </a:cubicBezTo>
                            <a:lnTo>
                              <a:pt x="8746" y="9235"/>
                            </a:lnTo>
                            <a:cubicBezTo>
                              <a:pt x="8746" y="9374"/>
                              <a:pt x="8746" y="9514"/>
                              <a:pt x="8746" y="9654"/>
                            </a:cubicBezTo>
                            <a:cubicBezTo>
                              <a:pt x="8746" y="9770"/>
                              <a:pt x="8793" y="9886"/>
                              <a:pt x="8793" y="10003"/>
                            </a:cubicBezTo>
                            <a:cubicBezTo>
                              <a:pt x="8793" y="10026"/>
                              <a:pt x="8793" y="10049"/>
                              <a:pt x="8793" y="10072"/>
                            </a:cubicBezTo>
                            <a:cubicBezTo>
                              <a:pt x="8793" y="10072"/>
                              <a:pt x="8793" y="10096"/>
                              <a:pt x="8793" y="10119"/>
                            </a:cubicBezTo>
                            <a:cubicBezTo>
                              <a:pt x="8839" y="10282"/>
                              <a:pt x="8909" y="10421"/>
                              <a:pt x="8979" y="10561"/>
                            </a:cubicBezTo>
                            <a:cubicBezTo>
                              <a:pt x="9026" y="10631"/>
                              <a:pt x="9026" y="10724"/>
                              <a:pt x="9095" y="10817"/>
                            </a:cubicBezTo>
                            <a:cubicBezTo>
                              <a:pt x="9212" y="11026"/>
                              <a:pt x="9374" y="11212"/>
                              <a:pt x="9584" y="11352"/>
                            </a:cubicBezTo>
                            <a:cubicBezTo>
                              <a:pt x="9909" y="11584"/>
                              <a:pt x="10212" y="11794"/>
                              <a:pt x="10538" y="12026"/>
                            </a:cubicBezTo>
                            <a:cubicBezTo>
                              <a:pt x="10747" y="12189"/>
                              <a:pt x="11003" y="12236"/>
                              <a:pt x="11212" y="12236"/>
                            </a:cubicBezTo>
                            <a:lnTo>
                              <a:pt x="13469" y="12236"/>
                            </a:lnTo>
                            <a:lnTo>
                              <a:pt x="13469" y="12259"/>
                            </a:lnTo>
                            <a:cubicBezTo>
                              <a:pt x="13469" y="12329"/>
                              <a:pt x="13469" y="12375"/>
                              <a:pt x="13469" y="12422"/>
                            </a:cubicBezTo>
                            <a:cubicBezTo>
                              <a:pt x="13469" y="12445"/>
                              <a:pt x="13469" y="12468"/>
                              <a:pt x="13469" y="12515"/>
                            </a:cubicBezTo>
                            <a:cubicBezTo>
                              <a:pt x="13469" y="12585"/>
                              <a:pt x="13469" y="12631"/>
                              <a:pt x="13469" y="12701"/>
                            </a:cubicBezTo>
                            <a:cubicBezTo>
                              <a:pt x="13469" y="12864"/>
                              <a:pt x="13515" y="13003"/>
                              <a:pt x="13538" y="13143"/>
                            </a:cubicBezTo>
                            <a:cubicBezTo>
                              <a:pt x="13562" y="13189"/>
                              <a:pt x="13562" y="13213"/>
                              <a:pt x="13585" y="13259"/>
                            </a:cubicBezTo>
                            <a:cubicBezTo>
                              <a:pt x="13585" y="13306"/>
                              <a:pt x="13608" y="13329"/>
                              <a:pt x="13631" y="13375"/>
                            </a:cubicBezTo>
                            <a:cubicBezTo>
                              <a:pt x="13701" y="13608"/>
                              <a:pt x="13794" y="13817"/>
                              <a:pt x="13934" y="14004"/>
                            </a:cubicBezTo>
                            <a:cubicBezTo>
                              <a:pt x="13957" y="14027"/>
                              <a:pt x="13980" y="14027"/>
                              <a:pt x="13980" y="14050"/>
                            </a:cubicBezTo>
                            <a:cubicBezTo>
                              <a:pt x="14120" y="14236"/>
                              <a:pt x="14283" y="14399"/>
                              <a:pt x="14469" y="14492"/>
                            </a:cubicBezTo>
                            <a:cubicBezTo>
                              <a:pt x="14818" y="14678"/>
                              <a:pt x="15143" y="14864"/>
                              <a:pt x="15492" y="15027"/>
                            </a:cubicBezTo>
                            <a:cubicBezTo>
                              <a:pt x="15655" y="15120"/>
                              <a:pt x="15864" y="15190"/>
                              <a:pt x="16027" y="15190"/>
                            </a:cubicBezTo>
                            <a:lnTo>
                              <a:pt x="18447" y="15190"/>
                            </a:lnTo>
                            <a:cubicBezTo>
                              <a:pt x="18447" y="15283"/>
                              <a:pt x="18470" y="15399"/>
                              <a:pt x="18493" y="15492"/>
                            </a:cubicBezTo>
                            <a:lnTo>
                              <a:pt x="18493" y="15516"/>
                            </a:lnTo>
                            <a:cubicBezTo>
                              <a:pt x="18493" y="15539"/>
                              <a:pt x="18516" y="15562"/>
                              <a:pt x="18516" y="15585"/>
                            </a:cubicBezTo>
                            <a:cubicBezTo>
                              <a:pt x="18540" y="15702"/>
                              <a:pt x="18586" y="15818"/>
                              <a:pt x="18633" y="15934"/>
                            </a:cubicBezTo>
                            <a:cubicBezTo>
                              <a:pt x="18656" y="15981"/>
                              <a:pt x="18679" y="16027"/>
                              <a:pt x="18679" y="16074"/>
                            </a:cubicBezTo>
                            <a:cubicBezTo>
                              <a:pt x="18726" y="16167"/>
                              <a:pt x="18772" y="16237"/>
                              <a:pt x="18842" y="16330"/>
                            </a:cubicBezTo>
                            <a:cubicBezTo>
                              <a:pt x="18865" y="16376"/>
                              <a:pt x="18889" y="16400"/>
                              <a:pt x="18935" y="16446"/>
                            </a:cubicBezTo>
                            <a:cubicBezTo>
                              <a:pt x="18982" y="16516"/>
                              <a:pt x="19051" y="16586"/>
                              <a:pt x="19121" y="16655"/>
                            </a:cubicBezTo>
                            <a:cubicBezTo>
                              <a:pt x="19144" y="16679"/>
                              <a:pt x="19168" y="16702"/>
                              <a:pt x="19214" y="16748"/>
                            </a:cubicBezTo>
                            <a:cubicBezTo>
                              <a:pt x="19307" y="16818"/>
                              <a:pt x="19424" y="16888"/>
                              <a:pt x="19540" y="16935"/>
                            </a:cubicBezTo>
                            <a:cubicBezTo>
                              <a:pt x="19889" y="17074"/>
                              <a:pt x="20238" y="17214"/>
                              <a:pt x="20563" y="17330"/>
                            </a:cubicBezTo>
                            <a:cubicBezTo>
                              <a:pt x="20703" y="17377"/>
                              <a:pt x="20842" y="17400"/>
                              <a:pt x="20959" y="17400"/>
                            </a:cubicBezTo>
                            <a:lnTo>
                              <a:pt x="23634" y="17400"/>
                            </a:lnTo>
                            <a:cubicBezTo>
                              <a:pt x="23657" y="17470"/>
                              <a:pt x="23704" y="17539"/>
                              <a:pt x="23727" y="17609"/>
                            </a:cubicBezTo>
                            <a:cubicBezTo>
                              <a:pt x="23727" y="17632"/>
                              <a:pt x="23750" y="17656"/>
                              <a:pt x="23750" y="17679"/>
                            </a:cubicBezTo>
                            <a:cubicBezTo>
                              <a:pt x="23820" y="17818"/>
                              <a:pt x="23913" y="17958"/>
                              <a:pt x="23983" y="18074"/>
                            </a:cubicBezTo>
                            <a:cubicBezTo>
                              <a:pt x="24006" y="18098"/>
                              <a:pt x="24029" y="18121"/>
                              <a:pt x="24053" y="18167"/>
                            </a:cubicBezTo>
                            <a:cubicBezTo>
                              <a:pt x="24122" y="18260"/>
                              <a:pt x="24215" y="18330"/>
                              <a:pt x="24285" y="18377"/>
                            </a:cubicBezTo>
                            <a:cubicBezTo>
                              <a:pt x="24308" y="18400"/>
                              <a:pt x="24355" y="18423"/>
                              <a:pt x="24378" y="18447"/>
                            </a:cubicBezTo>
                            <a:cubicBezTo>
                              <a:pt x="24495" y="18516"/>
                              <a:pt x="24611" y="18586"/>
                              <a:pt x="24750" y="18609"/>
                            </a:cubicBezTo>
                            <a:cubicBezTo>
                              <a:pt x="25099" y="18679"/>
                              <a:pt x="25448" y="18772"/>
                              <a:pt x="25820" y="18842"/>
                            </a:cubicBezTo>
                            <a:lnTo>
                              <a:pt x="26053" y="18865"/>
                            </a:lnTo>
                            <a:lnTo>
                              <a:pt x="29100" y="18865"/>
                            </a:lnTo>
                            <a:cubicBezTo>
                              <a:pt x="29147" y="18912"/>
                              <a:pt x="29193" y="18982"/>
                              <a:pt x="29240" y="19028"/>
                            </a:cubicBezTo>
                            <a:lnTo>
                              <a:pt x="29240" y="19028"/>
                            </a:lnTo>
                            <a:cubicBezTo>
                              <a:pt x="29333" y="19144"/>
                              <a:pt x="29449" y="19237"/>
                              <a:pt x="29566" y="19284"/>
                            </a:cubicBezTo>
                            <a:cubicBezTo>
                              <a:pt x="29589" y="19307"/>
                              <a:pt x="29635" y="19330"/>
                              <a:pt x="29659" y="19354"/>
                            </a:cubicBezTo>
                            <a:cubicBezTo>
                              <a:pt x="29775" y="19400"/>
                              <a:pt x="29915" y="19470"/>
                              <a:pt x="30077" y="19470"/>
                            </a:cubicBezTo>
                            <a:cubicBezTo>
                              <a:pt x="30426" y="19493"/>
                              <a:pt x="30775" y="19517"/>
                              <a:pt x="31147" y="19563"/>
                            </a:cubicBezTo>
                            <a:lnTo>
                              <a:pt x="35055" y="19563"/>
                            </a:lnTo>
                            <a:cubicBezTo>
                              <a:pt x="35172" y="19586"/>
                              <a:pt x="35288" y="19610"/>
                              <a:pt x="35381" y="19610"/>
                            </a:cubicBezTo>
                            <a:lnTo>
                              <a:pt x="45826" y="19610"/>
                            </a:lnTo>
                            <a:cubicBezTo>
                              <a:pt x="45616" y="19540"/>
                              <a:pt x="45477" y="19493"/>
                              <a:pt x="45337" y="19447"/>
                            </a:cubicBezTo>
                            <a:lnTo>
                              <a:pt x="45337" y="19447"/>
                            </a:lnTo>
                            <a:close/>
                          </a:path>
                        </a:pathLst>
                      </a:custGeom>
                      <a:solidFill>
                        <a:srgbClr val="F19439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706" name="Freeform: Shape 1705">
                        <a:extLst>
                          <a:ext uri="{FF2B5EF4-FFF2-40B4-BE49-F238E27FC236}">
                            <a16:creationId xmlns:a16="http://schemas.microsoft.com/office/drawing/2014/main" id="{63BFB676-E98C-4E4B-AB84-7E8CC0D2603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18423" y="4174471"/>
                        <a:ext cx="2326" cy="2326"/>
                      </a:xfrm>
                      <a:custGeom>
                        <a:avLst/>
                        <a:gdLst>
                          <a:gd name="connsiteX0" fmla="*/ 2466 w 2326"/>
                          <a:gd name="connsiteY0" fmla="*/ 1721 h 0"/>
                          <a:gd name="connsiteX1" fmla="*/ 2163 w 2326"/>
                          <a:gd name="connsiteY1" fmla="*/ 1465 h 0"/>
                          <a:gd name="connsiteX2" fmla="*/ 2163 w 2326"/>
                          <a:gd name="connsiteY2" fmla="*/ 1465 h 0"/>
                          <a:gd name="connsiteX3" fmla="*/ 2024 w 2326"/>
                          <a:gd name="connsiteY3" fmla="*/ 1279 h 0"/>
                          <a:gd name="connsiteX4" fmla="*/ 2024 w 2326"/>
                          <a:gd name="connsiteY4" fmla="*/ 1279 h 0"/>
                          <a:gd name="connsiteX5" fmla="*/ 1977 w 2326"/>
                          <a:gd name="connsiteY5" fmla="*/ 1186 h 0"/>
                          <a:gd name="connsiteX6" fmla="*/ 1582 w 2326"/>
                          <a:gd name="connsiteY6" fmla="*/ 47 h 0"/>
                          <a:gd name="connsiteX7" fmla="*/ 1582 w 2326"/>
                          <a:gd name="connsiteY7" fmla="*/ 0 h 0"/>
                          <a:gd name="connsiteX8" fmla="*/ 558 w 2326"/>
                          <a:gd name="connsiteY8" fmla="*/ 140 h 0"/>
                          <a:gd name="connsiteX9" fmla="*/ 558 w 2326"/>
                          <a:gd name="connsiteY9" fmla="*/ 163 h 0"/>
                          <a:gd name="connsiteX10" fmla="*/ 0 w 2326"/>
                          <a:gd name="connsiteY10" fmla="*/ 1977 h 0"/>
                          <a:gd name="connsiteX11" fmla="*/ 3140 w 2326"/>
                          <a:gd name="connsiteY11" fmla="*/ 1977 h 0"/>
                          <a:gd name="connsiteX12" fmla="*/ 2466 w 2326"/>
                          <a:gd name="connsiteY12" fmla="*/ 1721 h 0"/>
                          <a:gd name="connsiteX13" fmla="*/ 2466 w 2326"/>
                          <a:gd name="connsiteY13" fmla="*/ 1721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</a:cxnLst>
                        <a:rect l="l" t="t" r="r" b="b"/>
                        <a:pathLst>
                          <a:path w="2326">
                            <a:moveTo>
                              <a:pt x="2466" y="1721"/>
                            </a:moveTo>
                            <a:cubicBezTo>
                              <a:pt x="2349" y="1652"/>
                              <a:pt x="2256" y="1559"/>
                              <a:pt x="2163" y="1465"/>
                            </a:cubicBezTo>
                            <a:lnTo>
                              <a:pt x="2163" y="1465"/>
                            </a:lnTo>
                            <a:cubicBezTo>
                              <a:pt x="2094" y="1396"/>
                              <a:pt x="2070" y="1349"/>
                              <a:pt x="2024" y="1279"/>
                            </a:cubicBezTo>
                            <a:lnTo>
                              <a:pt x="2024" y="1279"/>
                            </a:lnTo>
                            <a:cubicBezTo>
                              <a:pt x="2001" y="1256"/>
                              <a:pt x="1977" y="1233"/>
                              <a:pt x="1977" y="1186"/>
                            </a:cubicBezTo>
                            <a:cubicBezTo>
                              <a:pt x="1768" y="861"/>
                              <a:pt x="1628" y="489"/>
                              <a:pt x="1582" y="47"/>
                            </a:cubicBezTo>
                            <a:lnTo>
                              <a:pt x="1582" y="0"/>
                            </a:lnTo>
                            <a:cubicBezTo>
                              <a:pt x="1233" y="47"/>
                              <a:pt x="884" y="93"/>
                              <a:pt x="558" y="140"/>
                            </a:cubicBezTo>
                            <a:lnTo>
                              <a:pt x="558" y="163"/>
                            </a:lnTo>
                            <a:cubicBezTo>
                              <a:pt x="582" y="884"/>
                              <a:pt x="372" y="1535"/>
                              <a:pt x="0" y="1977"/>
                            </a:cubicBezTo>
                            <a:lnTo>
                              <a:pt x="3140" y="1977"/>
                            </a:lnTo>
                            <a:cubicBezTo>
                              <a:pt x="2884" y="1954"/>
                              <a:pt x="2652" y="1861"/>
                              <a:pt x="2466" y="1721"/>
                            </a:cubicBezTo>
                            <a:lnTo>
                              <a:pt x="2466" y="1721"/>
                            </a:lnTo>
                            <a:close/>
                          </a:path>
                        </a:pathLst>
                      </a:custGeom>
                      <a:solidFill>
                        <a:srgbClr val="F19439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707" name="Freeform: Shape 1706">
                        <a:extLst>
                          <a:ext uri="{FF2B5EF4-FFF2-40B4-BE49-F238E27FC236}">
                            <a16:creationId xmlns:a16="http://schemas.microsoft.com/office/drawing/2014/main" id="{58BF9F7C-E4F5-4E99-80ED-C69BBA8F674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23936" y="4173332"/>
                        <a:ext cx="2326" cy="2326"/>
                      </a:xfrm>
                      <a:custGeom>
                        <a:avLst/>
                        <a:gdLst>
                          <a:gd name="connsiteX0" fmla="*/ 1210 w 2326"/>
                          <a:gd name="connsiteY0" fmla="*/ 46 h 0"/>
                          <a:gd name="connsiteX1" fmla="*/ 1210 w 2326"/>
                          <a:gd name="connsiteY1" fmla="*/ 0 h 0"/>
                          <a:gd name="connsiteX2" fmla="*/ 186 w 2326"/>
                          <a:gd name="connsiteY2" fmla="*/ 279 h 0"/>
                          <a:gd name="connsiteX3" fmla="*/ 186 w 2326"/>
                          <a:gd name="connsiteY3" fmla="*/ 326 h 0"/>
                          <a:gd name="connsiteX4" fmla="*/ 0 w 2326"/>
                          <a:gd name="connsiteY4" fmla="*/ 1768 h 0"/>
                          <a:gd name="connsiteX5" fmla="*/ 2722 w 2326"/>
                          <a:gd name="connsiteY5" fmla="*/ 1768 h 0"/>
                          <a:gd name="connsiteX6" fmla="*/ 1210 w 2326"/>
                          <a:gd name="connsiteY6" fmla="*/ 46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2326">
                            <a:moveTo>
                              <a:pt x="1210" y="46"/>
                            </a:moveTo>
                            <a:lnTo>
                              <a:pt x="1210" y="0"/>
                            </a:lnTo>
                            <a:cubicBezTo>
                              <a:pt x="884" y="116"/>
                              <a:pt x="535" y="186"/>
                              <a:pt x="186" y="279"/>
                            </a:cubicBezTo>
                            <a:lnTo>
                              <a:pt x="186" y="326"/>
                            </a:lnTo>
                            <a:cubicBezTo>
                              <a:pt x="256" y="837"/>
                              <a:pt x="163" y="1349"/>
                              <a:pt x="0" y="1768"/>
                            </a:cubicBezTo>
                            <a:lnTo>
                              <a:pt x="2722" y="1768"/>
                            </a:lnTo>
                            <a:cubicBezTo>
                              <a:pt x="2001" y="1768"/>
                              <a:pt x="1372" y="1070"/>
                              <a:pt x="1210" y="46"/>
                            </a:cubicBezTo>
                            <a:close/>
                          </a:path>
                        </a:pathLst>
                      </a:custGeom>
                      <a:solidFill>
                        <a:srgbClr val="F19439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708" name="Freeform: Shape 1707">
                        <a:extLst>
                          <a:ext uri="{FF2B5EF4-FFF2-40B4-BE49-F238E27FC236}">
                            <a16:creationId xmlns:a16="http://schemas.microsoft.com/office/drawing/2014/main" id="{B52F43E7-6DA7-482C-900B-07717BCA18C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14818" y="4174658"/>
                        <a:ext cx="2326" cy="2326"/>
                      </a:xfrm>
                      <a:custGeom>
                        <a:avLst/>
                        <a:gdLst>
                          <a:gd name="connsiteX0" fmla="*/ 0 w 2326"/>
                          <a:gd name="connsiteY0" fmla="*/ 163 h 0"/>
                          <a:gd name="connsiteX1" fmla="*/ 3117 w 2326"/>
                          <a:gd name="connsiteY1" fmla="*/ 0 h 0"/>
                          <a:gd name="connsiteX2" fmla="*/ 0 w 2326"/>
                          <a:gd name="connsiteY2" fmla="*/ 163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 w="2326">
                            <a:moveTo>
                              <a:pt x="0" y="163"/>
                            </a:moveTo>
                            <a:cubicBezTo>
                              <a:pt x="1047" y="163"/>
                              <a:pt x="2094" y="116"/>
                              <a:pt x="3117" y="0"/>
                            </a:cubicBezTo>
                            <a:cubicBezTo>
                              <a:pt x="2070" y="116"/>
                              <a:pt x="1047" y="163"/>
                              <a:pt x="0" y="163"/>
                            </a:cubicBezTo>
                            <a:close/>
                          </a:path>
                        </a:pathLst>
                      </a:custGeom>
                      <a:solidFill>
                        <a:srgbClr val="F19439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709" name="Freeform: Shape 1708">
                        <a:extLst>
                          <a:ext uri="{FF2B5EF4-FFF2-40B4-BE49-F238E27FC236}">
                            <a16:creationId xmlns:a16="http://schemas.microsoft.com/office/drawing/2014/main" id="{0311C7CA-22F9-41E9-98E8-463A92D4E56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34079" y="4168982"/>
                        <a:ext cx="2326" cy="2326"/>
                      </a:xfrm>
                      <a:custGeom>
                        <a:avLst/>
                        <a:gdLst>
                          <a:gd name="connsiteX0" fmla="*/ 954 w 2326"/>
                          <a:gd name="connsiteY0" fmla="*/ 0 h 0"/>
                          <a:gd name="connsiteX1" fmla="*/ 954 w 2326"/>
                          <a:gd name="connsiteY1" fmla="*/ 0 h 0"/>
                          <a:gd name="connsiteX2" fmla="*/ 0 w 2326"/>
                          <a:gd name="connsiteY2" fmla="*/ 535 h 0"/>
                          <a:gd name="connsiteX3" fmla="*/ 0 w 2326"/>
                          <a:gd name="connsiteY3" fmla="*/ 582 h 0"/>
                          <a:gd name="connsiteX4" fmla="*/ 70 w 2326"/>
                          <a:gd name="connsiteY4" fmla="*/ 1303 h 0"/>
                          <a:gd name="connsiteX5" fmla="*/ 2373 w 2326"/>
                          <a:gd name="connsiteY5" fmla="*/ 1303 h 0"/>
                          <a:gd name="connsiteX6" fmla="*/ 954 w 2326"/>
                          <a:gd name="connsiteY6" fmla="*/ 0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2326">
                            <a:moveTo>
                              <a:pt x="954" y="0"/>
                            </a:moveTo>
                            <a:lnTo>
                              <a:pt x="954" y="0"/>
                            </a:lnTo>
                            <a:cubicBezTo>
                              <a:pt x="628" y="163"/>
                              <a:pt x="302" y="349"/>
                              <a:pt x="0" y="535"/>
                            </a:cubicBezTo>
                            <a:lnTo>
                              <a:pt x="0" y="582"/>
                            </a:lnTo>
                            <a:cubicBezTo>
                              <a:pt x="47" y="814"/>
                              <a:pt x="70" y="1070"/>
                              <a:pt x="70" y="1303"/>
                            </a:cubicBezTo>
                            <a:lnTo>
                              <a:pt x="2373" y="1303"/>
                            </a:lnTo>
                            <a:cubicBezTo>
                              <a:pt x="1791" y="1279"/>
                              <a:pt x="1233" y="814"/>
                              <a:pt x="954" y="0"/>
                            </a:cubicBezTo>
                            <a:close/>
                          </a:path>
                        </a:pathLst>
                      </a:custGeom>
                      <a:solidFill>
                        <a:srgbClr val="F19439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710" name="Freeform: Shape 1709">
                        <a:extLst>
                          <a:ext uri="{FF2B5EF4-FFF2-40B4-BE49-F238E27FC236}">
                            <a16:creationId xmlns:a16="http://schemas.microsoft.com/office/drawing/2014/main" id="{BAEE324E-761C-482E-929D-BBBE0EE413B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29170" y="4170982"/>
                        <a:ext cx="2326" cy="2326"/>
                      </a:xfrm>
                      <a:custGeom>
                        <a:avLst/>
                        <a:gdLst>
                          <a:gd name="connsiteX0" fmla="*/ 1884 w 2326"/>
                          <a:gd name="connsiteY0" fmla="*/ 1861 h 0"/>
                          <a:gd name="connsiteX1" fmla="*/ 1582 w 2326"/>
                          <a:gd name="connsiteY1" fmla="*/ 1652 h 0"/>
                          <a:gd name="connsiteX2" fmla="*/ 1582 w 2326"/>
                          <a:gd name="connsiteY2" fmla="*/ 1652 h 0"/>
                          <a:gd name="connsiteX3" fmla="*/ 977 w 2326"/>
                          <a:gd name="connsiteY3" fmla="*/ 558 h 0"/>
                          <a:gd name="connsiteX4" fmla="*/ 977 w 2326"/>
                          <a:gd name="connsiteY4" fmla="*/ 535 h 0"/>
                          <a:gd name="connsiteX5" fmla="*/ 1559 w 2326"/>
                          <a:gd name="connsiteY5" fmla="*/ 256 h 0"/>
                          <a:gd name="connsiteX6" fmla="*/ 2094 w 2326"/>
                          <a:gd name="connsiteY6" fmla="*/ 0 h 0"/>
                          <a:gd name="connsiteX7" fmla="*/ 977 w 2326"/>
                          <a:gd name="connsiteY7" fmla="*/ 535 h 0"/>
                          <a:gd name="connsiteX8" fmla="*/ 0 w 2326"/>
                          <a:gd name="connsiteY8" fmla="*/ 954 h 0"/>
                          <a:gd name="connsiteX9" fmla="*/ 0 w 2326"/>
                          <a:gd name="connsiteY9" fmla="*/ 977 h 0"/>
                          <a:gd name="connsiteX10" fmla="*/ 0 w 2326"/>
                          <a:gd name="connsiteY10" fmla="*/ 2047 h 0"/>
                          <a:gd name="connsiteX11" fmla="*/ 2489 w 2326"/>
                          <a:gd name="connsiteY11" fmla="*/ 2047 h 0"/>
                          <a:gd name="connsiteX12" fmla="*/ 2163 w 2326"/>
                          <a:gd name="connsiteY12" fmla="*/ 1977 h 0"/>
                          <a:gd name="connsiteX13" fmla="*/ 1884 w 2326"/>
                          <a:gd name="connsiteY13" fmla="*/ 1861 h 0"/>
                          <a:gd name="connsiteX14" fmla="*/ 1884 w 2326"/>
                          <a:gd name="connsiteY14" fmla="*/ 1861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</a:cxnLst>
                        <a:rect l="l" t="t" r="r" b="b"/>
                        <a:pathLst>
                          <a:path w="2326">
                            <a:moveTo>
                              <a:pt x="1884" y="1861"/>
                            </a:moveTo>
                            <a:cubicBezTo>
                              <a:pt x="1791" y="1791"/>
                              <a:pt x="1675" y="1745"/>
                              <a:pt x="1582" y="1652"/>
                            </a:cubicBezTo>
                            <a:lnTo>
                              <a:pt x="1582" y="1652"/>
                            </a:lnTo>
                            <a:cubicBezTo>
                              <a:pt x="1303" y="1396"/>
                              <a:pt x="1093" y="1024"/>
                              <a:pt x="977" y="558"/>
                            </a:cubicBezTo>
                            <a:lnTo>
                              <a:pt x="977" y="535"/>
                            </a:lnTo>
                            <a:cubicBezTo>
                              <a:pt x="1163" y="442"/>
                              <a:pt x="1372" y="349"/>
                              <a:pt x="1559" y="256"/>
                            </a:cubicBezTo>
                            <a:cubicBezTo>
                              <a:pt x="1721" y="163"/>
                              <a:pt x="1907" y="93"/>
                              <a:pt x="2094" y="0"/>
                            </a:cubicBezTo>
                            <a:cubicBezTo>
                              <a:pt x="1721" y="186"/>
                              <a:pt x="1349" y="372"/>
                              <a:pt x="977" y="535"/>
                            </a:cubicBezTo>
                            <a:cubicBezTo>
                              <a:pt x="651" y="675"/>
                              <a:pt x="326" y="814"/>
                              <a:pt x="0" y="954"/>
                            </a:cubicBezTo>
                            <a:lnTo>
                              <a:pt x="0" y="977"/>
                            </a:lnTo>
                            <a:cubicBezTo>
                              <a:pt x="70" y="1349"/>
                              <a:pt x="47" y="1698"/>
                              <a:pt x="0" y="2047"/>
                            </a:cubicBezTo>
                            <a:lnTo>
                              <a:pt x="2489" y="2047"/>
                            </a:lnTo>
                            <a:cubicBezTo>
                              <a:pt x="2373" y="2047"/>
                              <a:pt x="2280" y="2001"/>
                              <a:pt x="2163" y="1977"/>
                            </a:cubicBezTo>
                            <a:cubicBezTo>
                              <a:pt x="2047" y="1931"/>
                              <a:pt x="1977" y="1907"/>
                              <a:pt x="1884" y="1861"/>
                            </a:cubicBezTo>
                            <a:lnTo>
                              <a:pt x="1884" y="1861"/>
                            </a:lnTo>
                            <a:close/>
                          </a:path>
                        </a:pathLst>
                      </a:custGeom>
                      <a:solidFill>
                        <a:srgbClr val="F19439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711" name="Freeform: Shape 1710">
                        <a:extLst>
                          <a:ext uri="{FF2B5EF4-FFF2-40B4-BE49-F238E27FC236}">
                            <a16:creationId xmlns:a16="http://schemas.microsoft.com/office/drawing/2014/main" id="{CD9D7220-69B2-4271-A2C8-4B685898464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38801" y="4165702"/>
                        <a:ext cx="2326" cy="2326"/>
                      </a:xfrm>
                      <a:custGeom>
                        <a:avLst/>
                        <a:gdLst>
                          <a:gd name="connsiteX0" fmla="*/ 907 w 0"/>
                          <a:gd name="connsiteY0" fmla="*/ 46 h 0"/>
                          <a:gd name="connsiteX1" fmla="*/ 907 w 0"/>
                          <a:gd name="connsiteY1" fmla="*/ 0 h 0"/>
                          <a:gd name="connsiteX2" fmla="*/ 0 w 0"/>
                          <a:gd name="connsiteY2" fmla="*/ 698 h 0"/>
                          <a:gd name="connsiteX3" fmla="*/ 0 w 0"/>
                          <a:gd name="connsiteY3" fmla="*/ 744 h 0"/>
                          <a:gd name="connsiteX4" fmla="*/ 70 w 0"/>
                          <a:gd name="connsiteY4" fmla="*/ 1117 h 0"/>
                          <a:gd name="connsiteX5" fmla="*/ 2256 w 0"/>
                          <a:gd name="connsiteY5" fmla="*/ 1117 h 0"/>
                          <a:gd name="connsiteX6" fmla="*/ 907 w 0"/>
                          <a:gd name="connsiteY6" fmla="*/ 46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907" y="46"/>
                            </a:moveTo>
                            <a:cubicBezTo>
                              <a:pt x="907" y="46"/>
                              <a:pt x="907" y="23"/>
                              <a:pt x="907" y="0"/>
                            </a:cubicBezTo>
                            <a:cubicBezTo>
                              <a:pt x="605" y="233"/>
                              <a:pt x="302" y="465"/>
                              <a:pt x="0" y="698"/>
                            </a:cubicBezTo>
                            <a:lnTo>
                              <a:pt x="0" y="744"/>
                            </a:lnTo>
                            <a:cubicBezTo>
                              <a:pt x="47" y="861"/>
                              <a:pt x="47" y="1000"/>
                              <a:pt x="70" y="1117"/>
                            </a:cubicBezTo>
                            <a:lnTo>
                              <a:pt x="2256" y="1117"/>
                            </a:lnTo>
                            <a:cubicBezTo>
                              <a:pt x="1721" y="1117"/>
                              <a:pt x="1210" y="744"/>
                              <a:pt x="907" y="46"/>
                            </a:cubicBezTo>
                            <a:close/>
                          </a:path>
                        </a:pathLst>
                      </a:custGeom>
                      <a:solidFill>
                        <a:srgbClr val="F19439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712" name="Freeform: Shape 1711">
                        <a:extLst>
                          <a:ext uri="{FF2B5EF4-FFF2-40B4-BE49-F238E27FC236}">
                            <a16:creationId xmlns:a16="http://schemas.microsoft.com/office/drawing/2014/main" id="{D29E2750-6E1F-456D-BCD5-2232ABA4D2B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89881" y="4165748"/>
                        <a:ext cx="2326" cy="2326"/>
                      </a:xfrm>
                      <a:custGeom>
                        <a:avLst/>
                        <a:gdLst>
                          <a:gd name="connsiteX0" fmla="*/ 0 w 0"/>
                          <a:gd name="connsiteY0" fmla="*/ 0 h 0"/>
                          <a:gd name="connsiteX1" fmla="*/ 0 w 0"/>
                          <a:gd name="connsiteY1" fmla="*/ 0 h 0"/>
                          <a:gd name="connsiteX2" fmla="*/ 0 w 0"/>
                          <a:gd name="connsiteY2" fmla="*/ 0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0" y="0"/>
                            </a:moveTo>
                            <a:lnTo>
                              <a:pt x="0" y="0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solidFill>
                        <a:srgbClr val="F19439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713" name="Freeform: Shape 1712">
                        <a:extLst>
                          <a:ext uri="{FF2B5EF4-FFF2-40B4-BE49-F238E27FC236}">
                            <a16:creationId xmlns:a16="http://schemas.microsoft.com/office/drawing/2014/main" id="{45E0A160-257C-4590-BBDD-5538CEFC137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44802" y="4043368"/>
                        <a:ext cx="2326" cy="2326"/>
                      </a:xfrm>
                      <a:custGeom>
                        <a:avLst/>
                        <a:gdLst>
                          <a:gd name="connsiteX0" fmla="*/ 0 w 0"/>
                          <a:gd name="connsiteY0" fmla="*/ 0 h 0"/>
                          <a:gd name="connsiteX1" fmla="*/ 0 w 0"/>
                          <a:gd name="connsiteY1" fmla="*/ 0 h 0"/>
                          <a:gd name="connsiteX2" fmla="*/ 675 w 0"/>
                          <a:gd name="connsiteY2" fmla="*/ 721 h 0"/>
                          <a:gd name="connsiteX3" fmla="*/ 675 w 0"/>
                          <a:gd name="connsiteY3" fmla="*/ 721 h 0"/>
                          <a:gd name="connsiteX4" fmla="*/ 0 w 0"/>
                          <a:gd name="connsiteY4" fmla="*/ 0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0" y="0"/>
                            </a:moveTo>
                            <a:lnTo>
                              <a:pt x="0" y="0"/>
                            </a:lnTo>
                            <a:cubicBezTo>
                              <a:pt x="233" y="233"/>
                              <a:pt x="442" y="488"/>
                              <a:pt x="675" y="721"/>
                            </a:cubicBezTo>
                            <a:lnTo>
                              <a:pt x="675" y="721"/>
                            </a:lnTo>
                            <a:cubicBezTo>
                              <a:pt x="442" y="465"/>
                              <a:pt x="233" y="209"/>
                              <a:pt x="0" y="0"/>
                            </a:cubicBezTo>
                            <a:close/>
                          </a:path>
                        </a:pathLst>
                      </a:custGeom>
                      <a:solidFill>
                        <a:srgbClr val="F19439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714" name="Freeform: Shape 1713">
                        <a:extLst>
                          <a:ext uri="{FF2B5EF4-FFF2-40B4-BE49-F238E27FC236}">
                            <a16:creationId xmlns:a16="http://schemas.microsoft.com/office/drawing/2014/main" id="{92994EB9-E3A8-46F1-A29E-FC5CF9A24B7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39498" y="4038251"/>
                        <a:ext cx="2326" cy="2326"/>
                      </a:xfrm>
                      <a:custGeom>
                        <a:avLst/>
                        <a:gdLst>
                          <a:gd name="connsiteX0" fmla="*/ 23 w 0"/>
                          <a:gd name="connsiteY0" fmla="*/ 372 h 0"/>
                          <a:gd name="connsiteX1" fmla="*/ 930 w 0"/>
                          <a:gd name="connsiteY1" fmla="*/ 1093 h 0"/>
                          <a:gd name="connsiteX2" fmla="*/ 2187 w 0"/>
                          <a:gd name="connsiteY2" fmla="*/ 2163 h 0"/>
                          <a:gd name="connsiteX3" fmla="*/ 2187 w 0"/>
                          <a:gd name="connsiteY3" fmla="*/ 2163 h 0"/>
                          <a:gd name="connsiteX4" fmla="*/ 930 w 0"/>
                          <a:gd name="connsiteY4" fmla="*/ 1093 h 0"/>
                          <a:gd name="connsiteX5" fmla="*/ 930 w 0"/>
                          <a:gd name="connsiteY5" fmla="*/ 1070 h 0"/>
                          <a:gd name="connsiteX6" fmla="*/ 1256 w 0"/>
                          <a:gd name="connsiteY6" fmla="*/ 535 h 0"/>
                          <a:gd name="connsiteX7" fmla="*/ 1303 w 0"/>
                          <a:gd name="connsiteY7" fmla="*/ 489 h 0"/>
                          <a:gd name="connsiteX8" fmla="*/ 1303 w 0"/>
                          <a:gd name="connsiteY8" fmla="*/ 489 h 0"/>
                          <a:gd name="connsiteX9" fmla="*/ 1652 w 0"/>
                          <a:gd name="connsiteY9" fmla="*/ 186 h 0"/>
                          <a:gd name="connsiteX10" fmla="*/ 1698 w 0"/>
                          <a:gd name="connsiteY10" fmla="*/ 163 h 0"/>
                          <a:gd name="connsiteX11" fmla="*/ 1698 w 0"/>
                          <a:gd name="connsiteY11" fmla="*/ 163 h 0"/>
                          <a:gd name="connsiteX12" fmla="*/ 2233 w 0"/>
                          <a:gd name="connsiteY12" fmla="*/ 0 h 0"/>
                          <a:gd name="connsiteX13" fmla="*/ 70 w 0"/>
                          <a:gd name="connsiteY13" fmla="*/ 0 h 0"/>
                          <a:gd name="connsiteX14" fmla="*/ 0 w 0"/>
                          <a:gd name="connsiteY14" fmla="*/ 326 h 0"/>
                          <a:gd name="connsiteX15" fmla="*/ 23 w 0"/>
                          <a:gd name="connsiteY15" fmla="*/ 372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23" y="372"/>
                            </a:moveTo>
                            <a:cubicBezTo>
                              <a:pt x="326" y="605"/>
                              <a:pt x="628" y="861"/>
                              <a:pt x="930" y="1093"/>
                            </a:cubicBezTo>
                            <a:cubicBezTo>
                              <a:pt x="1349" y="1442"/>
                              <a:pt x="1768" y="1814"/>
                              <a:pt x="2187" y="2163"/>
                            </a:cubicBezTo>
                            <a:lnTo>
                              <a:pt x="2187" y="2163"/>
                            </a:lnTo>
                            <a:cubicBezTo>
                              <a:pt x="1768" y="1791"/>
                              <a:pt x="1349" y="1419"/>
                              <a:pt x="930" y="1093"/>
                            </a:cubicBezTo>
                            <a:lnTo>
                              <a:pt x="930" y="1070"/>
                            </a:lnTo>
                            <a:cubicBezTo>
                              <a:pt x="1024" y="861"/>
                              <a:pt x="1140" y="698"/>
                              <a:pt x="1256" y="535"/>
                            </a:cubicBezTo>
                            <a:cubicBezTo>
                              <a:pt x="1256" y="535"/>
                              <a:pt x="1279" y="512"/>
                              <a:pt x="1303" y="489"/>
                            </a:cubicBezTo>
                            <a:lnTo>
                              <a:pt x="1303" y="489"/>
                            </a:lnTo>
                            <a:cubicBezTo>
                              <a:pt x="1396" y="372"/>
                              <a:pt x="1535" y="279"/>
                              <a:pt x="1652" y="186"/>
                            </a:cubicBezTo>
                            <a:cubicBezTo>
                              <a:pt x="1675" y="186"/>
                              <a:pt x="1675" y="163"/>
                              <a:pt x="1698" y="163"/>
                            </a:cubicBezTo>
                            <a:lnTo>
                              <a:pt x="1698" y="163"/>
                            </a:lnTo>
                            <a:cubicBezTo>
                              <a:pt x="1884" y="70"/>
                              <a:pt x="2070" y="0"/>
                              <a:pt x="2233" y="0"/>
                            </a:cubicBezTo>
                            <a:lnTo>
                              <a:pt x="70" y="0"/>
                            </a:lnTo>
                            <a:cubicBezTo>
                              <a:pt x="47" y="116"/>
                              <a:pt x="47" y="209"/>
                              <a:pt x="0" y="326"/>
                            </a:cubicBezTo>
                            <a:lnTo>
                              <a:pt x="23" y="372"/>
                            </a:lnTo>
                            <a:close/>
                          </a:path>
                        </a:pathLst>
                      </a:custGeom>
                      <a:solidFill>
                        <a:srgbClr val="F19439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715" name="Freeform: Shape 1714">
                        <a:extLst>
                          <a:ext uri="{FF2B5EF4-FFF2-40B4-BE49-F238E27FC236}">
                            <a16:creationId xmlns:a16="http://schemas.microsoft.com/office/drawing/2014/main" id="{5CE56062-4FD0-4B95-A150-22457AD1AAE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29984" y="4031831"/>
                        <a:ext cx="2326" cy="2326"/>
                      </a:xfrm>
                      <a:custGeom>
                        <a:avLst/>
                        <a:gdLst>
                          <a:gd name="connsiteX0" fmla="*/ 0 w 2326"/>
                          <a:gd name="connsiteY0" fmla="*/ 1023 h 0"/>
                          <a:gd name="connsiteX1" fmla="*/ 0 w 2326"/>
                          <a:gd name="connsiteY1" fmla="*/ 1047 h 0"/>
                          <a:gd name="connsiteX2" fmla="*/ 977 w 2326"/>
                          <a:gd name="connsiteY2" fmla="*/ 1489 h 0"/>
                          <a:gd name="connsiteX3" fmla="*/ 977 w 2326"/>
                          <a:gd name="connsiteY3" fmla="*/ 1489 h 0"/>
                          <a:gd name="connsiteX4" fmla="*/ 977 w 2326"/>
                          <a:gd name="connsiteY4" fmla="*/ 1442 h 0"/>
                          <a:gd name="connsiteX5" fmla="*/ 1140 w 2326"/>
                          <a:gd name="connsiteY5" fmla="*/ 1023 h 0"/>
                          <a:gd name="connsiteX6" fmla="*/ 1140 w 2326"/>
                          <a:gd name="connsiteY6" fmla="*/ 1000 h 0"/>
                          <a:gd name="connsiteX7" fmla="*/ 1140 w 2326"/>
                          <a:gd name="connsiteY7" fmla="*/ 1000 h 0"/>
                          <a:gd name="connsiteX8" fmla="*/ 1628 w 2326"/>
                          <a:gd name="connsiteY8" fmla="*/ 326 h 0"/>
                          <a:gd name="connsiteX9" fmla="*/ 1628 w 2326"/>
                          <a:gd name="connsiteY9" fmla="*/ 326 h 0"/>
                          <a:gd name="connsiteX10" fmla="*/ 1861 w 2326"/>
                          <a:gd name="connsiteY10" fmla="*/ 163 h 0"/>
                          <a:gd name="connsiteX11" fmla="*/ 1861 w 2326"/>
                          <a:gd name="connsiteY11" fmla="*/ 163 h 0"/>
                          <a:gd name="connsiteX12" fmla="*/ 2001 w 2326"/>
                          <a:gd name="connsiteY12" fmla="*/ 93 h 0"/>
                          <a:gd name="connsiteX13" fmla="*/ 2001 w 2326"/>
                          <a:gd name="connsiteY13" fmla="*/ 93 h 0"/>
                          <a:gd name="connsiteX14" fmla="*/ 2419 w 2326"/>
                          <a:gd name="connsiteY14" fmla="*/ 0 h 0"/>
                          <a:gd name="connsiteX15" fmla="*/ 0 w 2326"/>
                          <a:gd name="connsiteY15" fmla="*/ 0 h 0"/>
                          <a:gd name="connsiteX16" fmla="*/ 0 w 2326"/>
                          <a:gd name="connsiteY16" fmla="*/ 1023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</a:cxnLst>
                        <a:rect l="l" t="t" r="r" b="b"/>
                        <a:pathLst>
                          <a:path w="2326">
                            <a:moveTo>
                              <a:pt x="0" y="1023"/>
                            </a:moveTo>
                            <a:lnTo>
                              <a:pt x="0" y="1047"/>
                            </a:lnTo>
                            <a:cubicBezTo>
                              <a:pt x="326" y="1186"/>
                              <a:pt x="651" y="1326"/>
                              <a:pt x="977" y="1489"/>
                            </a:cubicBezTo>
                            <a:lnTo>
                              <a:pt x="977" y="1489"/>
                            </a:lnTo>
                            <a:lnTo>
                              <a:pt x="977" y="1442"/>
                            </a:lnTo>
                            <a:cubicBezTo>
                              <a:pt x="1024" y="1303"/>
                              <a:pt x="1093" y="1163"/>
                              <a:pt x="1140" y="1023"/>
                            </a:cubicBezTo>
                            <a:cubicBezTo>
                              <a:pt x="1140" y="1023"/>
                              <a:pt x="1140" y="1000"/>
                              <a:pt x="1140" y="1000"/>
                            </a:cubicBezTo>
                            <a:lnTo>
                              <a:pt x="1140" y="1000"/>
                            </a:lnTo>
                            <a:cubicBezTo>
                              <a:pt x="1256" y="721"/>
                              <a:pt x="1419" y="488"/>
                              <a:pt x="1628" y="326"/>
                            </a:cubicBezTo>
                            <a:lnTo>
                              <a:pt x="1628" y="326"/>
                            </a:lnTo>
                            <a:cubicBezTo>
                              <a:pt x="1698" y="256"/>
                              <a:pt x="1791" y="209"/>
                              <a:pt x="1861" y="163"/>
                            </a:cubicBezTo>
                            <a:lnTo>
                              <a:pt x="1861" y="163"/>
                            </a:lnTo>
                            <a:cubicBezTo>
                              <a:pt x="1907" y="140"/>
                              <a:pt x="1954" y="116"/>
                              <a:pt x="2001" y="93"/>
                            </a:cubicBezTo>
                            <a:lnTo>
                              <a:pt x="2001" y="93"/>
                            </a:lnTo>
                            <a:cubicBezTo>
                              <a:pt x="2140" y="46"/>
                              <a:pt x="2280" y="0"/>
                              <a:pt x="2419" y="0"/>
                            </a:cubicBezTo>
                            <a:lnTo>
                              <a:pt x="0" y="0"/>
                            </a:lnTo>
                            <a:cubicBezTo>
                              <a:pt x="70" y="326"/>
                              <a:pt x="70" y="675"/>
                              <a:pt x="0" y="1023"/>
                            </a:cubicBezTo>
                            <a:close/>
                          </a:path>
                        </a:pathLst>
                      </a:custGeom>
                      <a:solidFill>
                        <a:srgbClr val="F19439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716" name="Freeform: Shape 1715">
                        <a:extLst>
                          <a:ext uri="{FF2B5EF4-FFF2-40B4-BE49-F238E27FC236}">
                            <a16:creationId xmlns:a16="http://schemas.microsoft.com/office/drawing/2014/main" id="{D37E5F4D-9752-4C07-A9CF-545F37F849C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34869" y="4034715"/>
                        <a:ext cx="2326" cy="2326"/>
                      </a:xfrm>
                      <a:custGeom>
                        <a:avLst/>
                        <a:gdLst>
                          <a:gd name="connsiteX0" fmla="*/ 0 w 2326"/>
                          <a:gd name="connsiteY0" fmla="*/ 698 h 0"/>
                          <a:gd name="connsiteX1" fmla="*/ 0 w 2326"/>
                          <a:gd name="connsiteY1" fmla="*/ 698 h 0"/>
                          <a:gd name="connsiteX2" fmla="*/ 954 w 2326"/>
                          <a:gd name="connsiteY2" fmla="*/ 1279 h 0"/>
                          <a:gd name="connsiteX3" fmla="*/ 954 w 2326"/>
                          <a:gd name="connsiteY3" fmla="*/ 1256 h 0"/>
                          <a:gd name="connsiteX4" fmla="*/ 1349 w 2326"/>
                          <a:gd name="connsiteY4" fmla="*/ 558 h 0"/>
                          <a:gd name="connsiteX5" fmla="*/ 1396 w 2326"/>
                          <a:gd name="connsiteY5" fmla="*/ 488 h 0"/>
                          <a:gd name="connsiteX6" fmla="*/ 1396 w 2326"/>
                          <a:gd name="connsiteY6" fmla="*/ 488 h 0"/>
                          <a:gd name="connsiteX7" fmla="*/ 2349 w 2326"/>
                          <a:gd name="connsiteY7" fmla="*/ 0 h 0"/>
                          <a:gd name="connsiteX8" fmla="*/ 93 w 2326"/>
                          <a:gd name="connsiteY8" fmla="*/ 0 h 0"/>
                          <a:gd name="connsiteX9" fmla="*/ 23 w 2326"/>
                          <a:gd name="connsiteY9" fmla="*/ 651 h 0"/>
                          <a:gd name="connsiteX10" fmla="*/ 0 w 2326"/>
                          <a:gd name="connsiteY10" fmla="*/ 698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</a:cxnLst>
                        <a:rect l="l" t="t" r="r" b="b"/>
                        <a:pathLst>
                          <a:path w="2326">
                            <a:moveTo>
                              <a:pt x="0" y="698"/>
                            </a:moveTo>
                            <a:lnTo>
                              <a:pt x="0" y="698"/>
                            </a:lnTo>
                            <a:cubicBezTo>
                              <a:pt x="326" y="884"/>
                              <a:pt x="651" y="1070"/>
                              <a:pt x="954" y="1279"/>
                            </a:cubicBezTo>
                            <a:lnTo>
                              <a:pt x="954" y="1256"/>
                            </a:lnTo>
                            <a:cubicBezTo>
                              <a:pt x="1070" y="954"/>
                              <a:pt x="1210" y="744"/>
                              <a:pt x="1349" y="558"/>
                            </a:cubicBezTo>
                            <a:cubicBezTo>
                              <a:pt x="1372" y="535"/>
                              <a:pt x="1372" y="512"/>
                              <a:pt x="1396" y="488"/>
                            </a:cubicBezTo>
                            <a:lnTo>
                              <a:pt x="1396" y="488"/>
                            </a:lnTo>
                            <a:cubicBezTo>
                              <a:pt x="1675" y="186"/>
                              <a:pt x="2001" y="0"/>
                              <a:pt x="2349" y="0"/>
                            </a:cubicBezTo>
                            <a:lnTo>
                              <a:pt x="93" y="0"/>
                            </a:lnTo>
                            <a:cubicBezTo>
                              <a:pt x="93" y="209"/>
                              <a:pt x="70" y="442"/>
                              <a:pt x="23" y="651"/>
                            </a:cubicBezTo>
                            <a:lnTo>
                              <a:pt x="0" y="698"/>
                            </a:lnTo>
                            <a:close/>
                          </a:path>
                        </a:pathLst>
                      </a:custGeom>
                      <a:solidFill>
                        <a:srgbClr val="F19439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717" name="Freeform: Shape 1716">
                        <a:extLst>
                          <a:ext uri="{FF2B5EF4-FFF2-40B4-BE49-F238E27FC236}">
                            <a16:creationId xmlns:a16="http://schemas.microsoft.com/office/drawing/2014/main" id="{2B036C02-9A35-4FB2-A30F-45512424FEC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43941" y="4042438"/>
                        <a:ext cx="2326" cy="2326"/>
                      </a:xfrm>
                      <a:custGeom>
                        <a:avLst/>
                        <a:gdLst>
                          <a:gd name="connsiteX0" fmla="*/ 23 w 0"/>
                          <a:gd name="connsiteY0" fmla="*/ 70 h 0"/>
                          <a:gd name="connsiteX1" fmla="*/ 861 w 0"/>
                          <a:gd name="connsiteY1" fmla="*/ 907 h 0"/>
                          <a:gd name="connsiteX2" fmla="*/ 861 w 0"/>
                          <a:gd name="connsiteY2" fmla="*/ 907 h 0"/>
                          <a:gd name="connsiteX3" fmla="*/ 861 w 0"/>
                          <a:gd name="connsiteY3" fmla="*/ 884 h 0"/>
                          <a:gd name="connsiteX4" fmla="*/ 1070 w 0"/>
                          <a:gd name="connsiteY4" fmla="*/ 558 h 0"/>
                          <a:gd name="connsiteX5" fmla="*/ 1093 w 0"/>
                          <a:gd name="connsiteY5" fmla="*/ 512 h 0"/>
                          <a:gd name="connsiteX6" fmla="*/ 1093 w 0"/>
                          <a:gd name="connsiteY6" fmla="*/ 512 h 0"/>
                          <a:gd name="connsiteX7" fmla="*/ 1186 w 0"/>
                          <a:gd name="connsiteY7" fmla="*/ 419 h 0"/>
                          <a:gd name="connsiteX8" fmla="*/ 1186 w 0"/>
                          <a:gd name="connsiteY8" fmla="*/ 419 h 0"/>
                          <a:gd name="connsiteX9" fmla="*/ 1372 w 0"/>
                          <a:gd name="connsiteY9" fmla="*/ 256 h 0"/>
                          <a:gd name="connsiteX10" fmla="*/ 1372 w 0"/>
                          <a:gd name="connsiteY10" fmla="*/ 256 h 0"/>
                          <a:gd name="connsiteX11" fmla="*/ 1628 w 0"/>
                          <a:gd name="connsiteY11" fmla="*/ 116 h 0"/>
                          <a:gd name="connsiteX12" fmla="*/ 1628 w 0"/>
                          <a:gd name="connsiteY12" fmla="*/ 116 h 0"/>
                          <a:gd name="connsiteX13" fmla="*/ 1652 w 0"/>
                          <a:gd name="connsiteY13" fmla="*/ 93 h 0"/>
                          <a:gd name="connsiteX14" fmla="*/ 2070 w 0"/>
                          <a:gd name="connsiteY14" fmla="*/ 0 h 0"/>
                          <a:gd name="connsiteX15" fmla="*/ 0 w 0"/>
                          <a:gd name="connsiteY15" fmla="*/ 0 h 0"/>
                          <a:gd name="connsiteX16" fmla="*/ 0 w 0"/>
                          <a:gd name="connsiteY16" fmla="*/ 0 h 0"/>
                          <a:gd name="connsiteX17" fmla="*/ 23 w 0"/>
                          <a:gd name="connsiteY17" fmla="*/ 70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23" y="70"/>
                            </a:moveTo>
                            <a:cubicBezTo>
                              <a:pt x="302" y="349"/>
                              <a:pt x="582" y="628"/>
                              <a:pt x="861" y="907"/>
                            </a:cubicBezTo>
                            <a:lnTo>
                              <a:pt x="861" y="907"/>
                            </a:lnTo>
                            <a:lnTo>
                              <a:pt x="861" y="884"/>
                            </a:lnTo>
                            <a:cubicBezTo>
                              <a:pt x="930" y="768"/>
                              <a:pt x="1000" y="675"/>
                              <a:pt x="1070" y="558"/>
                            </a:cubicBezTo>
                            <a:cubicBezTo>
                              <a:pt x="1070" y="535"/>
                              <a:pt x="1093" y="512"/>
                              <a:pt x="1093" y="512"/>
                            </a:cubicBezTo>
                            <a:lnTo>
                              <a:pt x="1093" y="512"/>
                            </a:lnTo>
                            <a:cubicBezTo>
                              <a:pt x="1117" y="465"/>
                              <a:pt x="1163" y="465"/>
                              <a:pt x="1186" y="419"/>
                            </a:cubicBezTo>
                            <a:lnTo>
                              <a:pt x="1186" y="419"/>
                            </a:lnTo>
                            <a:cubicBezTo>
                              <a:pt x="1256" y="349"/>
                              <a:pt x="1303" y="302"/>
                              <a:pt x="1372" y="256"/>
                            </a:cubicBezTo>
                            <a:lnTo>
                              <a:pt x="1372" y="256"/>
                            </a:lnTo>
                            <a:cubicBezTo>
                              <a:pt x="1465" y="186"/>
                              <a:pt x="1535" y="163"/>
                              <a:pt x="1628" y="116"/>
                            </a:cubicBezTo>
                            <a:lnTo>
                              <a:pt x="1628" y="116"/>
                            </a:lnTo>
                            <a:lnTo>
                              <a:pt x="1652" y="93"/>
                            </a:lnTo>
                            <a:cubicBezTo>
                              <a:pt x="1791" y="46"/>
                              <a:pt x="1931" y="0"/>
                              <a:pt x="2070" y="0"/>
                            </a:cubicBezTo>
                            <a:lnTo>
                              <a:pt x="0" y="0"/>
                            </a:lnTo>
                            <a:lnTo>
                              <a:pt x="0" y="0"/>
                            </a:lnTo>
                            <a:lnTo>
                              <a:pt x="23" y="70"/>
                            </a:lnTo>
                            <a:close/>
                          </a:path>
                        </a:pathLst>
                      </a:custGeom>
                      <a:solidFill>
                        <a:srgbClr val="F19439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718" name="Freeform: Shape 1717">
                        <a:extLst>
                          <a:ext uri="{FF2B5EF4-FFF2-40B4-BE49-F238E27FC236}">
                            <a16:creationId xmlns:a16="http://schemas.microsoft.com/office/drawing/2014/main" id="{29094FDA-1C09-4911-8C17-517C15E21F0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13329" y="4027481"/>
                        <a:ext cx="4652" cy="2326"/>
                      </a:xfrm>
                      <a:custGeom>
                        <a:avLst/>
                        <a:gdLst>
                          <a:gd name="connsiteX0" fmla="*/ 1279 w 4652"/>
                          <a:gd name="connsiteY0" fmla="*/ 2117 h 2326"/>
                          <a:gd name="connsiteX1" fmla="*/ 1279 w 4652"/>
                          <a:gd name="connsiteY1" fmla="*/ 2163 h 2326"/>
                          <a:gd name="connsiteX2" fmla="*/ 1279 w 4652"/>
                          <a:gd name="connsiteY2" fmla="*/ 2163 h 2326"/>
                          <a:gd name="connsiteX3" fmla="*/ 2303 w 4652"/>
                          <a:gd name="connsiteY3" fmla="*/ 2163 h 2326"/>
                          <a:gd name="connsiteX4" fmla="*/ 6467 w 4652"/>
                          <a:gd name="connsiteY4" fmla="*/ 2489 h 2326"/>
                          <a:gd name="connsiteX5" fmla="*/ 2303 w 4652"/>
                          <a:gd name="connsiteY5" fmla="*/ 2163 h 2326"/>
                          <a:gd name="connsiteX6" fmla="*/ 2303 w 4652"/>
                          <a:gd name="connsiteY6" fmla="*/ 2140 h 2326"/>
                          <a:gd name="connsiteX7" fmla="*/ 3513 w 4652"/>
                          <a:gd name="connsiteY7" fmla="*/ 70 h 2326"/>
                          <a:gd name="connsiteX8" fmla="*/ 3513 w 4652"/>
                          <a:gd name="connsiteY8" fmla="*/ 70 h 2326"/>
                          <a:gd name="connsiteX9" fmla="*/ 3513 w 4652"/>
                          <a:gd name="connsiteY9" fmla="*/ 70 h 2326"/>
                          <a:gd name="connsiteX10" fmla="*/ 3675 w 4652"/>
                          <a:gd name="connsiteY10" fmla="*/ 23 h 2326"/>
                          <a:gd name="connsiteX11" fmla="*/ 3675 w 4652"/>
                          <a:gd name="connsiteY11" fmla="*/ 23 h 2326"/>
                          <a:gd name="connsiteX12" fmla="*/ 3815 w 4652"/>
                          <a:gd name="connsiteY12" fmla="*/ 0 h 2326"/>
                          <a:gd name="connsiteX13" fmla="*/ 3861 w 4652"/>
                          <a:gd name="connsiteY13" fmla="*/ 0 h 2326"/>
                          <a:gd name="connsiteX14" fmla="*/ 0 w 4652"/>
                          <a:gd name="connsiteY14" fmla="*/ 0 h 2326"/>
                          <a:gd name="connsiteX15" fmla="*/ 1279 w 4652"/>
                          <a:gd name="connsiteY15" fmla="*/ 2117 h 232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</a:cxnLst>
                        <a:rect l="l" t="t" r="r" b="b"/>
                        <a:pathLst>
                          <a:path w="4652" h="2326">
                            <a:moveTo>
                              <a:pt x="1279" y="2117"/>
                            </a:moveTo>
                            <a:lnTo>
                              <a:pt x="1279" y="2163"/>
                            </a:lnTo>
                            <a:lnTo>
                              <a:pt x="1279" y="2163"/>
                            </a:lnTo>
                            <a:cubicBezTo>
                              <a:pt x="1721" y="2163"/>
                              <a:pt x="2024" y="2163"/>
                              <a:pt x="2303" y="2163"/>
                            </a:cubicBezTo>
                            <a:cubicBezTo>
                              <a:pt x="3699" y="2187"/>
                              <a:pt x="5094" y="2303"/>
                              <a:pt x="6467" y="2489"/>
                            </a:cubicBezTo>
                            <a:cubicBezTo>
                              <a:pt x="5094" y="2303"/>
                              <a:pt x="3722" y="2187"/>
                              <a:pt x="2303" y="2163"/>
                            </a:cubicBezTo>
                            <a:lnTo>
                              <a:pt x="2303" y="2140"/>
                            </a:lnTo>
                            <a:cubicBezTo>
                              <a:pt x="2326" y="1117"/>
                              <a:pt x="2838" y="302"/>
                              <a:pt x="3513" y="70"/>
                            </a:cubicBezTo>
                            <a:lnTo>
                              <a:pt x="3513" y="70"/>
                            </a:lnTo>
                            <a:lnTo>
                              <a:pt x="3513" y="70"/>
                            </a:lnTo>
                            <a:cubicBezTo>
                              <a:pt x="3559" y="47"/>
                              <a:pt x="3606" y="47"/>
                              <a:pt x="3675" y="23"/>
                            </a:cubicBezTo>
                            <a:lnTo>
                              <a:pt x="3675" y="23"/>
                            </a:lnTo>
                            <a:cubicBezTo>
                              <a:pt x="3722" y="23"/>
                              <a:pt x="3768" y="23"/>
                              <a:pt x="3815" y="0"/>
                            </a:cubicBezTo>
                            <a:lnTo>
                              <a:pt x="3861" y="0"/>
                            </a:lnTo>
                            <a:lnTo>
                              <a:pt x="0" y="0"/>
                            </a:lnTo>
                            <a:cubicBezTo>
                              <a:pt x="721" y="209"/>
                              <a:pt x="1256" y="1047"/>
                              <a:pt x="1279" y="2117"/>
                            </a:cubicBezTo>
                            <a:close/>
                          </a:path>
                        </a:pathLst>
                      </a:custGeom>
                      <a:solidFill>
                        <a:srgbClr val="F19439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719" name="Freeform: Shape 1718">
                        <a:extLst>
                          <a:ext uri="{FF2B5EF4-FFF2-40B4-BE49-F238E27FC236}">
                            <a16:creationId xmlns:a16="http://schemas.microsoft.com/office/drawing/2014/main" id="{B5A3C0D8-CBE7-4B35-A274-C38466056E4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24774" y="4029667"/>
                        <a:ext cx="2326" cy="2326"/>
                      </a:xfrm>
                      <a:custGeom>
                        <a:avLst/>
                        <a:gdLst>
                          <a:gd name="connsiteX0" fmla="*/ 163 w 2326"/>
                          <a:gd name="connsiteY0" fmla="*/ 1349 h 0"/>
                          <a:gd name="connsiteX1" fmla="*/ 163 w 2326"/>
                          <a:gd name="connsiteY1" fmla="*/ 1396 h 0"/>
                          <a:gd name="connsiteX2" fmla="*/ 163 w 2326"/>
                          <a:gd name="connsiteY2" fmla="*/ 1396 h 0"/>
                          <a:gd name="connsiteX3" fmla="*/ 1163 w 2326"/>
                          <a:gd name="connsiteY3" fmla="*/ 1698 h 0"/>
                          <a:gd name="connsiteX4" fmla="*/ 1163 w 2326"/>
                          <a:gd name="connsiteY4" fmla="*/ 1698 h 0"/>
                          <a:gd name="connsiteX5" fmla="*/ 1163 w 2326"/>
                          <a:gd name="connsiteY5" fmla="*/ 1675 h 0"/>
                          <a:gd name="connsiteX6" fmla="*/ 1489 w 2326"/>
                          <a:gd name="connsiteY6" fmla="*/ 861 h 0"/>
                          <a:gd name="connsiteX7" fmla="*/ 1489 w 2326"/>
                          <a:gd name="connsiteY7" fmla="*/ 861 h 0"/>
                          <a:gd name="connsiteX8" fmla="*/ 1489 w 2326"/>
                          <a:gd name="connsiteY8" fmla="*/ 837 h 0"/>
                          <a:gd name="connsiteX9" fmla="*/ 2233 w 2326"/>
                          <a:gd name="connsiteY9" fmla="*/ 116 h 0"/>
                          <a:gd name="connsiteX10" fmla="*/ 2233 w 2326"/>
                          <a:gd name="connsiteY10" fmla="*/ 116 h 0"/>
                          <a:gd name="connsiteX11" fmla="*/ 2512 w 2326"/>
                          <a:gd name="connsiteY11" fmla="*/ 47 h 0"/>
                          <a:gd name="connsiteX12" fmla="*/ 2675 w 2326"/>
                          <a:gd name="connsiteY12" fmla="*/ 0 h 0"/>
                          <a:gd name="connsiteX13" fmla="*/ 0 w 2326"/>
                          <a:gd name="connsiteY13" fmla="*/ 0 h 0"/>
                          <a:gd name="connsiteX14" fmla="*/ 163 w 2326"/>
                          <a:gd name="connsiteY14" fmla="*/ 1349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</a:cxnLst>
                        <a:rect l="l" t="t" r="r" b="b"/>
                        <a:pathLst>
                          <a:path w="2326">
                            <a:moveTo>
                              <a:pt x="163" y="1349"/>
                            </a:moveTo>
                            <a:lnTo>
                              <a:pt x="163" y="1396"/>
                            </a:lnTo>
                            <a:lnTo>
                              <a:pt x="163" y="1396"/>
                            </a:lnTo>
                            <a:cubicBezTo>
                              <a:pt x="488" y="1489"/>
                              <a:pt x="837" y="1605"/>
                              <a:pt x="1163" y="1698"/>
                            </a:cubicBezTo>
                            <a:lnTo>
                              <a:pt x="1163" y="1698"/>
                            </a:lnTo>
                            <a:lnTo>
                              <a:pt x="1163" y="1675"/>
                            </a:lnTo>
                            <a:cubicBezTo>
                              <a:pt x="1233" y="1349"/>
                              <a:pt x="1326" y="1093"/>
                              <a:pt x="1489" y="861"/>
                            </a:cubicBezTo>
                            <a:lnTo>
                              <a:pt x="1489" y="861"/>
                            </a:lnTo>
                            <a:lnTo>
                              <a:pt x="1489" y="837"/>
                            </a:lnTo>
                            <a:cubicBezTo>
                              <a:pt x="1698" y="489"/>
                              <a:pt x="1954" y="233"/>
                              <a:pt x="2233" y="116"/>
                            </a:cubicBezTo>
                            <a:lnTo>
                              <a:pt x="2233" y="116"/>
                            </a:lnTo>
                            <a:cubicBezTo>
                              <a:pt x="2326" y="70"/>
                              <a:pt x="2419" y="70"/>
                              <a:pt x="2512" y="47"/>
                            </a:cubicBezTo>
                            <a:cubicBezTo>
                              <a:pt x="2582" y="47"/>
                              <a:pt x="2629" y="0"/>
                              <a:pt x="2675" y="0"/>
                            </a:cubicBezTo>
                            <a:lnTo>
                              <a:pt x="0" y="0"/>
                            </a:lnTo>
                            <a:cubicBezTo>
                              <a:pt x="163" y="395"/>
                              <a:pt x="233" y="861"/>
                              <a:pt x="163" y="1349"/>
                            </a:cubicBezTo>
                            <a:close/>
                          </a:path>
                        </a:pathLst>
                      </a:custGeom>
                      <a:solidFill>
                        <a:srgbClr val="F19439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720" name="Freeform: Shape 1719">
                        <a:extLst>
                          <a:ext uri="{FF2B5EF4-FFF2-40B4-BE49-F238E27FC236}">
                            <a16:creationId xmlns:a16="http://schemas.microsoft.com/office/drawing/2014/main" id="{8CC21CB4-DAC2-4F69-934D-7A02E8C65A5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19307" y="4028248"/>
                        <a:ext cx="2326" cy="2326"/>
                      </a:xfrm>
                      <a:custGeom>
                        <a:avLst/>
                        <a:gdLst>
                          <a:gd name="connsiteX0" fmla="*/ 488 w 2326"/>
                          <a:gd name="connsiteY0" fmla="*/ 1745 h 0"/>
                          <a:gd name="connsiteX1" fmla="*/ 1512 w 2326"/>
                          <a:gd name="connsiteY1" fmla="*/ 1907 h 0"/>
                          <a:gd name="connsiteX2" fmla="*/ 1512 w 2326"/>
                          <a:gd name="connsiteY2" fmla="*/ 1884 h 0"/>
                          <a:gd name="connsiteX3" fmla="*/ 1675 w 2326"/>
                          <a:gd name="connsiteY3" fmla="*/ 1163 h 0"/>
                          <a:gd name="connsiteX4" fmla="*/ 1675 w 2326"/>
                          <a:gd name="connsiteY4" fmla="*/ 1140 h 0"/>
                          <a:gd name="connsiteX5" fmla="*/ 1675 w 2326"/>
                          <a:gd name="connsiteY5" fmla="*/ 1140 h 0"/>
                          <a:gd name="connsiteX6" fmla="*/ 3047 w 2326"/>
                          <a:gd name="connsiteY6" fmla="*/ 0 h 0"/>
                          <a:gd name="connsiteX7" fmla="*/ 0 w 2326"/>
                          <a:gd name="connsiteY7" fmla="*/ 0 h 0"/>
                          <a:gd name="connsiteX8" fmla="*/ 465 w 2326"/>
                          <a:gd name="connsiteY8" fmla="*/ 1721 h 0"/>
                          <a:gd name="connsiteX9" fmla="*/ 465 w 2326"/>
                          <a:gd name="connsiteY9" fmla="*/ 1745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</a:cxnLst>
                        <a:rect l="l" t="t" r="r" b="b"/>
                        <a:pathLst>
                          <a:path w="2326">
                            <a:moveTo>
                              <a:pt x="488" y="1745"/>
                            </a:moveTo>
                            <a:cubicBezTo>
                              <a:pt x="837" y="1791"/>
                              <a:pt x="1163" y="1838"/>
                              <a:pt x="1512" y="1907"/>
                            </a:cubicBezTo>
                            <a:lnTo>
                              <a:pt x="1512" y="1884"/>
                            </a:lnTo>
                            <a:cubicBezTo>
                              <a:pt x="1535" y="1605"/>
                              <a:pt x="1605" y="1372"/>
                              <a:pt x="1675" y="1163"/>
                            </a:cubicBezTo>
                            <a:lnTo>
                              <a:pt x="1675" y="1140"/>
                            </a:lnTo>
                            <a:lnTo>
                              <a:pt x="1675" y="1140"/>
                            </a:lnTo>
                            <a:cubicBezTo>
                              <a:pt x="1954" y="442"/>
                              <a:pt x="2466" y="0"/>
                              <a:pt x="3047" y="0"/>
                            </a:cubicBezTo>
                            <a:lnTo>
                              <a:pt x="0" y="0"/>
                            </a:lnTo>
                            <a:cubicBezTo>
                              <a:pt x="326" y="442"/>
                              <a:pt x="488" y="1047"/>
                              <a:pt x="465" y="1721"/>
                            </a:cubicBezTo>
                            <a:lnTo>
                              <a:pt x="465" y="1745"/>
                            </a:lnTo>
                            <a:close/>
                          </a:path>
                        </a:pathLst>
                      </a:custGeom>
                      <a:solidFill>
                        <a:srgbClr val="F19439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721" name="Freeform: Shape 1720">
                        <a:extLst>
                          <a:ext uri="{FF2B5EF4-FFF2-40B4-BE49-F238E27FC236}">
                            <a16:creationId xmlns:a16="http://schemas.microsoft.com/office/drawing/2014/main" id="{DC355295-D226-45D2-9F33-39811400A6E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46058" y="4042461"/>
                        <a:ext cx="2326" cy="2326"/>
                      </a:xfrm>
                      <a:custGeom>
                        <a:avLst/>
                        <a:gdLst>
                          <a:gd name="connsiteX0" fmla="*/ 0 w 0"/>
                          <a:gd name="connsiteY0" fmla="*/ 0 h 0"/>
                          <a:gd name="connsiteX1" fmla="*/ 0 w 0"/>
                          <a:gd name="connsiteY1" fmla="*/ 0 h 0"/>
                          <a:gd name="connsiteX2" fmla="*/ 0 w 0"/>
                          <a:gd name="connsiteY2" fmla="*/ 0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0" y="0"/>
                            </a:moveTo>
                            <a:lnTo>
                              <a:pt x="0" y="0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solidFill>
                        <a:srgbClr val="F19439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722" name="Freeform: Shape 1721">
                        <a:extLst>
                          <a:ext uri="{FF2B5EF4-FFF2-40B4-BE49-F238E27FC236}">
                            <a16:creationId xmlns:a16="http://schemas.microsoft.com/office/drawing/2014/main" id="{9BB97B8D-3EEA-4E89-980B-A32160D8B4B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41778" y="4038274"/>
                        <a:ext cx="2326" cy="2326"/>
                      </a:xfrm>
                      <a:custGeom>
                        <a:avLst/>
                        <a:gdLst>
                          <a:gd name="connsiteX0" fmla="*/ 0 w 0"/>
                          <a:gd name="connsiteY0" fmla="*/ 0 h 0"/>
                          <a:gd name="connsiteX1" fmla="*/ 0 w 0"/>
                          <a:gd name="connsiteY1" fmla="*/ 0 h 0"/>
                          <a:gd name="connsiteX2" fmla="*/ 0 w 0"/>
                          <a:gd name="connsiteY2" fmla="*/ 0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0" y="0"/>
                            </a:moveTo>
                            <a:lnTo>
                              <a:pt x="0" y="0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solidFill>
                        <a:srgbClr val="F19439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723" name="Freeform: Shape 1722">
                        <a:extLst>
                          <a:ext uri="{FF2B5EF4-FFF2-40B4-BE49-F238E27FC236}">
                            <a16:creationId xmlns:a16="http://schemas.microsoft.com/office/drawing/2014/main" id="{04BF0C48-789E-4E4E-8ACD-15F3BFE9C2D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17214" y="4027504"/>
                        <a:ext cx="2326" cy="2326"/>
                      </a:xfrm>
                      <a:custGeom>
                        <a:avLst/>
                        <a:gdLst>
                          <a:gd name="connsiteX0" fmla="*/ 0 w 0"/>
                          <a:gd name="connsiteY0" fmla="*/ 0 h 0"/>
                          <a:gd name="connsiteX1" fmla="*/ 0 w 0"/>
                          <a:gd name="connsiteY1" fmla="*/ 0 h 0"/>
                          <a:gd name="connsiteX2" fmla="*/ 0 w 0"/>
                          <a:gd name="connsiteY2" fmla="*/ 0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0" y="0"/>
                            </a:moveTo>
                            <a:lnTo>
                              <a:pt x="0" y="0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solidFill>
                        <a:srgbClr val="F19439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724" name="Freeform: Shape 1723">
                        <a:extLst>
                          <a:ext uri="{FF2B5EF4-FFF2-40B4-BE49-F238E27FC236}">
                            <a16:creationId xmlns:a16="http://schemas.microsoft.com/office/drawing/2014/main" id="{49783DD8-CA47-4157-B9F6-3D329414410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25937" y="4031365"/>
                        <a:ext cx="2326" cy="2326"/>
                      </a:xfrm>
                      <a:custGeom>
                        <a:avLst/>
                        <a:gdLst>
                          <a:gd name="connsiteX0" fmla="*/ 0 w 2326"/>
                          <a:gd name="connsiteY0" fmla="*/ 0 h 0"/>
                          <a:gd name="connsiteX1" fmla="*/ 4024 w 2326"/>
                          <a:gd name="connsiteY1" fmla="*/ 1512 h 0"/>
                          <a:gd name="connsiteX2" fmla="*/ 465 w 2326"/>
                          <a:gd name="connsiteY2" fmla="*/ 163 h 0"/>
                          <a:gd name="connsiteX3" fmla="*/ 0 w 2326"/>
                          <a:gd name="connsiteY3" fmla="*/ 0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2326">
                            <a:moveTo>
                              <a:pt x="0" y="0"/>
                            </a:moveTo>
                            <a:cubicBezTo>
                              <a:pt x="1372" y="419"/>
                              <a:pt x="2722" y="930"/>
                              <a:pt x="4024" y="1512"/>
                            </a:cubicBezTo>
                            <a:cubicBezTo>
                              <a:pt x="2861" y="1000"/>
                              <a:pt x="1675" y="558"/>
                              <a:pt x="465" y="163"/>
                            </a:cubicBezTo>
                            <a:cubicBezTo>
                              <a:pt x="326" y="116"/>
                              <a:pt x="163" y="46"/>
                              <a:pt x="0" y="0"/>
                            </a:cubicBezTo>
                            <a:close/>
                          </a:path>
                        </a:pathLst>
                      </a:custGeom>
                      <a:solidFill>
                        <a:srgbClr val="F19439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725" name="Freeform: Shape 1724">
                        <a:extLst>
                          <a:ext uri="{FF2B5EF4-FFF2-40B4-BE49-F238E27FC236}">
                            <a16:creationId xmlns:a16="http://schemas.microsoft.com/office/drawing/2014/main" id="{C4AAA417-11B0-4E69-8AAB-D69CC1B8FF1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22378" y="4028225"/>
                        <a:ext cx="2326" cy="2326"/>
                      </a:xfrm>
                      <a:custGeom>
                        <a:avLst/>
                        <a:gdLst>
                          <a:gd name="connsiteX0" fmla="*/ 0 w 0"/>
                          <a:gd name="connsiteY0" fmla="*/ 0 h 0"/>
                          <a:gd name="connsiteX1" fmla="*/ 0 w 0"/>
                          <a:gd name="connsiteY1" fmla="*/ 0 h 0"/>
                          <a:gd name="connsiteX2" fmla="*/ 0 w 0"/>
                          <a:gd name="connsiteY2" fmla="*/ 0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0" y="0"/>
                            </a:moveTo>
                            <a:lnTo>
                              <a:pt x="0" y="0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solidFill>
                        <a:srgbClr val="F19439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726" name="Freeform: Shape 1725">
                        <a:extLst>
                          <a:ext uri="{FF2B5EF4-FFF2-40B4-BE49-F238E27FC236}">
                            <a16:creationId xmlns:a16="http://schemas.microsoft.com/office/drawing/2014/main" id="{9A043C14-0EF2-4DA5-AC77-45EDE0FF3C6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27472" y="4029667"/>
                        <a:ext cx="2326" cy="2326"/>
                      </a:xfrm>
                      <a:custGeom>
                        <a:avLst/>
                        <a:gdLst>
                          <a:gd name="connsiteX0" fmla="*/ 0 w 0"/>
                          <a:gd name="connsiteY0" fmla="*/ 0 h 0"/>
                          <a:gd name="connsiteX1" fmla="*/ 0 w 0"/>
                          <a:gd name="connsiteY1" fmla="*/ 0 h 0"/>
                          <a:gd name="connsiteX2" fmla="*/ 0 w 0"/>
                          <a:gd name="connsiteY2" fmla="*/ 0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0" y="0"/>
                            </a:moveTo>
                            <a:lnTo>
                              <a:pt x="0" y="0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solidFill>
                        <a:srgbClr val="F19439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727" name="Freeform: Shape 1726">
                        <a:extLst>
                          <a:ext uri="{FF2B5EF4-FFF2-40B4-BE49-F238E27FC236}">
                            <a16:creationId xmlns:a16="http://schemas.microsoft.com/office/drawing/2014/main" id="{C8A5E34D-61F7-4B44-82D9-0247A16D876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86183" y="4041903"/>
                        <a:ext cx="2326" cy="2326"/>
                      </a:xfrm>
                      <a:custGeom>
                        <a:avLst/>
                        <a:gdLst>
                          <a:gd name="connsiteX0" fmla="*/ 0 w 0"/>
                          <a:gd name="connsiteY0" fmla="*/ 0 h 0"/>
                          <a:gd name="connsiteX1" fmla="*/ 0 w 0"/>
                          <a:gd name="connsiteY1" fmla="*/ 0 h 0"/>
                          <a:gd name="connsiteX2" fmla="*/ 0 w 0"/>
                          <a:gd name="connsiteY2" fmla="*/ 0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0" y="0"/>
                            </a:moveTo>
                            <a:lnTo>
                              <a:pt x="0" y="0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solidFill>
                        <a:srgbClr val="F19439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728" name="Freeform: Shape 1727">
                        <a:extLst>
                          <a:ext uri="{FF2B5EF4-FFF2-40B4-BE49-F238E27FC236}">
                            <a16:creationId xmlns:a16="http://schemas.microsoft.com/office/drawing/2014/main" id="{77D57B88-A908-4FDB-8881-9071C2EA333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90649" y="4038135"/>
                        <a:ext cx="2326" cy="2326"/>
                      </a:xfrm>
                      <a:custGeom>
                        <a:avLst/>
                        <a:gdLst>
                          <a:gd name="connsiteX0" fmla="*/ 0 w 0"/>
                          <a:gd name="connsiteY0" fmla="*/ 0 h 0"/>
                          <a:gd name="connsiteX1" fmla="*/ 0 w 0"/>
                          <a:gd name="connsiteY1" fmla="*/ 0 h 0"/>
                          <a:gd name="connsiteX2" fmla="*/ 0 w 0"/>
                          <a:gd name="connsiteY2" fmla="*/ 0 h 0"/>
                          <a:gd name="connsiteX3" fmla="*/ 0 w 0"/>
                          <a:gd name="connsiteY3" fmla="*/ 0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0" y="0"/>
                            </a:moveTo>
                            <a:lnTo>
                              <a:pt x="0" y="0"/>
                            </a:lnTo>
                            <a:lnTo>
                              <a:pt x="0" y="0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solidFill>
                        <a:srgbClr val="F19439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729" name="Freeform: Shape 1728">
                        <a:extLst>
                          <a:ext uri="{FF2B5EF4-FFF2-40B4-BE49-F238E27FC236}">
                            <a16:creationId xmlns:a16="http://schemas.microsoft.com/office/drawing/2014/main" id="{4A434079-BA35-489A-9CC9-4AB28651804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71318" y="4027364"/>
                        <a:ext cx="39545" cy="18609"/>
                      </a:xfrm>
                      <a:custGeom>
                        <a:avLst/>
                        <a:gdLst>
                          <a:gd name="connsiteX0" fmla="*/ 2791 w 39544"/>
                          <a:gd name="connsiteY0" fmla="*/ 18935 h 18609"/>
                          <a:gd name="connsiteX1" fmla="*/ 4141 w 39544"/>
                          <a:gd name="connsiteY1" fmla="*/ 18935 h 18609"/>
                          <a:gd name="connsiteX2" fmla="*/ 5490 w 39544"/>
                          <a:gd name="connsiteY2" fmla="*/ 18935 h 18609"/>
                          <a:gd name="connsiteX3" fmla="*/ 6862 w 39544"/>
                          <a:gd name="connsiteY3" fmla="*/ 18935 h 18609"/>
                          <a:gd name="connsiteX4" fmla="*/ 8188 w 39544"/>
                          <a:gd name="connsiteY4" fmla="*/ 18935 h 18609"/>
                          <a:gd name="connsiteX5" fmla="*/ 9468 w 39544"/>
                          <a:gd name="connsiteY5" fmla="*/ 18935 h 18609"/>
                          <a:gd name="connsiteX6" fmla="*/ 10700 w 39544"/>
                          <a:gd name="connsiteY6" fmla="*/ 18935 h 18609"/>
                          <a:gd name="connsiteX7" fmla="*/ 10677 w 39544"/>
                          <a:gd name="connsiteY7" fmla="*/ 18912 h 18609"/>
                          <a:gd name="connsiteX8" fmla="*/ 10445 w 39544"/>
                          <a:gd name="connsiteY8" fmla="*/ 16865 h 18609"/>
                          <a:gd name="connsiteX9" fmla="*/ 10538 w 39544"/>
                          <a:gd name="connsiteY9" fmla="*/ 16493 h 18609"/>
                          <a:gd name="connsiteX10" fmla="*/ 10538 w 39544"/>
                          <a:gd name="connsiteY10" fmla="*/ 16493 h 18609"/>
                          <a:gd name="connsiteX11" fmla="*/ 10933 w 39544"/>
                          <a:gd name="connsiteY11" fmla="*/ 15818 h 18609"/>
                          <a:gd name="connsiteX12" fmla="*/ 11794 w 39544"/>
                          <a:gd name="connsiteY12" fmla="*/ 14887 h 18609"/>
                          <a:gd name="connsiteX13" fmla="*/ 12724 w 39544"/>
                          <a:gd name="connsiteY13" fmla="*/ 14446 h 18609"/>
                          <a:gd name="connsiteX14" fmla="*/ 13166 w 39544"/>
                          <a:gd name="connsiteY14" fmla="*/ 14539 h 18609"/>
                          <a:gd name="connsiteX15" fmla="*/ 13306 w 39544"/>
                          <a:gd name="connsiteY15" fmla="*/ 14539 h 18609"/>
                          <a:gd name="connsiteX16" fmla="*/ 13631 w 39544"/>
                          <a:gd name="connsiteY16" fmla="*/ 14539 h 18609"/>
                          <a:gd name="connsiteX17" fmla="*/ 13957 w 39544"/>
                          <a:gd name="connsiteY17" fmla="*/ 14539 h 18609"/>
                          <a:gd name="connsiteX18" fmla="*/ 14259 w 39544"/>
                          <a:gd name="connsiteY18" fmla="*/ 14539 h 18609"/>
                          <a:gd name="connsiteX19" fmla="*/ 14562 w 39544"/>
                          <a:gd name="connsiteY19" fmla="*/ 14539 h 18609"/>
                          <a:gd name="connsiteX20" fmla="*/ 14864 w 39544"/>
                          <a:gd name="connsiteY20" fmla="*/ 14539 h 18609"/>
                          <a:gd name="connsiteX21" fmla="*/ 14864 w 39544"/>
                          <a:gd name="connsiteY21" fmla="*/ 14515 h 18609"/>
                          <a:gd name="connsiteX22" fmla="*/ 14632 w 39544"/>
                          <a:gd name="connsiteY22" fmla="*/ 13655 h 18609"/>
                          <a:gd name="connsiteX23" fmla="*/ 14632 w 39544"/>
                          <a:gd name="connsiteY23" fmla="*/ 13655 h 18609"/>
                          <a:gd name="connsiteX24" fmla="*/ 14655 w 39544"/>
                          <a:gd name="connsiteY24" fmla="*/ 12887 h 18609"/>
                          <a:gd name="connsiteX25" fmla="*/ 14655 w 39544"/>
                          <a:gd name="connsiteY25" fmla="*/ 12817 h 18609"/>
                          <a:gd name="connsiteX26" fmla="*/ 14655 w 39544"/>
                          <a:gd name="connsiteY26" fmla="*/ 12817 h 18609"/>
                          <a:gd name="connsiteX27" fmla="*/ 14748 w 39544"/>
                          <a:gd name="connsiteY27" fmla="*/ 12492 h 18609"/>
                          <a:gd name="connsiteX28" fmla="*/ 15329 w 39544"/>
                          <a:gd name="connsiteY28" fmla="*/ 11445 h 18609"/>
                          <a:gd name="connsiteX29" fmla="*/ 16144 w 39544"/>
                          <a:gd name="connsiteY29" fmla="*/ 10747 h 18609"/>
                          <a:gd name="connsiteX30" fmla="*/ 16144 w 39544"/>
                          <a:gd name="connsiteY30" fmla="*/ 10747 h 18609"/>
                          <a:gd name="connsiteX31" fmla="*/ 16237 w 39544"/>
                          <a:gd name="connsiteY31" fmla="*/ 10654 h 18609"/>
                          <a:gd name="connsiteX32" fmla="*/ 17051 w 39544"/>
                          <a:gd name="connsiteY32" fmla="*/ 10328 h 18609"/>
                          <a:gd name="connsiteX33" fmla="*/ 17935 w 39544"/>
                          <a:gd name="connsiteY33" fmla="*/ 10724 h 18609"/>
                          <a:gd name="connsiteX34" fmla="*/ 19307 w 39544"/>
                          <a:gd name="connsiteY34" fmla="*/ 10724 h 18609"/>
                          <a:gd name="connsiteX35" fmla="*/ 19307 w 39544"/>
                          <a:gd name="connsiteY35" fmla="*/ 10677 h 18609"/>
                          <a:gd name="connsiteX36" fmla="*/ 19168 w 39544"/>
                          <a:gd name="connsiteY36" fmla="*/ 9468 h 18609"/>
                          <a:gd name="connsiteX37" fmla="*/ 19214 w 39544"/>
                          <a:gd name="connsiteY37" fmla="*/ 9049 h 18609"/>
                          <a:gd name="connsiteX38" fmla="*/ 19214 w 39544"/>
                          <a:gd name="connsiteY38" fmla="*/ 9049 h 18609"/>
                          <a:gd name="connsiteX39" fmla="*/ 19261 w 39544"/>
                          <a:gd name="connsiteY39" fmla="*/ 8886 h 18609"/>
                          <a:gd name="connsiteX40" fmla="*/ 19261 w 39544"/>
                          <a:gd name="connsiteY40" fmla="*/ 8886 h 18609"/>
                          <a:gd name="connsiteX41" fmla="*/ 19470 w 39544"/>
                          <a:gd name="connsiteY41" fmla="*/ 8351 h 18609"/>
                          <a:gd name="connsiteX42" fmla="*/ 19470 w 39544"/>
                          <a:gd name="connsiteY42" fmla="*/ 8351 h 18609"/>
                          <a:gd name="connsiteX43" fmla="*/ 19563 w 39544"/>
                          <a:gd name="connsiteY43" fmla="*/ 8188 h 18609"/>
                          <a:gd name="connsiteX44" fmla="*/ 19563 w 39544"/>
                          <a:gd name="connsiteY44" fmla="*/ 8188 h 18609"/>
                          <a:gd name="connsiteX45" fmla="*/ 20005 w 39544"/>
                          <a:gd name="connsiteY45" fmla="*/ 7700 h 18609"/>
                          <a:gd name="connsiteX46" fmla="*/ 20982 w 39544"/>
                          <a:gd name="connsiteY46" fmla="*/ 7025 h 18609"/>
                          <a:gd name="connsiteX47" fmla="*/ 21657 w 39544"/>
                          <a:gd name="connsiteY47" fmla="*/ 6816 h 18609"/>
                          <a:gd name="connsiteX48" fmla="*/ 22820 w 39544"/>
                          <a:gd name="connsiteY48" fmla="*/ 7560 h 18609"/>
                          <a:gd name="connsiteX49" fmla="*/ 24029 w 39544"/>
                          <a:gd name="connsiteY49" fmla="*/ 7560 h 18609"/>
                          <a:gd name="connsiteX50" fmla="*/ 24029 w 39544"/>
                          <a:gd name="connsiteY50" fmla="*/ 7560 h 18609"/>
                          <a:gd name="connsiteX51" fmla="*/ 24029 w 39544"/>
                          <a:gd name="connsiteY51" fmla="*/ 7514 h 18609"/>
                          <a:gd name="connsiteX52" fmla="*/ 24937 w 39544"/>
                          <a:gd name="connsiteY52" fmla="*/ 4676 h 18609"/>
                          <a:gd name="connsiteX53" fmla="*/ 25960 w 39544"/>
                          <a:gd name="connsiteY53" fmla="*/ 4141 h 18609"/>
                          <a:gd name="connsiteX54" fmla="*/ 26495 w 39544"/>
                          <a:gd name="connsiteY54" fmla="*/ 4024 h 18609"/>
                          <a:gd name="connsiteX55" fmla="*/ 27821 w 39544"/>
                          <a:gd name="connsiteY55" fmla="*/ 5118 h 18609"/>
                          <a:gd name="connsiteX56" fmla="*/ 28961 w 39544"/>
                          <a:gd name="connsiteY56" fmla="*/ 5118 h 18609"/>
                          <a:gd name="connsiteX57" fmla="*/ 28961 w 39544"/>
                          <a:gd name="connsiteY57" fmla="*/ 5071 h 18609"/>
                          <a:gd name="connsiteX58" fmla="*/ 29077 w 39544"/>
                          <a:gd name="connsiteY58" fmla="*/ 3536 h 18609"/>
                          <a:gd name="connsiteX59" fmla="*/ 29077 w 39544"/>
                          <a:gd name="connsiteY59" fmla="*/ 3536 h 18609"/>
                          <a:gd name="connsiteX60" fmla="*/ 29100 w 39544"/>
                          <a:gd name="connsiteY60" fmla="*/ 3419 h 18609"/>
                          <a:gd name="connsiteX61" fmla="*/ 29100 w 39544"/>
                          <a:gd name="connsiteY61" fmla="*/ 3419 h 18609"/>
                          <a:gd name="connsiteX62" fmla="*/ 30077 w 39544"/>
                          <a:gd name="connsiteY62" fmla="*/ 2373 h 18609"/>
                          <a:gd name="connsiteX63" fmla="*/ 31124 w 39544"/>
                          <a:gd name="connsiteY63" fmla="*/ 2000 h 18609"/>
                          <a:gd name="connsiteX64" fmla="*/ 31496 w 39544"/>
                          <a:gd name="connsiteY64" fmla="*/ 1931 h 18609"/>
                          <a:gd name="connsiteX65" fmla="*/ 32939 w 39544"/>
                          <a:gd name="connsiteY65" fmla="*/ 3373 h 18609"/>
                          <a:gd name="connsiteX66" fmla="*/ 34032 w 39544"/>
                          <a:gd name="connsiteY66" fmla="*/ 3373 h 18609"/>
                          <a:gd name="connsiteX67" fmla="*/ 34032 w 39544"/>
                          <a:gd name="connsiteY67" fmla="*/ 3350 h 18609"/>
                          <a:gd name="connsiteX68" fmla="*/ 35335 w 39544"/>
                          <a:gd name="connsiteY68" fmla="*/ 837 h 18609"/>
                          <a:gd name="connsiteX69" fmla="*/ 36405 w 39544"/>
                          <a:gd name="connsiteY69" fmla="*/ 605 h 18609"/>
                          <a:gd name="connsiteX70" fmla="*/ 36614 w 39544"/>
                          <a:gd name="connsiteY70" fmla="*/ 582 h 18609"/>
                          <a:gd name="connsiteX71" fmla="*/ 38172 w 39544"/>
                          <a:gd name="connsiteY71" fmla="*/ 2512 h 18609"/>
                          <a:gd name="connsiteX72" fmla="*/ 38172 w 39544"/>
                          <a:gd name="connsiteY72" fmla="*/ 2512 h 18609"/>
                          <a:gd name="connsiteX73" fmla="*/ 38498 w 39544"/>
                          <a:gd name="connsiteY73" fmla="*/ 2512 h 18609"/>
                          <a:gd name="connsiteX74" fmla="*/ 39196 w 39544"/>
                          <a:gd name="connsiteY74" fmla="*/ 2419 h 18609"/>
                          <a:gd name="connsiteX75" fmla="*/ 39196 w 39544"/>
                          <a:gd name="connsiteY75" fmla="*/ 2373 h 18609"/>
                          <a:gd name="connsiteX76" fmla="*/ 40685 w 39544"/>
                          <a:gd name="connsiteY76" fmla="*/ 46 h 18609"/>
                          <a:gd name="connsiteX77" fmla="*/ 41150 w 39544"/>
                          <a:gd name="connsiteY77" fmla="*/ 23 h 18609"/>
                          <a:gd name="connsiteX78" fmla="*/ 41150 w 39544"/>
                          <a:gd name="connsiteY78" fmla="*/ 23 h 18609"/>
                          <a:gd name="connsiteX79" fmla="*/ 41220 w 39544"/>
                          <a:gd name="connsiteY79" fmla="*/ 23 h 18609"/>
                          <a:gd name="connsiteX80" fmla="*/ 41755 w 39544"/>
                          <a:gd name="connsiteY80" fmla="*/ 0 h 18609"/>
                          <a:gd name="connsiteX81" fmla="*/ 41801 w 39544"/>
                          <a:gd name="connsiteY81" fmla="*/ 0 h 18609"/>
                          <a:gd name="connsiteX82" fmla="*/ 31380 w 39544"/>
                          <a:gd name="connsiteY82" fmla="*/ 0 h 18609"/>
                          <a:gd name="connsiteX83" fmla="*/ 31310 w 39544"/>
                          <a:gd name="connsiteY83" fmla="*/ 0 h 18609"/>
                          <a:gd name="connsiteX84" fmla="*/ 30892 w 39544"/>
                          <a:gd name="connsiteY84" fmla="*/ 23 h 18609"/>
                          <a:gd name="connsiteX85" fmla="*/ 30240 w 39544"/>
                          <a:gd name="connsiteY85" fmla="*/ 70 h 18609"/>
                          <a:gd name="connsiteX86" fmla="*/ 29961 w 39544"/>
                          <a:gd name="connsiteY86" fmla="*/ 116 h 18609"/>
                          <a:gd name="connsiteX87" fmla="*/ 29961 w 39544"/>
                          <a:gd name="connsiteY87" fmla="*/ 116 h 18609"/>
                          <a:gd name="connsiteX88" fmla="*/ 29635 w 39544"/>
                          <a:gd name="connsiteY88" fmla="*/ 279 h 18609"/>
                          <a:gd name="connsiteX89" fmla="*/ 29612 w 39544"/>
                          <a:gd name="connsiteY89" fmla="*/ 279 h 18609"/>
                          <a:gd name="connsiteX90" fmla="*/ 29566 w 39544"/>
                          <a:gd name="connsiteY90" fmla="*/ 326 h 18609"/>
                          <a:gd name="connsiteX91" fmla="*/ 29310 w 39544"/>
                          <a:gd name="connsiteY91" fmla="*/ 558 h 18609"/>
                          <a:gd name="connsiteX92" fmla="*/ 26193 w 39544"/>
                          <a:gd name="connsiteY92" fmla="*/ 558 h 18609"/>
                          <a:gd name="connsiteX93" fmla="*/ 26123 w 39544"/>
                          <a:gd name="connsiteY93" fmla="*/ 558 h 18609"/>
                          <a:gd name="connsiteX94" fmla="*/ 25983 w 39544"/>
                          <a:gd name="connsiteY94" fmla="*/ 582 h 18609"/>
                          <a:gd name="connsiteX95" fmla="*/ 24913 w 39544"/>
                          <a:gd name="connsiteY95" fmla="*/ 814 h 18609"/>
                          <a:gd name="connsiteX96" fmla="*/ 24797 w 39544"/>
                          <a:gd name="connsiteY96" fmla="*/ 837 h 18609"/>
                          <a:gd name="connsiteX97" fmla="*/ 24727 w 39544"/>
                          <a:gd name="connsiteY97" fmla="*/ 884 h 18609"/>
                          <a:gd name="connsiteX98" fmla="*/ 24495 w 39544"/>
                          <a:gd name="connsiteY98" fmla="*/ 1000 h 18609"/>
                          <a:gd name="connsiteX99" fmla="*/ 24425 w 39544"/>
                          <a:gd name="connsiteY99" fmla="*/ 1047 h 18609"/>
                          <a:gd name="connsiteX100" fmla="*/ 24402 w 39544"/>
                          <a:gd name="connsiteY100" fmla="*/ 1070 h 18609"/>
                          <a:gd name="connsiteX101" fmla="*/ 24076 w 39544"/>
                          <a:gd name="connsiteY101" fmla="*/ 1396 h 18609"/>
                          <a:gd name="connsiteX102" fmla="*/ 24029 w 39544"/>
                          <a:gd name="connsiteY102" fmla="*/ 1465 h 18609"/>
                          <a:gd name="connsiteX103" fmla="*/ 23820 w 39544"/>
                          <a:gd name="connsiteY103" fmla="*/ 1838 h 18609"/>
                          <a:gd name="connsiteX104" fmla="*/ 23797 w 39544"/>
                          <a:gd name="connsiteY104" fmla="*/ 1884 h 18609"/>
                          <a:gd name="connsiteX105" fmla="*/ 21075 w 39544"/>
                          <a:gd name="connsiteY105" fmla="*/ 1884 h 18609"/>
                          <a:gd name="connsiteX106" fmla="*/ 21005 w 39544"/>
                          <a:gd name="connsiteY106" fmla="*/ 1884 h 18609"/>
                          <a:gd name="connsiteX107" fmla="*/ 20703 w 39544"/>
                          <a:gd name="connsiteY107" fmla="*/ 1954 h 18609"/>
                          <a:gd name="connsiteX108" fmla="*/ 20703 w 39544"/>
                          <a:gd name="connsiteY108" fmla="*/ 1954 h 18609"/>
                          <a:gd name="connsiteX109" fmla="*/ 19656 w 39544"/>
                          <a:gd name="connsiteY109" fmla="*/ 2326 h 18609"/>
                          <a:gd name="connsiteX110" fmla="*/ 19330 w 39544"/>
                          <a:gd name="connsiteY110" fmla="*/ 2489 h 18609"/>
                          <a:gd name="connsiteX111" fmla="*/ 19307 w 39544"/>
                          <a:gd name="connsiteY111" fmla="*/ 2489 h 18609"/>
                          <a:gd name="connsiteX112" fmla="*/ 19261 w 39544"/>
                          <a:gd name="connsiteY112" fmla="*/ 2536 h 18609"/>
                          <a:gd name="connsiteX113" fmla="*/ 18982 w 39544"/>
                          <a:gd name="connsiteY113" fmla="*/ 2838 h 18609"/>
                          <a:gd name="connsiteX114" fmla="*/ 18912 w 39544"/>
                          <a:gd name="connsiteY114" fmla="*/ 2931 h 18609"/>
                          <a:gd name="connsiteX115" fmla="*/ 18679 w 39544"/>
                          <a:gd name="connsiteY115" fmla="*/ 3373 h 18609"/>
                          <a:gd name="connsiteX116" fmla="*/ 18679 w 39544"/>
                          <a:gd name="connsiteY116" fmla="*/ 3396 h 18609"/>
                          <a:gd name="connsiteX117" fmla="*/ 18656 w 39544"/>
                          <a:gd name="connsiteY117" fmla="*/ 3489 h 18609"/>
                          <a:gd name="connsiteX118" fmla="*/ 18563 w 39544"/>
                          <a:gd name="connsiteY118" fmla="*/ 3861 h 18609"/>
                          <a:gd name="connsiteX119" fmla="*/ 18540 w 39544"/>
                          <a:gd name="connsiteY119" fmla="*/ 3931 h 18609"/>
                          <a:gd name="connsiteX120" fmla="*/ 18540 w 39544"/>
                          <a:gd name="connsiteY120" fmla="*/ 3955 h 18609"/>
                          <a:gd name="connsiteX121" fmla="*/ 16074 w 39544"/>
                          <a:gd name="connsiteY121" fmla="*/ 3978 h 18609"/>
                          <a:gd name="connsiteX122" fmla="*/ 16027 w 39544"/>
                          <a:gd name="connsiteY122" fmla="*/ 3978 h 18609"/>
                          <a:gd name="connsiteX123" fmla="*/ 15725 w 39544"/>
                          <a:gd name="connsiteY123" fmla="*/ 4024 h 18609"/>
                          <a:gd name="connsiteX124" fmla="*/ 15562 w 39544"/>
                          <a:gd name="connsiteY124" fmla="*/ 4094 h 18609"/>
                          <a:gd name="connsiteX125" fmla="*/ 14539 w 39544"/>
                          <a:gd name="connsiteY125" fmla="*/ 4629 h 18609"/>
                          <a:gd name="connsiteX126" fmla="*/ 14352 w 39544"/>
                          <a:gd name="connsiteY126" fmla="*/ 4745 h 18609"/>
                          <a:gd name="connsiteX127" fmla="*/ 14073 w 39544"/>
                          <a:gd name="connsiteY127" fmla="*/ 5048 h 18609"/>
                          <a:gd name="connsiteX128" fmla="*/ 14004 w 39544"/>
                          <a:gd name="connsiteY128" fmla="*/ 5118 h 18609"/>
                          <a:gd name="connsiteX129" fmla="*/ 13724 w 39544"/>
                          <a:gd name="connsiteY129" fmla="*/ 5653 h 18609"/>
                          <a:gd name="connsiteX130" fmla="*/ 13701 w 39544"/>
                          <a:gd name="connsiteY130" fmla="*/ 5746 h 18609"/>
                          <a:gd name="connsiteX131" fmla="*/ 13655 w 39544"/>
                          <a:gd name="connsiteY131" fmla="*/ 5908 h 18609"/>
                          <a:gd name="connsiteX132" fmla="*/ 13585 w 39544"/>
                          <a:gd name="connsiteY132" fmla="*/ 6188 h 18609"/>
                          <a:gd name="connsiteX133" fmla="*/ 13538 w 39544"/>
                          <a:gd name="connsiteY133" fmla="*/ 6606 h 18609"/>
                          <a:gd name="connsiteX134" fmla="*/ 13538 w 39544"/>
                          <a:gd name="connsiteY134" fmla="*/ 6606 h 18609"/>
                          <a:gd name="connsiteX135" fmla="*/ 13538 w 39544"/>
                          <a:gd name="connsiteY135" fmla="*/ 6630 h 18609"/>
                          <a:gd name="connsiteX136" fmla="*/ 13538 w 39544"/>
                          <a:gd name="connsiteY136" fmla="*/ 6769 h 18609"/>
                          <a:gd name="connsiteX137" fmla="*/ 11259 w 39544"/>
                          <a:gd name="connsiteY137" fmla="*/ 6769 h 18609"/>
                          <a:gd name="connsiteX138" fmla="*/ 11189 w 39544"/>
                          <a:gd name="connsiteY138" fmla="*/ 6769 h 18609"/>
                          <a:gd name="connsiteX139" fmla="*/ 11003 w 39544"/>
                          <a:gd name="connsiteY139" fmla="*/ 6792 h 18609"/>
                          <a:gd name="connsiteX140" fmla="*/ 10910 w 39544"/>
                          <a:gd name="connsiteY140" fmla="*/ 6816 h 18609"/>
                          <a:gd name="connsiteX141" fmla="*/ 10886 w 39544"/>
                          <a:gd name="connsiteY141" fmla="*/ 6816 h 18609"/>
                          <a:gd name="connsiteX142" fmla="*/ 10607 w 39544"/>
                          <a:gd name="connsiteY142" fmla="*/ 6979 h 18609"/>
                          <a:gd name="connsiteX143" fmla="*/ 9630 w 39544"/>
                          <a:gd name="connsiteY143" fmla="*/ 7653 h 18609"/>
                          <a:gd name="connsiteX144" fmla="*/ 9607 w 39544"/>
                          <a:gd name="connsiteY144" fmla="*/ 7676 h 18609"/>
                          <a:gd name="connsiteX145" fmla="*/ 9188 w 39544"/>
                          <a:gd name="connsiteY145" fmla="*/ 8165 h 18609"/>
                          <a:gd name="connsiteX146" fmla="*/ 9095 w 39544"/>
                          <a:gd name="connsiteY146" fmla="*/ 8328 h 18609"/>
                          <a:gd name="connsiteX147" fmla="*/ 8956 w 39544"/>
                          <a:gd name="connsiteY147" fmla="*/ 8584 h 18609"/>
                          <a:gd name="connsiteX148" fmla="*/ 8886 w 39544"/>
                          <a:gd name="connsiteY148" fmla="*/ 8863 h 18609"/>
                          <a:gd name="connsiteX149" fmla="*/ 8839 w 39544"/>
                          <a:gd name="connsiteY149" fmla="*/ 9026 h 18609"/>
                          <a:gd name="connsiteX150" fmla="*/ 8816 w 39544"/>
                          <a:gd name="connsiteY150" fmla="*/ 9119 h 18609"/>
                          <a:gd name="connsiteX151" fmla="*/ 8770 w 39544"/>
                          <a:gd name="connsiteY151" fmla="*/ 9537 h 18609"/>
                          <a:gd name="connsiteX152" fmla="*/ 8770 w 39544"/>
                          <a:gd name="connsiteY152" fmla="*/ 9747 h 18609"/>
                          <a:gd name="connsiteX153" fmla="*/ 8770 w 39544"/>
                          <a:gd name="connsiteY153" fmla="*/ 9840 h 18609"/>
                          <a:gd name="connsiteX154" fmla="*/ 8770 w 39544"/>
                          <a:gd name="connsiteY154" fmla="*/ 9956 h 18609"/>
                          <a:gd name="connsiteX155" fmla="*/ 8839 w 39544"/>
                          <a:gd name="connsiteY155" fmla="*/ 10282 h 18609"/>
                          <a:gd name="connsiteX156" fmla="*/ 6676 w 39544"/>
                          <a:gd name="connsiteY156" fmla="*/ 10282 h 18609"/>
                          <a:gd name="connsiteX157" fmla="*/ 6630 w 39544"/>
                          <a:gd name="connsiteY157" fmla="*/ 10282 h 18609"/>
                          <a:gd name="connsiteX158" fmla="*/ 6327 w 39544"/>
                          <a:gd name="connsiteY158" fmla="*/ 10328 h 18609"/>
                          <a:gd name="connsiteX159" fmla="*/ 6304 w 39544"/>
                          <a:gd name="connsiteY159" fmla="*/ 10351 h 18609"/>
                          <a:gd name="connsiteX160" fmla="*/ 6164 w 39544"/>
                          <a:gd name="connsiteY160" fmla="*/ 10421 h 18609"/>
                          <a:gd name="connsiteX161" fmla="*/ 5955 w 39544"/>
                          <a:gd name="connsiteY161" fmla="*/ 10538 h 18609"/>
                          <a:gd name="connsiteX162" fmla="*/ 5885 w 39544"/>
                          <a:gd name="connsiteY162" fmla="*/ 10607 h 18609"/>
                          <a:gd name="connsiteX163" fmla="*/ 4978 w 39544"/>
                          <a:gd name="connsiteY163" fmla="*/ 11398 h 18609"/>
                          <a:gd name="connsiteX164" fmla="*/ 4583 w 39544"/>
                          <a:gd name="connsiteY164" fmla="*/ 11933 h 18609"/>
                          <a:gd name="connsiteX165" fmla="*/ 4513 w 39544"/>
                          <a:gd name="connsiteY165" fmla="*/ 12073 h 18609"/>
                          <a:gd name="connsiteX166" fmla="*/ 4443 w 39544"/>
                          <a:gd name="connsiteY166" fmla="*/ 12212 h 18609"/>
                          <a:gd name="connsiteX167" fmla="*/ 4303 w 39544"/>
                          <a:gd name="connsiteY167" fmla="*/ 12724 h 18609"/>
                          <a:gd name="connsiteX168" fmla="*/ 4303 w 39544"/>
                          <a:gd name="connsiteY168" fmla="*/ 12747 h 18609"/>
                          <a:gd name="connsiteX169" fmla="*/ 4303 w 39544"/>
                          <a:gd name="connsiteY169" fmla="*/ 12794 h 18609"/>
                          <a:gd name="connsiteX170" fmla="*/ 4257 w 39544"/>
                          <a:gd name="connsiteY170" fmla="*/ 13166 h 18609"/>
                          <a:gd name="connsiteX171" fmla="*/ 4257 w 39544"/>
                          <a:gd name="connsiteY171" fmla="*/ 13562 h 18609"/>
                          <a:gd name="connsiteX172" fmla="*/ 4257 w 39544"/>
                          <a:gd name="connsiteY172" fmla="*/ 13608 h 18609"/>
                          <a:gd name="connsiteX173" fmla="*/ 4257 w 39544"/>
                          <a:gd name="connsiteY173" fmla="*/ 13678 h 18609"/>
                          <a:gd name="connsiteX174" fmla="*/ 4303 w 39544"/>
                          <a:gd name="connsiteY174" fmla="*/ 14004 h 18609"/>
                          <a:gd name="connsiteX175" fmla="*/ 4420 w 39544"/>
                          <a:gd name="connsiteY175" fmla="*/ 14376 h 18609"/>
                          <a:gd name="connsiteX176" fmla="*/ 2349 w 39544"/>
                          <a:gd name="connsiteY176" fmla="*/ 14376 h 18609"/>
                          <a:gd name="connsiteX177" fmla="*/ 2280 w 39544"/>
                          <a:gd name="connsiteY177" fmla="*/ 14376 h 18609"/>
                          <a:gd name="connsiteX178" fmla="*/ 1977 w 39544"/>
                          <a:gd name="connsiteY178" fmla="*/ 14446 h 18609"/>
                          <a:gd name="connsiteX179" fmla="*/ 1907 w 39544"/>
                          <a:gd name="connsiteY179" fmla="*/ 14469 h 18609"/>
                          <a:gd name="connsiteX180" fmla="*/ 1791 w 39544"/>
                          <a:gd name="connsiteY180" fmla="*/ 14539 h 18609"/>
                          <a:gd name="connsiteX181" fmla="*/ 1628 w 39544"/>
                          <a:gd name="connsiteY181" fmla="*/ 14632 h 18609"/>
                          <a:gd name="connsiteX182" fmla="*/ 1419 w 39544"/>
                          <a:gd name="connsiteY182" fmla="*/ 14818 h 18609"/>
                          <a:gd name="connsiteX183" fmla="*/ 582 w 39544"/>
                          <a:gd name="connsiteY183" fmla="*/ 15748 h 18609"/>
                          <a:gd name="connsiteX184" fmla="*/ 163 w 39544"/>
                          <a:gd name="connsiteY184" fmla="*/ 16423 h 18609"/>
                          <a:gd name="connsiteX185" fmla="*/ 163 w 39544"/>
                          <a:gd name="connsiteY185" fmla="*/ 16423 h 18609"/>
                          <a:gd name="connsiteX186" fmla="*/ 23 w 39544"/>
                          <a:gd name="connsiteY186" fmla="*/ 16935 h 18609"/>
                          <a:gd name="connsiteX187" fmla="*/ 0 w 39544"/>
                          <a:gd name="connsiteY187" fmla="*/ 17144 h 18609"/>
                          <a:gd name="connsiteX188" fmla="*/ 0 w 39544"/>
                          <a:gd name="connsiteY188" fmla="*/ 17237 h 18609"/>
                          <a:gd name="connsiteX189" fmla="*/ 0 w 39544"/>
                          <a:gd name="connsiteY189" fmla="*/ 17353 h 18609"/>
                          <a:gd name="connsiteX190" fmla="*/ 0 w 39544"/>
                          <a:gd name="connsiteY190" fmla="*/ 17772 h 18609"/>
                          <a:gd name="connsiteX191" fmla="*/ 47 w 39544"/>
                          <a:gd name="connsiteY191" fmla="*/ 17981 h 18609"/>
                          <a:gd name="connsiteX192" fmla="*/ 70 w 39544"/>
                          <a:gd name="connsiteY192" fmla="*/ 18098 h 18609"/>
                          <a:gd name="connsiteX193" fmla="*/ 93 w 39544"/>
                          <a:gd name="connsiteY193" fmla="*/ 18214 h 18609"/>
                          <a:gd name="connsiteX194" fmla="*/ 349 w 39544"/>
                          <a:gd name="connsiteY194" fmla="*/ 18842 h 18609"/>
                          <a:gd name="connsiteX195" fmla="*/ 349 w 39544"/>
                          <a:gd name="connsiteY195" fmla="*/ 18865 h 18609"/>
                          <a:gd name="connsiteX196" fmla="*/ 1582 w 39544"/>
                          <a:gd name="connsiteY196" fmla="*/ 18865 h 18609"/>
                          <a:gd name="connsiteX197" fmla="*/ 2791 w 39544"/>
                          <a:gd name="connsiteY197" fmla="*/ 18935 h 18609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  <a:cxn ang="0">
                            <a:pos x="connsiteX43" y="connsiteY43"/>
                          </a:cxn>
                          <a:cxn ang="0">
                            <a:pos x="connsiteX44" y="connsiteY44"/>
                          </a:cxn>
                          <a:cxn ang="0">
                            <a:pos x="connsiteX45" y="connsiteY45"/>
                          </a:cxn>
                          <a:cxn ang="0">
                            <a:pos x="connsiteX46" y="connsiteY46"/>
                          </a:cxn>
                          <a:cxn ang="0">
                            <a:pos x="connsiteX47" y="connsiteY47"/>
                          </a:cxn>
                          <a:cxn ang="0">
                            <a:pos x="connsiteX48" y="connsiteY48"/>
                          </a:cxn>
                          <a:cxn ang="0">
                            <a:pos x="connsiteX49" y="connsiteY49"/>
                          </a:cxn>
                          <a:cxn ang="0">
                            <a:pos x="connsiteX50" y="connsiteY50"/>
                          </a:cxn>
                          <a:cxn ang="0">
                            <a:pos x="connsiteX51" y="connsiteY51"/>
                          </a:cxn>
                          <a:cxn ang="0">
                            <a:pos x="connsiteX52" y="connsiteY52"/>
                          </a:cxn>
                          <a:cxn ang="0">
                            <a:pos x="connsiteX53" y="connsiteY53"/>
                          </a:cxn>
                          <a:cxn ang="0">
                            <a:pos x="connsiteX54" y="connsiteY54"/>
                          </a:cxn>
                          <a:cxn ang="0">
                            <a:pos x="connsiteX55" y="connsiteY55"/>
                          </a:cxn>
                          <a:cxn ang="0">
                            <a:pos x="connsiteX56" y="connsiteY56"/>
                          </a:cxn>
                          <a:cxn ang="0">
                            <a:pos x="connsiteX57" y="connsiteY57"/>
                          </a:cxn>
                          <a:cxn ang="0">
                            <a:pos x="connsiteX58" y="connsiteY58"/>
                          </a:cxn>
                          <a:cxn ang="0">
                            <a:pos x="connsiteX59" y="connsiteY59"/>
                          </a:cxn>
                          <a:cxn ang="0">
                            <a:pos x="connsiteX60" y="connsiteY60"/>
                          </a:cxn>
                          <a:cxn ang="0">
                            <a:pos x="connsiteX61" y="connsiteY61"/>
                          </a:cxn>
                          <a:cxn ang="0">
                            <a:pos x="connsiteX62" y="connsiteY62"/>
                          </a:cxn>
                          <a:cxn ang="0">
                            <a:pos x="connsiteX63" y="connsiteY63"/>
                          </a:cxn>
                          <a:cxn ang="0">
                            <a:pos x="connsiteX64" y="connsiteY64"/>
                          </a:cxn>
                          <a:cxn ang="0">
                            <a:pos x="connsiteX65" y="connsiteY65"/>
                          </a:cxn>
                          <a:cxn ang="0">
                            <a:pos x="connsiteX66" y="connsiteY66"/>
                          </a:cxn>
                          <a:cxn ang="0">
                            <a:pos x="connsiteX67" y="connsiteY67"/>
                          </a:cxn>
                          <a:cxn ang="0">
                            <a:pos x="connsiteX68" y="connsiteY68"/>
                          </a:cxn>
                          <a:cxn ang="0">
                            <a:pos x="connsiteX69" y="connsiteY69"/>
                          </a:cxn>
                          <a:cxn ang="0">
                            <a:pos x="connsiteX70" y="connsiteY70"/>
                          </a:cxn>
                          <a:cxn ang="0">
                            <a:pos x="connsiteX71" y="connsiteY71"/>
                          </a:cxn>
                          <a:cxn ang="0">
                            <a:pos x="connsiteX72" y="connsiteY72"/>
                          </a:cxn>
                          <a:cxn ang="0">
                            <a:pos x="connsiteX73" y="connsiteY73"/>
                          </a:cxn>
                          <a:cxn ang="0">
                            <a:pos x="connsiteX74" y="connsiteY74"/>
                          </a:cxn>
                          <a:cxn ang="0">
                            <a:pos x="connsiteX75" y="connsiteY75"/>
                          </a:cxn>
                          <a:cxn ang="0">
                            <a:pos x="connsiteX76" y="connsiteY76"/>
                          </a:cxn>
                          <a:cxn ang="0">
                            <a:pos x="connsiteX77" y="connsiteY77"/>
                          </a:cxn>
                          <a:cxn ang="0">
                            <a:pos x="connsiteX78" y="connsiteY78"/>
                          </a:cxn>
                          <a:cxn ang="0">
                            <a:pos x="connsiteX79" y="connsiteY79"/>
                          </a:cxn>
                          <a:cxn ang="0">
                            <a:pos x="connsiteX80" y="connsiteY80"/>
                          </a:cxn>
                          <a:cxn ang="0">
                            <a:pos x="connsiteX81" y="connsiteY81"/>
                          </a:cxn>
                          <a:cxn ang="0">
                            <a:pos x="connsiteX82" y="connsiteY82"/>
                          </a:cxn>
                          <a:cxn ang="0">
                            <a:pos x="connsiteX83" y="connsiteY83"/>
                          </a:cxn>
                          <a:cxn ang="0">
                            <a:pos x="connsiteX84" y="connsiteY84"/>
                          </a:cxn>
                          <a:cxn ang="0">
                            <a:pos x="connsiteX85" y="connsiteY85"/>
                          </a:cxn>
                          <a:cxn ang="0">
                            <a:pos x="connsiteX86" y="connsiteY86"/>
                          </a:cxn>
                          <a:cxn ang="0">
                            <a:pos x="connsiteX87" y="connsiteY87"/>
                          </a:cxn>
                          <a:cxn ang="0">
                            <a:pos x="connsiteX88" y="connsiteY88"/>
                          </a:cxn>
                          <a:cxn ang="0">
                            <a:pos x="connsiteX89" y="connsiteY89"/>
                          </a:cxn>
                          <a:cxn ang="0">
                            <a:pos x="connsiteX90" y="connsiteY90"/>
                          </a:cxn>
                          <a:cxn ang="0">
                            <a:pos x="connsiteX91" y="connsiteY91"/>
                          </a:cxn>
                          <a:cxn ang="0">
                            <a:pos x="connsiteX92" y="connsiteY92"/>
                          </a:cxn>
                          <a:cxn ang="0">
                            <a:pos x="connsiteX93" y="connsiteY93"/>
                          </a:cxn>
                          <a:cxn ang="0">
                            <a:pos x="connsiteX94" y="connsiteY94"/>
                          </a:cxn>
                          <a:cxn ang="0">
                            <a:pos x="connsiteX95" y="connsiteY95"/>
                          </a:cxn>
                          <a:cxn ang="0">
                            <a:pos x="connsiteX96" y="connsiteY96"/>
                          </a:cxn>
                          <a:cxn ang="0">
                            <a:pos x="connsiteX97" y="connsiteY97"/>
                          </a:cxn>
                          <a:cxn ang="0">
                            <a:pos x="connsiteX98" y="connsiteY98"/>
                          </a:cxn>
                          <a:cxn ang="0">
                            <a:pos x="connsiteX99" y="connsiteY99"/>
                          </a:cxn>
                          <a:cxn ang="0">
                            <a:pos x="connsiteX100" y="connsiteY100"/>
                          </a:cxn>
                          <a:cxn ang="0">
                            <a:pos x="connsiteX101" y="connsiteY101"/>
                          </a:cxn>
                          <a:cxn ang="0">
                            <a:pos x="connsiteX102" y="connsiteY102"/>
                          </a:cxn>
                          <a:cxn ang="0">
                            <a:pos x="connsiteX103" y="connsiteY103"/>
                          </a:cxn>
                          <a:cxn ang="0">
                            <a:pos x="connsiteX104" y="connsiteY104"/>
                          </a:cxn>
                          <a:cxn ang="0">
                            <a:pos x="connsiteX105" y="connsiteY105"/>
                          </a:cxn>
                          <a:cxn ang="0">
                            <a:pos x="connsiteX106" y="connsiteY106"/>
                          </a:cxn>
                          <a:cxn ang="0">
                            <a:pos x="connsiteX107" y="connsiteY107"/>
                          </a:cxn>
                          <a:cxn ang="0">
                            <a:pos x="connsiteX108" y="connsiteY108"/>
                          </a:cxn>
                          <a:cxn ang="0">
                            <a:pos x="connsiteX109" y="connsiteY109"/>
                          </a:cxn>
                          <a:cxn ang="0">
                            <a:pos x="connsiteX110" y="connsiteY110"/>
                          </a:cxn>
                          <a:cxn ang="0">
                            <a:pos x="connsiteX111" y="connsiteY111"/>
                          </a:cxn>
                          <a:cxn ang="0">
                            <a:pos x="connsiteX112" y="connsiteY112"/>
                          </a:cxn>
                          <a:cxn ang="0">
                            <a:pos x="connsiteX113" y="connsiteY113"/>
                          </a:cxn>
                          <a:cxn ang="0">
                            <a:pos x="connsiteX114" y="connsiteY114"/>
                          </a:cxn>
                          <a:cxn ang="0">
                            <a:pos x="connsiteX115" y="connsiteY115"/>
                          </a:cxn>
                          <a:cxn ang="0">
                            <a:pos x="connsiteX116" y="connsiteY116"/>
                          </a:cxn>
                          <a:cxn ang="0">
                            <a:pos x="connsiteX117" y="connsiteY117"/>
                          </a:cxn>
                          <a:cxn ang="0">
                            <a:pos x="connsiteX118" y="connsiteY118"/>
                          </a:cxn>
                          <a:cxn ang="0">
                            <a:pos x="connsiteX119" y="connsiteY119"/>
                          </a:cxn>
                          <a:cxn ang="0">
                            <a:pos x="connsiteX120" y="connsiteY120"/>
                          </a:cxn>
                          <a:cxn ang="0">
                            <a:pos x="connsiteX121" y="connsiteY121"/>
                          </a:cxn>
                          <a:cxn ang="0">
                            <a:pos x="connsiteX122" y="connsiteY122"/>
                          </a:cxn>
                          <a:cxn ang="0">
                            <a:pos x="connsiteX123" y="connsiteY123"/>
                          </a:cxn>
                          <a:cxn ang="0">
                            <a:pos x="connsiteX124" y="connsiteY124"/>
                          </a:cxn>
                          <a:cxn ang="0">
                            <a:pos x="connsiteX125" y="connsiteY125"/>
                          </a:cxn>
                          <a:cxn ang="0">
                            <a:pos x="connsiteX126" y="connsiteY126"/>
                          </a:cxn>
                          <a:cxn ang="0">
                            <a:pos x="connsiteX127" y="connsiteY127"/>
                          </a:cxn>
                          <a:cxn ang="0">
                            <a:pos x="connsiteX128" y="connsiteY128"/>
                          </a:cxn>
                          <a:cxn ang="0">
                            <a:pos x="connsiteX129" y="connsiteY129"/>
                          </a:cxn>
                          <a:cxn ang="0">
                            <a:pos x="connsiteX130" y="connsiteY130"/>
                          </a:cxn>
                          <a:cxn ang="0">
                            <a:pos x="connsiteX131" y="connsiteY131"/>
                          </a:cxn>
                          <a:cxn ang="0">
                            <a:pos x="connsiteX132" y="connsiteY132"/>
                          </a:cxn>
                          <a:cxn ang="0">
                            <a:pos x="connsiteX133" y="connsiteY133"/>
                          </a:cxn>
                          <a:cxn ang="0">
                            <a:pos x="connsiteX134" y="connsiteY134"/>
                          </a:cxn>
                          <a:cxn ang="0">
                            <a:pos x="connsiteX135" y="connsiteY135"/>
                          </a:cxn>
                          <a:cxn ang="0">
                            <a:pos x="connsiteX136" y="connsiteY136"/>
                          </a:cxn>
                          <a:cxn ang="0">
                            <a:pos x="connsiteX137" y="connsiteY137"/>
                          </a:cxn>
                          <a:cxn ang="0">
                            <a:pos x="connsiteX138" y="connsiteY138"/>
                          </a:cxn>
                          <a:cxn ang="0">
                            <a:pos x="connsiteX139" y="connsiteY139"/>
                          </a:cxn>
                          <a:cxn ang="0">
                            <a:pos x="connsiteX140" y="connsiteY140"/>
                          </a:cxn>
                          <a:cxn ang="0">
                            <a:pos x="connsiteX141" y="connsiteY141"/>
                          </a:cxn>
                          <a:cxn ang="0">
                            <a:pos x="connsiteX142" y="connsiteY142"/>
                          </a:cxn>
                          <a:cxn ang="0">
                            <a:pos x="connsiteX143" y="connsiteY143"/>
                          </a:cxn>
                          <a:cxn ang="0">
                            <a:pos x="connsiteX144" y="connsiteY144"/>
                          </a:cxn>
                          <a:cxn ang="0">
                            <a:pos x="connsiteX145" y="connsiteY145"/>
                          </a:cxn>
                          <a:cxn ang="0">
                            <a:pos x="connsiteX146" y="connsiteY146"/>
                          </a:cxn>
                          <a:cxn ang="0">
                            <a:pos x="connsiteX147" y="connsiteY147"/>
                          </a:cxn>
                          <a:cxn ang="0">
                            <a:pos x="connsiteX148" y="connsiteY148"/>
                          </a:cxn>
                          <a:cxn ang="0">
                            <a:pos x="connsiteX149" y="connsiteY149"/>
                          </a:cxn>
                          <a:cxn ang="0">
                            <a:pos x="connsiteX150" y="connsiteY150"/>
                          </a:cxn>
                          <a:cxn ang="0">
                            <a:pos x="connsiteX151" y="connsiteY151"/>
                          </a:cxn>
                          <a:cxn ang="0">
                            <a:pos x="connsiteX152" y="connsiteY152"/>
                          </a:cxn>
                          <a:cxn ang="0">
                            <a:pos x="connsiteX153" y="connsiteY153"/>
                          </a:cxn>
                          <a:cxn ang="0">
                            <a:pos x="connsiteX154" y="connsiteY154"/>
                          </a:cxn>
                          <a:cxn ang="0">
                            <a:pos x="connsiteX155" y="connsiteY155"/>
                          </a:cxn>
                          <a:cxn ang="0">
                            <a:pos x="connsiteX156" y="connsiteY156"/>
                          </a:cxn>
                          <a:cxn ang="0">
                            <a:pos x="connsiteX157" y="connsiteY157"/>
                          </a:cxn>
                          <a:cxn ang="0">
                            <a:pos x="connsiteX158" y="connsiteY158"/>
                          </a:cxn>
                          <a:cxn ang="0">
                            <a:pos x="connsiteX159" y="connsiteY159"/>
                          </a:cxn>
                          <a:cxn ang="0">
                            <a:pos x="connsiteX160" y="connsiteY160"/>
                          </a:cxn>
                          <a:cxn ang="0">
                            <a:pos x="connsiteX161" y="connsiteY161"/>
                          </a:cxn>
                          <a:cxn ang="0">
                            <a:pos x="connsiteX162" y="connsiteY162"/>
                          </a:cxn>
                          <a:cxn ang="0">
                            <a:pos x="connsiteX163" y="connsiteY163"/>
                          </a:cxn>
                          <a:cxn ang="0">
                            <a:pos x="connsiteX164" y="connsiteY164"/>
                          </a:cxn>
                          <a:cxn ang="0">
                            <a:pos x="connsiteX165" y="connsiteY165"/>
                          </a:cxn>
                          <a:cxn ang="0">
                            <a:pos x="connsiteX166" y="connsiteY166"/>
                          </a:cxn>
                          <a:cxn ang="0">
                            <a:pos x="connsiteX167" y="connsiteY167"/>
                          </a:cxn>
                          <a:cxn ang="0">
                            <a:pos x="connsiteX168" y="connsiteY168"/>
                          </a:cxn>
                          <a:cxn ang="0">
                            <a:pos x="connsiteX169" y="connsiteY169"/>
                          </a:cxn>
                          <a:cxn ang="0">
                            <a:pos x="connsiteX170" y="connsiteY170"/>
                          </a:cxn>
                          <a:cxn ang="0">
                            <a:pos x="connsiteX171" y="connsiteY171"/>
                          </a:cxn>
                          <a:cxn ang="0">
                            <a:pos x="connsiteX172" y="connsiteY172"/>
                          </a:cxn>
                          <a:cxn ang="0">
                            <a:pos x="connsiteX173" y="connsiteY173"/>
                          </a:cxn>
                          <a:cxn ang="0">
                            <a:pos x="connsiteX174" y="connsiteY174"/>
                          </a:cxn>
                          <a:cxn ang="0">
                            <a:pos x="connsiteX175" y="connsiteY175"/>
                          </a:cxn>
                          <a:cxn ang="0">
                            <a:pos x="connsiteX176" y="connsiteY176"/>
                          </a:cxn>
                          <a:cxn ang="0">
                            <a:pos x="connsiteX177" y="connsiteY177"/>
                          </a:cxn>
                          <a:cxn ang="0">
                            <a:pos x="connsiteX178" y="connsiteY178"/>
                          </a:cxn>
                          <a:cxn ang="0">
                            <a:pos x="connsiteX179" y="connsiteY179"/>
                          </a:cxn>
                          <a:cxn ang="0">
                            <a:pos x="connsiteX180" y="connsiteY180"/>
                          </a:cxn>
                          <a:cxn ang="0">
                            <a:pos x="connsiteX181" y="connsiteY181"/>
                          </a:cxn>
                          <a:cxn ang="0">
                            <a:pos x="connsiteX182" y="connsiteY182"/>
                          </a:cxn>
                          <a:cxn ang="0">
                            <a:pos x="connsiteX183" y="connsiteY183"/>
                          </a:cxn>
                          <a:cxn ang="0">
                            <a:pos x="connsiteX184" y="connsiteY184"/>
                          </a:cxn>
                          <a:cxn ang="0">
                            <a:pos x="connsiteX185" y="connsiteY185"/>
                          </a:cxn>
                          <a:cxn ang="0">
                            <a:pos x="connsiteX186" y="connsiteY186"/>
                          </a:cxn>
                          <a:cxn ang="0">
                            <a:pos x="connsiteX187" y="connsiteY187"/>
                          </a:cxn>
                          <a:cxn ang="0">
                            <a:pos x="connsiteX188" y="connsiteY188"/>
                          </a:cxn>
                          <a:cxn ang="0">
                            <a:pos x="connsiteX189" y="connsiteY189"/>
                          </a:cxn>
                          <a:cxn ang="0">
                            <a:pos x="connsiteX190" y="connsiteY190"/>
                          </a:cxn>
                          <a:cxn ang="0">
                            <a:pos x="connsiteX191" y="connsiteY191"/>
                          </a:cxn>
                          <a:cxn ang="0">
                            <a:pos x="connsiteX192" y="connsiteY192"/>
                          </a:cxn>
                          <a:cxn ang="0">
                            <a:pos x="connsiteX193" y="connsiteY193"/>
                          </a:cxn>
                          <a:cxn ang="0">
                            <a:pos x="connsiteX194" y="connsiteY194"/>
                          </a:cxn>
                          <a:cxn ang="0">
                            <a:pos x="connsiteX195" y="connsiteY195"/>
                          </a:cxn>
                          <a:cxn ang="0">
                            <a:pos x="connsiteX196" y="connsiteY196"/>
                          </a:cxn>
                          <a:cxn ang="0">
                            <a:pos x="connsiteX197" y="connsiteY197"/>
                          </a:cxn>
                        </a:cxnLst>
                        <a:rect l="l" t="t" r="r" b="b"/>
                        <a:pathLst>
                          <a:path w="39544" h="18609">
                            <a:moveTo>
                              <a:pt x="2791" y="18935"/>
                            </a:moveTo>
                            <a:cubicBezTo>
                              <a:pt x="3187" y="18935"/>
                              <a:pt x="3745" y="18935"/>
                              <a:pt x="4141" y="18935"/>
                            </a:cubicBezTo>
                            <a:cubicBezTo>
                              <a:pt x="4536" y="18935"/>
                              <a:pt x="5094" y="18935"/>
                              <a:pt x="5490" y="18935"/>
                            </a:cubicBezTo>
                            <a:cubicBezTo>
                              <a:pt x="5908" y="18935"/>
                              <a:pt x="6444" y="18935"/>
                              <a:pt x="6862" y="18935"/>
                            </a:cubicBezTo>
                            <a:cubicBezTo>
                              <a:pt x="7258" y="18935"/>
                              <a:pt x="7793" y="18935"/>
                              <a:pt x="8188" y="18935"/>
                            </a:cubicBezTo>
                            <a:cubicBezTo>
                              <a:pt x="8584" y="18935"/>
                              <a:pt x="9095" y="18935"/>
                              <a:pt x="9468" y="18935"/>
                            </a:cubicBezTo>
                            <a:cubicBezTo>
                              <a:pt x="9840" y="18935"/>
                              <a:pt x="10328" y="18935"/>
                              <a:pt x="10700" y="18935"/>
                            </a:cubicBezTo>
                            <a:lnTo>
                              <a:pt x="10677" y="18912"/>
                            </a:lnTo>
                            <a:cubicBezTo>
                              <a:pt x="10351" y="18307"/>
                              <a:pt x="10282" y="17539"/>
                              <a:pt x="10445" y="16865"/>
                            </a:cubicBezTo>
                            <a:cubicBezTo>
                              <a:pt x="10468" y="16725"/>
                              <a:pt x="10491" y="16586"/>
                              <a:pt x="10538" y="16493"/>
                            </a:cubicBezTo>
                            <a:lnTo>
                              <a:pt x="10538" y="16493"/>
                            </a:lnTo>
                            <a:cubicBezTo>
                              <a:pt x="10631" y="16237"/>
                              <a:pt x="10770" y="16004"/>
                              <a:pt x="10933" y="15818"/>
                            </a:cubicBezTo>
                            <a:cubicBezTo>
                              <a:pt x="11212" y="15492"/>
                              <a:pt x="11491" y="15190"/>
                              <a:pt x="11794" y="14887"/>
                            </a:cubicBezTo>
                            <a:cubicBezTo>
                              <a:pt x="12073" y="14585"/>
                              <a:pt x="12398" y="14446"/>
                              <a:pt x="12724" y="14446"/>
                            </a:cubicBezTo>
                            <a:cubicBezTo>
                              <a:pt x="12887" y="14446"/>
                              <a:pt x="13027" y="14492"/>
                              <a:pt x="13166" y="14539"/>
                            </a:cubicBezTo>
                            <a:cubicBezTo>
                              <a:pt x="13213" y="14539"/>
                              <a:pt x="13259" y="14539"/>
                              <a:pt x="13306" y="14539"/>
                            </a:cubicBezTo>
                            <a:cubicBezTo>
                              <a:pt x="13399" y="14539"/>
                              <a:pt x="13538" y="14539"/>
                              <a:pt x="13631" y="14539"/>
                            </a:cubicBezTo>
                            <a:cubicBezTo>
                              <a:pt x="13724" y="14539"/>
                              <a:pt x="13864" y="14539"/>
                              <a:pt x="13957" y="14539"/>
                            </a:cubicBezTo>
                            <a:cubicBezTo>
                              <a:pt x="14050" y="14539"/>
                              <a:pt x="14166" y="14539"/>
                              <a:pt x="14259" y="14539"/>
                            </a:cubicBezTo>
                            <a:cubicBezTo>
                              <a:pt x="14352" y="14539"/>
                              <a:pt x="14469" y="14539"/>
                              <a:pt x="14562" y="14539"/>
                            </a:cubicBezTo>
                            <a:cubicBezTo>
                              <a:pt x="14655" y="14539"/>
                              <a:pt x="14771" y="14539"/>
                              <a:pt x="14864" y="14539"/>
                            </a:cubicBezTo>
                            <a:lnTo>
                              <a:pt x="14864" y="14515"/>
                            </a:lnTo>
                            <a:cubicBezTo>
                              <a:pt x="14748" y="14236"/>
                              <a:pt x="14678" y="13957"/>
                              <a:pt x="14632" y="13655"/>
                            </a:cubicBezTo>
                            <a:lnTo>
                              <a:pt x="14632" y="13655"/>
                            </a:lnTo>
                            <a:cubicBezTo>
                              <a:pt x="14608" y="13399"/>
                              <a:pt x="14608" y="13143"/>
                              <a:pt x="14655" y="12887"/>
                            </a:cubicBezTo>
                            <a:cubicBezTo>
                              <a:pt x="14655" y="12864"/>
                              <a:pt x="14655" y="12840"/>
                              <a:pt x="14655" y="12817"/>
                            </a:cubicBezTo>
                            <a:lnTo>
                              <a:pt x="14655" y="12817"/>
                            </a:lnTo>
                            <a:cubicBezTo>
                              <a:pt x="14678" y="12701"/>
                              <a:pt x="14725" y="12608"/>
                              <a:pt x="14748" y="12492"/>
                            </a:cubicBezTo>
                            <a:cubicBezTo>
                              <a:pt x="14864" y="12073"/>
                              <a:pt x="15050" y="11701"/>
                              <a:pt x="15329" y="11445"/>
                            </a:cubicBezTo>
                            <a:cubicBezTo>
                              <a:pt x="15585" y="11212"/>
                              <a:pt x="15864" y="10980"/>
                              <a:pt x="16144" y="10747"/>
                            </a:cubicBezTo>
                            <a:lnTo>
                              <a:pt x="16144" y="10747"/>
                            </a:lnTo>
                            <a:cubicBezTo>
                              <a:pt x="16190" y="10724"/>
                              <a:pt x="16213" y="10677"/>
                              <a:pt x="16237" y="10654"/>
                            </a:cubicBezTo>
                            <a:cubicBezTo>
                              <a:pt x="16493" y="10444"/>
                              <a:pt x="16772" y="10328"/>
                              <a:pt x="17051" y="10328"/>
                            </a:cubicBezTo>
                            <a:cubicBezTo>
                              <a:pt x="17376" y="10328"/>
                              <a:pt x="17656" y="10468"/>
                              <a:pt x="17935" y="10724"/>
                            </a:cubicBezTo>
                            <a:lnTo>
                              <a:pt x="19307" y="10724"/>
                            </a:lnTo>
                            <a:cubicBezTo>
                              <a:pt x="19307" y="10724"/>
                              <a:pt x="19307" y="10700"/>
                              <a:pt x="19307" y="10677"/>
                            </a:cubicBezTo>
                            <a:cubicBezTo>
                              <a:pt x="19168" y="10305"/>
                              <a:pt x="19144" y="9886"/>
                              <a:pt x="19168" y="9468"/>
                            </a:cubicBezTo>
                            <a:cubicBezTo>
                              <a:pt x="19191" y="9328"/>
                              <a:pt x="19191" y="9188"/>
                              <a:pt x="19214" y="9049"/>
                            </a:cubicBezTo>
                            <a:lnTo>
                              <a:pt x="19214" y="9049"/>
                            </a:lnTo>
                            <a:cubicBezTo>
                              <a:pt x="19214" y="9002"/>
                              <a:pt x="19237" y="8932"/>
                              <a:pt x="19261" y="8886"/>
                            </a:cubicBezTo>
                            <a:lnTo>
                              <a:pt x="19261" y="8886"/>
                            </a:lnTo>
                            <a:cubicBezTo>
                              <a:pt x="19307" y="8700"/>
                              <a:pt x="19377" y="8514"/>
                              <a:pt x="19470" y="8351"/>
                            </a:cubicBezTo>
                            <a:lnTo>
                              <a:pt x="19470" y="8351"/>
                            </a:lnTo>
                            <a:cubicBezTo>
                              <a:pt x="19493" y="8304"/>
                              <a:pt x="19517" y="8235"/>
                              <a:pt x="19563" y="8188"/>
                            </a:cubicBezTo>
                            <a:lnTo>
                              <a:pt x="19563" y="8188"/>
                            </a:lnTo>
                            <a:cubicBezTo>
                              <a:pt x="19679" y="7979"/>
                              <a:pt x="19842" y="7816"/>
                              <a:pt x="20005" y="7700"/>
                            </a:cubicBezTo>
                            <a:cubicBezTo>
                              <a:pt x="20331" y="7467"/>
                              <a:pt x="20656" y="7258"/>
                              <a:pt x="20982" y="7025"/>
                            </a:cubicBezTo>
                            <a:cubicBezTo>
                              <a:pt x="21191" y="6885"/>
                              <a:pt x="21424" y="6816"/>
                              <a:pt x="21657" y="6816"/>
                            </a:cubicBezTo>
                            <a:cubicBezTo>
                              <a:pt x="22099" y="6816"/>
                              <a:pt x="22517" y="7095"/>
                              <a:pt x="22820" y="7560"/>
                            </a:cubicBezTo>
                            <a:lnTo>
                              <a:pt x="24029" y="7560"/>
                            </a:lnTo>
                            <a:lnTo>
                              <a:pt x="24029" y="7560"/>
                            </a:lnTo>
                            <a:lnTo>
                              <a:pt x="24029" y="7514"/>
                            </a:lnTo>
                            <a:cubicBezTo>
                              <a:pt x="23727" y="6374"/>
                              <a:pt x="24146" y="5094"/>
                              <a:pt x="24937" y="4676"/>
                            </a:cubicBezTo>
                            <a:cubicBezTo>
                              <a:pt x="25262" y="4489"/>
                              <a:pt x="25611" y="4303"/>
                              <a:pt x="25960" y="4141"/>
                            </a:cubicBezTo>
                            <a:cubicBezTo>
                              <a:pt x="26123" y="4048"/>
                              <a:pt x="26309" y="4024"/>
                              <a:pt x="26495" y="4024"/>
                            </a:cubicBezTo>
                            <a:cubicBezTo>
                              <a:pt x="27030" y="4024"/>
                              <a:pt x="27519" y="4443"/>
                              <a:pt x="27821" y="5118"/>
                            </a:cubicBezTo>
                            <a:lnTo>
                              <a:pt x="28961" y="5118"/>
                            </a:lnTo>
                            <a:lnTo>
                              <a:pt x="28961" y="5071"/>
                            </a:lnTo>
                            <a:cubicBezTo>
                              <a:pt x="28845" y="4536"/>
                              <a:pt x="28914" y="4001"/>
                              <a:pt x="29077" y="3536"/>
                            </a:cubicBezTo>
                            <a:lnTo>
                              <a:pt x="29077" y="3536"/>
                            </a:lnTo>
                            <a:cubicBezTo>
                              <a:pt x="29077" y="3489"/>
                              <a:pt x="29100" y="3466"/>
                              <a:pt x="29100" y="3419"/>
                            </a:cubicBezTo>
                            <a:lnTo>
                              <a:pt x="29100" y="3419"/>
                            </a:lnTo>
                            <a:cubicBezTo>
                              <a:pt x="29310" y="2908"/>
                              <a:pt x="29635" y="2512"/>
                              <a:pt x="30077" y="2373"/>
                            </a:cubicBezTo>
                            <a:cubicBezTo>
                              <a:pt x="30426" y="2233"/>
                              <a:pt x="30775" y="2117"/>
                              <a:pt x="31124" y="2000"/>
                            </a:cubicBezTo>
                            <a:cubicBezTo>
                              <a:pt x="31240" y="1954"/>
                              <a:pt x="31380" y="1931"/>
                              <a:pt x="31496" y="1931"/>
                            </a:cubicBezTo>
                            <a:cubicBezTo>
                              <a:pt x="32148" y="1931"/>
                              <a:pt x="32706" y="2512"/>
                              <a:pt x="32939" y="3373"/>
                            </a:cubicBezTo>
                            <a:cubicBezTo>
                              <a:pt x="33288" y="3373"/>
                              <a:pt x="33706" y="3373"/>
                              <a:pt x="34032" y="3373"/>
                            </a:cubicBezTo>
                            <a:lnTo>
                              <a:pt x="34032" y="3350"/>
                            </a:lnTo>
                            <a:cubicBezTo>
                              <a:pt x="33892" y="2140"/>
                              <a:pt x="34474" y="1000"/>
                              <a:pt x="35335" y="837"/>
                            </a:cubicBezTo>
                            <a:cubicBezTo>
                              <a:pt x="35683" y="744"/>
                              <a:pt x="36032" y="675"/>
                              <a:pt x="36405" y="605"/>
                            </a:cubicBezTo>
                            <a:cubicBezTo>
                              <a:pt x="36474" y="605"/>
                              <a:pt x="36544" y="582"/>
                              <a:pt x="36614" y="582"/>
                            </a:cubicBezTo>
                            <a:cubicBezTo>
                              <a:pt x="37382" y="582"/>
                              <a:pt x="38056" y="1396"/>
                              <a:pt x="38172" y="2512"/>
                            </a:cubicBezTo>
                            <a:lnTo>
                              <a:pt x="38172" y="2512"/>
                            </a:lnTo>
                            <a:lnTo>
                              <a:pt x="38498" y="2512"/>
                            </a:lnTo>
                            <a:cubicBezTo>
                              <a:pt x="38731" y="2466"/>
                              <a:pt x="38987" y="2442"/>
                              <a:pt x="39196" y="2419"/>
                            </a:cubicBezTo>
                            <a:lnTo>
                              <a:pt x="39196" y="2373"/>
                            </a:lnTo>
                            <a:cubicBezTo>
                              <a:pt x="39149" y="1140"/>
                              <a:pt x="39824" y="116"/>
                              <a:pt x="40685" y="46"/>
                            </a:cubicBezTo>
                            <a:cubicBezTo>
                              <a:pt x="40848" y="46"/>
                              <a:pt x="41010" y="23"/>
                              <a:pt x="41150" y="23"/>
                            </a:cubicBezTo>
                            <a:lnTo>
                              <a:pt x="41150" y="23"/>
                            </a:lnTo>
                            <a:cubicBezTo>
                              <a:pt x="41173" y="23"/>
                              <a:pt x="41196" y="23"/>
                              <a:pt x="41220" y="23"/>
                            </a:cubicBezTo>
                            <a:cubicBezTo>
                              <a:pt x="41383" y="23"/>
                              <a:pt x="41569" y="0"/>
                              <a:pt x="41755" y="0"/>
                            </a:cubicBezTo>
                            <a:cubicBezTo>
                              <a:pt x="41778" y="0"/>
                              <a:pt x="41801" y="0"/>
                              <a:pt x="41801" y="0"/>
                            </a:cubicBezTo>
                            <a:lnTo>
                              <a:pt x="31380" y="0"/>
                            </a:lnTo>
                            <a:cubicBezTo>
                              <a:pt x="31357" y="0"/>
                              <a:pt x="31334" y="0"/>
                              <a:pt x="31310" y="0"/>
                            </a:cubicBezTo>
                            <a:cubicBezTo>
                              <a:pt x="31171" y="0"/>
                              <a:pt x="31031" y="0"/>
                              <a:pt x="30892" y="23"/>
                            </a:cubicBezTo>
                            <a:cubicBezTo>
                              <a:pt x="30659" y="23"/>
                              <a:pt x="30450" y="46"/>
                              <a:pt x="30240" y="70"/>
                            </a:cubicBezTo>
                            <a:cubicBezTo>
                              <a:pt x="30147" y="70"/>
                              <a:pt x="30054" y="93"/>
                              <a:pt x="29961" y="116"/>
                            </a:cubicBezTo>
                            <a:lnTo>
                              <a:pt x="29961" y="116"/>
                            </a:lnTo>
                            <a:cubicBezTo>
                              <a:pt x="29845" y="163"/>
                              <a:pt x="29728" y="209"/>
                              <a:pt x="29635" y="279"/>
                            </a:cubicBezTo>
                            <a:cubicBezTo>
                              <a:pt x="29635" y="279"/>
                              <a:pt x="29635" y="279"/>
                              <a:pt x="29612" y="279"/>
                            </a:cubicBezTo>
                            <a:cubicBezTo>
                              <a:pt x="29589" y="302"/>
                              <a:pt x="29589" y="302"/>
                              <a:pt x="29566" y="326"/>
                            </a:cubicBezTo>
                            <a:cubicBezTo>
                              <a:pt x="29473" y="395"/>
                              <a:pt x="29403" y="465"/>
                              <a:pt x="29310" y="558"/>
                            </a:cubicBezTo>
                            <a:lnTo>
                              <a:pt x="26193" y="558"/>
                            </a:lnTo>
                            <a:cubicBezTo>
                              <a:pt x="26193" y="558"/>
                              <a:pt x="26146" y="558"/>
                              <a:pt x="26123" y="558"/>
                            </a:cubicBezTo>
                            <a:cubicBezTo>
                              <a:pt x="26076" y="558"/>
                              <a:pt x="26030" y="558"/>
                              <a:pt x="25983" y="582"/>
                            </a:cubicBezTo>
                            <a:cubicBezTo>
                              <a:pt x="25634" y="651"/>
                              <a:pt x="25262" y="721"/>
                              <a:pt x="24913" y="814"/>
                            </a:cubicBezTo>
                            <a:cubicBezTo>
                              <a:pt x="24867" y="814"/>
                              <a:pt x="24820" y="837"/>
                              <a:pt x="24797" y="837"/>
                            </a:cubicBezTo>
                            <a:cubicBezTo>
                              <a:pt x="24774" y="837"/>
                              <a:pt x="24750" y="861"/>
                              <a:pt x="24727" y="884"/>
                            </a:cubicBezTo>
                            <a:cubicBezTo>
                              <a:pt x="24657" y="930"/>
                              <a:pt x="24564" y="954"/>
                              <a:pt x="24495" y="1000"/>
                            </a:cubicBezTo>
                            <a:cubicBezTo>
                              <a:pt x="24471" y="1000"/>
                              <a:pt x="24448" y="1024"/>
                              <a:pt x="24425" y="1047"/>
                            </a:cubicBezTo>
                            <a:lnTo>
                              <a:pt x="24402" y="1070"/>
                            </a:lnTo>
                            <a:cubicBezTo>
                              <a:pt x="24285" y="1163"/>
                              <a:pt x="24169" y="1279"/>
                              <a:pt x="24076" y="1396"/>
                            </a:cubicBezTo>
                            <a:cubicBezTo>
                              <a:pt x="24053" y="1419"/>
                              <a:pt x="24029" y="1442"/>
                              <a:pt x="24029" y="1465"/>
                            </a:cubicBezTo>
                            <a:cubicBezTo>
                              <a:pt x="23960" y="1582"/>
                              <a:pt x="23867" y="1721"/>
                              <a:pt x="23820" y="1838"/>
                            </a:cubicBezTo>
                            <a:cubicBezTo>
                              <a:pt x="23820" y="1838"/>
                              <a:pt x="23797" y="1861"/>
                              <a:pt x="23797" y="1884"/>
                            </a:cubicBezTo>
                            <a:lnTo>
                              <a:pt x="21075" y="1884"/>
                            </a:lnTo>
                            <a:cubicBezTo>
                              <a:pt x="21052" y="1884"/>
                              <a:pt x="21029" y="1884"/>
                              <a:pt x="21005" y="1884"/>
                            </a:cubicBezTo>
                            <a:cubicBezTo>
                              <a:pt x="20912" y="1884"/>
                              <a:pt x="20796" y="1907"/>
                              <a:pt x="20703" y="1954"/>
                            </a:cubicBezTo>
                            <a:lnTo>
                              <a:pt x="20703" y="1954"/>
                            </a:lnTo>
                            <a:cubicBezTo>
                              <a:pt x="20354" y="2070"/>
                              <a:pt x="20005" y="2187"/>
                              <a:pt x="19656" y="2326"/>
                            </a:cubicBezTo>
                            <a:cubicBezTo>
                              <a:pt x="19540" y="2373"/>
                              <a:pt x="19447" y="2419"/>
                              <a:pt x="19330" y="2489"/>
                            </a:cubicBezTo>
                            <a:lnTo>
                              <a:pt x="19307" y="2489"/>
                            </a:lnTo>
                            <a:cubicBezTo>
                              <a:pt x="19284" y="2489"/>
                              <a:pt x="19284" y="2512"/>
                              <a:pt x="19261" y="2536"/>
                            </a:cubicBezTo>
                            <a:cubicBezTo>
                              <a:pt x="19144" y="2629"/>
                              <a:pt x="19051" y="2722"/>
                              <a:pt x="18982" y="2838"/>
                            </a:cubicBezTo>
                            <a:cubicBezTo>
                              <a:pt x="18958" y="2861"/>
                              <a:pt x="18935" y="2884"/>
                              <a:pt x="18912" y="2931"/>
                            </a:cubicBezTo>
                            <a:cubicBezTo>
                              <a:pt x="18819" y="3071"/>
                              <a:pt x="18749" y="3210"/>
                              <a:pt x="18679" y="3373"/>
                            </a:cubicBezTo>
                            <a:lnTo>
                              <a:pt x="18679" y="3396"/>
                            </a:lnTo>
                            <a:cubicBezTo>
                              <a:pt x="18679" y="3419"/>
                              <a:pt x="18679" y="3443"/>
                              <a:pt x="18656" y="3489"/>
                            </a:cubicBezTo>
                            <a:cubicBezTo>
                              <a:pt x="18633" y="3606"/>
                              <a:pt x="18586" y="3722"/>
                              <a:pt x="18563" y="3861"/>
                            </a:cubicBezTo>
                            <a:cubicBezTo>
                              <a:pt x="18563" y="3885"/>
                              <a:pt x="18540" y="3908"/>
                              <a:pt x="18540" y="3931"/>
                            </a:cubicBezTo>
                            <a:lnTo>
                              <a:pt x="18540" y="3955"/>
                            </a:lnTo>
                            <a:lnTo>
                              <a:pt x="16074" y="3978"/>
                            </a:lnTo>
                            <a:cubicBezTo>
                              <a:pt x="16051" y="3978"/>
                              <a:pt x="16027" y="3978"/>
                              <a:pt x="16027" y="3978"/>
                            </a:cubicBezTo>
                            <a:cubicBezTo>
                              <a:pt x="15911" y="3978"/>
                              <a:pt x="15818" y="4001"/>
                              <a:pt x="15725" y="4024"/>
                            </a:cubicBezTo>
                            <a:cubicBezTo>
                              <a:pt x="15655" y="4048"/>
                              <a:pt x="15609" y="4071"/>
                              <a:pt x="15562" y="4094"/>
                            </a:cubicBezTo>
                            <a:cubicBezTo>
                              <a:pt x="15236" y="4257"/>
                              <a:pt x="14887" y="4420"/>
                              <a:pt x="14539" y="4629"/>
                            </a:cubicBezTo>
                            <a:cubicBezTo>
                              <a:pt x="14469" y="4652"/>
                              <a:pt x="14422" y="4699"/>
                              <a:pt x="14352" y="4745"/>
                            </a:cubicBezTo>
                            <a:cubicBezTo>
                              <a:pt x="14259" y="4815"/>
                              <a:pt x="14166" y="4931"/>
                              <a:pt x="14073" y="5048"/>
                            </a:cubicBezTo>
                            <a:cubicBezTo>
                              <a:pt x="14050" y="5071"/>
                              <a:pt x="14027" y="5094"/>
                              <a:pt x="14004" y="5118"/>
                            </a:cubicBezTo>
                            <a:cubicBezTo>
                              <a:pt x="13887" y="5280"/>
                              <a:pt x="13794" y="5443"/>
                              <a:pt x="13724" y="5653"/>
                            </a:cubicBezTo>
                            <a:cubicBezTo>
                              <a:pt x="13724" y="5699"/>
                              <a:pt x="13724" y="5722"/>
                              <a:pt x="13701" y="5746"/>
                            </a:cubicBezTo>
                            <a:cubicBezTo>
                              <a:pt x="13678" y="5792"/>
                              <a:pt x="13678" y="5839"/>
                              <a:pt x="13655" y="5908"/>
                            </a:cubicBezTo>
                            <a:cubicBezTo>
                              <a:pt x="13631" y="6001"/>
                              <a:pt x="13608" y="6071"/>
                              <a:pt x="13585" y="6188"/>
                            </a:cubicBezTo>
                            <a:cubicBezTo>
                              <a:pt x="13562" y="6327"/>
                              <a:pt x="13538" y="6467"/>
                              <a:pt x="13538" y="6606"/>
                            </a:cubicBezTo>
                            <a:lnTo>
                              <a:pt x="13538" y="6606"/>
                            </a:lnTo>
                            <a:lnTo>
                              <a:pt x="13538" y="6630"/>
                            </a:lnTo>
                            <a:cubicBezTo>
                              <a:pt x="13538" y="6676"/>
                              <a:pt x="13538" y="6723"/>
                              <a:pt x="13538" y="6769"/>
                            </a:cubicBezTo>
                            <a:lnTo>
                              <a:pt x="11259" y="6769"/>
                            </a:lnTo>
                            <a:cubicBezTo>
                              <a:pt x="11259" y="6769"/>
                              <a:pt x="11212" y="6769"/>
                              <a:pt x="11189" y="6769"/>
                            </a:cubicBezTo>
                            <a:cubicBezTo>
                              <a:pt x="11142" y="6769"/>
                              <a:pt x="11073" y="6792"/>
                              <a:pt x="11003" y="6792"/>
                            </a:cubicBezTo>
                            <a:cubicBezTo>
                              <a:pt x="10980" y="6792"/>
                              <a:pt x="10933" y="6792"/>
                              <a:pt x="10910" y="6816"/>
                            </a:cubicBezTo>
                            <a:lnTo>
                              <a:pt x="10886" y="6816"/>
                            </a:lnTo>
                            <a:cubicBezTo>
                              <a:pt x="10793" y="6862"/>
                              <a:pt x="10700" y="6909"/>
                              <a:pt x="10607" y="6979"/>
                            </a:cubicBezTo>
                            <a:cubicBezTo>
                              <a:pt x="10282" y="7211"/>
                              <a:pt x="9956" y="7420"/>
                              <a:pt x="9630" y="7653"/>
                            </a:cubicBezTo>
                            <a:cubicBezTo>
                              <a:pt x="9630" y="7653"/>
                              <a:pt x="9607" y="7653"/>
                              <a:pt x="9607" y="7676"/>
                            </a:cubicBezTo>
                            <a:cubicBezTo>
                              <a:pt x="9444" y="7793"/>
                              <a:pt x="9305" y="7956"/>
                              <a:pt x="9188" y="8165"/>
                            </a:cubicBezTo>
                            <a:cubicBezTo>
                              <a:pt x="9165" y="8211"/>
                              <a:pt x="9119" y="8281"/>
                              <a:pt x="9095" y="8328"/>
                            </a:cubicBezTo>
                            <a:cubicBezTo>
                              <a:pt x="9049" y="8421"/>
                              <a:pt x="9002" y="8491"/>
                              <a:pt x="8956" y="8584"/>
                            </a:cubicBezTo>
                            <a:cubicBezTo>
                              <a:pt x="8909" y="8653"/>
                              <a:pt x="8909" y="8746"/>
                              <a:pt x="8886" y="8863"/>
                            </a:cubicBezTo>
                            <a:cubicBezTo>
                              <a:pt x="8863" y="8909"/>
                              <a:pt x="8863" y="8956"/>
                              <a:pt x="8839" y="9026"/>
                            </a:cubicBezTo>
                            <a:cubicBezTo>
                              <a:pt x="8839" y="9049"/>
                              <a:pt x="8816" y="9072"/>
                              <a:pt x="8816" y="9119"/>
                            </a:cubicBezTo>
                            <a:cubicBezTo>
                              <a:pt x="8793" y="9258"/>
                              <a:pt x="8770" y="9398"/>
                              <a:pt x="8770" y="9537"/>
                            </a:cubicBezTo>
                            <a:cubicBezTo>
                              <a:pt x="8770" y="9607"/>
                              <a:pt x="8770" y="9677"/>
                              <a:pt x="8770" y="9747"/>
                            </a:cubicBezTo>
                            <a:cubicBezTo>
                              <a:pt x="8770" y="9770"/>
                              <a:pt x="8770" y="9793"/>
                              <a:pt x="8770" y="9840"/>
                            </a:cubicBezTo>
                            <a:cubicBezTo>
                              <a:pt x="8770" y="9886"/>
                              <a:pt x="8770" y="9910"/>
                              <a:pt x="8770" y="9956"/>
                            </a:cubicBezTo>
                            <a:cubicBezTo>
                              <a:pt x="8793" y="10072"/>
                              <a:pt x="8816" y="10165"/>
                              <a:pt x="8839" y="10282"/>
                            </a:cubicBezTo>
                            <a:lnTo>
                              <a:pt x="6676" y="10282"/>
                            </a:lnTo>
                            <a:cubicBezTo>
                              <a:pt x="6653" y="10282"/>
                              <a:pt x="6630" y="10282"/>
                              <a:pt x="6630" y="10282"/>
                            </a:cubicBezTo>
                            <a:cubicBezTo>
                              <a:pt x="6513" y="10282"/>
                              <a:pt x="6420" y="10305"/>
                              <a:pt x="6327" y="10328"/>
                            </a:cubicBezTo>
                            <a:cubicBezTo>
                              <a:pt x="6327" y="10328"/>
                              <a:pt x="6327" y="10328"/>
                              <a:pt x="6304" y="10351"/>
                            </a:cubicBezTo>
                            <a:cubicBezTo>
                              <a:pt x="6257" y="10351"/>
                              <a:pt x="6211" y="10398"/>
                              <a:pt x="6164" y="10421"/>
                            </a:cubicBezTo>
                            <a:cubicBezTo>
                              <a:pt x="6095" y="10468"/>
                              <a:pt x="6025" y="10491"/>
                              <a:pt x="5955" y="10538"/>
                            </a:cubicBezTo>
                            <a:cubicBezTo>
                              <a:pt x="5932" y="10561"/>
                              <a:pt x="5908" y="10584"/>
                              <a:pt x="5885" y="10607"/>
                            </a:cubicBezTo>
                            <a:cubicBezTo>
                              <a:pt x="5583" y="10863"/>
                              <a:pt x="5280" y="11119"/>
                              <a:pt x="4978" y="11398"/>
                            </a:cubicBezTo>
                            <a:cubicBezTo>
                              <a:pt x="4815" y="11538"/>
                              <a:pt x="4676" y="11724"/>
                              <a:pt x="4583" y="11933"/>
                            </a:cubicBezTo>
                            <a:cubicBezTo>
                              <a:pt x="4559" y="11980"/>
                              <a:pt x="4536" y="12026"/>
                              <a:pt x="4513" y="12073"/>
                            </a:cubicBezTo>
                            <a:cubicBezTo>
                              <a:pt x="4490" y="12119"/>
                              <a:pt x="4466" y="12166"/>
                              <a:pt x="4443" y="12212"/>
                            </a:cubicBezTo>
                            <a:cubicBezTo>
                              <a:pt x="4396" y="12375"/>
                              <a:pt x="4327" y="12538"/>
                              <a:pt x="4303" y="12724"/>
                            </a:cubicBezTo>
                            <a:lnTo>
                              <a:pt x="4303" y="12747"/>
                            </a:lnTo>
                            <a:cubicBezTo>
                              <a:pt x="4303" y="12771"/>
                              <a:pt x="4303" y="12794"/>
                              <a:pt x="4303" y="12794"/>
                            </a:cubicBezTo>
                            <a:cubicBezTo>
                              <a:pt x="4280" y="12934"/>
                              <a:pt x="4280" y="13050"/>
                              <a:pt x="4257" y="13166"/>
                            </a:cubicBezTo>
                            <a:cubicBezTo>
                              <a:pt x="4257" y="13306"/>
                              <a:pt x="4257" y="13422"/>
                              <a:pt x="4257" y="13562"/>
                            </a:cubicBezTo>
                            <a:cubicBezTo>
                              <a:pt x="4257" y="13562"/>
                              <a:pt x="4257" y="13585"/>
                              <a:pt x="4257" y="13608"/>
                            </a:cubicBezTo>
                            <a:cubicBezTo>
                              <a:pt x="4257" y="13631"/>
                              <a:pt x="4257" y="13655"/>
                              <a:pt x="4257" y="13678"/>
                            </a:cubicBezTo>
                            <a:cubicBezTo>
                              <a:pt x="4280" y="13794"/>
                              <a:pt x="4280" y="13911"/>
                              <a:pt x="4303" y="14004"/>
                            </a:cubicBezTo>
                            <a:cubicBezTo>
                              <a:pt x="4327" y="14120"/>
                              <a:pt x="4373" y="14259"/>
                              <a:pt x="4420" y="14376"/>
                            </a:cubicBezTo>
                            <a:lnTo>
                              <a:pt x="2349" y="14376"/>
                            </a:lnTo>
                            <a:cubicBezTo>
                              <a:pt x="2326" y="14376"/>
                              <a:pt x="2303" y="14376"/>
                              <a:pt x="2280" y="14376"/>
                            </a:cubicBezTo>
                            <a:cubicBezTo>
                              <a:pt x="2163" y="14376"/>
                              <a:pt x="2070" y="14399"/>
                              <a:pt x="1977" y="14446"/>
                            </a:cubicBezTo>
                            <a:cubicBezTo>
                              <a:pt x="1954" y="14446"/>
                              <a:pt x="1931" y="14469"/>
                              <a:pt x="1907" y="14469"/>
                            </a:cubicBezTo>
                            <a:cubicBezTo>
                              <a:pt x="1861" y="14492"/>
                              <a:pt x="1814" y="14515"/>
                              <a:pt x="1791" y="14539"/>
                            </a:cubicBezTo>
                            <a:cubicBezTo>
                              <a:pt x="1745" y="14562"/>
                              <a:pt x="1675" y="14585"/>
                              <a:pt x="1628" y="14632"/>
                            </a:cubicBezTo>
                            <a:cubicBezTo>
                              <a:pt x="1559" y="14678"/>
                              <a:pt x="1489" y="14748"/>
                              <a:pt x="1419" y="14818"/>
                            </a:cubicBezTo>
                            <a:cubicBezTo>
                              <a:pt x="1140" y="15120"/>
                              <a:pt x="861" y="15423"/>
                              <a:pt x="582" y="15748"/>
                            </a:cubicBezTo>
                            <a:cubicBezTo>
                              <a:pt x="395" y="15934"/>
                              <a:pt x="256" y="16167"/>
                              <a:pt x="163" y="16423"/>
                            </a:cubicBezTo>
                            <a:lnTo>
                              <a:pt x="163" y="16423"/>
                            </a:lnTo>
                            <a:cubicBezTo>
                              <a:pt x="93" y="16586"/>
                              <a:pt x="47" y="16748"/>
                              <a:pt x="23" y="16935"/>
                            </a:cubicBezTo>
                            <a:cubicBezTo>
                              <a:pt x="23" y="17004"/>
                              <a:pt x="0" y="17074"/>
                              <a:pt x="0" y="17144"/>
                            </a:cubicBezTo>
                            <a:cubicBezTo>
                              <a:pt x="0" y="17190"/>
                              <a:pt x="0" y="17214"/>
                              <a:pt x="0" y="17237"/>
                            </a:cubicBezTo>
                            <a:cubicBezTo>
                              <a:pt x="0" y="17283"/>
                              <a:pt x="0" y="17307"/>
                              <a:pt x="0" y="17353"/>
                            </a:cubicBezTo>
                            <a:cubicBezTo>
                              <a:pt x="0" y="17493"/>
                              <a:pt x="0" y="17632"/>
                              <a:pt x="0" y="17772"/>
                            </a:cubicBezTo>
                            <a:cubicBezTo>
                              <a:pt x="0" y="17842"/>
                              <a:pt x="23" y="17912"/>
                              <a:pt x="47" y="17981"/>
                            </a:cubicBezTo>
                            <a:cubicBezTo>
                              <a:pt x="47" y="18028"/>
                              <a:pt x="47" y="18051"/>
                              <a:pt x="70" y="18098"/>
                            </a:cubicBezTo>
                            <a:cubicBezTo>
                              <a:pt x="70" y="18144"/>
                              <a:pt x="70" y="18167"/>
                              <a:pt x="93" y="18214"/>
                            </a:cubicBezTo>
                            <a:cubicBezTo>
                              <a:pt x="140" y="18423"/>
                              <a:pt x="233" y="18633"/>
                              <a:pt x="349" y="18842"/>
                            </a:cubicBezTo>
                            <a:lnTo>
                              <a:pt x="349" y="18865"/>
                            </a:lnTo>
                            <a:cubicBezTo>
                              <a:pt x="721" y="18865"/>
                              <a:pt x="1210" y="18865"/>
                              <a:pt x="1582" y="18865"/>
                            </a:cubicBezTo>
                            <a:cubicBezTo>
                              <a:pt x="1884" y="18935"/>
                              <a:pt x="2396" y="18935"/>
                              <a:pt x="2791" y="18935"/>
                            </a:cubicBezTo>
                            <a:close/>
                          </a:path>
                        </a:pathLst>
                      </a:custGeom>
                      <a:solidFill>
                        <a:srgbClr val="F19439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730" name="Freeform: Shape 1729">
                        <a:extLst>
                          <a:ext uri="{FF2B5EF4-FFF2-40B4-BE49-F238E27FC236}">
                            <a16:creationId xmlns:a16="http://schemas.microsoft.com/office/drawing/2014/main" id="{930328C0-A218-4236-954E-CF125A21633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67271" y="4046555"/>
                        <a:ext cx="11631" cy="4652"/>
                      </a:xfrm>
                      <a:custGeom>
                        <a:avLst/>
                        <a:gdLst>
                          <a:gd name="connsiteX0" fmla="*/ 1698 w 11630"/>
                          <a:gd name="connsiteY0" fmla="*/ 4722 h 4652"/>
                          <a:gd name="connsiteX1" fmla="*/ 2349 w 11630"/>
                          <a:gd name="connsiteY1" fmla="*/ 4722 h 4652"/>
                          <a:gd name="connsiteX2" fmla="*/ 3001 w 11630"/>
                          <a:gd name="connsiteY2" fmla="*/ 4722 h 4652"/>
                          <a:gd name="connsiteX3" fmla="*/ 3675 w 11630"/>
                          <a:gd name="connsiteY3" fmla="*/ 4722 h 4652"/>
                          <a:gd name="connsiteX4" fmla="*/ 4350 w 11630"/>
                          <a:gd name="connsiteY4" fmla="*/ 4722 h 4652"/>
                          <a:gd name="connsiteX5" fmla="*/ 5025 w 11630"/>
                          <a:gd name="connsiteY5" fmla="*/ 4722 h 4652"/>
                          <a:gd name="connsiteX6" fmla="*/ 5699 w 11630"/>
                          <a:gd name="connsiteY6" fmla="*/ 4722 h 4652"/>
                          <a:gd name="connsiteX7" fmla="*/ 5862 w 11630"/>
                          <a:gd name="connsiteY7" fmla="*/ 4722 h 4652"/>
                          <a:gd name="connsiteX8" fmla="*/ 6025 w 11630"/>
                          <a:gd name="connsiteY8" fmla="*/ 4722 h 4652"/>
                          <a:gd name="connsiteX9" fmla="*/ 6188 w 11630"/>
                          <a:gd name="connsiteY9" fmla="*/ 4722 h 4652"/>
                          <a:gd name="connsiteX10" fmla="*/ 6350 w 11630"/>
                          <a:gd name="connsiteY10" fmla="*/ 4722 h 4652"/>
                          <a:gd name="connsiteX11" fmla="*/ 6513 w 11630"/>
                          <a:gd name="connsiteY11" fmla="*/ 4722 h 4652"/>
                          <a:gd name="connsiteX12" fmla="*/ 6676 w 11630"/>
                          <a:gd name="connsiteY12" fmla="*/ 4722 h 4652"/>
                          <a:gd name="connsiteX13" fmla="*/ 6839 w 11630"/>
                          <a:gd name="connsiteY13" fmla="*/ 4722 h 4652"/>
                          <a:gd name="connsiteX14" fmla="*/ 7002 w 11630"/>
                          <a:gd name="connsiteY14" fmla="*/ 4722 h 4652"/>
                          <a:gd name="connsiteX15" fmla="*/ 7351 w 11630"/>
                          <a:gd name="connsiteY15" fmla="*/ 4722 h 4652"/>
                          <a:gd name="connsiteX16" fmla="*/ 7676 w 11630"/>
                          <a:gd name="connsiteY16" fmla="*/ 4722 h 4652"/>
                          <a:gd name="connsiteX17" fmla="*/ 8002 w 11630"/>
                          <a:gd name="connsiteY17" fmla="*/ 4722 h 4652"/>
                          <a:gd name="connsiteX18" fmla="*/ 8328 w 11630"/>
                          <a:gd name="connsiteY18" fmla="*/ 4722 h 4652"/>
                          <a:gd name="connsiteX19" fmla="*/ 8653 w 11630"/>
                          <a:gd name="connsiteY19" fmla="*/ 4722 h 4652"/>
                          <a:gd name="connsiteX20" fmla="*/ 8979 w 11630"/>
                          <a:gd name="connsiteY20" fmla="*/ 4722 h 4652"/>
                          <a:gd name="connsiteX21" fmla="*/ 9305 w 11630"/>
                          <a:gd name="connsiteY21" fmla="*/ 4722 h 4652"/>
                          <a:gd name="connsiteX22" fmla="*/ 9630 w 11630"/>
                          <a:gd name="connsiteY22" fmla="*/ 4722 h 4652"/>
                          <a:gd name="connsiteX23" fmla="*/ 9793 w 11630"/>
                          <a:gd name="connsiteY23" fmla="*/ 4722 h 4652"/>
                          <a:gd name="connsiteX24" fmla="*/ 9956 w 11630"/>
                          <a:gd name="connsiteY24" fmla="*/ 4722 h 4652"/>
                          <a:gd name="connsiteX25" fmla="*/ 10119 w 11630"/>
                          <a:gd name="connsiteY25" fmla="*/ 4722 h 4652"/>
                          <a:gd name="connsiteX26" fmla="*/ 10282 w 11630"/>
                          <a:gd name="connsiteY26" fmla="*/ 4722 h 4652"/>
                          <a:gd name="connsiteX27" fmla="*/ 10421 w 11630"/>
                          <a:gd name="connsiteY27" fmla="*/ 4722 h 4652"/>
                          <a:gd name="connsiteX28" fmla="*/ 10584 w 11630"/>
                          <a:gd name="connsiteY28" fmla="*/ 4722 h 4652"/>
                          <a:gd name="connsiteX29" fmla="*/ 10747 w 11630"/>
                          <a:gd name="connsiteY29" fmla="*/ 4722 h 4652"/>
                          <a:gd name="connsiteX30" fmla="*/ 10886 w 11630"/>
                          <a:gd name="connsiteY30" fmla="*/ 4722 h 4652"/>
                          <a:gd name="connsiteX31" fmla="*/ 10886 w 11630"/>
                          <a:gd name="connsiteY31" fmla="*/ 4722 h 4652"/>
                          <a:gd name="connsiteX32" fmla="*/ 10886 w 11630"/>
                          <a:gd name="connsiteY32" fmla="*/ 4722 h 4652"/>
                          <a:gd name="connsiteX33" fmla="*/ 10514 w 11630"/>
                          <a:gd name="connsiteY33" fmla="*/ 3652 h 4652"/>
                          <a:gd name="connsiteX34" fmla="*/ 10468 w 11630"/>
                          <a:gd name="connsiteY34" fmla="*/ 3187 h 4652"/>
                          <a:gd name="connsiteX35" fmla="*/ 10468 w 11630"/>
                          <a:gd name="connsiteY35" fmla="*/ 3187 h 4652"/>
                          <a:gd name="connsiteX36" fmla="*/ 10933 w 11630"/>
                          <a:gd name="connsiteY36" fmla="*/ 1605 h 4652"/>
                          <a:gd name="connsiteX37" fmla="*/ 11724 w 11630"/>
                          <a:gd name="connsiteY37" fmla="*/ 582 h 4652"/>
                          <a:gd name="connsiteX38" fmla="*/ 12771 w 11630"/>
                          <a:gd name="connsiteY38" fmla="*/ 0 h 4652"/>
                          <a:gd name="connsiteX39" fmla="*/ 4117 w 11630"/>
                          <a:gd name="connsiteY39" fmla="*/ 0 h 4652"/>
                          <a:gd name="connsiteX40" fmla="*/ 2326 w 11630"/>
                          <a:gd name="connsiteY40" fmla="*/ 0 h 4652"/>
                          <a:gd name="connsiteX41" fmla="*/ 2280 w 11630"/>
                          <a:gd name="connsiteY41" fmla="*/ 0 h 4652"/>
                          <a:gd name="connsiteX42" fmla="*/ 1954 w 11630"/>
                          <a:gd name="connsiteY42" fmla="*/ 46 h 4652"/>
                          <a:gd name="connsiteX43" fmla="*/ 1814 w 11630"/>
                          <a:gd name="connsiteY43" fmla="*/ 116 h 4652"/>
                          <a:gd name="connsiteX44" fmla="*/ 1698 w 11630"/>
                          <a:gd name="connsiteY44" fmla="*/ 186 h 4652"/>
                          <a:gd name="connsiteX45" fmla="*/ 1582 w 11630"/>
                          <a:gd name="connsiteY45" fmla="*/ 233 h 4652"/>
                          <a:gd name="connsiteX46" fmla="*/ 1256 w 11630"/>
                          <a:gd name="connsiteY46" fmla="*/ 558 h 4652"/>
                          <a:gd name="connsiteX47" fmla="*/ 465 w 11630"/>
                          <a:gd name="connsiteY47" fmla="*/ 1582 h 4652"/>
                          <a:gd name="connsiteX48" fmla="*/ 186 w 11630"/>
                          <a:gd name="connsiteY48" fmla="*/ 2117 h 4652"/>
                          <a:gd name="connsiteX49" fmla="*/ 140 w 11630"/>
                          <a:gd name="connsiteY49" fmla="*/ 2233 h 4652"/>
                          <a:gd name="connsiteX50" fmla="*/ 93 w 11630"/>
                          <a:gd name="connsiteY50" fmla="*/ 2396 h 4652"/>
                          <a:gd name="connsiteX51" fmla="*/ 47 w 11630"/>
                          <a:gd name="connsiteY51" fmla="*/ 2629 h 4652"/>
                          <a:gd name="connsiteX52" fmla="*/ 0 w 11630"/>
                          <a:gd name="connsiteY52" fmla="*/ 3047 h 4652"/>
                          <a:gd name="connsiteX53" fmla="*/ 0 w 11630"/>
                          <a:gd name="connsiteY53" fmla="*/ 3094 h 4652"/>
                          <a:gd name="connsiteX54" fmla="*/ 0 w 11630"/>
                          <a:gd name="connsiteY54" fmla="*/ 3164 h 4652"/>
                          <a:gd name="connsiteX55" fmla="*/ 0 w 11630"/>
                          <a:gd name="connsiteY55" fmla="*/ 3466 h 4652"/>
                          <a:gd name="connsiteX56" fmla="*/ 70 w 11630"/>
                          <a:gd name="connsiteY56" fmla="*/ 3908 h 4652"/>
                          <a:gd name="connsiteX57" fmla="*/ 70 w 11630"/>
                          <a:gd name="connsiteY57" fmla="*/ 3931 h 4652"/>
                          <a:gd name="connsiteX58" fmla="*/ 395 w 11630"/>
                          <a:gd name="connsiteY58" fmla="*/ 4699 h 4652"/>
                          <a:gd name="connsiteX59" fmla="*/ 419 w 11630"/>
                          <a:gd name="connsiteY59" fmla="*/ 4722 h 4652"/>
                          <a:gd name="connsiteX60" fmla="*/ 1024 w 11630"/>
                          <a:gd name="connsiteY60" fmla="*/ 4722 h 4652"/>
                          <a:gd name="connsiteX61" fmla="*/ 1698 w 11630"/>
                          <a:gd name="connsiteY61" fmla="*/ 4722 h 465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  <a:cxn ang="0">
                            <a:pos x="connsiteX43" y="connsiteY43"/>
                          </a:cxn>
                          <a:cxn ang="0">
                            <a:pos x="connsiteX44" y="connsiteY44"/>
                          </a:cxn>
                          <a:cxn ang="0">
                            <a:pos x="connsiteX45" y="connsiteY45"/>
                          </a:cxn>
                          <a:cxn ang="0">
                            <a:pos x="connsiteX46" y="connsiteY46"/>
                          </a:cxn>
                          <a:cxn ang="0">
                            <a:pos x="connsiteX47" y="connsiteY47"/>
                          </a:cxn>
                          <a:cxn ang="0">
                            <a:pos x="connsiteX48" y="connsiteY48"/>
                          </a:cxn>
                          <a:cxn ang="0">
                            <a:pos x="connsiteX49" y="connsiteY49"/>
                          </a:cxn>
                          <a:cxn ang="0">
                            <a:pos x="connsiteX50" y="connsiteY50"/>
                          </a:cxn>
                          <a:cxn ang="0">
                            <a:pos x="connsiteX51" y="connsiteY51"/>
                          </a:cxn>
                          <a:cxn ang="0">
                            <a:pos x="connsiteX52" y="connsiteY52"/>
                          </a:cxn>
                          <a:cxn ang="0">
                            <a:pos x="connsiteX53" y="connsiteY53"/>
                          </a:cxn>
                          <a:cxn ang="0">
                            <a:pos x="connsiteX54" y="connsiteY54"/>
                          </a:cxn>
                          <a:cxn ang="0">
                            <a:pos x="connsiteX55" y="connsiteY55"/>
                          </a:cxn>
                          <a:cxn ang="0">
                            <a:pos x="connsiteX56" y="connsiteY56"/>
                          </a:cxn>
                          <a:cxn ang="0">
                            <a:pos x="connsiteX57" y="connsiteY57"/>
                          </a:cxn>
                          <a:cxn ang="0">
                            <a:pos x="connsiteX58" y="connsiteY58"/>
                          </a:cxn>
                          <a:cxn ang="0">
                            <a:pos x="connsiteX59" y="connsiteY59"/>
                          </a:cxn>
                          <a:cxn ang="0">
                            <a:pos x="connsiteX60" y="connsiteY60"/>
                          </a:cxn>
                          <a:cxn ang="0">
                            <a:pos x="connsiteX61" y="connsiteY61"/>
                          </a:cxn>
                        </a:cxnLst>
                        <a:rect l="l" t="t" r="r" b="b"/>
                        <a:pathLst>
                          <a:path w="11630" h="4652">
                            <a:moveTo>
                              <a:pt x="1698" y="4722"/>
                            </a:moveTo>
                            <a:cubicBezTo>
                              <a:pt x="1884" y="4722"/>
                              <a:pt x="2140" y="4722"/>
                              <a:pt x="2349" y="4722"/>
                            </a:cubicBezTo>
                            <a:cubicBezTo>
                              <a:pt x="2559" y="4722"/>
                              <a:pt x="2815" y="4722"/>
                              <a:pt x="3001" y="4722"/>
                            </a:cubicBezTo>
                            <a:cubicBezTo>
                              <a:pt x="3210" y="4722"/>
                              <a:pt x="3466" y="4722"/>
                              <a:pt x="3675" y="4722"/>
                            </a:cubicBezTo>
                            <a:cubicBezTo>
                              <a:pt x="3885" y="4722"/>
                              <a:pt x="4164" y="4722"/>
                              <a:pt x="4350" y="4722"/>
                            </a:cubicBezTo>
                            <a:cubicBezTo>
                              <a:pt x="4559" y="4722"/>
                              <a:pt x="4838" y="4722"/>
                              <a:pt x="5025" y="4722"/>
                            </a:cubicBezTo>
                            <a:cubicBezTo>
                              <a:pt x="5234" y="4722"/>
                              <a:pt x="5513" y="4722"/>
                              <a:pt x="5699" y="4722"/>
                            </a:cubicBezTo>
                            <a:cubicBezTo>
                              <a:pt x="5769" y="4722"/>
                              <a:pt x="5815" y="4722"/>
                              <a:pt x="5862" y="4722"/>
                            </a:cubicBezTo>
                            <a:cubicBezTo>
                              <a:pt x="5932" y="4722"/>
                              <a:pt x="5978" y="4722"/>
                              <a:pt x="6025" y="4722"/>
                            </a:cubicBezTo>
                            <a:cubicBezTo>
                              <a:pt x="6071" y="4722"/>
                              <a:pt x="6141" y="4722"/>
                              <a:pt x="6188" y="4722"/>
                            </a:cubicBezTo>
                            <a:cubicBezTo>
                              <a:pt x="6234" y="4722"/>
                              <a:pt x="6304" y="4722"/>
                              <a:pt x="6350" y="4722"/>
                            </a:cubicBezTo>
                            <a:cubicBezTo>
                              <a:pt x="6397" y="4722"/>
                              <a:pt x="6467" y="4722"/>
                              <a:pt x="6513" y="4722"/>
                            </a:cubicBezTo>
                            <a:cubicBezTo>
                              <a:pt x="6560" y="4722"/>
                              <a:pt x="6630" y="4722"/>
                              <a:pt x="6676" y="4722"/>
                            </a:cubicBezTo>
                            <a:cubicBezTo>
                              <a:pt x="6723" y="4722"/>
                              <a:pt x="6792" y="4722"/>
                              <a:pt x="6839" y="4722"/>
                            </a:cubicBezTo>
                            <a:cubicBezTo>
                              <a:pt x="6885" y="4722"/>
                              <a:pt x="6955" y="4722"/>
                              <a:pt x="7002" y="4722"/>
                            </a:cubicBezTo>
                            <a:cubicBezTo>
                              <a:pt x="7095" y="4722"/>
                              <a:pt x="7234" y="4722"/>
                              <a:pt x="7351" y="4722"/>
                            </a:cubicBezTo>
                            <a:cubicBezTo>
                              <a:pt x="7444" y="4722"/>
                              <a:pt x="7583" y="4722"/>
                              <a:pt x="7676" y="4722"/>
                            </a:cubicBezTo>
                            <a:cubicBezTo>
                              <a:pt x="7769" y="4722"/>
                              <a:pt x="7909" y="4722"/>
                              <a:pt x="8002" y="4722"/>
                            </a:cubicBezTo>
                            <a:cubicBezTo>
                              <a:pt x="8095" y="4722"/>
                              <a:pt x="8235" y="4722"/>
                              <a:pt x="8328" y="4722"/>
                            </a:cubicBezTo>
                            <a:cubicBezTo>
                              <a:pt x="8444" y="4722"/>
                              <a:pt x="8560" y="4722"/>
                              <a:pt x="8653" y="4722"/>
                            </a:cubicBezTo>
                            <a:cubicBezTo>
                              <a:pt x="8746" y="4722"/>
                              <a:pt x="8863" y="4722"/>
                              <a:pt x="8979" y="4722"/>
                            </a:cubicBezTo>
                            <a:cubicBezTo>
                              <a:pt x="9072" y="4722"/>
                              <a:pt x="9188" y="4722"/>
                              <a:pt x="9305" y="4722"/>
                            </a:cubicBezTo>
                            <a:cubicBezTo>
                              <a:pt x="9398" y="4722"/>
                              <a:pt x="9514" y="4722"/>
                              <a:pt x="9630" y="4722"/>
                            </a:cubicBezTo>
                            <a:cubicBezTo>
                              <a:pt x="9677" y="4722"/>
                              <a:pt x="9747" y="4722"/>
                              <a:pt x="9793" y="4722"/>
                            </a:cubicBezTo>
                            <a:cubicBezTo>
                              <a:pt x="9840" y="4722"/>
                              <a:pt x="9909" y="4722"/>
                              <a:pt x="9956" y="4722"/>
                            </a:cubicBezTo>
                            <a:cubicBezTo>
                              <a:pt x="10003" y="4722"/>
                              <a:pt x="10072" y="4722"/>
                              <a:pt x="10119" y="4722"/>
                            </a:cubicBezTo>
                            <a:cubicBezTo>
                              <a:pt x="10165" y="4722"/>
                              <a:pt x="10235" y="4722"/>
                              <a:pt x="10282" y="4722"/>
                            </a:cubicBezTo>
                            <a:cubicBezTo>
                              <a:pt x="10328" y="4722"/>
                              <a:pt x="10375" y="4722"/>
                              <a:pt x="10421" y="4722"/>
                            </a:cubicBezTo>
                            <a:cubicBezTo>
                              <a:pt x="10468" y="4722"/>
                              <a:pt x="10538" y="4722"/>
                              <a:pt x="10584" y="4722"/>
                            </a:cubicBezTo>
                            <a:cubicBezTo>
                              <a:pt x="10631" y="4722"/>
                              <a:pt x="10700" y="4722"/>
                              <a:pt x="10747" y="4722"/>
                            </a:cubicBezTo>
                            <a:cubicBezTo>
                              <a:pt x="10793" y="4722"/>
                              <a:pt x="10840" y="4722"/>
                              <a:pt x="10886" y="4722"/>
                            </a:cubicBezTo>
                            <a:lnTo>
                              <a:pt x="10886" y="4722"/>
                            </a:lnTo>
                            <a:lnTo>
                              <a:pt x="10886" y="4722"/>
                            </a:lnTo>
                            <a:cubicBezTo>
                              <a:pt x="10677" y="4396"/>
                              <a:pt x="10561" y="4024"/>
                              <a:pt x="10514" y="3652"/>
                            </a:cubicBezTo>
                            <a:cubicBezTo>
                              <a:pt x="10491" y="3489"/>
                              <a:pt x="10468" y="3326"/>
                              <a:pt x="10468" y="3187"/>
                            </a:cubicBezTo>
                            <a:lnTo>
                              <a:pt x="10468" y="3187"/>
                            </a:lnTo>
                            <a:cubicBezTo>
                              <a:pt x="10468" y="2605"/>
                              <a:pt x="10631" y="2024"/>
                              <a:pt x="10933" y="1605"/>
                            </a:cubicBezTo>
                            <a:cubicBezTo>
                              <a:pt x="11212" y="1256"/>
                              <a:pt x="11445" y="907"/>
                              <a:pt x="11724" y="582"/>
                            </a:cubicBezTo>
                            <a:cubicBezTo>
                              <a:pt x="12026" y="186"/>
                              <a:pt x="12398" y="0"/>
                              <a:pt x="12771" y="0"/>
                            </a:cubicBezTo>
                            <a:lnTo>
                              <a:pt x="4117" y="0"/>
                            </a:lnTo>
                            <a:lnTo>
                              <a:pt x="2326" y="0"/>
                            </a:lnTo>
                            <a:cubicBezTo>
                              <a:pt x="2303" y="0"/>
                              <a:pt x="2280" y="0"/>
                              <a:pt x="2280" y="0"/>
                            </a:cubicBezTo>
                            <a:cubicBezTo>
                              <a:pt x="2163" y="0"/>
                              <a:pt x="2070" y="23"/>
                              <a:pt x="1954" y="46"/>
                            </a:cubicBezTo>
                            <a:cubicBezTo>
                              <a:pt x="1907" y="70"/>
                              <a:pt x="1861" y="93"/>
                              <a:pt x="1814" y="116"/>
                            </a:cubicBezTo>
                            <a:cubicBezTo>
                              <a:pt x="1768" y="140"/>
                              <a:pt x="1745" y="163"/>
                              <a:pt x="1698" y="186"/>
                            </a:cubicBezTo>
                            <a:cubicBezTo>
                              <a:pt x="1652" y="209"/>
                              <a:pt x="1628" y="209"/>
                              <a:pt x="1582" y="233"/>
                            </a:cubicBezTo>
                            <a:cubicBezTo>
                              <a:pt x="1465" y="326"/>
                              <a:pt x="1349" y="442"/>
                              <a:pt x="1256" y="558"/>
                            </a:cubicBezTo>
                            <a:cubicBezTo>
                              <a:pt x="977" y="907"/>
                              <a:pt x="721" y="1256"/>
                              <a:pt x="465" y="1582"/>
                            </a:cubicBezTo>
                            <a:cubicBezTo>
                              <a:pt x="349" y="1745"/>
                              <a:pt x="256" y="1931"/>
                              <a:pt x="186" y="2117"/>
                            </a:cubicBezTo>
                            <a:cubicBezTo>
                              <a:pt x="163" y="2163"/>
                              <a:pt x="163" y="2210"/>
                              <a:pt x="140" y="2233"/>
                            </a:cubicBezTo>
                            <a:cubicBezTo>
                              <a:pt x="116" y="2280"/>
                              <a:pt x="116" y="2349"/>
                              <a:pt x="93" y="2396"/>
                            </a:cubicBezTo>
                            <a:cubicBezTo>
                              <a:pt x="70" y="2466"/>
                              <a:pt x="47" y="2559"/>
                              <a:pt x="47" y="2629"/>
                            </a:cubicBezTo>
                            <a:cubicBezTo>
                              <a:pt x="23" y="2768"/>
                              <a:pt x="0" y="2908"/>
                              <a:pt x="0" y="3047"/>
                            </a:cubicBezTo>
                            <a:cubicBezTo>
                              <a:pt x="0" y="3071"/>
                              <a:pt x="0" y="3094"/>
                              <a:pt x="0" y="3094"/>
                            </a:cubicBezTo>
                            <a:cubicBezTo>
                              <a:pt x="0" y="3117"/>
                              <a:pt x="0" y="3140"/>
                              <a:pt x="0" y="3164"/>
                            </a:cubicBezTo>
                            <a:cubicBezTo>
                              <a:pt x="0" y="3257"/>
                              <a:pt x="0" y="3373"/>
                              <a:pt x="0" y="3466"/>
                            </a:cubicBezTo>
                            <a:cubicBezTo>
                              <a:pt x="23" y="3629"/>
                              <a:pt x="47" y="3768"/>
                              <a:pt x="70" y="3908"/>
                            </a:cubicBezTo>
                            <a:lnTo>
                              <a:pt x="70" y="3931"/>
                            </a:lnTo>
                            <a:cubicBezTo>
                              <a:pt x="140" y="4210"/>
                              <a:pt x="256" y="4466"/>
                              <a:pt x="395" y="4699"/>
                            </a:cubicBezTo>
                            <a:lnTo>
                              <a:pt x="419" y="4722"/>
                            </a:lnTo>
                            <a:cubicBezTo>
                              <a:pt x="605" y="4722"/>
                              <a:pt x="837" y="4722"/>
                              <a:pt x="1024" y="4722"/>
                            </a:cubicBezTo>
                            <a:cubicBezTo>
                              <a:pt x="1279" y="4722"/>
                              <a:pt x="1535" y="4722"/>
                              <a:pt x="1698" y="4722"/>
                            </a:cubicBezTo>
                            <a:close/>
                          </a:path>
                        </a:pathLst>
                      </a:custGeom>
                      <a:solidFill>
                        <a:srgbClr val="F19439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731" name="Freeform: Shape 1730">
                        <a:extLst>
                          <a:ext uri="{FF2B5EF4-FFF2-40B4-BE49-F238E27FC236}">
                            <a16:creationId xmlns:a16="http://schemas.microsoft.com/office/drawing/2014/main" id="{A8C87E22-07F4-43C0-858A-DE1AE66774E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80065" y="4046509"/>
                        <a:ext cx="2326" cy="2326"/>
                      </a:xfrm>
                      <a:custGeom>
                        <a:avLst/>
                        <a:gdLst>
                          <a:gd name="connsiteX0" fmla="*/ 0 w 0"/>
                          <a:gd name="connsiteY0" fmla="*/ 0 h 0"/>
                          <a:gd name="connsiteX1" fmla="*/ 0 w 0"/>
                          <a:gd name="connsiteY1" fmla="*/ 0 h 0"/>
                          <a:gd name="connsiteX2" fmla="*/ 0 w 0"/>
                          <a:gd name="connsiteY2" fmla="*/ 0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0" y="0"/>
                            </a:moveTo>
                            <a:lnTo>
                              <a:pt x="0" y="0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solidFill>
                        <a:srgbClr val="F19439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732" name="Freeform: Shape 1731">
                        <a:extLst>
                          <a:ext uri="{FF2B5EF4-FFF2-40B4-BE49-F238E27FC236}">
                            <a16:creationId xmlns:a16="http://schemas.microsoft.com/office/drawing/2014/main" id="{C068A922-D400-4E39-8405-1E0D6AA41E3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79437" y="4157118"/>
                        <a:ext cx="2326" cy="2326"/>
                      </a:xfrm>
                      <a:custGeom>
                        <a:avLst/>
                        <a:gdLst>
                          <a:gd name="connsiteX0" fmla="*/ 0 w 0"/>
                          <a:gd name="connsiteY0" fmla="*/ 0 h 0"/>
                          <a:gd name="connsiteX1" fmla="*/ 0 w 0"/>
                          <a:gd name="connsiteY1" fmla="*/ 0 h 0"/>
                          <a:gd name="connsiteX2" fmla="*/ 0 w 0"/>
                          <a:gd name="connsiteY2" fmla="*/ 0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0" y="0"/>
                            </a:moveTo>
                            <a:lnTo>
                              <a:pt x="0" y="0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solidFill>
                        <a:srgbClr val="F19439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733" name="Freeform: Shape 1732">
                        <a:extLst>
                          <a:ext uri="{FF2B5EF4-FFF2-40B4-BE49-F238E27FC236}">
                            <a16:creationId xmlns:a16="http://schemas.microsoft.com/office/drawing/2014/main" id="{6C968C43-B052-42F0-B14E-59029BA8944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66689" y="4152326"/>
                        <a:ext cx="11631" cy="4652"/>
                      </a:xfrm>
                      <a:custGeom>
                        <a:avLst/>
                        <a:gdLst>
                          <a:gd name="connsiteX0" fmla="*/ 11677 w 11630"/>
                          <a:gd name="connsiteY0" fmla="*/ 4187 h 4652"/>
                          <a:gd name="connsiteX1" fmla="*/ 10910 w 11630"/>
                          <a:gd name="connsiteY1" fmla="*/ 3140 h 4652"/>
                          <a:gd name="connsiteX2" fmla="*/ 10584 w 11630"/>
                          <a:gd name="connsiteY2" fmla="*/ 675 h 4652"/>
                          <a:gd name="connsiteX3" fmla="*/ 10584 w 11630"/>
                          <a:gd name="connsiteY3" fmla="*/ 675 h 4652"/>
                          <a:gd name="connsiteX4" fmla="*/ 10886 w 11630"/>
                          <a:gd name="connsiteY4" fmla="*/ 0 h 4652"/>
                          <a:gd name="connsiteX5" fmla="*/ 10886 w 11630"/>
                          <a:gd name="connsiteY5" fmla="*/ 0 h 4652"/>
                          <a:gd name="connsiteX6" fmla="*/ 465 w 11630"/>
                          <a:gd name="connsiteY6" fmla="*/ 0 h 4652"/>
                          <a:gd name="connsiteX7" fmla="*/ 442 w 11630"/>
                          <a:gd name="connsiteY7" fmla="*/ 23 h 4652"/>
                          <a:gd name="connsiteX8" fmla="*/ 186 w 11630"/>
                          <a:gd name="connsiteY8" fmla="*/ 512 h 4652"/>
                          <a:gd name="connsiteX9" fmla="*/ 140 w 11630"/>
                          <a:gd name="connsiteY9" fmla="*/ 698 h 4652"/>
                          <a:gd name="connsiteX10" fmla="*/ 93 w 11630"/>
                          <a:gd name="connsiteY10" fmla="*/ 861 h 4652"/>
                          <a:gd name="connsiteX11" fmla="*/ 47 w 11630"/>
                          <a:gd name="connsiteY11" fmla="*/ 1024 h 4652"/>
                          <a:gd name="connsiteX12" fmla="*/ 0 w 11630"/>
                          <a:gd name="connsiteY12" fmla="*/ 1442 h 4652"/>
                          <a:gd name="connsiteX13" fmla="*/ 0 w 11630"/>
                          <a:gd name="connsiteY13" fmla="*/ 1559 h 4652"/>
                          <a:gd name="connsiteX14" fmla="*/ 0 w 11630"/>
                          <a:gd name="connsiteY14" fmla="*/ 1652 h 4652"/>
                          <a:gd name="connsiteX15" fmla="*/ 0 w 11630"/>
                          <a:gd name="connsiteY15" fmla="*/ 1861 h 4652"/>
                          <a:gd name="connsiteX16" fmla="*/ 70 w 11630"/>
                          <a:gd name="connsiteY16" fmla="*/ 2303 h 4652"/>
                          <a:gd name="connsiteX17" fmla="*/ 93 w 11630"/>
                          <a:gd name="connsiteY17" fmla="*/ 2349 h 4652"/>
                          <a:gd name="connsiteX18" fmla="*/ 442 w 11630"/>
                          <a:gd name="connsiteY18" fmla="*/ 3140 h 4652"/>
                          <a:gd name="connsiteX19" fmla="*/ 1210 w 11630"/>
                          <a:gd name="connsiteY19" fmla="*/ 4187 h 4652"/>
                          <a:gd name="connsiteX20" fmla="*/ 2280 w 11630"/>
                          <a:gd name="connsiteY20" fmla="*/ 4792 h 4652"/>
                          <a:gd name="connsiteX21" fmla="*/ 4001 w 11630"/>
                          <a:gd name="connsiteY21" fmla="*/ 4792 h 4652"/>
                          <a:gd name="connsiteX22" fmla="*/ 12701 w 11630"/>
                          <a:gd name="connsiteY22" fmla="*/ 4792 h 4652"/>
                          <a:gd name="connsiteX23" fmla="*/ 11677 w 11630"/>
                          <a:gd name="connsiteY23" fmla="*/ 4187 h 465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</a:cxnLst>
                        <a:rect l="l" t="t" r="r" b="b"/>
                        <a:pathLst>
                          <a:path w="11630" h="4652">
                            <a:moveTo>
                              <a:pt x="11677" y="4187"/>
                            </a:moveTo>
                            <a:cubicBezTo>
                              <a:pt x="11422" y="3838"/>
                              <a:pt x="11166" y="3489"/>
                              <a:pt x="10910" y="3140"/>
                            </a:cubicBezTo>
                            <a:cubicBezTo>
                              <a:pt x="10445" y="2466"/>
                              <a:pt x="10328" y="1489"/>
                              <a:pt x="10584" y="675"/>
                            </a:cubicBezTo>
                            <a:lnTo>
                              <a:pt x="10584" y="675"/>
                            </a:lnTo>
                            <a:cubicBezTo>
                              <a:pt x="10654" y="442"/>
                              <a:pt x="10747" y="209"/>
                              <a:pt x="10886" y="0"/>
                            </a:cubicBezTo>
                            <a:lnTo>
                              <a:pt x="10886" y="0"/>
                            </a:lnTo>
                            <a:lnTo>
                              <a:pt x="465" y="0"/>
                            </a:lnTo>
                            <a:cubicBezTo>
                              <a:pt x="465" y="0"/>
                              <a:pt x="442" y="0"/>
                              <a:pt x="442" y="23"/>
                            </a:cubicBezTo>
                            <a:cubicBezTo>
                              <a:pt x="349" y="186"/>
                              <a:pt x="256" y="349"/>
                              <a:pt x="186" y="512"/>
                            </a:cubicBezTo>
                            <a:cubicBezTo>
                              <a:pt x="163" y="558"/>
                              <a:pt x="163" y="628"/>
                              <a:pt x="140" y="698"/>
                            </a:cubicBezTo>
                            <a:cubicBezTo>
                              <a:pt x="116" y="744"/>
                              <a:pt x="93" y="791"/>
                              <a:pt x="93" y="861"/>
                            </a:cubicBezTo>
                            <a:cubicBezTo>
                              <a:pt x="70" y="907"/>
                              <a:pt x="47" y="977"/>
                              <a:pt x="47" y="1024"/>
                            </a:cubicBezTo>
                            <a:cubicBezTo>
                              <a:pt x="23" y="1163"/>
                              <a:pt x="0" y="1303"/>
                              <a:pt x="0" y="1442"/>
                            </a:cubicBezTo>
                            <a:cubicBezTo>
                              <a:pt x="0" y="1465"/>
                              <a:pt x="0" y="1512"/>
                              <a:pt x="0" y="1559"/>
                            </a:cubicBezTo>
                            <a:cubicBezTo>
                              <a:pt x="0" y="1582"/>
                              <a:pt x="0" y="1605"/>
                              <a:pt x="0" y="1652"/>
                            </a:cubicBezTo>
                            <a:cubicBezTo>
                              <a:pt x="0" y="1721"/>
                              <a:pt x="0" y="1791"/>
                              <a:pt x="0" y="1861"/>
                            </a:cubicBezTo>
                            <a:cubicBezTo>
                              <a:pt x="23" y="2024"/>
                              <a:pt x="47" y="2163"/>
                              <a:pt x="70" y="2303"/>
                            </a:cubicBezTo>
                            <a:cubicBezTo>
                              <a:pt x="70" y="2303"/>
                              <a:pt x="93" y="2326"/>
                              <a:pt x="93" y="2349"/>
                            </a:cubicBezTo>
                            <a:cubicBezTo>
                              <a:pt x="163" y="2629"/>
                              <a:pt x="279" y="2908"/>
                              <a:pt x="442" y="3140"/>
                            </a:cubicBezTo>
                            <a:cubicBezTo>
                              <a:pt x="698" y="3513"/>
                              <a:pt x="954" y="3838"/>
                              <a:pt x="1210" y="4187"/>
                            </a:cubicBezTo>
                            <a:cubicBezTo>
                              <a:pt x="1512" y="4606"/>
                              <a:pt x="1907" y="4792"/>
                              <a:pt x="2280" y="4792"/>
                            </a:cubicBezTo>
                            <a:lnTo>
                              <a:pt x="4001" y="4792"/>
                            </a:lnTo>
                            <a:lnTo>
                              <a:pt x="12701" y="4792"/>
                            </a:lnTo>
                            <a:cubicBezTo>
                              <a:pt x="12375" y="4792"/>
                              <a:pt x="11980" y="4606"/>
                              <a:pt x="11677" y="4187"/>
                            </a:cubicBezTo>
                            <a:close/>
                          </a:path>
                        </a:pathLst>
                      </a:custGeom>
                      <a:solidFill>
                        <a:srgbClr val="F19439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734" name="Freeform: Shape 1733">
                        <a:extLst>
                          <a:ext uri="{FF2B5EF4-FFF2-40B4-BE49-F238E27FC236}">
                            <a16:creationId xmlns:a16="http://schemas.microsoft.com/office/drawing/2014/main" id="{1022F624-2FC7-4AC3-BAD1-993A21CB8B9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77599" y="4152303"/>
                        <a:ext cx="2326" cy="2326"/>
                      </a:xfrm>
                      <a:custGeom>
                        <a:avLst/>
                        <a:gdLst>
                          <a:gd name="connsiteX0" fmla="*/ 0 w 0"/>
                          <a:gd name="connsiteY0" fmla="*/ 0 h 0"/>
                          <a:gd name="connsiteX1" fmla="*/ 0 w 0"/>
                          <a:gd name="connsiteY1" fmla="*/ 0 h 0"/>
                          <a:gd name="connsiteX2" fmla="*/ 0 w 0"/>
                          <a:gd name="connsiteY2" fmla="*/ 0 h 0"/>
                          <a:gd name="connsiteX3" fmla="*/ 0 w 0"/>
                          <a:gd name="connsiteY3" fmla="*/ 0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0" y="0"/>
                            </a:moveTo>
                            <a:lnTo>
                              <a:pt x="0" y="0"/>
                            </a:lnTo>
                            <a:lnTo>
                              <a:pt x="0" y="0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solidFill>
                        <a:srgbClr val="F19439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735" name="Freeform: Shape 1734">
                        <a:extLst>
                          <a:ext uri="{FF2B5EF4-FFF2-40B4-BE49-F238E27FC236}">
                            <a16:creationId xmlns:a16="http://schemas.microsoft.com/office/drawing/2014/main" id="{CABB1B4B-5556-45E9-9FAC-26588515A06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63037" y="4146767"/>
                        <a:ext cx="11631" cy="4652"/>
                      </a:xfrm>
                      <a:custGeom>
                        <a:avLst/>
                        <a:gdLst>
                          <a:gd name="connsiteX0" fmla="*/ 12492 w 11630"/>
                          <a:gd name="connsiteY0" fmla="*/ 4978 h 4652"/>
                          <a:gd name="connsiteX1" fmla="*/ 11631 w 11630"/>
                          <a:gd name="connsiteY1" fmla="*/ 4257 h 4652"/>
                          <a:gd name="connsiteX2" fmla="*/ 10933 w 11630"/>
                          <a:gd name="connsiteY2" fmla="*/ 3117 h 4652"/>
                          <a:gd name="connsiteX3" fmla="*/ 10724 w 11630"/>
                          <a:gd name="connsiteY3" fmla="*/ 744 h 4652"/>
                          <a:gd name="connsiteX4" fmla="*/ 10724 w 11630"/>
                          <a:gd name="connsiteY4" fmla="*/ 744 h 4652"/>
                          <a:gd name="connsiteX5" fmla="*/ 10724 w 11630"/>
                          <a:gd name="connsiteY5" fmla="*/ 744 h 4652"/>
                          <a:gd name="connsiteX6" fmla="*/ 11119 w 11630"/>
                          <a:gd name="connsiteY6" fmla="*/ 23 h 4652"/>
                          <a:gd name="connsiteX7" fmla="*/ 11142 w 11630"/>
                          <a:gd name="connsiteY7" fmla="*/ 0 h 4652"/>
                          <a:gd name="connsiteX8" fmla="*/ 10980 w 11630"/>
                          <a:gd name="connsiteY8" fmla="*/ 0 h 4652"/>
                          <a:gd name="connsiteX9" fmla="*/ 10840 w 11630"/>
                          <a:gd name="connsiteY9" fmla="*/ 0 h 4652"/>
                          <a:gd name="connsiteX10" fmla="*/ 10677 w 11630"/>
                          <a:gd name="connsiteY10" fmla="*/ 0 h 4652"/>
                          <a:gd name="connsiteX11" fmla="*/ 10514 w 11630"/>
                          <a:gd name="connsiteY11" fmla="*/ 0 h 4652"/>
                          <a:gd name="connsiteX12" fmla="*/ 10351 w 11630"/>
                          <a:gd name="connsiteY12" fmla="*/ 0 h 4652"/>
                          <a:gd name="connsiteX13" fmla="*/ 10189 w 11630"/>
                          <a:gd name="connsiteY13" fmla="*/ 0 h 4652"/>
                          <a:gd name="connsiteX14" fmla="*/ 10026 w 11630"/>
                          <a:gd name="connsiteY14" fmla="*/ 0 h 4652"/>
                          <a:gd name="connsiteX15" fmla="*/ 9863 w 11630"/>
                          <a:gd name="connsiteY15" fmla="*/ 0 h 4652"/>
                          <a:gd name="connsiteX16" fmla="*/ 8909 w 11630"/>
                          <a:gd name="connsiteY16" fmla="*/ 0 h 4652"/>
                          <a:gd name="connsiteX17" fmla="*/ 7909 w 11630"/>
                          <a:gd name="connsiteY17" fmla="*/ 0 h 4652"/>
                          <a:gd name="connsiteX18" fmla="*/ 6885 w 11630"/>
                          <a:gd name="connsiteY18" fmla="*/ 0 h 4652"/>
                          <a:gd name="connsiteX19" fmla="*/ 5862 w 11630"/>
                          <a:gd name="connsiteY19" fmla="*/ 0 h 4652"/>
                          <a:gd name="connsiteX20" fmla="*/ 4838 w 11630"/>
                          <a:gd name="connsiteY20" fmla="*/ 0 h 4652"/>
                          <a:gd name="connsiteX21" fmla="*/ 3815 w 11630"/>
                          <a:gd name="connsiteY21" fmla="*/ 0 h 4652"/>
                          <a:gd name="connsiteX22" fmla="*/ 2815 w 11630"/>
                          <a:gd name="connsiteY22" fmla="*/ 0 h 4652"/>
                          <a:gd name="connsiteX23" fmla="*/ 1861 w 11630"/>
                          <a:gd name="connsiteY23" fmla="*/ 0 h 4652"/>
                          <a:gd name="connsiteX24" fmla="*/ 1698 w 11630"/>
                          <a:gd name="connsiteY24" fmla="*/ 0 h 4652"/>
                          <a:gd name="connsiteX25" fmla="*/ 1535 w 11630"/>
                          <a:gd name="connsiteY25" fmla="*/ 0 h 4652"/>
                          <a:gd name="connsiteX26" fmla="*/ 1372 w 11630"/>
                          <a:gd name="connsiteY26" fmla="*/ 0 h 4652"/>
                          <a:gd name="connsiteX27" fmla="*/ 1210 w 11630"/>
                          <a:gd name="connsiteY27" fmla="*/ 0 h 4652"/>
                          <a:gd name="connsiteX28" fmla="*/ 1047 w 11630"/>
                          <a:gd name="connsiteY28" fmla="*/ 0 h 4652"/>
                          <a:gd name="connsiteX29" fmla="*/ 884 w 11630"/>
                          <a:gd name="connsiteY29" fmla="*/ 0 h 4652"/>
                          <a:gd name="connsiteX30" fmla="*/ 744 w 11630"/>
                          <a:gd name="connsiteY30" fmla="*/ 0 h 4652"/>
                          <a:gd name="connsiteX31" fmla="*/ 582 w 11630"/>
                          <a:gd name="connsiteY31" fmla="*/ 0 h 4652"/>
                          <a:gd name="connsiteX32" fmla="*/ 558 w 11630"/>
                          <a:gd name="connsiteY32" fmla="*/ 23 h 4652"/>
                          <a:gd name="connsiteX33" fmla="*/ 186 w 11630"/>
                          <a:gd name="connsiteY33" fmla="*/ 651 h 4652"/>
                          <a:gd name="connsiteX34" fmla="*/ 186 w 11630"/>
                          <a:gd name="connsiteY34" fmla="*/ 675 h 4652"/>
                          <a:gd name="connsiteX35" fmla="*/ 163 w 11630"/>
                          <a:gd name="connsiteY35" fmla="*/ 768 h 4652"/>
                          <a:gd name="connsiteX36" fmla="*/ 47 w 11630"/>
                          <a:gd name="connsiteY36" fmla="*/ 1163 h 4652"/>
                          <a:gd name="connsiteX37" fmla="*/ 0 w 11630"/>
                          <a:gd name="connsiteY37" fmla="*/ 1465 h 4652"/>
                          <a:gd name="connsiteX38" fmla="*/ 0 w 11630"/>
                          <a:gd name="connsiteY38" fmla="*/ 1535 h 4652"/>
                          <a:gd name="connsiteX39" fmla="*/ 0 w 11630"/>
                          <a:gd name="connsiteY39" fmla="*/ 1582 h 4652"/>
                          <a:gd name="connsiteX40" fmla="*/ 0 w 11630"/>
                          <a:gd name="connsiteY40" fmla="*/ 2001 h 4652"/>
                          <a:gd name="connsiteX41" fmla="*/ 47 w 11630"/>
                          <a:gd name="connsiteY41" fmla="*/ 2303 h 4652"/>
                          <a:gd name="connsiteX42" fmla="*/ 70 w 11630"/>
                          <a:gd name="connsiteY42" fmla="*/ 2396 h 4652"/>
                          <a:gd name="connsiteX43" fmla="*/ 70 w 11630"/>
                          <a:gd name="connsiteY43" fmla="*/ 2466 h 4652"/>
                          <a:gd name="connsiteX44" fmla="*/ 349 w 11630"/>
                          <a:gd name="connsiteY44" fmla="*/ 3140 h 4652"/>
                          <a:gd name="connsiteX45" fmla="*/ 1047 w 11630"/>
                          <a:gd name="connsiteY45" fmla="*/ 4280 h 4652"/>
                          <a:gd name="connsiteX46" fmla="*/ 2233 w 11630"/>
                          <a:gd name="connsiteY46" fmla="*/ 5048 h 4652"/>
                          <a:gd name="connsiteX47" fmla="*/ 3629 w 11630"/>
                          <a:gd name="connsiteY47" fmla="*/ 5048 h 4652"/>
                          <a:gd name="connsiteX48" fmla="*/ 12654 w 11630"/>
                          <a:gd name="connsiteY48" fmla="*/ 5048 h 4652"/>
                          <a:gd name="connsiteX49" fmla="*/ 12492 w 11630"/>
                          <a:gd name="connsiteY49" fmla="*/ 4978 h 465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  <a:cxn ang="0">
                            <a:pos x="connsiteX43" y="connsiteY43"/>
                          </a:cxn>
                          <a:cxn ang="0">
                            <a:pos x="connsiteX44" y="connsiteY44"/>
                          </a:cxn>
                          <a:cxn ang="0">
                            <a:pos x="connsiteX45" y="connsiteY45"/>
                          </a:cxn>
                          <a:cxn ang="0">
                            <a:pos x="connsiteX46" y="connsiteY46"/>
                          </a:cxn>
                          <a:cxn ang="0">
                            <a:pos x="connsiteX47" y="connsiteY47"/>
                          </a:cxn>
                          <a:cxn ang="0">
                            <a:pos x="connsiteX48" y="connsiteY48"/>
                          </a:cxn>
                          <a:cxn ang="0">
                            <a:pos x="connsiteX49" y="connsiteY49"/>
                          </a:cxn>
                        </a:cxnLst>
                        <a:rect l="l" t="t" r="r" b="b"/>
                        <a:pathLst>
                          <a:path w="11630" h="4652">
                            <a:moveTo>
                              <a:pt x="12492" y="4978"/>
                            </a:moveTo>
                            <a:cubicBezTo>
                              <a:pt x="12166" y="4885"/>
                              <a:pt x="11863" y="4652"/>
                              <a:pt x="11631" y="4257"/>
                            </a:cubicBezTo>
                            <a:cubicBezTo>
                              <a:pt x="11398" y="3885"/>
                              <a:pt x="11166" y="3513"/>
                              <a:pt x="10933" y="3117"/>
                            </a:cubicBezTo>
                            <a:cubicBezTo>
                              <a:pt x="10538" y="2419"/>
                              <a:pt x="10468" y="1489"/>
                              <a:pt x="10724" y="744"/>
                            </a:cubicBezTo>
                            <a:lnTo>
                              <a:pt x="10724" y="744"/>
                            </a:lnTo>
                            <a:lnTo>
                              <a:pt x="10724" y="744"/>
                            </a:lnTo>
                            <a:cubicBezTo>
                              <a:pt x="10817" y="465"/>
                              <a:pt x="10933" y="209"/>
                              <a:pt x="11119" y="23"/>
                            </a:cubicBezTo>
                            <a:cubicBezTo>
                              <a:pt x="11119" y="23"/>
                              <a:pt x="11119" y="0"/>
                              <a:pt x="11142" y="0"/>
                            </a:cubicBezTo>
                            <a:cubicBezTo>
                              <a:pt x="11096" y="0"/>
                              <a:pt x="11049" y="0"/>
                              <a:pt x="10980" y="0"/>
                            </a:cubicBezTo>
                            <a:cubicBezTo>
                              <a:pt x="10933" y="0"/>
                              <a:pt x="10863" y="0"/>
                              <a:pt x="10840" y="0"/>
                            </a:cubicBezTo>
                            <a:cubicBezTo>
                              <a:pt x="10793" y="0"/>
                              <a:pt x="10724" y="0"/>
                              <a:pt x="10677" y="0"/>
                            </a:cubicBezTo>
                            <a:cubicBezTo>
                              <a:pt x="10631" y="0"/>
                              <a:pt x="10561" y="0"/>
                              <a:pt x="10514" y="0"/>
                            </a:cubicBezTo>
                            <a:cubicBezTo>
                              <a:pt x="10468" y="0"/>
                              <a:pt x="10398" y="0"/>
                              <a:pt x="10351" y="0"/>
                            </a:cubicBezTo>
                            <a:cubicBezTo>
                              <a:pt x="10305" y="0"/>
                              <a:pt x="10258" y="0"/>
                              <a:pt x="10189" y="0"/>
                            </a:cubicBezTo>
                            <a:cubicBezTo>
                              <a:pt x="10142" y="0"/>
                              <a:pt x="10072" y="0"/>
                              <a:pt x="10026" y="0"/>
                            </a:cubicBezTo>
                            <a:cubicBezTo>
                              <a:pt x="9979" y="0"/>
                              <a:pt x="9933" y="0"/>
                              <a:pt x="9863" y="0"/>
                            </a:cubicBezTo>
                            <a:cubicBezTo>
                              <a:pt x="9584" y="0"/>
                              <a:pt x="9188" y="0"/>
                              <a:pt x="8909" y="0"/>
                            </a:cubicBezTo>
                            <a:cubicBezTo>
                              <a:pt x="8607" y="0"/>
                              <a:pt x="8211" y="0"/>
                              <a:pt x="7909" y="0"/>
                            </a:cubicBezTo>
                            <a:cubicBezTo>
                              <a:pt x="7607" y="0"/>
                              <a:pt x="7211" y="0"/>
                              <a:pt x="6885" y="0"/>
                            </a:cubicBezTo>
                            <a:cubicBezTo>
                              <a:pt x="6583" y="0"/>
                              <a:pt x="6164" y="0"/>
                              <a:pt x="5862" y="0"/>
                            </a:cubicBezTo>
                            <a:cubicBezTo>
                              <a:pt x="5560" y="0"/>
                              <a:pt x="5141" y="0"/>
                              <a:pt x="4838" y="0"/>
                            </a:cubicBezTo>
                            <a:cubicBezTo>
                              <a:pt x="4536" y="0"/>
                              <a:pt x="4117" y="0"/>
                              <a:pt x="3815" y="0"/>
                            </a:cubicBezTo>
                            <a:cubicBezTo>
                              <a:pt x="3513" y="0"/>
                              <a:pt x="3117" y="0"/>
                              <a:pt x="2815" y="0"/>
                            </a:cubicBezTo>
                            <a:cubicBezTo>
                              <a:pt x="2512" y="0"/>
                              <a:pt x="2140" y="0"/>
                              <a:pt x="1861" y="0"/>
                            </a:cubicBezTo>
                            <a:cubicBezTo>
                              <a:pt x="1814" y="0"/>
                              <a:pt x="1745" y="0"/>
                              <a:pt x="1698" y="0"/>
                            </a:cubicBezTo>
                            <a:cubicBezTo>
                              <a:pt x="1652" y="0"/>
                              <a:pt x="1582" y="0"/>
                              <a:pt x="1535" y="0"/>
                            </a:cubicBezTo>
                            <a:cubicBezTo>
                              <a:pt x="1489" y="0"/>
                              <a:pt x="1419" y="0"/>
                              <a:pt x="1372" y="0"/>
                            </a:cubicBezTo>
                            <a:cubicBezTo>
                              <a:pt x="1326" y="0"/>
                              <a:pt x="1256" y="0"/>
                              <a:pt x="1210" y="0"/>
                            </a:cubicBezTo>
                            <a:cubicBezTo>
                              <a:pt x="1163" y="0"/>
                              <a:pt x="1093" y="0"/>
                              <a:pt x="1047" y="0"/>
                            </a:cubicBezTo>
                            <a:cubicBezTo>
                              <a:pt x="1000" y="0"/>
                              <a:pt x="930" y="0"/>
                              <a:pt x="884" y="0"/>
                            </a:cubicBezTo>
                            <a:cubicBezTo>
                              <a:pt x="837" y="0"/>
                              <a:pt x="768" y="0"/>
                              <a:pt x="744" y="0"/>
                            </a:cubicBezTo>
                            <a:cubicBezTo>
                              <a:pt x="698" y="0"/>
                              <a:pt x="651" y="0"/>
                              <a:pt x="582" y="0"/>
                            </a:cubicBezTo>
                            <a:lnTo>
                              <a:pt x="558" y="23"/>
                            </a:lnTo>
                            <a:cubicBezTo>
                              <a:pt x="395" y="209"/>
                              <a:pt x="279" y="419"/>
                              <a:pt x="186" y="651"/>
                            </a:cubicBezTo>
                            <a:lnTo>
                              <a:pt x="186" y="675"/>
                            </a:lnTo>
                            <a:cubicBezTo>
                              <a:pt x="186" y="698"/>
                              <a:pt x="163" y="721"/>
                              <a:pt x="163" y="768"/>
                            </a:cubicBezTo>
                            <a:cubicBezTo>
                              <a:pt x="116" y="884"/>
                              <a:pt x="70" y="1024"/>
                              <a:pt x="47" y="1163"/>
                            </a:cubicBezTo>
                            <a:cubicBezTo>
                              <a:pt x="23" y="1256"/>
                              <a:pt x="23" y="1373"/>
                              <a:pt x="0" y="1465"/>
                            </a:cubicBezTo>
                            <a:cubicBezTo>
                              <a:pt x="0" y="1489"/>
                              <a:pt x="0" y="1512"/>
                              <a:pt x="0" y="1535"/>
                            </a:cubicBezTo>
                            <a:cubicBezTo>
                              <a:pt x="0" y="1559"/>
                              <a:pt x="0" y="1559"/>
                              <a:pt x="0" y="1582"/>
                            </a:cubicBezTo>
                            <a:cubicBezTo>
                              <a:pt x="0" y="1721"/>
                              <a:pt x="0" y="1861"/>
                              <a:pt x="0" y="2001"/>
                            </a:cubicBezTo>
                            <a:cubicBezTo>
                              <a:pt x="0" y="2117"/>
                              <a:pt x="23" y="2210"/>
                              <a:pt x="47" y="2303"/>
                            </a:cubicBezTo>
                            <a:cubicBezTo>
                              <a:pt x="47" y="2326"/>
                              <a:pt x="47" y="2373"/>
                              <a:pt x="70" y="2396"/>
                            </a:cubicBezTo>
                            <a:cubicBezTo>
                              <a:pt x="70" y="2419"/>
                              <a:pt x="70" y="2443"/>
                              <a:pt x="70" y="2466"/>
                            </a:cubicBezTo>
                            <a:cubicBezTo>
                              <a:pt x="140" y="2698"/>
                              <a:pt x="233" y="2931"/>
                              <a:pt x="349" y="3140"/>
                            </a:cubicBezTo>
                            <a:cubicBezTo>
                              <a:pt x="582" y="3536"/>
                              <a:pt x="814" y="3931"/>
                              <a:pt x="1047" y="4280"/>
                            </a:cubicBezTo>
                            <a:cubicBezTo>
                              <a:pt x="1349" y="4815"/>
                              <a:pt x="1791" y="5048"/>
                              <a:pt x="2233" y="5048"/>
                            </a:cubicBezTo>
                            <a:lnTo>
                              <a:pt x="3629" y="5048"/>
                            </a:lnTo>
                            <a:lnTo>
                              <a:pt x="12654" y="5048"/>
                            </a:lnTo>
                            <a:cubicBezTo>
                              <a:pt x="12701" y="5025"/>
                              <a:pt x="12585" y="5025"/>
                              <a:pt x="12492" y="4978"/>
                            </a:cubicBezTo>
                            <a:close/>
                          </a:path>
                        </a:pathLst>
                      </a:custGeom>
                      <a:solidFill>
                        <a:srgbClr val="F19439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736" name="Freeform: Shape 1735">
                        <a:extLst>
                          <a:ext uri="{FF2B5EF4-FFF2-40B4-BE49-F238E27FC236}">
                            <a16:creationId xmlns:a16="http://schemas.microsoft.com/office/drawing/2014/main" id="{4300BD7D-6586-4EFC-BBEE-47A2495BF1F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76413" y="4051743"/>
                        <a:ext cx="2326" cy="2326"/>
                      </a:xfrm>
                      <a:custGeom>
                        <a:avLst/>
                        <a:gdLst>
                          <a:gd name="connsiteX0" fmla="*/ 0 w 0"/>
                          <a:gd name="connsiteY0" fmla="*/ 0 h 0"/>
                          <a:gd name="connsiteX1" fmla="*/ 0 w 0"/>
                          <a:gd name="connsiteY1" fmla="*/ 0 h 0"/>
                          <a:gd name="connsiteX2" fmla="*/ 0 w 0"/>
                          <a:gd name="connsiteY2" fmla="*/ 0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0" y="0"/>
                            </a:moveTo>
                            <a:lnTo>
                              <a:pt x="0" y="0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solidFill>
                        <a:srgbClr val="F19439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737" name="Freeform: Shape 1736">
                        <a:extLst>
                          <a:ext uri="{FF2B5EF4-FFF2-40B4-BE49-F238E27FC236}">
                            <a16:creationId xmlns:a16="http://schemas.microsoft.com/office/drawing/2014/main" id="{A46869F4-C8B8-4B16-A95A-A52794C39B0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63735" y="4051743"/>
                        <a:ext cx="11631" cy="4652"/>
                      </a:xfrm>
                      <a:custGeom>
                        <a:avLst/>
                        <a:gdLst>
                          <a:gd name="connsiteX0" fmla="*/ 10980 w 11630"/>
                          <a:gd name="connsiteY0" fmla="*/ 5001 h 4652"/>
                          <a:gd name="connsiteX1" fmla="*/ 10538 w 11630"/>
                          <a:gd name="connsiteY1" fmla="*/ 4094 h 4652"/>
                          <a:gd name="connsiteX2" fmla="*/ 10445 w 11630"/>
                          <a:gd name="connsiteY2" fmla="*/ 3536 h 4652"/>
                          <a:gd name="connsiteX3" fmla="*/ 10445 w 11630"/>
                          <a:gd name="connsiteY3" fmla="*/ 3536 h 4652"/>
                          <a:gd name="connsiteX4" fmla="*/ 10817 w 11630"/>
                          <a:gd name="connsiteY4" fmla="*/ 1884 h 4652"/>
                          <a:gd name="connsiteX5" fmla="*/ 11515 w 11630"/>
                          <a:gd name="connsiteY5" fmla="*/ 744 h 4652"/>
                          <a:gd name="connsiteX6" fmla="*/ 11957 w 11630"/>
                          <a:gd name="connsiteY6" fmla="*/ 256 h 4652"/>
                          <a:gd name="connsiteX7" fmla="*/ 11980 w 11630"/>
                          <a:gd name="connsiteY7" fmla="*/ 233 h 4652"/>
                          <a:gd name="connsiteX8" fmla="*/ 11980 w 11630"/>
                          <a:gd name="connsiteY8" fmla="*/ 233 h 4652"/>
                          <a:gd name="connsiteX9" fmla="*/ 12678 w 11630"/>
                          <a:gd name="connsiteY9" fmla="*/ 0 h 4652"/>
                          <a:gd name="connsiteX10" fmla="*/ 3699 w 11630"/>
                          <a:gd name="connsiteY10" fmla="*/ 0 h 4652"/>
                          <a:gd name="connsiteX11" fmla="*/ 2256 w 11630"/>
                          <a:gd name="connsiteY11" fmla="*/ 0 h 4652"/>
                          <a:gd name="connsiteX12" fmla="*/ 2187 w 11630"/>
                          <a:gd name="connsiteY12" fmla="*/ 0 h 4652"/>
                          <a:gd name="connsiteX13" fmla="*/ 2047 w 11630"/>
                          <a:gd name="connsiteY13" fmla="*/ 23 h 4652"/>
                          <a:gd name="connsiteX14" fmla="*/ 1907 w 11630"/>
                          <a:gd name="connsiteY14" fmla="*/ 46 h 4652"/>
                          <a:gd name="connsiteX15" fmla="*/ 1884 w 11630"/>
                          <a:gd name="connsiteY15" fmla="*/ 46 h 4652"/>
                          <a:gd name="connsiteX16" fmla="*/ 1814 w 11630"/>
                          <a:gd name="connsiteY16" fmla="*/ 93 h 4652"/>
                          <a:gd name="connsiteX17" fmla="*/ 1559 w 11630"/>
                          <a:gd name="connsiteY17" fmla="*/ 209 h 4652"/>
                          <a:gd name="connsiteX18" fmla="*/ 1535 w 11630"/>
                          <a:gd name="connsiteY18" fmla="*/ 233 h 4652"/>
                          <a:gd name="connsiteX19" fmla="*/ 1465 w 11630"/>
                          <a:gd name="connsiteY19" fmla="*/ 279 h 4652"/>
                          <a:gd name="connsiteX20" fmla="*/ 1093 w 11630"/>
                          <a:gd name="connsiteY20" fmla="*/ 721 h 4652"/>
                          <a:gd name="connsiteX21" fmla="*/ 395 w 11630"/>
                          <a:gd name="connsiteY21" fmla="*/ 1861 h 4652"/>
                          <a:gd name="connsiteX22" fmla="*/ 209 w 11630"/>
                          <a:gd name="connsiteY22" fmla="*/ 2233 h 4652"/>
                          <a:gd name="connsiteX23" fmla="*/ 116 w 11630"/>
                          <a:gd name="connsiteY23" fmla="*/ 2536 h 4652"/>
                          <a:gd name="connsiteX24" fmla="*/ 70 w 11630"/>
                          <a:gd name="connsiteY24" fmla="*/ 2652 h 4652"/>
                          <a:gd name="connsiteX25" fmla="*/ 47 w 11630"/>
                          <a:gd name="connsiteY25" fmla="*/ 2722 h 4652"/>
                          <a:gd name="connsiteX26" fmla="*/ 0 w 11630"/>
                          <a:gd name="connsiteY26" fmla="*/ 3140 h 4652"/>
                          <a:gd name="connsiteX27" fmla="*/ 0 w 11630"/>
                          <a:gd name="connsiteY27" fmla="*/ 3396 h 4652"/>
                          <a:gd name="connsiteX28" fmla="*/ 0 w 11630"/>
                          <a:gd name="connsiteY28" fmla="*/ 3489 h 4652"/>
                          <a:gd name="connsiteX29" fmla="*/ 0 w 11630"/>
                          <a:gd name="connsiteY29" fmla="*/ 3559 h 4652"/>
                          <a:gd name="connsiteX30" fmla="*/ 70 w 11630"/>
                          <a:gd name="connsiteY30" fmla="*/ 4001 h 4652"/>
                          <a:gd name="connsiteX31" fmla="*/ 116 w 11630"/>
                          <a:gd name="connsiteY31" fmla="*/ 4164 h 4652"/>
                          <a:gd name="connsiteX32" fmla="*/ 163 w 11630"/>
                          <a:gd name="connsiteY32" fmla="*/ 4327 h 4652"/>
                          <a:gd name="connsiteX33" fmla="*/ 512 w 11630"/>
                          <a:gd name="connsiteY33" fmla="*/ 4931 h 4652"/>
                          <a:gd name="connsiteX34" fmla="*/ 535 w 11630"/>
                          <a:gd name="connsiteY34" fmla="*/ 4955 h 4652"/>
                          <a:gd name="connsiteX35" fmla="*/ 10956 w 11630"/>
                          <a:gd name="connsiteY35" fmla="*/ 4955 h 4652"/>
                          <a:gd name="connsiteX36" fmla="*/ 10980 w 11630"/>
                          <a:gd name="connsiteY36" fmla="*/ 5001 h 465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</a:cxnLst>
                        <a:rect l="l" t="t" r="r" b="b"/>
                        <a:pathLst>
                          <a:path w="11630" h="4652">
                            <a:moveTo>
                              <a:pt x="10980" y="5001"/>
                            </a:moveTo>
                            <a:cubicBezTo>
                              <a:pt x="10770" y="4745"/>
                              <a:pt x="10654" y="4420"/>
                              <a:pt x="10538" y="4094"/>
                            </a:cubicBezTo>
                            <a:cubicBezTo>
                              <a:pt x="10491" y="3908"/>
                              <a:pt x="10445" y="3722"/>
                              <a:pt x="10445" y="3536"/>
                            </a:cubicBezTo>
                            <a:lnTo>
                              <a:pt x="10445" y="3536"/>
                            </a:lnTo>
                            <a:cubicBezTo>
                              <a:pt x="10398" y="2954"/>
                              <a:pt x="10514" y="2373"/>
                              <a:pt x="10817" y="1884"/>
                            </a:cubicBezTo>
                            <a:cubicBezTo>
                              <a:pt x="11049" y="1512"/>
                              <a:pt x="11282" y="1140"/>
                              <a:pt x="11515" y="744"/>
                            </a:cubicBezTo>
                            <a:cubicBezTo>
                              <a:pt x="11654" y="535"/>
                              <a:pt x="11794" y="395"/>
                              <a:pt x="11957" y="256"/>
                            </a:cubicBezTo>
                            <a:lnTo>
                              <a:pt x="11980" y="233"/>
                            </a:lnTo>
                            <a:lnTo>
                              <a:pt x="11980" y="233"/>
                            </a:lnTo>
                            <a:cubicBezTo>
                              <a:pt x="12189" y="93"/>
                              <a:pt x="12445" y="0"/>
                              <a:pt x="12678" y="0"/>
                            </a:cubicBezTo>
                            <a:lnTo>
                              <a:pt x="3699" y="0"/>
                            </a:lnTo>
                            <a:lnTo>
                              <a:pt x="2256" y="0"/>
                            </a:lnTo>
                            <a:cubicBezTo>
                              <a:pt x="2233" y="0"/>
                              <a:pt x="2210" y="0"/>
                              <a:pt x="2187" y="0"/>
                            </a:cubicBezTo>
                            <a:cubicBezTo>
                              <a:pt x="2140" y="0"/>
                              <a:pt x="2094" y="23"/>
                              <a:pt x="2047" y="23"/>
                            </a:cubicBezTo>
                            <a:cubicBezTo>
                              <a:pt x="2000" y="23"/>
                              <a:pt x="1954" y="46"/>
                              <a:pt x="1907" y="46"/>
                            </a:cubicBezTo>
                            <a:lnTo>
                              <a:pt x="1884" y="46"/>
                            </a:lnTo>
                            <a:cubicBezTo>
                              <a:pt x="1861" y="46"/>
                              <a:pt x="1838" y="70"/>
                              <a:pt x="1814" y="93"/>
                            </a:cubicBezTo>
                            <a:cubicBezTo>
                              <a:pt x="1721" y="116"/>
                              <a:pt x="1652" y="163"/>
                              <a:pt x="1559" y="209"/>
                            </a:cubicBezTo>
                            <a:cubicBezTo>
                              <a:pt x="1535" y="209"/>
                              <a:pt x="1535" y="233"/>
                              <a:pt x="1535" y="233"/>
                            </a:cubicBezTo>
                            <a:cubicBezTo>
                              <a:pt x="1489" y="256"/>
                              <a:pt x="1489" y="279"/>
                              <a:pt x="1465" y="279"/>
                            </a:cubicBezTo>
                            <a:cubicBezTo>
                              <a:pt x="1326" y="395"/>
                              <a:pt x="1186" y="535"/>
                              <a:pt x="1093" y="721"/>
                            </a:cubicBezTo>
                            <a:cubicBezTo>
                              <a:pt x="861" y="1093"/>
                              <a:pt x="628" y="1465"/>
                              <a:pt x="395" y="1861"/>
                            </a:cubicBezTo>
                            <a:cubicBezTo>
                              <a:pt x="326" y="1977"/>
                              <a:pt x="256" y="2117"/>
                              <a:pt x="209" y="2233"/>
                            </a:cubicBezTo>
                            <a:cubicBezTo>
                              <a:pt x="163" y="2326"/>
                              <a:pt x="140" y="2442"/>
                              <a:pt x="116" y="2536"/>
                            </a:cubicBezTo>
                            <a:cubicBezTo>
                              <a:pt x="116" y="2582"/>
                              <a:pt x="93" y="2629"/>
                              <a:pt x="70" y="2652"/>
                            </a:cubicBezTo>
                            <a:cubicBezTo>
                              <a:pt x="70" y="2675"/>
                              <a:pt x="47" y="2698"/>
                              <a:pt x="47" y="2722"/>
                            </a:cubicBezTo>
                            <a:cubicBezTo>
                              <a:pt x="23" y="2861"/>
                              <a:pt x="0" y="3001"/>
                              <a:pt x="0" y="3140"/>
                            </a:cubicBezTo>
                            <a:cubicBezTo>
                              <a:pt x="0" y="3233"/>
                              <a:pt x="0" y="3303"/>
                              <a:pt x="0" y="3396"/>
                            </a:cubicBezTo>
                            <a:cubicBezTo>
                              <a:pt x="0" y="3419"/>
                              <a:pt x="0" y="3443"/>
                              <a:pt x="0" y="3489"/>
                            </a:cubicBezTo>
                            <a:cubicBezTo>
                              <a:pt x="0" y="3512"/>
                              <a:pt x="0" y="3536"/>
                              <a:pt x="0" y="3559"/>
                            </a:cubicBezTo>
                            <a:cubicBezTo>
                              <a:pt x="0" y="3722"/>
                              <a:pt x="47" y="3861"/>
                              <a:pt x="70" y="4001"/>
                            </a:cubicBezTo>
                            <a:cubicBezTo>
                              <a:pt x="70" y="4071"/>
                              <a:pt x="116" y="4117"/>
                              <a:pt x="116" y="4164"/>
                            </a:cubicBezTo>
                            <a:cubicBezTo>
                              <a:pt x="140" y="4234"/>
                              <a:pt x="163" y="4280"/>
                              <a:pt x="163" y="4327"/>
                            </a:cubicBezTo>
                            <a:cubicBezTo>
                              <a:pt x="256" y="4536"/>
                              <a:pt x="349" y="4769"/>
                              <a:pt x="512" y="4931"/>
                            </a:cubicBezTo>
                            <a:cubicBezTo>
                              <a:pt x="512" y="4931"/>
                              <a:pt x="512" y="4955"/>
                              <a:pt x="535" y="4955"/>
                            </a:cubicBezTo>
                            <a:lnTo>
                              <a:pt x="10956" y="4955"/>
                            </a:lnTo>
                            <a:cubicBezTo>
                              <a:pt x="10980" y="5001"/>
                              <a:pt x="10980" y="5001"/>
                              <a:pt x="10980" y="5001"/>
                            </a:cubicBezTo>
                            <a:close/>
                          </a:path>
                        </a:pathLst>
                      </a:custGeom>
                      <a:solidFill>
                        <a:srgbClr val="F19439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738" name="Freeform: Shape 1737">
                        <a:extLst>
                          <a:ext uri="{FF2B5EF4-FFF2-40B4-BE49-F238E27FC236}">
                            <a16:creationId xmlns:a16="http://schemas.microsoft.com/office/drawing/2014/main" id="{A551F42B-D4EF-463B-B9B4-1C61FA6F425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60083" y="4140765"/>
                        <a:ext cx="11631" cy="4652"/>
                      </a:xfrm>
                      <a:custGeom>
                        <a:avLst/>
                        <a:gdLst>
                          <a:gd name="connsiteX0" fmla="*/ 11863 w 11630"/>
                          <a:gd name="connsiteY0" fmla="*/ 5001 h 4652"/>
                          <a:gd name="connsiteX1" fmla="*/ 11282 w 11630"/>
                          <a:gd name="connsiteY1" fmla="*/ 4303 h 4652"/>
                          <a:gd name="connsiteX2" fmla="*/ 10677 w 11630"/>
                          <a:gd name="connsiteY2" fmla="*/ 3071 h 4652"/>
                          <a:gd name="connsiteX3" fmla="*/ 10445 w 11630"/>
                          <a:gd name="connsiteY3" fmla="*/ 2117 h 4652"/>
                          <a:gd name="connsiteX4" fmla="*/ 10445 w 11630"/>
                          <a:gd name="connsiteY4" fmla="*/ 1465 h 4652"/>
                          <a:gd name="connsiteX5" fmla="*/ 10445 w 11630"/>
                          <a:gd name="connsiteY5" fmla="*/ 1465 h 4652"/>
                          <a:gd name="connsiteX6" fmla="*/ 11119 w 11630"/>
                          <a:gd name="connsiteY6" fmla="*/ 0 h 4652"/>
                          <a:gd name="connsiteX7" fmla="*/ 11119 w 11630"/>
                          <a:gd name="connsiteY7" fmla="*/ 0 h 4652"/>
                          <a:gd name="connsiteX8" fmla="*/ 11119 w 11630"/>
                          <a:gd name="connsiteY8" fmla="*/ 0 h 4652"/>
                          <a:gd name="connsiteX9" fmla="*/ 698 w 11630"/>
                          <a:gd name="connsiteY9" fmla="*/ 0 h 4652"/>
                          <a:gd name="connsiteX10" fmla="*/ 675 w 11630"/>
                          <a:gd name="connsiteY10" fmla="*/ 23 h 4652"/>
                          <a:gd name="connsiteX11" fmla="*/ 279 w 11630"/>
                          <a:gd name="connsiteY11" fmla="*/ 582 h 4652"/>
                          <a:gd name="connsiteX12" fmla="*/ 233 w 11630"/>
                          <a:gd name="connsiteY12" fmla="*/ 698 h 4652"/>
                          <a:gd name="connsiteX13" fmla="*/ 186 w 11630"/>
                          <a:gd name="connsiteY13" fmla="*/ 791 h 4652"/>
                          <a:gd name="connsiteX14" fmla="*/ 47 w 11630"/>
                          <a:gd name="connsiteY14" fmla="*/ 1303 h 4652"/>
                          <a:gd name="connsiteX15" fmla="*/ 23 w 11630"/>
                          <a:gd name="connsiteY15" fmla="*/ 1396 h 4652"/>
                          <a:gd name="connsiteX16" fmla="*/ 23 w 11630"/>
                          <a:gd name="connsiteY16" fmla="*/ 1489 h 4652"/>
                          <a:gd name="connsiteX17" fmla="*/ 0 w 11630"/>
                          <a:gd name="connsiteY17" fmla="*/ 1745 h 4652"/>
                          <a:gd name="connsiteX18" fmla="*/ 0 w 11630"/>
                          <a:gd name="connsiteY18" fmla="*/ 2163 h 4652"/>
                          <a:gd name="connsiteX19" fmla="*/ 0 w 11630"/>
                          <a:gd name="connsiteY19" fmla="*/ 2256 h 4652"/>
                          <a:gd name="connsiteX20" fmla="*/ 23 w 11630"/>
                          <a:gd name="connsiteY20" fmla="*/ 2373 h 4652"/>
                          <a:gd name="connsiteX21" fmla="*/ 70 w 11630"/>
                          <a:gd name="connsiteY21" fmla="*/ 2629 h 4652"/>
                          <a:gd name="connsiteX22" fmla="*/ 233 w 11630"/>
                          <a:gd name="connsiteY22" fmla="*/ 3140 h 4652"/>
                          <a:gd name="connsiteX23" fmla="*/ 837 w 11630"/>
                          <a:gd name="connsiteY23" fmla="*/ 4373 h 4652"/>
                          <a:gd name="connsiteX24" fmla="*/ 2117 w 11630"/>
                          <a:gd name="connsiteY24" fmla="*/ 5327 h 4652"/>
                          <a:gd name="connsiteX25" fmla="*/ 3257 w 11630"/>
                          <a:gd name="connsiteY25" fmla="*/ 5327 h 4652"/>
                          <a:gd name="connsiteX26" fmla="*/ 12538 w 11630"/>
                          <a:gd name="connsiteY26" fmla="*/ 5327 h 4652"/>
                          <a:gd name="connsiteX27" fmla="*/ 11863 w 11630"/>
                          <a:gd name="connsiteY27" fmla="*/ 5001 h 465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</a:cxnLst>
                        <a:rect l="l" t="t" r="r" b="b"/>
                        <a:pathLst>
                          <a:path w="11630" h="4652">
                            <a:moveTo>
                              <a:pt x="11863" y="5001"/>
                            </a:moveTo>
                            <a:cubicBezTo>
                              <a:pt x="11654" y="4838"/>
                              <a:pt x="11445" y="4606"/>
                              <a:pt x="11282" y="4303"/>
                            </a:cubicBezTo>
                            <a:cubicBezTo>
                              <a:pt x="11073" y="3885"/>
                              <a:pt x="10863" y="3489"/>
                              <a:pt x="10677" y="3071"/>
                            </a:cubicBezTo>
                            <a:cubicBezTo>
                              <a:pt x="10538" y="2768"/>
                              <a:pt x="10468" y="2442"/>
                              <a:pt x="10445" y="2117"/>
                            </a:cubicBezTo>
                            <a:cubicBezTo>
                              <a:pt x="10421" y="1907"/>
                              <a:pt x="10421" y="1675"/>
                              <a:pt x="10445" y="1465"/>
                            </a:cubicBezTo>
                            <a:lnTo>
                              <a:pt x="10445" y="1465"/>
                            </a:lnTo>
                            <a:cubicBezTo>
                              <a:pt x="10514" y="884"/>
                              <a:pt x="10724" y="349"/>
                              <a:pt x="11119" y="0"/>
                            </a:cubicBezTo>
                            <a:lnTo>
                              <a:pt x="11119" y="0"/>
                            </a:lnTo>
                            <a:lnTo>
                              <a:pt x="11119" y="0"/>
                            </a:lnTo>
                            <a:lnTo>
                              <a:pt x="698" y="0"/>
                            </a:lnTo>
                            <a:lnTo>
                              <a:pt x="675" y="23"/>
                            </a:lnTo>
                            <a:cubicBezTo>
                              <a:pt x="512" y="186"/>
                              <a:pt x="372" y="372"/>
                              <a:pt x="279" y="582"/>
                            </a:cubicBezTo>
                            <a:cubicBezTo>
                              <a:pt x="256" y="628"/>
                              <a:pt x="233" y="651"/>
                              <a:pt x="233" y="698"/>
                            </a:cubicBezTo>
                            <a:cubicBezTo>
                              <a:pt x="209" y="744"/>
                              <a:pt x="186" y="768"/>
                              <a:pt x="186" y="791"/>
                            </a:cubicBezTo>
                            <a:cubicBezTo>
                              <a:pt x="116" y="954"/>
                              <a:pt x="70" y="1117"/>
                              <a:pt x="47" y="1303"/>
                            </a:cubicBezTo>
                            <a:cubicBezTo>
                              <a:pt x="47" y="1326"/>
                              <a:pt x="47" y="1349"/>
                              <a:pt x="23" y="1396"/>
                            </a:cubicBezTo>
                            <a:cubicBezTo>
                              <a:pt x="23" y="1419"/>
                              <a:pt x="23" y="1442"/>
                              <a:pt x="23" y="1489"/>
                            </a:cubicBezTo>
                            <a:cubicBezTo>
                              <a:pt x="23" y="1582"/>
                              <a:pt x="0" y="1652"/>
                              <a:pt x="0" y="1745"/>
                            </a:cubicBezTo>
                            <a:cubicBezTo>
                              <a:pt x="0" y="1884"/>
                              <a:pt x="0" y="2024"/>
                              <a:pt x="0" y="2163"/>
                            </a:cubicBezTo>
                            <a:cubicBezTo>
                              <a:pt x="0" y="2187"/>
                              <a:pt x="0" y="2210"/>
                              <a:pt x="0" y="2256"/>
                            </a:cubicBezTo>
                            <a:cubicBezTo>
                              <a:pt x="0" y="2303"/>
                              <a:pt x="0" y="2326"/>
                              <a:pt x="23" y="2373"/>
                            </a:cubicBezTo>
                            <a:cubicBezTo>
                              <a:pt x="47" y="2466"/>
                              <a:pt x="47" y="2536"/>
                              <a:pt x="70" y="2629"/>
                            </a:cubicBezTo>
                            <a:cubicBezTo>
                              <a:pt x="116" y="2791"/>
                              <a:pt x="163" y="2977"/>
                              <a:pt x="233" y="3140"/>
                            </a:cubicBezTo>
                            <a:cubicBezTo>
                              <a:pt x="442" y="3559"/>
                              <a:pt x="628" y="3978"/>
                              <a:pt x="837" y="4373"/>
                            </a:cubicBezTo>
                            <a:cubicBezTo>
                              <a:pt x="1140" y="5001"/>
                              <a:pt x="1628" y="5327"/>
                              <a:pt x="2117" y="5327"/>
                            </a:cubicBezTo>
                            <a:lnTo>
                              <a:pt x="3257" y="5327"/>
                            </a:lnTo>
                            <a:lnTo>
                              <a:pt x="12538" y="5327"/>
                            </a:lnTo>
                            <a:cubicBezTo>
                              <a:pt x="12329" y="5234"/>
                              <a:pt x="12096" y="5164"/>
                              <a:pt x="11863" y="5001"/>
                            </a:cubicBezTo>
                            <a:close/>
                          </a:path>
                        </a:pathLst>
                      </a:custGeom>
                      <a:solidFill>
                        <a:srgbClr val="F19439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739" name="Freeform: Shape 1738">
                        <a:extLst>
                          <a:ext uri="{FF2B5EF4-FFF2-40B4-BE49-F238E27FC236}">
                            <a16:creationId xmlns:a16="http://schemas.microsoft.com/office/drawing/2014/main" id="{F5D74238-C947-4314-AFC0-78E0E592429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72668" y="4145999"/>
                        <a:ext cx="2326" cy="2326"/>
                      </a:xfrm>
                      <a:custGeom>
                        <a:avLst/>
                        <a:gdLst>
                          <a:gd name="connsiteX0" fmla="*/ 0 w 0"/>
                          <a:gd name="connsiteY0" fmla="*/ 0 h 0"/>
                          <a:gd name="connsiteX1" fmla="*/ 0 w 0"/>
                          <a:gd name="connsiteY1" fmla="*/ 0 h 0"/>
                          <a:gd name="connsiteX2" fmla="*/ 0 w 0"/>
                          <a:gd name="connsiteY2" fmla="*/ 0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0" y="0"/>
                            </a:moveTo>
                            <a:lnTo>
                              <a:pt x="0" y="0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solidFill>
                        <a:srgbClr val="F19439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740" name="Freeform: Shape 1739">
                        <a:extLst>
                          <a:ext uri="{FF2B5EF4-FFF2-40B4-BE49-F238E27FC236}">
                            <a16:creationId xmlns:a16="http://schemas.microsoft.com/office/drawing/2014/main" id="{FABDAEB0-DC6C-4D6B-96BF-4449A4CE092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60618" y="4057488"/>
                        <a:ext cx="11631" cy="4652"/>
                      </a:xfrm>
                      <a:custGeom>
                        <a:avLst/>
                        <a:gdLst>
                          <a:gd name="connsiteX0" fmla="*/ 11073 w 11630"/>
                          <a:gd name="connsiteY0" fmla="*/ 5234 h 4652"/>
                          <a:gd name="connsiteX1" fmla="*/ 11073 w 11630"/>
                          <a:gd name="connsiteY1" fmla="*/ 5234 h 4652"/>
                          <a:gd name="connsiteX2" fmla="*/ 10584 w 11630"/>
                          <a:gd name="connsiteY2" fmla="*/ 4420 h 4652"/>
                          <a:gd name="connsiteX3" fmla="*/ 10584 w 11630"/>
                          <a:gd name="connsiteY3" fmla="*/ 4420 h 4652"/>
                          <a:gd name="connsiteX4" fmla="*/ 10561 w 11630"/>
                          <a:gd name="connsiteY4" fmla="*/ 4327 h 4652"/>
                          <a:gd name="connsiteX5" fmla="*/ 10421 w 11630"/>
                          <a:gd name="connsiteY5" fmla="*/ 2908 h 4652"/>
                          <a:gd name="connsiteX6" fmla="*/ 10421 w 11630"/>
                          <a:gd name="connsiteY6" fmla="*/ 2908 h 4652"/>
                          <a:gd name="connsiteX7" fmla="*/ 10654 w 11630"/>
                          <a:gd name="connsiteY7" fmla="*/ 2140 h 4652"/>
                          <a:gd name="connsiteX8" fmla="*/ 11282 w 11630"/>
                          <a:gd name="connsiteY8" fmla="*/ 907 h 4652"/>
                          <a:gd name="connsiteX9" fmla="*/ 11398 w 11630"/>
                          <a:gd name="connsiteY9" fmla="*/ 744 h 4652"/>
                          <a:gd name="connsiteX10" fmla="*/ 11631 w 11630"/>
                          <a:gd name="connsiteY10" fmla="*/ 419 h 4652"/>
                          <a:gd name="connsiteX11" fmla="*/ 11631 w 11630"/>
                          <a:gd name="connsiteY11" fmla="*/ 419 h 4652"/>
                          <a:gd name="connsiteX12" fmla="*/ 11840 w 11630"/>
                          <a:gd name="connsiteY12" fmla="*/ 233 h 4652"/>
                          <a:gd name="connsiteX13" fmla="*/ 11840 w 11630"/>
                          <a:gd name="connsiteY13" fmla="*/ 233 h 4652"/>
                          <a:gd name="connsiteX14" fmla="*/ 12212 w 11630"/>
                          <a:gd name="connsiteY14" fmla="*/ 46 h 4652"/>
                          <a:gd name="connsiteX15" fmla="*/ 12212 w 11630"/>
                          <a:gd name="connsiteY15" fmla="*/ 46 h 4652"/>
                          <a:gd name="connsiteX16" fmla="*/ 12538 w 11630"/>
                          <a:gd name="connsiteY16" fmla="*/ 0 h 4652"/>
                          <a:gd name="connsiteX17" fmla="*/ 3303 w 11630"/>
                          <a:gd name="connsiteY17" fmla="*/ 0 h 4652"/>
                          <a:gd name="connsiteX18" fmla="*/ 2117 w 11630"/>
                          <a:gd name="connsiteY18" fmla="*/ 0 h 4652"/>
                          <a:gd name="connsiteX19" fmla="*/ 2047 w 11630"/>
                          <a:gd name="connsiteY19" fmla="*/ 0 h 4652"/>
                          <a:gd name="connsiteX20" fmla="*/ 1791 w 11630"/>
                          <a:gd name="connsiteY20" fmla="*/ 46 h 4652"/>
                          <a:gd name="connsiteX21" fmla="*/ 1745 w 11630"/>
                          <a:gd name="connsiteY21" fmla="*/ 46 h 4652"/>
                          <a:gd name="connsiteX22" fmla="*/ 1745 w 11630"/>
                          <a:gd name="connsiteY22" fmla="*/ 46 h 4652"/>
                          <a:gd name="connsiteX23" fmla="*/ 1698 w 11630"/>
                          <a:gd name="connsiteY23" fmla="*/ 70 h 4652"/>
                          <a:gd name="connsiteX24" fmla="*/ 1419 w 11630"/>
                          <a:gd name="connsiteY24" fmla="*/ 233 h 4652"/>
                          <a:gd name="connsiteX25" fmla="*/ 1396 w 11630"/>
                          <a:gd name="connsiteY25" fmla="*/ 233 h 4652"/>
                          <a:gd name="connsiteX26" fmla="*/ 1210 w 11630"/>
                          <a:gd name="connsiteY26" fmla="*/ 395 h 4652"/>
                          <a:gd name="connsiteX27" fmla="*/ 1117 w 11630"/>
                          <a:gd name="connsiteY27" fmla="*/ 488 h 4652"/>
                          <a:gd name="connsiteX28" fmla="*/ 861 w 11630"/>
                          <a:gd name="connsiteY28" fmla="*/ 884 h 4652"/>
                          <a:gd name="connsiteX29" fmla="*/ 233 w 11630"/>
                          <a:gd name="connsiteY29" fmla="*/ 2117 h 4652"/>
                          <a:gd name="connsiteX30" fmla="*/ 163 w 11630"/>
                          <a:gd name="connsiteY30" fmla="*/ 2303 h 4652"/>
                          <a:gd name="connsiteX31" fmla="*/ 23 w 11630"/>
                          <a:gd name="connsiteY31" fmla="*/ 2815 h 4652"/>
                          <a:gd name="connsiteX32" fmla="*/ 23 w 11630"/>
                          <a:gd name="connsiteY32" fmla="*/ 2861 h 4652"/>
                          <a:gd name="connsiteX33" fmla="*/ 23 w 11630"/>
                          <a:gd name="connsiteY33" fmla="*/ 2977 h 4652"/>
                          <a:gd name="connsiteX34" fmla="*/ 0 w 11630"/>
                          <a:gd name="connsiteY34" fmla="*/ 3233 h 4652"/>
                          <a:gd name="connsiteX35" fmla="*/ 0 w 11630"/>
                          <a:gd name="connsiteY35" fmla="*/ 3652 h 4652"/>
                          <a:gd name="connsiteX36" fmla="*/ 0 w 11630"/>
                          <a:gd name="connsiteY36" fmla="*/ 3722 h 4652"/>
                          <a:gd name="connsiteX37" fmla="*/ 23 w 11630"/>
                          <a:gd name="connsiteY37" fmla="*/ 3838 h 4652"/>
                          <a:gd name="connsiteX38" fmla="*/ 70 w 11630"/>
                          <a:gd name="connsiteY38" fmla="*/ 4117 h 4652"/>
                          <a:gd name="connsiteX39" fmla="*/ 186 w 11630"/>
                          <a:gd name="connsiteY39" fmla="*/ 4420 h 4652"/>
                          <a:gd name="connsiteX40" fmla="*/ 279 w 11630"/>
                          <a:gd name="connsiteY40" fmla="*/ 4629 h 4652"/>
                          <a:gd name="connsiteX41" fmla="*/ 651 w 11630"/>
                          <a:gd name="connsiteY41" fmla="*/ 5211 h 4652"/>
                          <a:gd name="connsiteX42" fmla="*/ 675 w 11630"/>
                          <a:gd name="connsiteY42" fmla="*/ 5211 h 4652"/>
                          <a:gd name="connsiteX43" fmla="*/ 698 w 11630"/>
                          <a:gd name="connsiteY43" fmla="*/ 5211 h 4652"/>
                          <a:gd name="connsiteX44" fmla="*/ 11073 w 11630"/>
                          <a:gd name="connsiteY44" fmla="*/ 5234 h 465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  <a:cxn ang="0">
                            <a:pos x="connsiteX43" y="connsiteY43"/>
                          </a:cxn>
                          <a:cxn ang="0">
                            <a:pos x="connsiteX44" y="connsiteY44"/>
                          </a:cxn>
                        </a:cxnLst>
                        <a:rect l="l" t="t" r="r" b="b"/>
                        <a:pathLst>
                          <a:path w="11630" h="4652">
                            <a:moveTo>
                              <a:pt x="11073" y="5234"/>
                            </a:moveTo>
                            <a:lnTo>
                              <a:pt x="11073" y="5234"/>
                            </a:lnTo>
                            <a:cubicBezTo>
                              <a:pt x="10840" y="5001"/>
                              <a:pt x="10700" y="4722"/>
                              <a:pt x="10584" y="4420"/>
                            </a:cubicBezTo>
                            <a:lnTo>
                              <a:pt x="10584" y="4420"/>
                            </a:lnTo>
                            <a:cubicBezTo>
                              <a:pt x="10561" y="4396"/>
                              <a:pt x="10561" y="4350"/>
                              <a:pt x="10561" y="4327"/>
                            </a:cubicBezTo>
                            <a:cubicBezTo>
                              <a:pt x="10398" y="3885"/>
                              <a:pt x="10351" y="3396"/>
                              <a:pt x="10421" y="2908"/>
                            </a:cubicBezTo>
                            <a:lnTo>
                              <a:pt x="10421" y="2908"/>
                            </a:lnTo>
                            <a:cubicBezTo>
                              <a:pt x="10468" y="2629"/>
                              <a:pt x="10538" y="2373"/>
                              <a:pt x="10654" y="2140"/>
                            </a:cubicBezTo>
                            <a:cubicBezTo>
                              <a:pt x="10863" y="1721"/>
                              <a:pt x="11073" y="1326"/>
                              <a:pt x="11282" y="907"/>
                            </a:cubicBezTo>
                            <a:cubicBezTo>
                              <a:pt x="11328" y="837"/>
                              <a:pt x="11352" y="791"/>
                              <a:pt x="11398" y="744"/>
                            </a:cubicBezTo>
                            <a:cubicBezTo>
                              <a:pt x="11468" y="628"/>
                              <a:pt x="11561" y="535"/>
                              <a:pt x="11631" y="419"/>
                            </a:cubicBezTo>
                            <a:lnTo>
                              <a:pt x="11631" y="419"/>
                            </a:lnTo>
                            <a:cubicBezTo>
                              <a:pt x="11701" y="349"/>
                              <a:pt x="11770" y="279"/>
                              <a:pt x="11840" y="233"/>
                            </a:cubicBezTo>
                            <a:lnTo>
                              <a:pt x="11840" y="233"/>
                            </a:lnTo>
                            <a:cubicBezTo>
                              <a:pt x="11957" y="140"/>
                              <a:pt x="12096" y="93"/>
                              <a:pt x="12212" y="46"/>
                            </a:cubicBezTo>
                            <a:lnTo>
                              <a:pt x="12212" y="46"/>
                            </a:lnTo>
                            <a:cubicBezTo>
                              <a:pt x="12329" y="0"/>
                              <a:pt x="12422" y="0"/>
                              <a:pt x="12538" y="0"/>
                            </a:cubicBezTo>
                            <a:lnTo>
                              <a:pt x="3303" y="0"/>
                            </a:lnTo>
                            <a:lnTo>
                              <a:pt x="2117" y="0"/>
                            </a:lnTo>
                            <a:cubicBezTo>
                              <a:pt x="2117" y="0"/>
                              <a:pt x="2070" y="0"/>
                              <a:pt x="2047" y="0"/>
                            </a:cubicBezTo>
                            <a:cubicBezTo>
                              <a:pt x="1954" y="0"/>
                              <a:pt x="1861" y="23"/>
                              <a:pt x="1791" y="46"/>
                            </a:cubicBezTo>
                            <a:lnTo>
                              <a:pt x="1745" y="46"/>
                            </a:lnTo>
                            <a:lnTo>
                              <a:pt x="1745" y="46"/>
                            </a:lnTo>
                            <a:cubicBezTo>
                              <a:pt x="1721" y="46"/>
                              <a:pt x="1698" y="70"/>
                              <a:pt x="1698" y="70"/>
                            </a:cubicBezTo>
                            <a:cubicBezTo>
                              <a:pt x="1605" y="116"/>
                              <a:pt x="1489" y="163"/>
                              <a:pt x="1419" y="233"/>
                            </a:cubicBezTo>
                            <a:lnTo>
                              <a:pt x="1396" y="233"/>
                            </a:lnTo>
                            <a:cubicBezTo>
                              <a:pt x="1326" y="279"/>
                              <a:pt x="1279" y="349"/>
                              <a:pt x="1210" y="395"/>
                            </a:cubicBezTo>
                            <a:cubicBezTo>
                              <a:pt x="1186" y="419"/>
                              <a:pt x="1140" y="465"/>
                              <a:pt x="1117" y="488"/>
                            </a:cubicBezTo>
                            <a:cubicBezTo>
                              <a:pt x="1024" y="605"/>
                              <a:pt x="930" y="721"/>
                              <a:pt x="861" y="884"/>
                            </a:cubicBezTo>
                            <a:cubicBezTo>
                              <a:pt x="651" y="1303"/>
                              <a:pt x="442" y="1698"/>
                              <a:pt x="233" y="2117"/>
                            </a:cubicBezTo>
                            <a:cubicBezTo>
                              <a:pt x="209" y="2187"/>
                              <a:pt x="186" y="2233"/>
                              <a:pt x="163" y="2303"/>
                            </a:cubicBezTo>
                            <a:cubicBezTo>
                              <a:pt x="93" y="2466"/>
                              <a:pt x="47" y="2629"/>
                              <a:pt x="23" y="2815"/>
                            </a:cubicBezTo>
                            <a:cubicBezTo>
                              <a:pt x="23" y="2838"/>
                              <a:pt x="23" y="2861"/>
                              <a:pt x="23" y="2861"/>
                            </a:cubicBezTo>
                            <a:cubicBezTo>
                              <a:pt x="23" y="2908"/>
                              <a:pt x="23" y="2931"/>
                              <a:pt x="23" y="2977"/>
                            </a:cubicBezTo>
                            <a:cubicBezTo>
                              <a:pt x="23" y="3070"/>
                              <a:pt x="0" y="3164"/>
                              <a:pt x="0" y="3233"/>
                            </a:cubicBezTo>
                            <a:cubicBezTo>
                              <a:pt x="0" y="3373"/>
                              <a:pt x="0" y="3512"/>
                              <a:pt x="0" y="3652"/>
                            </a:cubicBezTo>
                            <a:cubicBezTo>
                              <a:pt x="0" y="3675"/>
                              <a:pt x="0" y="3722"/>
                              <a:pt x="0" y="3722"/>
                            </a:cubicBezTo>
                            <a:cubicBezTo>
                              <a:pt x="0" y="3768"/>
                              <a:pt x="0" y="3815"/>
                              <a:pt x="23" y="3838"/>
                            </a:cubicBezTo>
                            <a:cubicBezTo>
                              <a:pt x="23" y="3931"/>
                              <a:pt x="47" y="4024"/>
                              <a:pt x="70" y="4117"/>
                            </a:cubicBezTo>
                            <a:cubicBezTo>
                              <a:pt x="93" y="4210"/>
                              <a:pt x="140" y="4303"/>
                              <a:pt x="186" y="4420"/>
                            </a:cubicBezTo>
                            <a:cubicBezTo>
                              <a:pt x="209" y="4489"/>
                              <a:pt x="233" y="4559"/>
                              <a:pt x="279" y="4629"/>
                            </a:cubicBezTo>
                            <a:cubicBezTo>
                              <a:pt x="372" y="4838"/>
                              <a:pt x="512" y="5048"/>
                              <a:pt x="651" y="5211"/>
                            </a:cubicBezTo>
                            <a:cubicBezTo>
                              <a:pt x="651" y="5211"/>
                              <a:pt x="675" y="5211"/>
                              <a:pt x="675" y="5211"/>
                            </a:cubicBezTo>
                            <a:lnTo>
                              <a:pt x="698" y="5211"/>
                            </a:lnTo>
                            <a:cubicBezTo>
                              <a:pt x="4117" y="5234"/>
                              <a:pt x="7607" y="5234"/>
                              <a:pt x="11073" y="5234"/>
                            </a:cubicBezTo>
                            <a:close/>
                          </a:path>
                        </a:pathLst>
                      </a:custGeom>
                      <a:solidFill>
                        <a:srgbClr val="F19439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741" name="Freeform: Shape 1740">
                        <a:extLst>
                          <a:ext uri="{FF2B5EF4-FFF2-40B4-BE49-F238E27FC236}">
                            <a16:creationId xmlns:a16="http://schemas.microsoft.com/office/drawing/2014/main" id="{849E15E6-972B-4763-A275-BC75B063348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57827" y="4063606"/>
                        <a:ext cx="11631" cy="4652"/>
                      </a:xfrm>
                      <a:custGeom>
                        <a:avLst/>
                        <a:gdLst>
                          <a:gd name="connsiteX0" fmla="*/ 11235 w 11630"/>
                          <a:gd name="connsiteY0" fmla="*/ 5443 h 4652"/>
                          <a:gd name="connsiteX1" fmla="*/ 11235 w 11630"/>
                          <a:gd name="connsiteY1" fmla="*/ 5443 h 4652"/>
                          <a:gd name="connsiteX2" fmla="*/ 10910 w 11630"/>
                          <a:gd name="connsiteY2" fmla="*/ 5048 h 4652"/>
                          <a:gd name="connsiteX3" fmla="*/ 10886 w 11630"/>
                          <a:gd name="connsiteY3" fmla="*/ 5001 h 4652"/>
                          <a:gd name="connsiteX4" fmla="*/ 10700 w 11630"/>
                          <a:gd name="connsiteY4" fmla="*/ 4652 h 4652"/>
                          <a:gd name="connsiteX5" fmla="*/ 10607 w 11630"/>
                          <a:gd name="connsiteY5" fmla="*/ 4420 h 4652"/>
                          <a:gd name="connsiteX6" fmla="*/ 10584 w 11630"/>
                          <a:gd name="connsiteY6" fmla="*/ 4327 h 4652"/>
                          <a:gd name="connsiteX7" fmla="*/ 10514 w 11630"/>
                          <a:gd name="connsiteY7" fmla="*/ 4048 h 4652"/>
                          <a:gd name="connsiteX8" fmla="*/ 10514 w 11630"/>
                          <a:gd name="connsiteY8" fmla="*/ 4048 h 4652"/>
                          <a:gd name="connsiteX9" fmla="*/ 10491 w 11630"/>
                          <a:gd name="connsiteY9" fmla="*/ 3908 h 4652"/>
                          <a:gd name="connsiteX10" fmla="*/ 10491 w 11630"/>
                          <a:gd name="connsiteY10" fmla="*/ 3513 h 4652"/>
                          <a:gd name="connsiteX11" fmla="*/ 10491 w 11630"/>
                          <a:gd name="connsiteY11" fmla="*/ 3257 h 4652"/>
                          <a:gd name="connsiteX12" fmla="*/ 10514 w 11630"/>
                          <a:gd name="connsiteY12" fmla="*/ 3140 h 4652"/>
                          <a:gd name="connsiteX13" fmla="*/ 10677 w 11630"/>
                          <a:gd name="connsiteY13" fmla="*/ 2443 h 4652"/>
                          <a:gd name="connsiteX14" fmla="*/ 11212 w 11630"/>
                          <a:gd name="connsiteY14" fmla="*/ 1117 h 4652"/>
                          <a:gd name="connsiteX15" fmla="*/ 11212 w 11630"/>
                          <a:gd name="connsiteY15" fmla="*/ 1093 h 4652"/>
                          <a:gd name="connsiteX16" fmla="*/ 11817 w 11630"/>
                          <a:gd name="connsiteY16" fmla="*/ 279 h 4652"/>
                          <a:gd name="connsiteX17" fmla="*/ 11817 w 11630"/>
                          <a:gd name="connsiteY17" fmla="*/ 279 h 4652"/>
                          <a:gd name="connsiteX18" fmla="*/ 12026 w 11630"/>
                          <a:gd name="connsiteY18" fmla="*/ 163 h 4652"/>
                          <a:gd name="connsiteX19" fmla="*/ 12026 w 11630"/>
                          <a:gd name="connsiteY19" fmla="*/ 163 h 4652"/>
                          <a:gd name="connsiteX20" fmla="*/ 12189 w 11630"/>
                          <a:gd name="connsiteY20" fmla="*/ 70 h 4652"/>
                          <a:gd name="connsiteX21" fmla="*/ 12189 w 11630"/>
                          <a:gd name="connsiteY21" fmla="*/ 70 h 4652"/>
                          <a:gd name="connsiteX22" fmla="*/ 12561 w 11630"/>
                          <a:gd name="connsiteY22" fmla="*/ 0 h 4652"/>
                          <a:gd name="connsiteX23" fmla="*/ 3071 w 11630"/>
                          <a:gd name="connsiteY23" fmla="*/ 0 h 4652"/>
                          <a:gd name="connsiteX24" fmla="*/ 2117 w 11630"/>
                          <a:gd name="connsiteY24" fmla="*/ 0 h 4652"/>
                          <a:gd name="connsiteX25" fmla="*/ 2047 w 11630"/>
                          <a:gd name="connsiteY25" fmla="*/ 0 h 4652"/>
                          <a:gd name="connsiteX26" fmla="*/ 1745 w 11630"/>
                          <a:gd name="connsiteY26" fmla="*/ 70 h 4652"/>
                          <a:gd name="connsiteX27" fmla="*/ 1721 w 11630"/>
                          <a:gd name="connsiteY27" fmla="*/ 70 h 4652"/>
                          <a:gd name="connsiteX28" fmla="*/ 1559 w 11630"/>
                          <a:gd name="connsiteY28" fmla="*/ 163 h 4652"/>
                          <a:gd name="connsiteX29" fmla="*/ 1372 w 11630"/>
                          <a:gd name="connsiteY29" fmla="*/ 256 h 4652"/>
                          <a:gd name="connsiteX30" fmla="*/ 1349 w 11630"/>
                          <a:gd name="connsiteY30" fmla="*/ 279 h 4652"/>
                          <a:gd name="connsiteX31" fmla="*/ 1140 w 11630"/>
                          <a:gd name="connsiteY31" fmla="*/ 512 h 4652"/>
                          <a:gd name="connsiteX32" fmla="*/ 1024 w 11630"/>
                          <a:gd name="connsiteY32" fmla="*/ 628 h 4652"/>
                          <a:gd name="connsiteX33" fmla="*/ 744 w 11630"/>
                          <a:gd name="connsiteY33" fmla="*/ 1117 h 4652"/>
                          <a:gd name="connsiteX34" fmla="*/ 209 w 11630"/>
                          <a:gd name="connsiteY34" fmla="*/ 2443 h 4652"/>
                          <a:gd name="connsiteX35" fmla="*/ 209 w 11630"/>
                          <a:gd name="connsiteY35" fmla="*/ 2443 h 4652"/>
                          <a:gd name="connsiteX36" fmla="*/ 47 w 11630"/>
                          <a:gd name="connsiteY36" fmla="*/ 2977 h 4652"/>
                          <a:gd name="connsiteX37" fmla="*/ 23 w 11630"/>
                          <a:gd name="connsiteY37" fmla="*/ 3140 h 4652"/>
                          <a:gd name="connsiteX38" fmla="*/ 23 w 11630"/>
                          <a:gd name="connsiteY38" fmla="*/ 3257 h 4652"/>
                          <a:gd name="connsiteX39" fmla="*/ 0 w 11630"/>
                          <a:gd name="connsiteY39" fmla="*/ 3396 h 4652"/>
                          <a:gd name="connsiteX40" fmla="*/ 0 w 11630"/>
                          <a:gd name="connsiteY40" fmla="*/ 3792 h 4652"/>
                          <a:gd name="connsiteX41" fmla="*/ 23 w 11630"/>
                          <a:gd name="connsiteY41" fmla="*/ 3885 h 4652"/>
                          <a:gd name="connsiteX42" fmla="*/ 47 w 11630"/>
                          <a:gd name="connsiteY42" fmla="*/ 4024 h 4652"/>
                          <a:gd name="connsiteX43" fmla="*/ 93 w 11630"/>
                          <a:gd name="connsiteY43" fmla="*/ 4234 h 4652"/>
                          <a:gd name="connsiteX44" fmla="*/ 163 w 11630"/>
                          <a:gd name="connsiteY44" fmla="*/ 4420 h 4652"/>
                          <a:gd name="connsiteX45" fmla="*/ 302 w 11630"/>
                          <a:gd name="connsiteY45" fmla="*/ 4792 h 4652"/>
                          <a:gd name="connsiteX46" fmla="*/ 465 w 11630"/>
                          <a:gd name="connsiteY46" fmla="*/ 5071 h 4652"/>
                          <a:gd name="connsiteX47" fmla="*/ 582 w 11630"/>
                          <a:gd name="connsiteY47" fmla="*/ 5234 h 4652"/>
                          <a:gd name="connsiteX48" fmla="*/ 814 w 11630"/>
                          <a:gd name="connsiteY48" fmla="*/ 5467 h 4652"/>
                          <a:gd name="connsiteX49" fmla="*/ 837 w 11630"/>
                          <a:gd name="connsiteY49" fmla="*/ 5490 h 4652"/>
                          <a:gd name="connsiteX50" fmla="*/ 11282 w 11630"/>
                          <a:gd name="connsiteY50" fmla="*/ 5490 h 4652"/>
                          <a:gd name="connsiteX51" fmla="*/ 11235 w 11630"/>
                          <a:gd name="connsiteY51" fmla="*/ 5443 h 465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  <a:cxn ang="0">
                            <a:pos x="connsiteX43" y="connsiteY43"/>
                          </a:cxn>
                          <a:cxn ang="0">
                            <a:pos x="connsiteX44" y="connsiteY44"/>
                          </a:cxn>
                          <a:cxn ang="0">
                            <a:pos x="connsiteX45" y="connsiteY45"/>
                          </a:cxn>
                          <a:cxn ang="0">
                            <a:pos x="connsiteX46" y="connsiteY46"/>
                          </a:cxn>
                          <a:cxn ang="0">
                            <a:pos x="connsiteX47" y="connsiteY47"/>
                          </a:cxn>
                          <a:cxn ang="0">
                            <a:pos x="connsiteX48" y="connsiteY48"/>
                          </a:cxn>
                          <a:cxn ang="0">
                            <a:pos x="connsiteX49" y="connsiteY49"/>
                          </a:cxn>
                          <a:cxn ang="0">
                            <a:pos x="connsiteX50" y="connsiteY50"/>
                          </a:cxn>
                          <a:cxn ang="0">
                            <a:pos x="connsiteX51" y="connsiteY51"/>
                          </a:cxn>
                        </a:cxnLst>
                        <a:rect l="l" t="t" r="r" b="b"/>
                        <a:pathLst>
                          <a:path w="11630" h="4652">
                            <a:moveTo>
                              <a:pt x="11235" y="5443"/>
                            </a:moveTo>
                            <a:lnTo>
                              <a:pt x="11235" y="5443"/>
                            </a:lnTo>
                            <a:cubicBezTo>
                              <a:pt x="11096" y="5327"/>
                              <a:pt x="11003" y="5187"/>
                              <a:pt x="10910" y="5048"/>
                            </a:cubicBezTo>
                            <a:cubicBezTo>
                              <a:pt x="10886" y="5025"/>
                              <a:pt x="10886" y="5001"/>
                              <a:pt x="10886" y="5001"/>
                            </a:cubicBezTo>
                            <a:cubicBezTo>
                              <a:pt x="10817" y="4885"/>
                              <a:pt x="10747" y="4769"/>
                              <a:pt x="10700" y="4652"/>
                            </a:cubicBezTo>
                            <a:cubicBezTo>
                              <a:pt x="10677" y="4583"/>
                              <a:pt x="10631" y="4490"/>
                              <a:pt x="10607" y="4420"/>
                            </a:cubicBezTo>
                            <a:cubicBezTo>
                              <a:pt x="10607" y="4396"/>
                              <a:pt x="10607" y="4373"/>
                              <a:pt x="10584" y="4327"/>
                            </a:cubicBezTo>
                            <a:cubicBezTo>
                              <a:pt x="10561" y="4234"/>
                              <a:pt x="10514" y="4141"/>
                              <a:pt x="10514" y="4048"/>
                            </a:cubicBezTo>
                            <a:lnTo>
                              <a:pt x="10514" y="4048"/>
                            </a:lnTo>
                            <a:cubicBezTo>
                              <a:pt x="10514" y="4001"/>
                              <a:pt x="10491" y="3955"/>
                              <a:pt x="10491" y="3908"/>
                            </a:cubicBezTo>
                            <a:cubicBezTo>
                              <a:pt x="10468" y="3792"/>
                              <a:pt x="10491" y="3652"/>
                              <a:pt x="10491" y="3513"/>
                            </a:cubicBezTo>
                            <a:cubicBezTo>
                              <a:pt x="10491" y="3419"/>
                              <a:pt x="10468" y="3326"/>
                              <a:pt x="10491" y="3257"/>
                            </a:cubicBezTo>
                            <a:cubicBezTo>
                              <a:pt x="10491" y="3210"/>
                              <a:pt x="10491" y="3187"/>
                              <a:pt x="10514" y="3140"/>
                            </a:cubicBezTo>
                            <a:cubicBezTo>
                              <a:pt x="10538" y="2908"/>
                              <a:pt x="10584" y="2675"/>
                              <a:pt x="10677" y="2443"/>
                            </a:cubicBezTo>
                            <a:cubicBezTo>
                              <a:pt x="10840" y="2024"/>
                              <a:pt x="11026" y="1559"/>
                              <a:pt x="11212" y="1117"/>
                            </a:cubicBezTo>
                            <a:lnTo>
                              <a:pt x="11212" y="1093"/>
                            </a:lnTo>
                            <a:cubicBezTo>
                              <a:pt x="11352" y="744"/>
                              <a:pt x="11561" y="465"/>
                              <a:pt x="11817" y="279"/>
                            </a:cubicBezTo>
                            <a:lnTo>
                              <a:pt x="11817" y="279"/>
                            </a:lnTo>
                            <a:cubicBezTo>
                              <a:pt x="11887" y="209"/>
                              <a:pt x="11957" y="209"/>
                              <a:pt x="12026" y="163"/>
                            </a:cubicBezTo>
                            <a:lnTo>
                              <a:pt x="12026" y="163"/>
                            </a:lnTo>
                            <a:cubicBezTo>
                              <a:pt x="12073" y="140"/>
                              <a:pt x="12143" y="93"/>
                              <a:pt x="12189" y="70"/>
                            </a:cubicBezTo>
                            <a:lnTo>
                              <a:pt x="12189" y="70"/>
                            </a:lnTo>
                            <a:cubicBezTo>
                              <a:pt x="12305" y="23"/>
                              <a:pt x="12445" y="0"/>
                              <a:pt x="12561" y="0"/>
                            </a:cubicBezTo>
                            <a:lnTo>
                              <a:pt x="3071" y="0"/>
                            </a:lnTo>
                            <a:lnTo>
                              <a:pt x="2117" y="0"/>
                            </a:lnTo>
                            <a:cubicBezTo>
                              <a:pt x="2094" y="0"/>
                              <a:pt x="2070" y="0"/>
                              <a:pt x="2047" y="0"/>
                            </a:cubicBezTo>
                            <a:cubicBezTo>
                              <a:pt x="1954" y="0"/>
                              <a:pt x="1838" y="23"/>
                              <a:pt x="1745" y="70"/>
                            </a:cubicBezTo>
                            <a:lnTo>
                              <a:pt x="1721" y="70"/>
                            </a:lnTo>
                            <a:cubicBezTo>
                              <a:pt x="1675" y="93"/>
                              <a:pt x="1605" y="140"/>
                              <a:pt x="1559" y="163"/>
                            </a:cubicBezTo>
                            <a:cubicBezTo>
                              <a:pt x="1489" y="186"/>
                              <a:pt x="1442" y="209"/>
                              <a:pt x="1372" y="256"/>
                            </a:cubicBezTo>
                            <a:lnTo>
                              <a:pt x="1349" y="279"/>
                            </a:lnTo>
                            <a:cubicBezTo>
                              <a:pt x="1279" y="326"/>
                              <a:pt x="1186" y="419"/>
                              <a:pt x="1140" y="512"/>
                            </a:cubicBezTo>
                            <a:cubicBezTo>
                              <a:pt x="1093" y="558"/>
                              <a:pt x="1070" y="582"/>
                              <a:pt x="1024" y="628"/>
                            </a:cubicBezTo>
                            <a:cubicBezTo>
                              <a:pt x="907" y="768"/>
                              <a:pt x="814" y="931"/>
                              <a:pt x="744" y="1117"/>
                            </a:cubicBezTo>
                            <a:cubicBezTo>
                              <a:pt x="558" y="1559"/>
                              <a:pt x="372" y="2001"/>
                              <a:pt x="209" y="2443"/>
                            </a:cubicBezTo>
                            <a:lnTo>
                              <a:pt x="209" y="2443"/>
                            </a:lnTo>
                            <a:cubicBezTo>
                              <a:pt x="140" y="2605"/>
                              <a:pt x="93" y="2791"/>
                              <a:pt x="47" y="2977"/>
                            </a:cubicBezTo>
                            <a:cubicBezTo>
                              <a:pt x="47" y="3024"/>
                              <a:pt x="47" y="3094"/>
                              <a:pt x="23" y="3140"/>
                            </a:cubicBezTo>
                            <a:cubicBezTo>
                              <a:pt x="23" y="3187"/>
                              <a:pt x="23" y="3210"/>
                              <a:pt x="23" y="3257"/>
                            </a:cubicBezTo>
                            <a:cubicBezTo>
                              <a:pt x="23" y="3303"/>
                              <a:pt x="0" y="3350"/>
                              <a:pt x="0" y="3396"/>
                            </a:cubicBezTo>
                            <a:cubicBezTo>
                              <a:pt x="0" y="3536"/>
                              <a:pt x="0" y="3675"/>
                              <a:pt x="0" y="3792"/>
                            </a:cubicBezTo>
                            <a:cubicBezTo>
                              <a:pt x="0" y="3838"/>
                              <a:pt x="23" y="3861"/>
                              <a:pt x="23" y="3885"/>
                            </a:cubicBezTo>
                            <a:cubicBezTo>
                              <a:pt x="23" y="3931"/>
                              <a:pt x="47" y="3978"/>
                              <a:pt x="47" y="4024"/>
                            </a:cubicBezTo>
                            <a:cubicBezTo>
                              <a:pt x="70" y="4094"/>
                              <a:pt x="70" y="4187"/>
                              <a:pt x="93" y="4234"/>
                            </a:cubicBezTo>
                            <a:cubicBezTo>
                              <a:pt x="116" y="4303"/>
                              <a:pt x="140" y="4350"/>
                              <a:pt x="163" y="4420"/>
                            </a:cubicBezTo>
                            <a:cubicBezTo>
                              <a:pt x="209" y="4559"/>
                              <a:pt x="256" y="4676"/>
                              <a:pt x="302" y="4792"/>
                            </a:cubicBezTo>
                            <a:cubicBezTo>
                              <a:pt x="349" y="4885"/>
                              <a:pt x="419" y="4978"/>
                              <a:pt x="465" y="5071"/>
                            </a:cubicBezTo>
                            <a:cubicBezTo>
                              <a:pt x="512" y="5118"/>
                              <a:pt x="535" y="5187"/>
                              <a:pt x="582" y="5234"/>
                            </a:cubicBezTo>
                            <a:cubicBezTo>
                              <a:pt x="651" y="5327"/>
                              <a:pt x="744" y="5397"/>
                              <a:pt x="814" y="5467"/>
                            </a:cubicBezTo>
                            <a:lnTo>
                              <a:pt x="837" y="5490"/>
                            </a:lnTo>
                            <a:lnTo>
                              <a:pt x="11282" y="5490"/>
                            </a:lnTo>
                            <a:lnTo>
                              <a:pt x="11235" y="5443"/>
                            </a:lnTo>
                            <a:close/>
                          </a:path>
                        </a:pathLst>
                      </a:custGeom>
                      <a:solidFill>
                        <a:srgbClr val="F19439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742" name="Freeform: Shape 1741">
                        <a:extLst>
                          <a:ext uri="{FF2B5EF4-FFF2-40B4-BE49-F238E27FC236}">
                            <a16:creationId xmlns:a16="http://schemas.microsoft.com/office/drawing/2014/main" id="{E7314441-44A3-49CE-B55D-A496A4AE6F4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57385" y="4134299"/>
                        <a:ext cx="11631" cy="4652"/>
                      </a:xfrm>
                      <a:custGeom>
                        <a:avLst/>
                        <a:gdLst>
                          <a:gd name="connsiteX0" fmla="*/ 11747 w 11630"/>
                          <a:gd name="connsiteY0" fmla="*/ 5187 h 4652"/>
                          <a:gd name="connsiteX1" fmla="*/ 11166 w 11630"/>
                          <a:gd name="connsiteY1" fmla="*/ 4327 h 4652"/>
                          <a:gd name="connsiteX2" fmla="*/ 10654 w 11630"/>
                          <a:gd name="connsiteY2" fmla="*/ 3001 h 4652"/>
                          <a:gd name="connsiteX3" fmla="*/ 10468 w 11630"/>
                          <a:gd name="connsiteY3" fmla="*/ 2117 h 4652"/>
                          <a:gd name="connsiteX4" fmla="*/ 10468 w 11630"/>
                          <a:gd name="connsiteY4" fmla="*/ 2117 h 4652"/>
                          <a:gd name="connsiteX5" fmla="*/ 10514 w 11630"/>
                          <a:gd name="connsiteY5" fmla="*/ 1349 h 4652"/>
                          <a:gd name="connsiteX6" fmla="*/ 10514 w 11630"/>
                          <a:gd name="connsiteY6" fmla="*/ 1349 h 4652"/>
                          <a:gd name="connsiteX7" fmla="*/ 10538 w 11630"/>
                          <a:gd name="connsiteY7" fmla="*/ 1233 h 4652"/>
                          <a:gd name="connsiteX8" fmla="*/ 10538 w 11630"/>
                          <a:gd name="connsiteY8" fmla="*/ 1233 h 4652"/>
                          <a:gd name="connsiteX9" fmla="*/ 10654 w 11630"/>
                          <a:gd name="connsiteY9" fmla="*/ 954 h 4652"/>
                          <a:gd name="connsiteX10" fmla="*/ 10840 w 11630"/>
                          <a:gd name="connsiteY10" fmla="*/ 512 h 4652"/>
                          <a:gd name="connsiteX11" fmla="*/ 10840 w 11630"/>
                          <a:gd name="connsiteY11" fmla="*/ 512 h 4652"/>
                          <a:gd name="connsiteX12" fmla="*/ 11282 w 11630"/>
                          <a:gd name="connsiteY12" fmla="*/ 0 h 4652"/>
                          <a:gd name="connsiteX13" fmla="*/ 11282 w 11630"/>
                          <a:gd name="connsiteY13" fmla="*/ 0 h 4652"/>
                          <a:gd name="connsiteX14" fmla="*/ 861 w 11630"/>
                          <a:gd name="connsiteY14" fmla="*/ 0 h 4652"/>
                          <a:gd name="connsiteX15" fmla="*/ 837 w 11630"/>
                          <a:gd name="connsiteY15" fmla="*/ 23 h 4652"/>
                          <a:gd name="connsiteX16" fmla="*/ 837 w 11630"/>
                          <a:gd name="connsiteY16" fmla="*/ 23 h 4652"/>
                          <a:gd name="connsiteX17" fmla="*/ 395 w 11630"/>
                          <a:gd name="connsiteY17" fmla="*/ 535 h 4652"/>
                          <a:gd name="connsiteX18" fmla="*/ 302 w 11630"/>
                          <a:gd name="connsiteY18" fmla="*/ 698 h 4652"/>
                          <a:gd name="connsiteX19" fmla="*/ 186 w 11630"/>
                          <a:gd name="connsiteY19" fmla="*/ 907 h 4652"/>
                          <a:gd name="connsiteX20" fmla="*/ 93 w 11630"/>
                          <a:gd name="connsiteY20" fmla="*/ 1233 h 4652"/>
                          <a:gd name="connsiteX21" fmla="*/ 47 w 11630"/>
                          <a:gd name="connsiteY21" fmla="*/ 1349 h 4652"/>
                          <a:gd name="connsiteX22" fmla="*/ 47 w 11630"/>
                          <a:gd name="connsiteY22" fmla="*/ 1419 h 4652"/>
                          <a:gd name="connsiteX23" fmla="*/ 0 w 11630"/>
                          <a:gd name="connsiteY23" fmla="*/ 1838 h 4652"/>
                          <a:gd name="connsiteX24" fmla="*/ 0 w 11630"/>
                          <a:gd name="connsiteY24" fmla="*/ 2117 h 4652"/>
                          <a:gd name="connsiteX25" fmla="*/ 0 w 11630"/>
                          <a:gd name="connsiteY25" fmla="*/ 2163 h 4652"/>
                          <a:gd name="connsiteX26" fmla="*/ 0 w 11630"/>
                          <a:gd name="connsiteY26" fmla="*/ 2210 h 4652"/>
                          <a:gd name="connsiteX27" fmla="*/ 70 w 11630"/>
                          <a:gd name="connsiteY27" fmla="*/ 2652 h 4652"/>
                          <a:gd name="connsiteX28" fmla="*/ 163 w 11630"/>
                          <a:gd name="connsiteY28" fmla="*/ 2977 h 4652"/>
                          <a:gd name="connsiteX29" fmla="*/ 675 w 11630"/>
                          <a:gd name="connsiteY29" fmla="*/ 4303 h 4652"/>
                          <a:gd name="connsiteX30" fmla="*/ 2047 w 11630"/>
                          <a:gd name="connsiteY30" fmla="*/ 5443 h 4652"/>
                          <a:gd name="connsiteX31" fmla="*/ 2954 w 11630"/>
                          <a:gd name="connsiteY31" fmla="*/ 5443 h 4652"/>
                          <a:gd name="connsiteX32" fmla="*/ 12468 w 11630"/>
                          <a:gd name="connsiteY32" fmla="*/ 5443 h 4652"/>
                          <a:gd name="connsiteX33" fmla="*/ 11747 w 11630"/>
                          <a:gd name="connsiteY33" fmla="*/ 5187 h 465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</a:cxnLst>
                        <a:rect l="l" t="t" r="r" b="b"/>
                        <a:pathLst>
                          <a:path w="11630" h="4652">
                            <a:moveTo>
                              <a:pt x="11747" y="5187"/>
                            </a:moveTo>
                            <a:cubicBezTo>
                              <a:pt x="11515" y="5001"/>
                              <a:pt x="11305" y="4699"/>
                              <a:pt x="11166" y="4327"/>
                            </a:cubicBezTo>
                            <a:cubicBezTo>
                              <a:pt x="11003" y="3885"/>
                              <a:pt x="10817" y="3466"/>
                              <a:pt x="10654" y="3001"/>
                            </a:cubicBezTo>
                            <a:cubicBezTo>
                              <a:pt x="10538" y="2722"/>
                              <a:pt x="10491" y="2419"/>
                              <a:pt x="10468" y="2117"/>
                            </a:cubicBezTo>
                            <a:lnTo>
                              <a:pt x="10468" y="2117"/>
                            </a:lnTo>
                            <a:cubicBezTo>
                              <a:pt x="10468" y="1838"/>
                              <a:pt x="10468" y="1582"/>
                              <a:pt x="10514" y="1349"/>
                            </a:cubicBezTo>
                            <a:lnTo>
                              <a:pt x="10514" y="1349"/>
                            </a:lnTo>
                            <a:cubicBezTo>
                              <a:pt x="10514" y="1303"/>
                              <a:pt x="10538" y="1279"/>
                              <a:pt x="10538" y="1233"/>
                            </a:cubicBezTo>
                            <a:lnTo>
                              <a:pt x="10538" y="1233"/>
                            </a:lnTo>
                            <a:cubicBezTo>
                              <a:pt x="10561" y="1140"/>
                              <a:pt x="10607" y="1047"/>
                              <a:pt x="10654" y="954"/>
                            </a:cubicBezTo>
                            <a:cubicBezTo>
                              <a:pt x="10700" y="791"/>
                              <a:pt x="10770" y="628"/>
                              <a:pt x="10840" y="512"/>
                            </a:cubicBezTo>
                            <a:lnTo>
                              <a:pt x="10840" y="512"/>
                            </a:lnTo>
                            <a:cubicBezTo>
                              <a:pt x="10956" y="302"/>
                              <a:pt x="11119" y="140"/>
                              <a:pt x="11282" y="0"/>
                            </a:cubicBezTo>
                            <a:cubicBezTo>
                              <a:pt x="11282" y="0"/>
                              <a:pt x="11282" y="0"/>
                              <a:pt x="11282" y="0"/>
                            </a:cubicBezTo>
                            <a:lnTo>
                              <a:pt x="861" y="0"/>
                            </a:lnTo>
                            <a:cubicBezTo>
                              <a:pt x="861" y="0"/>
                              <a:pt x="837" y="0"/>
                              <a:pt x="837" y="23"/>
                            </a:cubicBezTo>
                            <a:lnTo>
                              <a:pt x="837" y="23"/>
                            </a:lnTo>
                            <a:cubicBezTo>
                              <a:pt x="675" y="163"/>
                              <a:pt x="535" y="326"/>
                              <a:pt x="395" y="535"/>
                            </a:cubicBezTo>
                            <a:cubicBezTo>
                              <a:pt x="349" y="582"/>
                              <a:pt x="349" y="651"/>
                              <a:pt x="302" y="698"/>
                            </a:cubicBezTo>
                            <a:cubicBezTo>
                              <a:pt x="279" y="768"/>
                              <a:pt x="233" y="837"/>
                              <a:pt x="186" y="907"/>
                            </a:cubicBezTo>
                            <a:cubicBezTo>
                              <a:pt x="140" y="1000"/>
                              <a:pt x="116" y="1117"/>
                              <a:pt x="93" y="1233"/>
                            </a:cubicBezTo>
                            <a:cubicBezTo>
                              <a:pt x="93" y="1279"/>
                              <a:pt x="70" y="1303"/>
                              <a:pt x="47" y="1349"/>
                            </a:cubicBezTo>
                            <a:cubicBezTo>
                              <a:pt x="47" y="1372"/>
                              <a:pt x="47" y="1396"/>
                              <a:pt x="47" y="1419"/>
                            </a:cubicBezTo>
                            <a:cubicBezTo>
                              <a:pt x="23" y="1559"/>
                              <a:pt x="0" y="1698"/>
                              <a:pt x="0" y="1838"/>
                            </a:cubicBezTo>
                            <a:cubicBezTo>
                              <a:pt x="0" y="1931"/>
                              <a:pt x="0" y="2024"/>
                              <a:pt x="0" y="2117"/>
                            </a:cubicBezTo>
                            <a:cubicBezTo>
                              <a:pt x="0" y="2117"/>
                              <a:pt x="0" y="2163"/>
                              <a:pt x="0" y="2163"/>
                            </a:cubicBezTo>
                            <a:cubicBezTo>
                              <a:pt x="0" y="2187"/>
                              <a:pt x="0" y="2210"/>
                              <a:pt x="0" y="2210"/>
                            </a:cubicBezTo>
                            <a:cubicBezTo>
                              <a:pt x="0" y="2373"/>
                              <a:pt x="47" y="2512"/>
                              <a:pt x="70" y="2652"/>
                            </a:cubicBezTo>
                            <a:cubicBezTo>
                              <a:pt x="93" y="2768"/>
                              <a:pt x="116" y="2884"/>
                              <a:pt x="163" y="2977"/>
                            </a:cubicBezTo>
                            <a:cubicBezTo>
                              <a:pt x="326" y="3419"/>
                              <a:pt x="512" y="3861"/>
                              <a:pt x="675" y="4303"/>
                            </a:cubicBezTo>
                            <a:cubicBezTo>
                              <a:pt x="954" y="5048"/>
                              <a:pt x="1489" y="5443"/>
                              <a:pt x="2047" y="5443"/>
                            </a:cubicBezTo>
                            <a:lnTo>
                              <a:pt x="2954" y="5443"/>
                            </a:lnTo>
                            <a:lnTo>
                              <a:pt x="12468" y="5443"/>
                            </a:lnTo>
                            <a:cubicBezTo>
                              <a:pt x="12236" y="5490"/>
                              <a:pt x="11980" y="5373"/>
                              <a:pt x="11747" y="5187"/>
                            </a:cubicBezTo>
                            <a:close/>
                          </a:path>
                        </a:pathLst>
                      </a:custGeom>
                      <a:solidFill>
                        <a:srgbClr val="F19439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743" name="Freeform: Shape 1742">
                        <a:extLst>
                          <a:ext uri="{FF2B5EF4-FFF2-40B4-BE49-F238E27FC236}">
                            <a16:creationId xmlns:a16="http://schemas.microsoft.com/office/drawing/2014/main" id="{5AA47FE3-1D48-4866-AEA7-AA39E03D025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69899" y="4139788"/>
                        <a:ext cx="2326" cy="2326"/>
                      </a:xfrm>
                      <a:custGeom>
                        <a:avLst/>
                        <a:gdLst>
                          <a:gd name="connsiteX0" fmla="*/ 0 w 0"/>
                          <a:gd name="connsiteY0" fmla="*/ 0 h 0"/>
                          <a:gd name="connsiteX1" fmla="*/ 0 w 0"/>
                          <a:gd name="connsiteY1" fmla="*/ 0 h 0"/>
                          <a:gd name="connsiteX2" fmla="*/ 0 w 0"/>
                          <a:gd name="connsiteY2" fmla="*/ 0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0" y="0"/>
                            </a:moveTo>
                            <a:lnTo>
                              <a:pt x="0" y="0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solidFill>
                        <a:srgbClr val="F19439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744" name="Freeform: Shape 1743">
                        <a:extLst>
                          <a:ext uri="{FF2B5EF4-FFF2-40B4-BE49-F238E27FC236}">
                            <a16:creationId xmlns:a16="http://schemas.microsoft.com/office/drawing/2014/main" id="{7F2457CE-FE5C-4E50-953E-AE2B9660ECA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55547" y="4070189"/>
                        <a:ext cx="11631" cy="4652"/>
                      </a:xfrm>
                      <a:custGeom>
                        <a:avLst/>
                        <a:gdLst>
                          <a:gd name="connsiteX0" fmla="*/ 11375 w 11630"/>
                          <a:gd name="connsiteY0" fmla="*/ 5606 h 4652"/>
                          <a:gd name="connsiteX1" fmla="*/ 11375 w 11630"/>
                          <a:gd name="connsiteY1" fmla="*/ 5606 h 4652"/>
                          <a:gd name="connsiteX2" fmla="*/ 11375 w 11630"/>
                          <a:gd name="connsiteY2" fmla="*/ 5606 h 4652"/>
                          <a:gd name="connsiteX3" fmla="*/ 11003 w 11630"/>
                          <a:gd name="connsiteY3" fmla="*/ 5257 h 4652"/>
                          <a:gd name="connsiteX4" fmla="*/ 10863 w 11630"/>
                          <a:gd name="connsiteY4" fmla="*/ 5118 h 4652"/>
                          <a:gd name="connsiteX5" fmla="*/ 10863 w 11630"/>
                          <a:gd name="connsiteY5" fmla="*/ 5118 h 4652"/>
                          <a:gd name="connsiteX6" fmla="*/ 10840 w 11630"/>
                          <a:gd name="connsiteY6" fmla="*/ 5094 h 4652"/>
                          <a:gd name="connsiteX7" fmla="*/ 10840 w 11630"/>
                          <a:gd name="connsiteY7" fmla="*/ 5094 h 4652"/>
                          <a:gd name="connsiteX8" fmla="*/ 10770 w 11630"/>
                          <a:gd name="connsiteY8" fmla="*/ 4931 h 4652"/>
                          <a:gd name="connsiteX9" fmla="*/ 10538 w 11630"/>
                          <a:gd name="connsiteY9" fmla="*/ 2698 h 4652"/>
                          <a:gd name="connsiteX10" fmla="*/ 10980 w 11630"/>
                          <a:gd name="connsiteY10" fmla="*/ 1303 h 4652"/>
                          <a:gd name="connsiteX11" fmla="*/ 12398 w 11630"/>
                          <a:gd name="connsiteY11" fmla="*/ 0 h 4652"/>
                          <a:gd name="connsiteX12" fmla="*/ 2722 w 11630"/>
                          <a:gd name="connsiteY12" fmla="*/ 0 h 4652"/>
                          <a:gd name="connsiteX13" fmla="*/ 1977 w 11630"/>
                          <a:gd name="connsiteY13" fmla="*/ 0 h 4652"/>
                          <a:gd name="connsiteX14" fmla="*/ 1907 w 11630"/>
                          <a:gd name="connsiteY14" fmla="*/ 0 h 4652"/>
                          <a:gd name="connsiteX15" fmla="*/ 1605 w 11630"/>
                          <a:gd name="connsiteY15" fmla="*/ 70 h 4652"/>
                          <a:gd name="connsiteX16" fmla="*/ 1582 w 11630"/>
                          <a:gd name="connsiteY16" fmla="*/ 70 h 4652"/>
                          <a:gd name="connsiteX17" fmla="*/ 1419 w 11630"/>
                          <a:gd name="connsiteY17" fmla="*/ 163 h 4652"/>
                          <a:gd name="connsiteX18" fmla="*/ 1233 w 11630"/>
                          <a:gd name="connsiteY18" fmla="*/ 256 h 4652"/>
                          <a:gd name="connsiteX19" fmla="*/ 1186 w 11630"/>
                          <a:gd name="connsiteY19" fmla="*/ 302 h 4652"/>
                          <a:gd name="connsiteX20" fmla="*/ 1000 w 11630"/>
                          <a:gd name="connsiteY20" fmla="*/ 488 h 4652"/>
                          <a:gd name="connsiteX21" fmla="*/ 837 w 11630"/>
                          <a:gd name="connsiteY21" fmla="*/ 698 h 4652"/>
                          <a:gd name="connsiteX22" fmla="*/ 698 w 11630"/>
                          <a:gd name="connsiteY22" fmla="*/ 954 h 4652"/>
                          <a:gd name="connsiteX23" fmla="*/ 605 w 11630"/>
                          <a:gd name="connsiteY23" fmla="*/ 1140 h 4652"/>
                          <a:gd name="connsiteX24" fmla="*/ 535 w 11630"/>
                          <a:gd name="connsiteY24" fmla="*/ 1303 h 4652"/>
                          <a:gd name="connsiteX25" fmla="*/ 116 w 11630"/>
                          <a:gd name="connsiteY25" fmla="*/ 2698 h 4652"/>
                          <a:gd name="connsiteX26" fmla="*/ 47 w 11630"/>
                          <a:gd name="connsiteY26" fmla="*/ 3024 h 4652"/>
                          <a:gd name="connsiteX27" fmla="*/ 0 w 11630"/>
                          <a:gd name="connsiteY27" fmla="*/ 3443 h 4652"/>
                          <a:gd name="connsiteX28" fmla="*/ 0 w 11630"/>
                          <a:gd name="connsiteY28" fmla="*/ 3536 h 4652"/>
                          <a:gd name="connsiteX29" fmla="*/ 0 w 11630"/>
                          <a:gd name="connsiteY29" fmla="*/ 3606 h 4652"/>
                          <a:gd name="connsiteX30" fmla="*/ 0 w 11630"/>
                          <a:gd name="connsiteY30" fmla="*/ 3838 h 4652"/>
                          <a:gd name="connsiteX31" fmla="*/ 70 w 11630"/>
                          <a:gd name="connsiteY31" fmla="*/ 4280 h 4652"/>
                          <a:gd name="connsiteX32" fmla="*/ 93 w 11630"/>
                          <a:gd name="connsiteY32" fmla="*/ 4350 h 4652"/>
                          <a:gd name="connsiteX33" fmla="*/ 116 w 11630"/>
                          <a:gd name="connsiteY33" fmla="*/ 4420 h 4652"/>
                          <a:gd name="connsiteX34" fmla="*/ 419 w 11630"/>
                          <a:gd name="connsiteY34" fmla="*/ 5071 h 4652"/>
                          <a:gd name="connsiteX35" fmla="*/ 442 w 11630"/>
                          <a:gd name="connsiteY35" fmla="*/ 5118 h 4652"/>
                          <a:gd name="connsiteX36" fmla="*/ 930 w 11630"/>
                          <a:gd name="connsiteY36" fmla="*/ 5606 h 4652"/>
                          <a:gd name="connsiteX37" fmla="*/ 954 w 11630"/>
                          <a:gd name="connsiteY37" fmla="*/ 5629 h 4652"/>
                          <a:gd name="connsiteX38" fmla="*/ 954 w 11630"/>
                          <a:gd name="connsiteY38" fmla="*/ 5629 h 4652"/>
                          <a:gd name="connsiteX39" fmla="*/ 11375 w 11630"/>
                          <a:gd name="connsiteY39" fmla="*/ 5629 h 465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</a:cxnLst>
                        <a:rect l="l" t="t" r="r" b="b"/>
                        <a:pathLst>
                          <a:path w="11630" h="4652">
                            <a:moveTo>
                              <a:pt x="11375" y="5606"/>
                            </a:moveTo>
                            <a:lnTo>
                              <a:pt x="11375" y="5606"/>
                            </a:lnTo>
                            <a:cubicBezTo>
                              <a:pt x="11375" y="5606"/>
                              <a:pt x="11375" y="5606"/>
                              <a:pt x="11375" y="5606"/>
                            </a:cubicBezTo>
                            <a:cubicBezTo>
                              <a:pt x="11212" y="5513"/>
                              <a:pt x="11119" y="5373"/>
                              <a:pt x="11003" y="5257"/>
                            </a:cubicBezTo>
                            <a:cubicBezTo>
                              <a:pt x="10956" y="5211"/>
                              <a:pt x="10886" y="5164"/>
                              <a:pt x="10863" y="5118"/>
                            </a:cubicBezTo>
                            <a:lnTo>
                              <a:pt x="10863" y="5118"/>
                            </a:lnTo>
                            <a:cubicBezTo>
                              <a:pt x="10863" y="5118"/>
                              <a:pt x="10840" y="5094"/>
                              <a:pt x="10840" y="5094"/>
                            </a:cubicBezTo>
                            <a:lnTo>
                              <a:pt x="10840" y="5094"/>
                            </a:lnTo>
                            <a:cubicBezTo>
                              <a:pt x="10817" y="5048"/>
                              <a:pt x="10793" y="4978"/>
                              <a:pt x="10770" y="4931"/>
                            </a:cubicBezTo>
                            <a:cubicBezTo>
                              <a:pt x="10421" y="4303"/>
                              <a:pt x="10305" y="3466"/>
                              <a:pt x="10538" y="2698"/>
                            </a:cubicBezTo>
                            <a:cubicBezTo>
                              <a:pt x="10677" y="2233"/>
                              <a:pt x="10840" y="1768"/>
                              <a:pt x="10980" y="1303"/>
                            </a:cubicBezTo>
                            <a:cubicBezTo>
                              <a:pt x="11235" y="488"/>
                              <a:pt x="11794" y="0"/>
                              <a:pt x="12398" y="0"/>
                            </a:cubicBezTo>
                            <a:lnTo>
                              <a:pt x="2722" y="0"/>
                            </a:lnTo>
                            <a:lnTo>
                              <a:pt x="1977" y="0"/>
                            </a:lnTo>
                            <a:cubicBezTo>
                              <a:pt x="1954" y="0"/>
                              <a:pt x="1931" y="0"/>
                              <a:pt x="1907" y="0"/>
                            </a:cubicBezTo>
                            <a:cubicBezTo>
                              <a:pt x="1791" y="0"/>
                              <a:pt x="1698" y="23"/>
                              <a:pt x="1605" y="70"/>
                            </a:cubicBezTo>
                            <a:cubicBezTo>
                              <a:pt x="1582" y="70"/>
                              <a:pt x="1582" y="70"/>
                              <a:pt x="1582" y="70"/>
                            </a:cubicBezTo>
                            <a:cubicBezTo>
                              <a:pt x="1512" y="93"/>
                              <a:pt x="1465" y="116"/>
                              <a:pt x="1419" y="163"/>
                            </a:cubicBezTo>
                            <a:cubicBezTo>
                              <a:pt x="1349" y="186"/>
                              <a:pt x="1303" y="209"/>
                              <a:pt x="1233" y="256"/>
                            </a:cubicBezTo>
                            <a:cubicBezTo>
                              <a:pt x="1210" y="279"/>
                              <a:pt x="1210" y="302"/>
                              <a:pt x="1186" y="302"/>
                            </a:cubicBezTo>
                            <a:cubicBezTo>
                              <a:pt x="1117" y="349"/>
                              <a:pt x="1070" y="419"/>
                              <a:pt x="1000" y="488"/>
                            </a:cubicBezTo>
                            <a:cubicBezTo>
                              <a:pt x="930" y="558"/>
                              <a:pt x="884" y="605"/>
                              <a:pt x="837" y="698"/>
                            </a:cubicBezTo>
                            <a:cubicBezTo>
                              <a:pt x="791" y="768"/>
                              <a:pt x="744" y="861"/>
                              <a:pt x="698" y="954"/>
                            </a:cubicBezTo>
                            <a:cubicBezTo>
                              <a:pt x="675" y="1024"/>
                              <a:pt x="628" y="1070"/>
                              <a:pt x="605" y="1140"/>
                            </a:cubicBezTo>
                            <a:cubicBezTo>
                              <a:pt x="582" y="1186"/>
                              <a:pt x="558" y="1256"/>
                              <a:pt x="535" y="1303"/>
                            </a:cubicBezTo>
                            <a:cubicBezTo>
                              <a:pt x="395" y="1768"/>
                              <a:pt x="256" y="2233"/>
                              <a:pt x="116" y="2698"/>
                            </a:cubicBezTo>
                            <a:cubicBezTo>
                              <a:pt x="93" y="2815"/>
                              <a:pt x="47" y="2908"/>
                              <a:pt x="47" y="3024"/>
                            </a:cubicBezTo>
                            <a:cubicBezTo>
                              <a:pt x="23" y="3164"/>
                              <a:pt x="0" y="3303"/>
                              <a:pt x="0" y="3443"/>
                            </a:cubicBezTo>
                            <a:cubicBezTo>
                              <a:pt x="0" y="3466"/>
                              <a:pt x="0" y="3489"/>
                              <a:pt x="0" y="3536"/>
                            </a:cubicBezTo>
                            <a:cubicBezTo>
                              <a:pt x="0" y="3559"/>
                              <a:pt x="0" y="3582"/>
                              <a:pt x="0" y="3606"/>
                            </a:cubicBezTo>
                            <a:cubicBezTo>
                              <a:pt x="0" y="3675"/>
                              <a:pt x="0" y="3768"/>
                              <a:pt x="0" y="3838"/>
                            </a:cubicBezTo>
                            <a:cubicBezTo>
                              <a:pt x="0" y="4001"/>
                              <a:pt x="23" y="4141"/>
                              <a:pt x="70" y="4280"/>
                            </a:cubicBezTo>
                            <a:cubicBezTo>
                              <a:pt x="70" y="4303"/>
                              <a:pt x="93" y="4327"/>
                              <a:pt x="93" y="4350"/>
                            </a:cubicBezTo>
                            <a:cubicBezTo>
                              <a:pt x="93" y="4373"/>
                              <a:pt x="116" y="4396"/>
                              <a:pt x="116" y="4420"/>
                            </a:cubicBezTo>
                            <a:cubicBezTo>
                              <a:pt x="186" y="4652"/>
                              <a:pt x="279" y="4885"/>
                              <a:pt x="419" y="5071"/>
                            </a:cubicBezTo>
                            <a:cubicBezTo>
                              <a:pt x="419" y="5071"/>
                              <a:pt x="442" y="5094"/>
                              <a:pt x="442" y="5118"/>
                            </a:cubicBezTo>
                            <a:cubicBezTo>
                              <a:pt x="582" y="5304"/>
                              <a:pt x="744" y="5490"/>
                              <a:pt x="930" y="5606"/>
                            </a:cubicBezTo>
                            <a:lnTo>
                              <a:pt x="954" y="5629"/>
                            </a:lnTo>
                            <a:lnTo>
                              <a:pt x="954" y="5629"/>
                            </a:lnTo>
                            <a:lnTo>
                              <a:pt x="11375" y="5629"/>
                            </a:lnTo>
                            <a:close/>
                          </a:path>
                        </a:pathLst>
                      </a:custGeom>
                      <a:solidFill>
                        <a:srgbClr val="F19439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745" name="Freeform: Shape 1744">
                        <a:extLst>
                          <a:ext uri="{FF2B5EF4-FFF2-40B4-BE49-F238E27FC236}">
                            <a16:creationId xmlns:a16="http://schemas.microsoft.com/office/drawing/2014/main" id="{E55BD292-7740-431C-8D08-208A6E90617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67945" y="4070166"/>
                        <a:ext cx="2326" cy="2326"/>
                      </a:xfrm>
                      <a:custGeom>
                        <a:avLst/>
                        <a:gdLst>
                          <a:gd name="connsiteX0" fmla="*/ 0 w 0"/>
                          <a:gd name="connsiteY0" fmla="*/ 0 h 0"/>
                          <a:gd name="connsiteX1" fmla="*/ 0 w 0"/>
                          <a:gd name="connsiteY1" fmla="*/ 0 h 0"/>
                          <a:gd name="connsiteX2" fmla="*/ 0 w 0"/>
                          <a:gd name="connsiteY2" fmla="*/ 0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0" y="0"/>
                            </a:moveTo>
                            <a:lnTo>
                              <a:pt x="0" y="0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solidFill>
                        <a:srgbClr val="F19439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746" name="Freeform: Shape 1745">
                        <a:extLst>
                          <a:ext uri="{FF2B5EF4-FFF2-40B4-BE49-F238E27FC236}">
                            <a16:creationId xmlns:a16="http://schemas.microsoft.com/office/drawing/2014/main" id="{8A92FD2A-9F4C-4F91-98FD-69B368C6C91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55221" y="4127529"/>
                        <a:ext cx="11631" cy="4652"/>
                      </a:xfrm>
                      <a:custGeom>
                        <a:avLst/>
                        <a:gdLst>
                          <a:gd name="connsiteX0" fmla="*/ 10956 w 11630"/>
                          <a:gd name="connsiteY0" fmla="*/ 4327 h 4652"/>
                          <a:gd name="connsiteX1" fmla="*/ 10538 w 11630"/>
                          <a:gd name="connsiteY1" fmla="*/ 2931 h 4652"/>
                          <a:gd name="connsiteX2" fmla="*/ 10584 w 11630"/>
                          <a:gd name="connsiteY2" fmla="*/ 1163 h 4652"/>
                          <a:gd name="connsiteX3" fmla="*/ 10584 w 11630"/>
                          <a:gd name="connsiteY3" fmla="*/ 1163 h 4652"/>
                          <a:gd name="connsiteX4" fmla="*/ 10863 w 11630"/>
                          <a:gd name="connsiteY4" fmla="*/ 558 h 4652"/>
                          <a:gd name="connsiteX5" fmla="*/ 10863 w 11630"/>
                          <a:gd name="connsiteY5" fmla="*/ 558 h 4652"/>
                          <a:gd name="connsiteX6" fmla="*/ 10886 w 11630"/>
                          <a:gd name="connsiteY6" fmla="*/ 512 h 4652"/>
                          <a:gd name="connsiteX7" fmla="*/ 10886 w 11630"/>
                          <a:gd name="connsiteY7" fmla="*/ 512 h 4652"/>
                          <a:gd name="connsiteX8" fmla="*/ 11003 w 11630"/>
                          <a:gd name="connsiteY8" fmla="*/ 395 h 4652"/>
                          <a:gd name="connsiteX9" fmla="*/ 11398 w 11630"/>
                          <a:gd name="connsiteY9" fmla="*/ 23 h 4652"/>
                          <a:gd name="connsiteX10" fmla="*/ 11445 w 11630"/>
                          <a:gd name="connsiteY10" fmla="*/ 0 h 4652"/>
                          <a:gd name="connsiteX11" fmla="*/ 11445 w 11630"/>
                          <a:gd name="connsiteY11" fmla="*/ 0 h 4652"/>
                          <a:gd name="connsiteX12" fmla="*/ 11445 w 11630"/>
                          <a:gd name="connsiteY12" fmla="*/ 0 h 4652"/>
                          <a:gd name="connsiteX13" fmla="*/ 11445 w 11630"/>
                          <a:gd name="connsiteY13" fmla="*/ 0 h 4652"/>
                          <a:gd name="connsiteX14" fmla="*/ 1000 w 11630"/>
                          <a:gd name="connsiteY14" fmla="*/ 0 h 4652"/>
                          <a:gd name="connsiteX15" fmla="*/ 977 w 11630"/>
                          <a:gd name="connsiteY15" fmla="*/ 0 h 4652"/>
                          <a:gd name="connsiteX16" fmla="*/ 837 w 11630"/>
                          <a:gd name="connsiteY16" fmla="*/ 93 h 4652"/>
                          <a:gd name="connsiteX17" fmla="*/ 465 w 11630"/>
                          <a:gd name="connsiteY17" fmla="*/ 488 h 4652"/>
                          <a:gd name="connsiteX18" fmla="*/ 419 w 11630"/>
                          <a:gd name="connsiteY18" fmla="*/ 582 h 4652"/>
                          <a:gd name="connsiteX19" fmla="*/ 186 w 11630"/>
                          <a:gd name="connsiteY19" fmla="*/ 1047 h 4652"/>
                          <a:gd name="connsiteX20" fmla="*/ 140 w 11630"/>
                          <a:gd name="connsiteY20" fmla="*/ 1186 h 4652"/>
                          <a:gd name="connsiteX21" fmla="*/ 93 w 11630"/>
                          <a:gd name="connsiteY21" fmla="*/ 1349 h 4652"/>
                          <a:gd name="connsiteX22" fmla="*/ 47 w 11630"/>
                          <a:gd name="connsiteY22" fmla="*/ 1582 h 4652"/>
                          <a:gd name="connsiteX23" fmla="*/ 0 w 11630"/>
                          <a:gd name="connsiteY23" fmla="*/ 2001 h 4652"/>
                          <a:gd name="connsiteX24" fmla="*/ 0 w 11630"/>
                          <a:gd name="connsiteY24" fmla="*/ 2070 h 4652"/>
                          <a:gd name="connsiteX25" fmla="*/ 0 w 11630"/>
                          <a:gd name="connsiteY25" fmla="*/ 2140 h 4652"/>
                          <a:gd name="connsiteX26" fmla="*/ 0 w 11630"/>
                          <a:gd name="connsiteY26" fmla="*/ 2419 h 4652"/>
                          <a:gd name="connsiteX27" fmla="*/ 70 w 11630"/>
                          <a:gd name="connsiteY27" fmla="*/ 2861 h 4652"/>
                          <a:gd name="connsiteX28" fmla="*/ 93 w 11630"/>
                          <a:gd name="connsiteY28" fmla="*/ 2977 h 4652"/>
                          <a:gd name="connsiteX29" fmla="*/ 512 w 11630"/>
                          <a:gd name="connsiteY29" fmla="*/ 4373 h 4652"/>
                          <a:gd name="connsiteX30" fmla="*/ 1954 w 11630"/>
                          <a:gd name="connsiteY30" fmla="*/ 5699 h 4652"/>
                          <a:gd name="connsiteX31" fmla="*/ 2652 w 11630"/>
                          <a:gd name="connsiteY31" fmla="*/ 5699 h 4652"/>
                          <a:gd name="connsiteX32" fmla="*/ 12375 w 11630"/>
                          <a:gd name="connsiteY32" fmla="*/ 5699 h 4652"/>
                          <a:gd name="connsiteX33" fmla="*/ 10956 w 11630"/>
                          <a:gd name="connsiteY33" fmla="*/ 4327 h 465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</a:cxnLst>
                        <a:rect l="l" t="t" r="r" b="b"/>
                        <a:pathLst>
                          <a:path w="11630" h="4652">
                            <a:moveTo>
                              <a:pt x="10956" y="4327"/>
                            </a:moveTo>
                            <a:cubicBezTo>
                              <a:pt x="10817" y="3861"/>
                              <a:pt x="10677" y="3396"/>
                              <a:pt x="10538" y="2931"/>
                            </a:cubicBezTo>
                            <a:cubicBezTo>
                              <a:pt x="10375" y="2326"/>
                              <a:pt x="10398" y="1698"/>
                              <a:pt x="10584" y="1163"/>
                            </a:cubicBezTo>
                            <a:lnTo>
                              <a:pt x="10584" y="1163"/>
                            </a:lnTo>
                            <a:cubicBezTo>
                              <a:pt x="10654" y="954"/>
                              <a:pt x="10747" y="744"/>
                              <a:pt x="10863" y="558"/>
                            </a:cubicBezTo>
                            <a:lnTo>
                              <a:pt x="10863" y="558"/>
                            </a:lnTo>
                            <a:cubicBezTo>
                              <a:pt x="10863" y="558"/>
                              <a:pt x="10863" y="535"/>
                              <a:pt x="10886" y="512"/>
                            </a:cubicBezTo>
                            <a:lnTo>
                              <a:pt x="10886" y="512"/>
                            </a:lnTo>
                            <a:cubicBezTo>
                              <a:pt x="10910" y="465"/>
                              <a:pt x="10956" y="442"/>
                              <a:pt x="11003" y="395"/>
                            </a:cubicBezTo>
                            <a:cubicBezTo>
                              <a:pt x="11119" y="256"/>
                              <a:pt x="11259" y="116"/>
                              <a:pt x="11398" y="23"/>
                            </a:cubicBezTo>
                            <a:cubicBezTo>
                              <a:pt x="11398" y="23"/>
                              <a:pt x="11422" y="0"/>
                              <a:pt x="11445" y="0"/>
                            </a:cubicBezTo>
                            <a:lnTo>
                              <a:pt x="11445" y="0"/>
                            </a:lnTo>
                            <a:lnTo>
                              <a:pt x="11445" y="0"/>
                            </a:lnTo>
                            <a:lnTo>
                              <a:pt x="11445" y="0"/>
                            </a:lnTo>
                            <a:lnTo>
                              <a:pt x="1000" y="0"/>
                            </a:lnTo>
                            <a:lnTo>
                              <a:pt x="977" y="0"/>
                            </a:lnTo>
                            <a:cubicBezTo>
                              <a:pt x="930" y="23"/>
                              <a:pt x="861" y="70"/>
                              <a:pt x="837" y="93"/>
                            </a:cubicBezTo>
                            <a:cubicBezTo>
                              <a:pt x="698" y="209"/>
                              <a:pt x="558" y="326"/>
                              <a:pt x="465" y="488"/>
                            </a:cubicBezTo>
                            <a:lnTo>
                              <a:pt x="419" y="582"/>
                            </a:lnTo>
                            <a:cubicBezTo>
                              <a:pt x="326" y="721"/>
                              <a:pt x="233" y="884"/>
                              <a:pt x="186" y="1047"/>
                            </a:cubicBezTo>
                            <a:cubicBezTo>
                              <a:pt x="163" y="1093"/>
                              <a:pt x="163" y="1140"/>
                              <a:pt x="140" y="1186"/>
                            </a:cubicBezTo>
                            <a:cubicBezTo>
                              <a:pt x="140" y="1256"/>
                              <a:pt x="116" y="1303"/>
                              <a:pt x="93" y="1349"/>
                            </a:cubicBezTo>
                            <a:cubicBezTo>
                              <a:pt x="70" y="1419"/>
                              <a:pt x="47" y="1489"/>
                              <a:pt x="47" y="1582"/>
                            </a:cubicBezTo>
                            <a:cubicBezTo>
                              <a:pt x="23" y="1721"/>
                              <a:pt x="0" y="1861"/>
                              <a:pt x="0" y="2001"/>
                            </a:cubicBezTo>
                            <a:cubicBezTo>
                              <a:pt x="0" y="2024"/>
                              <a:pt x="0" y="2047"/>
                              <a:pt x="0" y="2070"/>
                            </a:cubicBezTo>
                            <a:cubicBezTo>
                              <a:pt x="0" y="2094"/>
                              <a:pt x="0" y="2117"/>
                              <a:pt x="0" y="2140"/>
                            </a:cubicBezTo>
                            <a:cubicBezTo>
                              <a:pt x="0" y="2233"/>
                              <a:pt x="0" y="2326"/>
                              <a:pt x="0" y="2419"/>
                            </a:cubicBezTo>
                            <a:cubicBezTo>
                              <a:pt x="0" y="2559"/>
                              <a:pt x="47" y="2722"/>
                              <a:pt x="70" y="2861"/>
                            </a:cubicBezTo>
                            <a:cubicBezTo>
                              <a:pt x="70" y="2884"/>
                              <a:pt x="93" y="2931"/>
                              <a:pt x="93" y="2977"/>
                            </a:cubicBezTo>
                            <a:cubicBezTo>
                              <a:pt x="209" y="3443"/>
                              <a:pt x="349" y="3908"/>
                              <a:pt x="512" y="4373"/>
                            </a:cubicBezTo>
                            <a:cubicBezTo>
                              <a:pt x="768" y="5211"/>
                              <a:pt x="1326" y="5699"/>
                              <a:pt x="1954" y="5699"/>
                            </a:cubicBezTo>
                            <a:lnTo>
                              <a:pt x="2652" y="5699"/>
                            </a:lnTo>
                            <a:lnTo>
                              <a:pt x="12375" y="5699"/>
                            </a:lnTo>
                            <a:cubicBezTo>
                              <a:pt x="11770" y="5676"/>
                              <a:pt x="11212" y="5164"/>
                              <a:pt x="10956" y="4327"/>
                            </a:cubicBezTo>
                            <a:close/>
                          </a:path>
                        </a:pathLst>
                      </a:custGeom>
                      <a:solidFill>
                        <a:srgbClr val="F19439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747" name="Freeform: Shape 1746">
                        <a:extLst>
                          <a:ext uri="{FF2B5EF4-FFF2-40B4-BE49-F238E27FC236}">
                            <a16:creationId xmlns:a16="http://schemas.microsoft.com/office/drawing/2014/main" id="{61BB6789-9CB3-400F-9C9A-D548A582D96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65294" y="4082774"/>
                        <a:ext cx="2326" cy="2326"/>
                      </a:xfrm>
                      <a:custGeom>
                        <a:avLst/>
                        <a:gdLst>
                          <a:gd name="connsiteX0" fmla="*/ 0 w 0"/>
                          <a:gd name="connsiteY0" fmla="*/ 0 h 0"/>
                          <a:gd name="connsiteX1" fmla="*/ 0 w 0"/>
                          <a:gd name="connsiteY1" fmla="*/ 0 h 0"/>
                          <a:gd name="connsiteX2" fmla="*/ 0 w 0"/>
                          <a:gd name="connsiteY2" fmla="*/ 0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0" y="0"/>
                            </a:moveTo>
                            <a:lnTo>
                              <a:pt x="0" y="0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solidFill>
                        <a:srgbClr val="F19439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748" name="Freeform: Shape 1747">
                        <a:extLst>
                          <a:ext uri="{FF2B5EF4-FFF2-40B4-BE49-F238E27FC236}">
                            <a16:creationId xmlns:a16="http://schemas.microsoft.com/office/drawing/2014/main" id="{EBE3F899-1E3F-4CFD-A5E3-27E3F6F48AB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53686" y="4077051"/>
                        <a:ext cx="11631" cy="4652"/>
                      </a:xfrm>
                      <a:custGeom>
                        <a:avLst/>
                        <a:gdLst>
                          <a:gd name="connsiteX0" fmla="*/ 11561 w 11630"/>
                          <a:gd name="connsiteY0" fmla="*/ 5722 h 4652"/>
                          <a:gd name="connsiteX1" fmla="*/ 10631 w 11630"/>
                          <a:gd name="connsiteY1" fmla="*/ 4559 h 4652"/>
                          <a:gd name="connsiteX2" fmla="*/ 10631 w 11630"/>
                          <a:gd name="connsiteY2" fmla="*/ 4559 h 4652"/>
                          <a:gd name="connsiteX3" fmla="*/ 10631 w 11630"/>
                          <a:gd name="connsiteY3" fmla="*/ 4513 h 4652"/>
                          <a:gd name="connsiteX4" fmla="*/ 10538 w 11630"/>
                          <a:gd name="connsiteY4" fmla="*/ 2954 h 4652"/>
                          <a:gd name="connsiteX5" fmla="*/ 10863 w 11630"/>
                          <a:gd name="connsiteY5" fmla="*/ 1512 h 4652"/>
                          <a:gd name="connsiteX6" fmla="*/ 11003 w 11630"/>
                          <a:gd name="connsiteY6" fmla="*/ 1163 h 4652"/>
                          <a:gd name="connsiteX7" fmla="*/ 11049 w 11630"/>
                          <a:gd name="connsiteY7" fmla="*/ 1000 h 4652"/>
                          <a:gd name="connsiteX8" fmla="*/ 11049 w 11630"/>
                          <a:gd name="connsiteY8" fmla="*/ 1000 h 4652"/>
                          <a:gd name="connsiteX9" fmla="*/ 11631 w 11630"/>
                          <a:gd name="connsiteY9" fmla="*/ 256 h 4652"/>
                          <a:gd name="connsiteX10" fmla="*/ 11770 w 11630"/>
                          <a:gd name="connsiteY10" fmla="*/ 163 h 4652"/>
                          <a:gd name="connsiteX11" fmla="*/ 11770 w 11630"/>
                          <a:gd name="connsiteY11" fmla="*/ 163 h 4652"/>
                          <a:gd name="connsiteX12" fmla="*/ 11910 w 11630"/>
                          <a:gd name="connsiteY12" fmla="*/ 93 h 4652"/>
                          <a:gd name="connsiteX13" fmla="*/ 11910 w 11630"/>
                          <a:gd name="connsiteY13" fmla="*/ 93 h 4652"/>
                          <a:gd name="connsiteX14" fmla="*/ 12329 w 11630"/>
                          <a:gd name="connsiteY14" fmla="*/ 0 h 4652"/>
                          <a:gd name="connsiteX15" fmla="*/ 2466 w 11630"/>
                          <a:gd name="connsiteY15" fmla="*/ 0 h 4652"/>
                          <a:gd name="connsiteX16" fmla="*/ 1907 w 11630"/>
                          <a:gd name="connsiteY16" fmla="*/ 0 h 4652"/>
                          <a:gd name="connsiteX17" fmla="*/ 1838 w 11630"/>
                          <a:gd name="connsiteY17" fmla="*/ 0 h 4652"/>
                          <a:gd name="connsiteX18" fmla="*/ 1535 w 11630"/>
                          <a:gd name="connsiteY18" fmla="*/ 47 h 4652"/>
                          <a:gd name="connsiteX19" fmla="*/ 1465 w 11630"/>
                          <a:gd name="connsiteY19" fmla="*/ 93 h 4652"/>
                          <a:gd name="connsiteX20" fmla="*/ 1326 w 11630"/>
                          <a:gd name="connsiteY20" fmla="*/ 163 h 4652"/>
                          <a:gd name="connsiteX21" fmla="*/ 1163 w 11630"/>
                          <a:gd name="connsiteY21" fmla="*/ 233 h 4652"/>
                          <a:gd name="connsiteX22" fmla="*/ 1070 w 11630"/>
                          <a:gd name="connsiteY22" fmla="*/ 326 h 4652"/>
                          <a:gd name="connsiteX23" fmla="*/ 907 w 11630"/>
                          <a:gd name="connsiteY23" fmla="*/ 489 h 4652"/>
                          <a:gd name="connsiteX24" fmla="*/ 721 w 11630"/>
                          <a:gd name="connsiteY24" fmla="*/ 744 h 4652"/>
                          <a:gd name="connsiteX25" fmla="*/ 582 w 11630"/>
                          <a:gd name="connsiteY25" fmla="*/ 977 h 4652"/>
                          <a:gd name="connsiteX26" fmla="*/ 512 w 11630"/>
                          <a:gd name="connsiteY26" fmla="*/ 1117 h 4652"/>
                          <a:gd name="connsiteX27" fmla="*/ 395 w 11630"/>
                          <a:gd name="connsiteY27" fmla="*/ 1489 h 4652"/>
                          <a:gd name="connsiteX28" fmla="*/ 70 w 11630"/>
                          <a:gd name="connsiteY28" fmla="*/ 2931 h 4652"/>
                          <a:gd name="connsiteX29" fmla="*/ 47 w 11630"/>
                          <a:gd name="connsiteY29" fmla="*/ 3047 h 4652"/>
                          <a:gd name="connsiteX30" fmla="*/ 0 w 11630"/>
                          <a:gd name="connsiteY30" fmla="*/ 3466 h 4652"/>
                          <a:gd name="connsiteX31" fmla="*/ 0 w 11630"/>
                          <a:gd name="connsiteY31" fmla="*/ 3768 h 4652"/>
                          <a:gd name="connsiteX32" fmla="*/ 0 w 11630"/>
                          <a:gd name="connsiteY32" fmla="*/ 3838 h 4652"/>
                          <a:gd name="connsiteX33" fmla="*/ 0 w 11630"/>
                          <a:gd name="connsiteY33" fmla="*/ 3885 h 4652"/>
                          <a:gd name="connsiteX34" fmla="*/ 70 w 11630"/>
                          <a:gd name="connsiteY34" fmla="*/ 4327 h 4652"/>
                          <a:gd name="connsiteX35" fmla="*/ 140 w 11630"/>
                          <a:gd name="connsiteY35" fmla="*/ 4536 h 4652"/>
                          <a:gd name="connsiteX36" fmla="*/ 186 w 11630"/>
                          <a:gd name="connsiteY36" fmla="*/ 4676 h 4652"/>
                          <a:gd name="connsiteX37" fmla="*/ 512 w 11630"/>
                          <a:gd name="connsiteY37" fmla="*/ 5234 h 4652"/>
                          <a:gd name="connsiteX38" fmla="*/ 605 w 11630"/>
                          <a:gd name="connsiteY38" fmla="*/ 5327 h 4652"/>
                          <a:gd name="connsiteX39" fmla="*/ 1093 w 11630"/>
                          <a:gd name="connsiteY39" fmla="*/ 5699 h 4652"/>
                          <a:gd name="connsiteX40" fmla="*/ 1117 w 11630"/>
                          <a:gd name="connsiteY40" fmla="*/ 5699 h 4652"/>
                          <a:gd name="connsiteX41" fmla="*/ 1117 w 11630"/>
                          <a:gd name="connsiteY41" fmla="*/ 5699 h 4652"/>
                          <a:gd name="connsiteX42" fmla="*/ 11561 w 11630"/>
                          <a:gd name="connsiteY42" fmla="*/ 5699 h 4652"/>
                          <a:gd name="connsiteX43" fmla="*/ 11561 w 11630"/>
                          <a:gd name="connsiteY43" fmla="*/ 5722 h 465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  <a:cxn ang="0">
                            <a:pos x="connsiteX43" y="connsiteY43"/>
                          </a:cxn>
                        </a:cxnLst>
                        <a:rect l="l" t="t" r="r" b="b"/>
                        <a:pathLst>
                          <a:path w="11630" h="4652">
                            <a:moveTo>
                              <a:pt x="11561" y="5722"/>
                            </a:moveTo>
                            <a:cubicBezTo>
                              <a:pt x="11119" y="5513"/>
                              <a:pt x="10817" y="5094"/>
                              <a:pt x="10631" y="4559"/>
                            </a:cubicBezTo>
                            <a:lnTo>
                              <a:pt x="10631" y="4559"/>
                            </a:lnTo>
                            <a:lnTo>
                              <a:pt x="10631" y="4513"/>
                            </a:lnTo>
                            <a:cubicBezTo>
                              <a:pt x="10468" y="4024"/>
                              <a:pt x="10421" y="3489"/>
                              <a:pt x="10538" y="2954"/>
                            </a:cubicBezTo>
                            <a:cubicBezTo>
                              <a:pt x="10654" y="2466"/>
                              <a:pt x="10747" y="1977"/>
                              <a:pt x="10863" y="1512"/>
                            </a:cubicBezTo>
                            <a:cubicBezTo>
                              <a:pt x="10886" y="1396"/>
                              <a:pt x="10956" y="1279"/>
                              <a:pt x="11003" y="1163"/>
                            </a:cubicBezTo>
                            <a:cubicBezTo>
                              <a:pt x="11026" y="1117"/>
                              <a:pt x="11026" y="1047"/>
                              <a:pt x="11049" y="1000"/>
                            </a:cubicBezTo>
                            <a:lnTo>
                              <a:pt x="11049" y="1000"/>
                            </a:lnTo>
                            <a:cubicBezTo>
                              <a:pt x="11189" y="675"/>
                              <a:pt x="11398" y="419"/>
                              <a:pt x="11631" y="256"/>
                            </a:cubicBezTo>
                            <a:cubicBezTo>
                              <a:pt x="11677" y="209"/>
                              <a:pt x="11724" y="163"/>
                              <a:pt x="11770" y="163"/>
                            </a:cubicBezTo>
                            <a:lnTo>
                              <a:pt x="11770" y="163"/>
                            </a:lnTo>
                            <a:cubicBezTo>
                              <a:pt x="11817" y="140"/>
                              <a:pt x="11863" y="93"/>
                              <a:pt x="11910" y="93"/>
                            </a:cubicBezTo>
                            <a:lnTo>
                              <a:pt x="11910" y="93"/>
                            </a:lnTo>
                            <a:cubicBezTo>
                              <a:pt x="12050" y="23"/>
                              <a:pt x="12189" y="0"/>
                              <a:pt x="12329" y="0"/>
                            </a:cubicBezTo>
                            <a:lnTo>
                              <a:pt x="2466" y="0"/>
                            </a:lnTo>
                            <a:lnTo>
                              <a:pt x="1907" y="0"/>
                            </a:lnTo>
                            <a:cubicBezTo>
                              <a:pt x="1884" y="0"/>
                              <a:pt x="1861" y="0"/>
                              <a:pt x="1838" y="0"/>
                            </a:cubicBezTo>
                            <a:cubicBezTo>
                              <a:pt x="1745" y="0"/>
                              <a:pt x="1628" y="23"/>
                              <a:pt x="1535" y="47"/>
                            </a:cubicBezTo>
                            <a:cubicBezTo>
                              <a:pt x="1512" y="47"/>
                              <a:pt x="1489" y="70"/>
                              <a:pt x="1465" y="93"/>
                            </a:cubicBezTo>
                            <a:cubicBezTo>
                              <a:pt x="1419" y="116"/>
                              <a:pt x="1372" y="140"/>
                              <a:pt x="1326" y="163"/>
                            </a:cubicBezTo>
                            <a:cubicBezTo>
                              <a:pt x="1279" y="186"/>
                              <a:pt x="1210" y="209"/>
                              <a:pt x="1163" y="233"/>
                            </a:cubicBezTo>
                            <a:cubicBezTo>
                              <a:pt x="1140" y="256"/>
                              <a:pt x="1117" y="302"/>
                              <a:pt x="1070" y="326"/>
                            </a:cubicBezTo>
                            <a:cubicBezTo>
                              <a:pt x="1024" y="372"/>
                              <a:pt x="954" y="442"/>
                              <a:pt x="907" y="489"/>
                            </a:cubicBezTo>
                            <a:cubicBezTo>
                              <a:pt x="837" y="558"/>
                              <a:pt x="791" y="651"/>
                              <a:pt x="721" y="744"/>
                            </a:cubicBezTo>
                            <a:cubicBezTo>
                              <a:pt x="675" y="814"/>
                              <a:pt x="628" y="907"/>
                              <a:pt x="582" y="977"/>
                            </a:cubicBezTo>
                            <a:cubicBezTo>
                              <a:pt x="558" y="1024"/>
                              <a:pt x="535" y="1070"/>
                              <a:pt x="512" y="1117"/>
                            </a:cubicBezTo>
                            <a:cubicBezTo>
                              <a:pt x="465" y="1233"/>
                              <a:pt x="419" y="1349"/>
                              <a:pt x="395" y="1489"/>
                            </a:cubicBezTo>
                            <a:cubicBezTo>
                              <a:pt x="279" y="1977"/>
                              <a:pt x="186" y="2443"/>
                              <a:pt x="70" y="2931"/>
                            </a:cubicBezTo>
                            <a:cubicBezTo>
                              <a:pt x="70" y="2978"/>
                              <a:pt x="47" y="3001"/>
                              <a:pt x="47" y="3047"/>
                            </a:cubicBezTo>
                            <a:cubicBezTo>
                              <a:pt x="23" y="3187"/>
                              <a:pt x="0" y="3326"/>
                              <a:pt x="0" y="3466"/>
                            </a:cubicBezTo>
                            <a:cubicBezTo>
                              <a:pt x="0" y="3582"/>
                              <a:pt x="0" y="3675"/>
                              <a:pt x="0" y="3768"/>
                            </a:cubicBezTo>
                            <a:cubicBezTo>
                              <a:pt x="0" y="3768"/>
                              <a:pt x="0" y="3815"/>
                              <a:pt x="0" y="3838"/>
                            </a:cubicBezTo>
                            <a:cubicBezTo>
                              <a:pt x="0" y="3838"/>
                              <a:pt x="0" y="3861"/>
                              <a:pt x="0" y="3885"/>
                            </a:cubicBezTo>
                            <a:cubicBezTo>
                              <a:pt x="0" y="4048"/>
                              <a:pt x="47" y="4187"/>
                              <a:pt x="70" y="4327"/>
                            </a:cubicBezTo>
                            <a:cubicBezTo>
                              <a:pt x="93" y="4420"/>
                              <a:pt x="116" y="4490"/>
                              <a:pt x="140" y="4536"/>
                            </a:cubicBezTo>
                            <a:cubicBezTo>
                              <a:pt x="140" y="4583"/>
                              <a:pt x="163" y="4629"/>
                              <a:pt x="186" y="4676"/>
                            </a:cubicBezTo>
                            <a:cubicBezTo>
                              <a:pt x="279" y="4885"/>
                              <a:pt x="372" y="5071"/>
                              <a:pt x="512" y="5234"/>
                            </a:cubicBezTo>
                            <a:cubicBezTo>
                              <a:pt x="535" y="5280"/>
                              <a:pt x="558" y="5304"/>
                              <a:pt x="605" y="5327"/>
                            </a:cubicBezTo>
                            <a:cubicBezTo>
                              <a:pt x="744" y="5490"/>
                              <a:pt x="907" y="5629"/>
                              <a:pt x="1093" y="5699"/>
                            </a:cubicBezTo>
                            <a:lnTo>
                              <a:pt x="1117" y="5699"/>
                            </a:lnTo>
                            <a:lnTo>
                              <a:pt x="1117" y="5699"/>
                            </a:lnTo>
                            <a:lnTo>
                              <a:pt x="11561" y="5699"/>
                            </a:lnTo>
                            <a:lnTo>
                              <a:pt x="11561" y="5722"/>
                            </a:lnTo>
                            <a:close/>
                          </a:path>
                        </a:pathLst>
                      </a:custGeom>
                      <a:solidFill>
                        <a:srgbClr val="F19439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749" name="Freeform: Shape 1748">
                        <a:extLst>
                          <a:ext uri="{FF2B5EF4-FFF2-40B4-BE49-F238E27FC236}">
                            <a16:creationId xmlns:a16="http://schemas.microsoft.com/office/drawing/2014/main" id="{9A2DB8F6-191F-4167-A057-3FBCF0DED9D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53500" y="4120574"/>
                        <a:ext cx="11631" cy="4652"/>
                      </a:xfrm>
                      <a:custGeom>
                        <a:avLst/>
                        <a:gdLst>
                          <a:gd name="connsiteX0" fmla="*/ 10793 w 11630"/>
                          <a:gd name="connsiteY0" fmla="*/ 4187 h 4652"/>
                          <a:gd name="connsiteX1" fmla="*/ 10491 w 11630"/>
                          <a:gd name="connsiteY1" fmla="*/ 2745 h 4652"/>
                          <a:gd name="connsiteX2" fmla="*/ 10445 w 11630"/>
                          <a:gd name="connsiteY2" fmla="*/ 1814 h 4652"/>
                          <a:gd name="connsiteX3" fmla="*/ 10445 w 11630"/>
                          <a:gd name="connsiteY3" fmla="*/ 1814 h 4652"/>
                          <a:gd name="connsiteX4" fmla="*/ 10607 w 11630"/>
                          <a:gd name="connsiteY4" fmla="*/ 1070 h 4652"/>
                          <a:gd name="connsiteX5" fmla="*/ 10607 w 11630"/>
                          <a:gd name="connsiteY5" fmla="*/ 1070 h 4652"/>
                          <a:gd name="connsiteX6" fmla="*/ 11073 w 11630"/>
                          <a:gd name="connsiteY6" fmla="*/ 349 h 4652"/>
                          <a:gd name="connsiteX7" fmla="*/ 11538 w 11630"/>
                          <a:gd name="connsiteY7" fmla="*/ 0 h 4652"/>
                          <a:gd name="connsiteX8" fmla="*/ 11538 w 11630"/>
                          <a:gd name="connsiteY8" fmla="*/ 0 h 4652"/>
                          <a:gd name="connsiteX9" fmla="*/ 11561 w 11630"/>
                          <a:gd name="connsiteY9" fmla="*/ 0 h 4652"/>
                          <a:gd name="connsiteX10" fmla="*/ 1140 w 11630"/>
                          <a:gd name="connsiteY10" fmla="*/ 0 h 4652"/>
                          <a:gd name="connsiteX11" fmla="*/ 1117 w 11630"/>
                          <a:gd name="connsiteY11" fmla="*/ 0 h 4652"/>
                          <a:gd name="connsiteX12" fmla="*/ 814 w 11630"/>
                          <a:gd name="connsiteY12" fmla="*/ 163 h 4652"/>
                          <a:gd name="connsiteX13" fmla="*/ 651 w 11630"/>
                          <a:gd name="connsiteY13" fmla="*/ 326 h 4652"/>
                          <a:gd name="connsiteX14" fmla="*/ 512 w 11630"/>
                          <a:gd name="connsiteY14" fmla="*/ 465 h 4652"/>
                          <a:gd name="connsiteX15" fmla="*/ 163 w 11630"/>
                          <a:gd name="connsiteY15" fmla="*/ 1047 h 4652"/>
                          <a:gd name="connsiteX16" fmla="*/ 163 w 11630"/>
                          <a:gd name="connsiteY16" fmla="*/ 1047 h 4652"/>
                          <a:gd name="connsiteX17" fmla="*/ 163 w 11630"/>
                          <a:gd name="connsiteY17" fmla="*/ 1047 h 4652"/>
                          <a:gd name="connsiteX18" fmla="*/ 23 w 11630"/>
                          <a:gd name="connsiteY18" fmla="*/ 1558 h 4652"/>
                          <a:gd name="connsiteX19" fmla="*/ 0 w 11630"/>
                          <a:gd name="connsiteY19" fmla="*/ 1814 h 4652"/>
                          <a:gd name="connsiteX20" fmla="*/ 0 w 11630"/>
                          <a:gd name="connsiteY20" fmla="*/ 1907 h 4652"/>
                          <a:gd name="connsiteX21" fmla="*/ 0 w 11630"/>
                          <a:gd name="connsiteY21" fmla="*/ 2000 h 4652"/>
                          <a:gd name="connsiteX22" fmla="*/ 0 w 11630"/>
                          <a:gd name="connsiteY22" fmla="*/ 2419 h 4652"/>
                          <a:gd name="connsiteX23" fmla="*/ 47 w 11630"/>
                          <a:gd name="connsiteY23" fmla="*/ 2768 h 4652"/>
                          <a:gd name="connsiteX24" fmla="*/ 372 w 11630"/>
                          <a:gd name="connsiteY24" fmla="*/ 4210 h 4652"/>
                          <a:gd name="connsiteX25" fmla="*/ 372 w 11630"/>
                          <a:gd name="connsiteY25" fmla="*/ 4257 h 4652"/>
                          <a:gd name="connsiteX26" fmla="*/ 488 w 11630"/>
                          <a:gd name="connsiteY26" fmla="*/ 4583 h 4652"/>
                          <a:gd name="connsiteX27" fmla="*/ 582 w 11630"/>
                          <a:gd name="connsiteY27" fmla="*/ 4862 h 4652"/>
                          <a:gd name="connsiteX28" fmla="*/ 791 w 11630"/>
                          <a:gd name="connsiteY28" fmla="*/ 5141 h 4652"/>
                          <a:gd name="connsiteX29" fmla="*/ 930 w 11630"/>
                          <a:gd name="connsiteY29" fmla="*/ 5327 h 4652"/>
                          <a:gd name="connsiteX30" fmla="*/ 1210 w 11630"/>
                          <a:gd name="connsiteY30" fmla="*/ 5536 h 4652"/>
                          <a:gd name="connsiteX31" fmla="*/ 1349 w 11630"/>
                          <a:gd name="connsiteY31" fmla="*/ 5629 h 4652"/>
                          <a:gd name="connsiteX32" fmla="*/ 1814 w 11630"/>
                          <a:gd name="connsiteY32" fmla="*/ 5746 h 4652"/>
                          <a:gd name="connsiteX33" fmla="*/ 2349 w 11630"/>
                          <a:gd name="connsiteY33" fmla="*/ 5746 h 4652"/>
                          <a:gd name="connsiteX34" fmla="*/ 12259 w 11630"/>
                          <a:gd name="connsiteY34" fmla="*/ 5746 h 4652"/>
                          <a:gd name="connsiteX35" fmla="*/ 10793 w 11630"/>
                          <a:gd name="connsiteY35" fmla="*/ 4187 h 465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</a:cxnLst>
                        <a:rect l="l" t="t" r="r" b="b"/>
                        <a:pathLst>
                          <a:path w="11630" h="4652">
                            <a:moveTo>
                              <a:pt x="10793" y="4187"/>
                            </a:moveTo>
                            <a:cubicBezTo>
                              <a:pt x="10677" y="3699"/>
                              <a:pt x="10561" y="3210"/>
                              <a:pt x="10491" y="2745"/>
                            </a:cubicBezTo>
                            <a:cubicBezTo>
                              <a:pt x="10421" y="2419"/>
                              <a:pt x="10421" y="2117"/>
                              <a:pt x="10445" y="1814"/>
                            </a:cubicBezTo>
                            <a:lnTo>
                              <a:pt x="10445" y="1814"/>
                            </a:lnTo>
                            <a:cubicBezTo>
                              <a:pt x="10468" y="1535"/>
                              <a:pt x="10514" y="1303"/>
                              <a:pt x="10607" y="1070"/>
                            </a:cubicBezTo>
                            <a:lnTo>
                              <a:pt x="10607" y="1070"/>
                            </a:lnTo>
                            <a:cubicBezTo>
                              <a:pt x="10724" y="791"/>
                              <a:pt x="10886" y="535"/>
                              <a:pt x="11073" y="349"/>
                            </a:cubicBezTo>
                            <a:cubicBezTo>
                              <a:pt x="11212" y="209"/>
                              <a:pt x="11352" y="70"/>
                              <a:pt x="11538" y="0"/>
                            </a:cubicBezTo>
                            <a:lnTo>
                              <a:pt x="11538" y="0"/>
                            </a:lnTo>
                            <a:cubicBezTo>
                              <a:pt x="11538" y="0"/>
                              <a:pt x="11561" y="0"/>
                              <a:pt x="11561" y="0"/>
                            </a:cubicBezTo>
                            <a:lnTo>
                              <a:pt x="1140" y="0"/>
                            </a:lnTo>
                            <a:cubicBezTo>
                              <a:pt x="1140" y="0"/>
                              <a:pt x="1117" y="0"/>
                              <a:pt x="1117" y="0"/>
                            </a:cubicBezTo>
                            <a:cubicBezTo>
                              <a:pt x="1000" y="46"/>
                              <a:pt x="907" y="116"/>
                              <a:pt x="814" y="163"/>
                            </a:cubicBezTo>
                            <a:cubicBezTo>
                              <a:pt x="744" y="209"/>
                              <a:pt x="698" y="279"/>
                              <a:pt x="651" y="326"/>
                            </a:cubicBezTo>
                            <a:cubicBezTo>
                              <a:pt x="605" y="372"/>
                              <a:pt x="558" y="419"/>
                              <a:pt x="512" y="465"/>
                            </a:cubicBezTo>
                            <a:cubicBezTo>
                              <a:pt x="372" y="628"/>
                              <a:pt x="256" y="837"/>
                              <a:pt x="163" y="1047"/>
                            </a:cubicBezTo>
                            <a:lnTo>
                              <a:pt x="163" y="1047"/>
                            </a:lnTo>
                            <a:lnTo>
                              <a:pt x="163" y="1047"/>
                            </a:lnTo>
                            <a:cubicBezTo>
                              <a:pt x="116" y="1210"/>
                              <a:pt x="47" y="1372"/>
                              <a:pt x="23" y="1558"/>
                            </a:cubicBezTo>
                            <a:cubicBezTo>
                              <a:pt x="23" y="1652"/>
                              <a:pt x="0" y="1721"/>
                              <a:pt x="0" y="1814"/>
                            </a:cubicBezTo>
                            <a:cubicBezTo>
                              <a:pt x="0" y="1838"/>
                              <a:pt x="0" y="1861"/>
                              <a:pt x="0" y="1907"/>
                            </a:cubicBezTo>
                            <a:cubicBezTo>
                              <a:pt x="0" y="1931"/>
                              <a:pt x="0" y="1954"/>
                              <a:pt x="0" y="2000"/>
                            </a:cubicBezTo>
                            <a:cubicBezTo>
                              <a:pt x="0" y="2140"/>
                              <a:pt x="0" y="2280"/>
                              <a:pt x="0" y="2419"/>
                            </a:cubicBezTo>
                            <a:cubicBezTo>
                              <a:pt x="0" y="2536"/>
                              <a:pt x="23" y="2652"/>
                              <a:pt x="47" y="2768"/>
                            </a:cubicBezTo>
                            <a:cubicBezTo>
                              <a:pt x="140" y="3257"/>
                              <a:pt x="256" y="3722"/>
                              <a:pt x="372" y="4210"/>
                            </a:cubicBezTo>
                            <a:cubicBezTo>
                              <a:pt x="372" y="4234"/>
                              <a:pt x="372" y="4257"/>
                              <a:pt x="372" y="4257"/>
                            </a:cubicBezTo>
                            <a:cubicBezTo>
                              <a:pt x="395" y="4373"/>
                              <a:pt x="442" y="4466"/>
                              <a:pt x="488" y="4583"/>
                            </a:cubicBezTo>
                            <a:cubicBezTo>
                              <a:pt x="535" y="4676"/>
                              <a:pt x="535" y="4769"/>
                              <a:pt x="582" y="4862"/>
                            </a:cubicBezTo>
                            <a:cubicBezTo>
                              <a:pt x="651" y="4955"/>
                              <a:pt x="721" y="5048"/>
                              <a:pt x="791" y="5141"/>
                            </a:cubicBezTo>
                            <a:cubicBezTo>
                              <a:pt x="837" y="5187"/>
                              <a:pt x="884" y="5280"/>
                              <a:pt x="930" y="5327"/>
                            </a:cubicBezTo>
                            <a:cubicBezTo>
                              <a:pt x="1024" y="5420"/>
                              <a:pt x="1117" y="5467"/>
                              <a:pt x="1210" y="5536"/>
                            </a:cubicBezTo>
                            <a:cubicBezTo>
                              <a:pt x="1256" y="5560"/>
                              <a:pt x="1303" y="5606"/>
                              <a:pt x="1349" y="5629"/>
                            </a:cubicBezTo>
                            <a:cubicBezTo>
                              <a:pt x="1512" y="5699"/>
                              <a:pt x="1652" y="5746"/>
                              <a:pt x="1814" y="5746"/>
                            </a:cubicBezTo>
                            <a:lnTo>
                              <a:pt x="2349" y="5746"/>
                            </a:lnTo>
                            <a:lnTo>
                              <a:pt x="12259" y="5746"/>
                            </a:lnTo>
                            <a:cubicBezTo>
                              <a:pt x="11631" y="5722"/>
                              <a:pt x="11003" y="5141"/>
                              <a:pt x="10793" y="4187"/>
                            </a:cubicBezTo>
                            <a:close/>
                          </a:path>
                        </a:pathLst>
                      </a:custGeom>
                      <a:solidFill>
                        <a:srgbClr val="F19439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750" name="Freeform: Shape 1749">
                        <a:extLst>
                          <a:ext uri="{FF2B5EF4-FFF2-40B4-BE49-F238E27FC236}">
                            <a16:creationId xmlns:a16="http://schemas.microsoft.com/office/drawing/2014/main" id="{69625283-DBC5-49A3-A234-B847EBDC03C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64642" y="4084123"/>
                        <a:ext cx="2326" cy="2326"/>
                      </a:xfrm>
                      <a:custGeom>
                        <a:avLst/>
                        <a:gdLst>
                          <a:gd name="connsiteX0" fmla="*/ 0 w 0"/>
                          <a:gd name="connsiteY0" fmla="*/ 0 h 0"/>
                          <a:gd name="connsiteX1" fmla="*/ 0 w 0"/>
                          <a:gd name="connsiteY1" fmla="*/ 0 h 0"/>
                          <a:gd name="connsiteX2" fmla="*/ 0 w 0"/>
                          <a:gd name="connsiteY2" fmla="*/ 0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0" y="0"/>
                            </a:moveTo>
                            <a:lnTo>
                              <a:pt x="0" y="0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solidFill>
                        <a:srgbClr val="F19439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751" name="Freeform: Shape 1750">
                        <a:extLst>
                          <a:ext uri="{FF2B5EF4-FFF2-40B4-BE49-F238E27FC236}">
                            <a16:creationId xmlns:a16="http://schemas.microsoft.com/office/drawing/2014/main" id="{F5388878-CCAF-4D6F-8122-3F482C36B94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52407" y="4084100"/>
                        <a:ext cx="11631" cy="4652"/>
                      </a:xfrm>
                      <a:custGeom>
                        <a:avLst/>
                        <a:gdLst>
                          <a:gd name="connsiteX0" fmla="*/ 11747 w 11630"/>
                          <a:gd name="connsiteY0" fmla="*/ 5839 h 4652"/>
                          <a:gd name="connsiteX1" fmla="*/ 11724 w 11630"/>
                          <a:gd name="connsiteY1" fmla="*/ 5839 h 4652"/>
                          <a:gd name="connsiteX2" fmla="*/ 11305 w 11630"/>
                          <a:gd name="connsiteY2" fmla="*/ 5606 h 4652"/>
                          <a:gd name="connsiteX3" fmla="*/ 11282 w 11630"/>
                          <a:gd name="connsiteY3" fmla="*/ 5583 h 4652"/>
                          <a:gd name="connsiteX4" fmla="*/ 11282 w 11630"/>
                          <a:gd name="connsiteY4" fmla="*/ 5583 h 4652"/>
                          <a:gd name="connsiteX5" fmla="*/ 10980 w 11630"/>
                          <a:gd name="connsiteY5" fmla="*/ 5280 h 4652"/>
                          <a:gd name="connsiteX6" fmla="*/ 10980 w 11630"/>
                          <a:gd name="connsiteY6" fmla="*/ 5280 h 4652"/>
                          <a:gd name="connsiteX7" fmla="*/ 10980 w 11630"/>
                          <a:gd name="connsiteY7" fmla="*/ 5280 h 4652"/>
                          <a:gd name="connsiteX8" fmla="*/ 10561 w 11630"/>
                          <a:gd name="connsiteY8" fmla="*/ 4373 h 4652"/>
                          <a:gd name="connsiteX9" fmla="*/ 10538 w 11630"/>
                          <a:gd name="connsiteY9" fmla="*/ 4257 h 4652"/>
                          <a:gd name="connsiteX10" fmla="*/ 10538 w 11630"/>
                          <a:gd name="connsiteY10" fmla="*/ 4257 h 4652"/>
                          <a:gd name="connsiteX11" fmla="*/ 10491 w 11630"/>
                          <a:gd name="connsiteY11" fmla="*/ 3233 h 4652"/>
                          <a:gd name="connsiteX12" fmla="*/ 10700 w 11630"/>
                          <a:gd name="connsiteY12" fmla="*/ 1745 h 4652"/>
                          <a:gd name="connsiteX13" fmla="*/ 11003 w 11630"/>
                          <a:gd name="connsiteY13" fmla="*/ 884 h 4652"/>
                          <a:gd name="connsiteX14" fmla="*/ 11003 w 11630"/>
                          <a:gd name="connsiteY14" fmla="*/ 884 h 4652"/>
                          <a:gd name="connsiteX15" fmla="*/ 11212 w 11630"/>
                          <a:gd name="connsiteY15" fmla="*/ 558 h 4652"/>
                          <a:gd name="connsiteX16" fmla="*/ 11212 w 11630"/>
                          <a:gd name="connsiteY16" fmla="*/ 558 h 4652"/>
                          <a:gd name="connsiteX17" fmla="*/ 11375 w 11630"/>
                          <a:gd name="connsiteY17" fmla="*/ 395 h 4652"/>
                          <a:gd name="connsiteX18" fmla="*/ 11375 w 11630"/>
                          <a:gd name="connsiteY18" fmla="*/ 395 h 4652"/>
                          <a:gd name="connsiteX19" fmla="*/ 11631 w 11630"/>
                          <a:gd name="connsiteY19" fmla="*/ 186 h 4652"/>
                          <a:gd name="connsiteX20" fmla="*/ 11770 w 11630"/>
                          <a:gd name="connsiteY20" fmla="*/ 93 h 4652"/>
                          <a:gd name="connsiteX21" fmla="*/ 11770 w 11630"/>
                          <a:gd name="connsiteY21" fmla="*/ 93 h 4652"/>
                          <a:gd name="connsiteX22" fmla="*/ 11887 w 11630"/>
                          <a:gd name="connsiteY22" fmla="*/ 70 h 4652"/>
                          <a:gd name="connsiteX23" fmla="*/ 12212 w 11630"/>
                          <a:gd name="connsiteY23" fmla="*/ 0 h 4652"/>
                          <a:gd name="connsiteX24" fmla="*/ 2163 w 11630"/>
                          <a:gd name="connsiteY24" fmla="*/ 0 h 4652"/>
                          <a:gd name="connsiteX25" fmla="*/ 1768 w 11630"/>
                          <a:gd name="connsiteY25" fmla="*/ 0 h 4652"/>
                          <a:gd name="connsiteX26" fmla="*/ 1721 w 11630"/>
                          <a:gd name="connsiteY26" fmla="*/ 0 h 4652"/>
                          <a:gd name="connsiteX27" fmla="*/ 1396 w 11630"/>
                          <a:gd name="connsiteY27" fmla="*/ 46 h 4652"/>
                          <a:gd name="connsiteX28" fmla="*/ 1303 w 11630"/>
                          <a:gd name="connsiteY28" fmla="*/ 93 h 4652"/>
                          <a:gd name="connsiteX29" fmla="*/ 1163 w 11630"/>
                          <a:gd name="connsiteY29" fmla="*/ 163 h 4652"/>
                          <a:gd name="connsiteX30" fmla="*/ 1047 w 11630"/>
                          <a:gd name="connsiteY30" fmla="*/ 233 h 4652"/>
                          <a:gd name="connsiteX31" fmla="*/ 907 w 11630"/>
                          <a:gd name="connsiteY31" fmla="*/ 372 h 4652"/>
                          <a:gd name="connsiteX32" fmla="*/ 744 w 11630"/>
                          <a:gd name="connsiteY32" fmla="*/ 535 h 4652"/>
                          <a:gd name="connsiteX33" fmla="*/ 535 w 11630"/>
                          <a:gd name="connsiteY33" fmla="*/ 861 h 4652"/>
                          <a:gd name="connsiteX34" fmla="*/ 419 w 11630"/>
                          <a:gd name="connsiteY34" fmla="*/ 1070 h 4652"/>
                          <a:gd name="connsiteX35" fmla="*/ 372 w 11630"/>
                          <a:gd name="connsiteY35" fmla="*/ 1140 h 4652"/>
                          <a:gd name="connsiteX36" fmla="*/ 233 w 11630"/>
                          <a:gd name="connsiteY36" fmla="*/ 1675 h 4652"/>
                          <a:gd name="connsiteX37" fmla="*/ 233 w 11630"/>
                          <a:gd name="connsiteY37" fmla="*/ 1698 h 4652"/>
                          <a:gd name="connsiteX38" fmla="*/ 23 w 11630"/>
                          <a:gd name="connsiteY38" fmla="*/ 3210 h 4652"/>
                          <a:gd name="connsiteX39" fmla="*/ 0 w 11630"/>
                          <a:gd name="connsiteY39" fmla="*/ 3536 h 4652"/>
                          <a:gd name="connsiteX40" fmla="*/ 0 w 11630"/>
                          <a:gd name="connsiteY40" fmla="*/ 3582 h 4652"/>
                          <a:gd name="connsiteX41" fmla="*/ 0 w 11630"/>
                          <a:gd name="connsiteY41" fmla="*/ 3768 h 4652"/>
                          <a:gd name="connsiteX42" fmla="*/ 0 w 11630"/>
                          <a:gd name="connsiteY42" fmla="*/ 3931 h 4652"/>
                          <a:gd name="connsiteX43" fmla="*/ 0 w 11630"/>
                          <a:gd name="connsiteY43" fmla="*/ 4001 h 4652"/>
                          <a:gd name="connsiteX44" fmla="*/ 47 w 11630"/>
                          <a:gd name="connsiteY44" fmla="*/ 4234 h 4652"/>
                          <a:gd name="connsiteX45" fmla="*/ 70 w 11630"/>
                          <a:gd name="connsiteY45" fmla="*/ 4373 h 4652"/>
                          <a:gd name="connsiteX46" fmla="*/ 70 w 11630"/>
                          <a:gd name="connsiteY46" fmla="*/ 4396 h 4652"/>
                          <a:gd name="connsiteX47" fmla="*/ 233 w 11630"/>
                          <a:gd name="connsiteY47" fmla="*/ 4862 h 4652"/>
                          <a:gd name="connsiteX48" fmla="*/ 256 w 11630"/>
                          <a:gd name="connsiteY48" fmla="*/ 4885 h 4652"/>
                          <a:gd name="connsiteX49" fmla="*/ 465 w 11630"/>
                          <a:gd name="connsiteY49" fmla="*/ 5234 h 4652"/>
                          <a:gd name="connsiteX50" fmla="*/ 558 w 11630"/>
                          <a:gd name="connsiteY50" fmla="*/ 5327 h 4652"/>
                          <a:gd name="connsiteX51" fmla="*/ 768 w 11630"/>
                          <a:gd name="connsiteY51" fmla="*/ 5536 h 4652"/>
                          <a:gd name="connsiteX52" fmla="*/ 861 w 11630"/>
                          <a:gd name="connsiteY52" fmla="*/ 5606 h 4652"/>
                          <a:gd name="connsiteX53" fmla="*/ 1210 w 11630"/>
                          <a:gd name="connsiteY53" fmla="*/ 5769 h 4652"/>
                          <a:gd name="connsiteX54" fmla="*/ 1233 w 11630"/>
                          <a:gd name="connsiteY54" fmla="*/ 5769 h 4652"/>
                          <a:gd name="connsiteX55" fmla="*/ 1233 w 11630"/>
                          <a:gd name="connsiteY55" fmla="*/ 5769 h 4652"/>
                          <a:gd name="connsiteX56" fmla="*/ 11747 w 11630"/>
                          <a:gd name="connsiteY56" fmla="*/ 5769 h 465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  <a:cxn ang="0">
                            <a:pos x="connsiteX43" y="connsiteY43"/>
                          </a:cxn>
                          <a:cxn ang="0">
                            <a:pos x="connsiteX44" y="connsiteY44"/>
                          </a:cxn>
                          <a:cxn ang="0">
                            <a:pos x="connsiteX45" y="connsiteY45"/>
                          </a:cxn>
                          <a:cxn ang="0">
                            <a:pos x="connsiteX46" y="connsiteY46"/>
                          </a:cxn>
                          <a:cxn ang="0">
                            <a:pos x="connsiteX47" y="connsiteY47"/>
                          </a:cxn>
                          <a:cxn ang="0">
                            <a:pos x="connsiteX48" y="connsiteY48"/>
                          </a:cxn>
                          <a:cxn ang="0">
                            <a:pos x="connsiteX49" y="connsiteY49"/>
                          </a:cxn>
                          <a:cxn ang="0">
                            <a:pos x="connsiteX50" y="connsiteY50"/>
                          </a:cxn>
                          <a:cxn ang="0">
                            <a:pos x="connsiteX51" y="connsiteY51"/>
                          </a:cxn>
                          <a:cxn ang="0">
                            <a:pos x="connsiteX52" y="connsiteY52"/>
                          </a:cxn>
                          <a:cxn ang="0">
                            <a:pos x="connsiteX53" y="connsiteY53"/>
                          </a:cxn>
                          <a:cxn ang="0">
                            <a:pos x="connsiteX54" y="connsiteY54"/>
                          </a:cxn>
                          <a:cxn ang="0">
                            <a:pos x="connsiteX55" y="connsiteY55"/>
                          </a:cxn>
                          <a:cxn ang="0">
                            <a:pos x="connsiteX56" y="connsiteY56"/>
                          </a:cxn>
                        </a:cxnLst>
                        <a:rect l="l" t="t" r="r" b="b"/>
                        <a:pathLst>
                          <a:path w="11630" h="4652">
                            <a:moveTo>
                              <a:pt x="11747" y="5839"/>
                            </a:moveTo>
                            <a:cubicBezTo>
                              <a:pt x="11747" y="5839"/>
                              <a:pt x="11724" y="5839"/>
                              <a:pt x="11724" y="5839"/>
                            </a:cubicBezTo>
                            <a:cubicBezTo>
                              <a:pt x="11561" y="5792"/>
                              <a:pt x="11445" y="5722"/>
                              <a:pt x="11305" y="5606"/>
                            </a:cubicBezTo>
                            <a:cubicBezTo>
                              <a:pt x="11305" y="5606"/>
                              <a:pt x="11282" y="5583"/>
                              <a:pt x="11282" y="5583"/>
                            </a:cubicBezTo>
                            <a:lnTo>
                              <a:pt x="11282" y="5583"/>
                            </a:lnTo>
                            <a:cubicBezTo>
                              <a:pt x="11166" y="5490"/>
                              <a:pt x="11073" y="5397"/>
                              <a:pt x="10980" y="5280"/>
                            </a:cubicBezTo>
                            <a:lnTo>
                              <a:pt x="10980" y="5280"/>
                            </a:lnTo>
                            <a:lnTo>
                              <a:pt x="10980" y="5280"/>
                            </a:lnTo>
                            <a:cubicBezTo>
                              <a:pt x="10793" y="5024"/>
                              <a:pt x="10654" y="4722"/>
                              <a:pt x="10561" y="4373"/>
                            </a:cubicBezTo>
                            <a:cubicBezTo>
                              <a:pt x="10561" y="4327"/>
                              <a:pt x="10538" y="4303"/>
                              <a:pt x="10538" y="4257"/>
                            </a:cubicBezTo>
                            <a:lnTo>
                              <a:pt x="10538" y="4257"/>
                            </a:lnTo>
                            <a:cubicBezTo>
                              <a:pt x="10468" y="3931"/>
                              <a:pt x="10445" y="3582"/>
                              <a:pt x="10491" y="3233"/>
                            </a:cubicBezTo>
                            <a:cubicBezTo>
                              <a:pt x="10561" y="2722"/>
                              <a:pt x="10631" y="2233"/>
                              <a:pt x="10700" y="1745"/>
                            </a:cubicBezTo>
                            <a:cubicBezTo>
                              <a:pt x="10747" y="1419"/>
                              <a:pt x="10863" y="1140"/>
                              <a:pt x="11003" y="884"/>
                            </a:cubicBezTo>
                            <a:lnTo>
                              <a:pt x="11003" y="884"/>
                            </a:lnTo>
                            <a:cubicBezTo>
                              <a:pt x="11073" y="768"/>
                              <a:pt x="11119" y="651"/>
                              <a:pt x="11212" y="558"/>
                            </a:cubicBezTo>
                            <a:lnTo>
                              <a:pt x="11212" y="558"/>
                            </a:lnTo>
                            <a:cubicBezTo>
                              <a:pt x="11259" y="512"/>
                              <a:pt x="11328" y="465"/>
                              <a:pt x="11375" y="395"/>
                            </a:cubicBezTo>
                            <a:lnTo>
                              <a:pt x="11375" y="395"/>
                            </a:lnTo>
                            <a:cubicBezTo>
                              <a:pt x="11468" y="326"/>
                              <a:pt x="11538" y="256"/>
                              <a:pt x="11631" y="186"/>
                            </a:cubicBezTo>
                            <a:cubicBezTo>
                              <a:pt x="11677" y="163"/>
                              <a:pt x="11724" y="116"/>
                              <a:pt x="11770" y="93"/>
                            </a:cubicBezTo>
                            <a:lnTo>
                              <a:pt x="11770" y="93"/>
                            </a:lnTo>
                            <a:cubicBezTo>
                              <a:pt x="11817" y="93"/>
                              <a:pt x="11863" y="93"/>
                              <a:pt x="11887" y="70"/>
                            </a:cubicBezTo>
                            <a:cubicBezTo>
                              <a:pt x="11980" y="46"/>
                              <a:pt x="12096" y="0"/>
                              <a:pt x="12212" y="0"/>
                            </a:cubicBezTo>
                            <a:lnTo>
                              <a:pt x="2163" y="0"/>
                            </a:lnTo>
                            <a:lnTo>
                              <a:pt x="1768" y="0"/>
                            </a:lnTo>
                            <a:lnTo>
                              <a:pt x="1721" y="0"/>
                            </a:lnTo>
                            <a:cubicBezTo>
                              <a:pt x="1605" y="0"/>
                              <a:pt x="1512" y="23"/>
                              <a:pt x="1396" y="46"/>
                            </a:cubicBezTo>
                            <a:cubicBezTo>
                              <a:pt x="1372" y="46"/>
                              <a:pt x="1326" y="93"/>
                              <a:pt x="1303" y="93"/>
                            </a:cubicBezTo>
                            <a:cubicBezTo>
                              <a:pt x="1256" y="116"/>
                              <a:pt x="1210" y="140"/>
                              <a:pt x="1163" y="163"/>
                            </a:cubicBezTo>
                            <a:cubicBezTo>
                              <a:pt x="1117" y="186"/>
                              <a:pt x="1070" y="209"/>
                              <a:pt x="1047" y="233"/>
                            </a:cubicBezTo>
                            <a:cubicBezTo>
                              <a:pt x="1000" y="279"/>
                              <a:pt x="954" y="326"/>
                              <a:pt x="907" y="372"/>
                            </a:cubicBezTo>
                            <a:cubicBezTo>
                              <a:pt x="861" y="442"/>
                              <a:pt x="791" y="488"/>
                              <a:pt x="744" y="535"/>
                            </a:cubicBezTo>
                            <a:cubicBezTo>
                              <a:pt x="675" y="628"/>
                              <a:pt x="605" y="744"/>
                              <a:pt x="535" y="861"/>
                            </a:cubicBezTo>
                            <a:cubicBezTo>
                              <a:pt x="488" y="930"/>
                              <a:pt x="442" y="1000"/>
                              <a:pt x="419" y="1070"/>
                            </a:cubicBezTo>
                            <a:cubicBezTo>
                              <a:pt x="419" y="1093"/>
                              <a:pt x="395" y="1117"/>
                              <a:pt x="372" y="1140"/>
                            </a:cubicBezTo>
                            <a:cubicBezTo>
                              <a:pt x="326" y="1303"/>
                              <a:pt x="256" y="1465"/>
                              <a:pt x="233" y="1675"/>
                            </a:cubicBezTo>
                            <a:cubicBezTo>
                              <a:pt x="233" y="1698"/>
                              <a:pt x="233" y="1698"/>
                              <a:pt x="233" y="1698"/>
                            </a:cubicBezTo>
                            <a:cubicBezTo>
                              <a:pt x="163" y="2210"/>
                              <a:pt x="70" y="2698"/>
                              <a:pt x="23" y="3210"/>
                            </a:cubicBezTo>
                            <a:cubicBezTo>
                              <a:pt x="0" y="3303"/>
                              <a:pt x="0" y="3419"/>
                              <a:pt x="0" y="3536"/>
                            </a:cubicBezTo>
                            <a:cubicBezTo>
                              <a:pt x="0" y="3559"/>
                              <a:pt x="0" y="3582"/>
                              <a:pt x="0" y="3582"/>
                            </a:cubicBezTo>
                            <a:cubicBezTo>
                              <a:pt x="0" y="3652"/>
                              <a:pt x="0" y="3699"/>
                              <a:pt x="0" y="3768"/>
                            </a:cubicBezTo>
                            <a:cubicBezTo>
                              <a:pt x="0" y="3815"/>
                              <a:pt x="0" y="3861"/>
                              <a:pt x="0" y="3931"/>
                            </a:cubicBezTo>
                            <a:cubicBezTo>
                              <a:pt x="0" y="3954"/>
                              <a:pt x="0" y="3978"/>
                              <a:pt x="0" y="4001"/>
                            </a:cubicBezTo>
                            <a:cubicBezTo>
                              <a:pt x="0" y="4071"/>
                              <a:pt x="23" y="4164"/>
                              <a:pt x="47" y="4234"/>
                            </a:cubicBezTo>
                            <a:cubicBezTo>
                              <a:pt x="47" y="4280"/>
                              <a:pt x="70" y="4327"/>
                              <a:pt x="70" y="4373"/>
                            </a:cubicBezTo>
                            <a:cubicBezTo>
                              <a:pt x="70" y="4373"/>
                              <a:pt x="70" y="4396"/>
                              <a:pt x="70" y="4396"/>
                            </a:cubicBezTo>
                            <a:cubicBezTo>
                              <a:pt x="116" y="4559"/>
                              <a:pt x="163" y="4722"/>
                              <a:pt x="233" y="4862"/>
                            </a:cubicBezTo>
                            <a:lnTo>
                              <a:pt x="256" y="4885"/>
                            </a:lnTo>
                            <a:cubicBezTo>
                              <a:pt x="326" y="5001"/>
                              <a:pt x="395" y="5118"/>
                              <a:pt x="465" y="5234"/>
                            </a:cubicBezTo>
                            <a:cubicBezTo>
                              <a:pt x="488" y="5257"/>
                              <a:pt x="512" y="5304"/>
                              <a:pt x="558" y="5327"/>
                            </a:cubicBezTo>
                            <a:cubicBezTo>
                              <a:pt x="628" y="5397"/>
                              <a:pt x="698" y="5490"/>
                              <a:pt x="768" y="5536"/>
                            </a:cubicBezTo>
                            <a:cubicBezTo>
                              <a:pt x="791" y="5560"/>
                              <a:pt x="814" y="5583"/>
                              <a:pt x="861" y="5606"/>
                            </a:cubicBezTo>
                            <a:cubicBezTo>
                              <a:pt x="977" y="5676"/>
                              <a:pt x="1093" y="5746"/>
                              <a:pt x="1210" y="5769"/>
                            </a:cubicBezTo>
                            <a:lnTo>
                              <a:pt x="1233" y="5769"/>
                            </a:lnTo>
                            <a:lnTo>
                              <a:pt x="1233" y="5769"/>
                            </a:lnTo>
                            <a:lnTo>
                              <a:pt x="11747" y="5769"/>
                            </a:lnTo>
                            <a:close/>
                          </a:path>
                        </a:pathLst>
                      </a:custGeom>
                      <a:solidFill>
                        <a:srgbClr val="F19439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752" name="Freeform: Shape 1751">
                        <a:extLst>
                          <a:ext uri="{FF2B5EF4-FFF2-40B4-BE49-F238E27FC236}">
                            <a16:creationId xmlns:a16="http://schemas.microsoft.com/office/drawing/2014/main" id="{5299F1ED-3839-4DC9-A9F4-9DC8E2F6701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64014" y="4113340"/>
                        <a:ext cx="2326" cy="2326"/>
                      </a:xfrm>
                      <a:custGeom>
                        <a:avLst/>
                        <a:gdLst>
                          <a:gd name="connsiteX0" fmla="*/ 0 w 0"/>
                          <a:gd name="connsiteY0" fmla="*/ 0 h 0"/>
                          <a:gd name="connsiteX1" fmla="*/ 0 w 0"/>
                          <a:gd name="connsiteY1" fmla="*/ 0 h 0"/>
                          <a:gd name="connsiteX2" fmla="*/ 0 w 0"/>
                          <a:gd name="connsiteY2" fmla="*/ 0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0" y="0"/>
                            </a:moveTo>
                            <a:lnTo>
                              <a:pt x="0" y="0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solidFill>
                        <a:srgbClr val="F19439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753" name="Freeform: Shape 1752">
                        <a:extLst>
                          <a:ext uri="{FF2B5EF4-FFF2-40B4-BE49-F238E27FC236}">
                            <a16:creationId xmlns:a16="http://schemas.microsoft.com/office/drawing/2014/main" id="{2D4D4F08-3D95-4F0E-A3EF-C0638D83D32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52290" y="4113386"/>
                        <a:ext cx="11631" cy="4652"/>
                      </a:xfrm>
                      <a:custGeom>
                        <a:avLst/>
                        <a:gdLst>
                          <a:gd name="connsiteX0" fmla="*/ 11677 w 11630"/>
                          <a:gd name="connsiteY0" fmla="*/ 5699 h 4652"/>
                          <a:gd name="connsiteX1" fmla="*/ 11677 w 11630"/>
                          <a:gd name="connsiteY1" fmla="*/ 5699 h 4652"/>
                          <a:gd name="connsiteX2" fmla="*/ 11538 w 11630"/>
                          <a:gd name="connsiteY2" fmla="*/ 5606 h 4652"/>
                          <a:gd name="connsiteX3" fmla="*/ 11538 w 11630"/>
                          <a:gd name="connsiteY3" fmla="*/ 5606 h 4652"/>
                          <a:gd name="connsiteX4" fmla="*/ 11235 w 11630"/>
                          <a:gd name="connsiteY4" fmla="*/ 5373 h 4652"/>
                          <a:gd name="connsiteX5" fmla="*/ 11235 w 11630"/>
                          <a:gd name="connsiteY5" fmla="*/ 5373 h 4652"/>
                          <a:gd name="connsiteX6" fmla="*/ 10631 w 11630"/>
                          <a:gd name="connsiteY6" fmla="*/ 4071 h 4652"/>
                          <a:gd name="connsiteX7" fmla="*/ 10421 w 11630"/>
                          <a:gd name="connsiteY7" fmla="*/ 2582 h 4652"/>
                          <a:gd name="connsiteX8" fmla="*/ 10840 w 11630"/>
                          <a:gd name="connsiteY8" fmla="*/ 605 h 4652"/>
                          <a:gd name="connsiteX9" fmla="*/ 10840 w 11630"/>
                          <a:gd name="connsiteY9" fmla="*/ 605 h 4652"/>
                          <a:gd name="connsiteX10" fmla="*/ 10840 w 11630"/>
                          <a:gd name="connsiteY10" fmla="*/ 605 h 4652"/>
                          <a:gd name="connsiteX11" fmla="*/ 11654 w 11630"/>
                          <a:gd name="connsiteY11" fmla="*/ 0 h 4652"/>
                          <a:gd name="connsiteX12" fmla="*/ 11677 w 11630"/>
                          <a:gd name="connsiteY12" fmla="*/ 0 h 4652"/>
                          <a:gd name="connsiteX13" fmla="*/ 1256 w 11630"/>
                          <a:gd name="connsiteY13" fmla="*/ 0 h 4652"/>
                          <a:gd name="connsiteX14" fmla="*/ 1256 w 11630"/>
                          <a:gd name="connsiteY14" fmla="*/ 0 h 4652"/>
                          <a:gd name="connsiteX15" fmla="*/ 1233 w 11630"/>
                          <a:gd name="connsiteY15" fmla="*/ 0 h 4652"/>
                          <a:gd name="connsiteX16" fmla="*/ 1163 w 11630"/>
                          <a:gd name="connsiteY16" fmla="*/ 23 h 4652"/>
                          <a:gd name="connsiteX17" fmla="*/ 1093 w 11630"/>
                          <a:gd name="connsiteY17" fmla="*/ 70 h 4652"/>
                          <a:gd name="connsiteX18" fmla="*/ 861 w 11630"/>
                          <a:gd name="connsiteY18" fmla="*/ 186 h 4652"/>
                          <a:gd name="connsiteX19" fmla="*/ 814 w 11630"/>
                          <a:gd name="connsiteY19" fmla="*/ 209 h 4652"/>
                          <a:gd name="connsiteX20" fmla="*/ 768 w 11630"/>
                          <a:gd name="connsiteY20" fmla="*/ 256 h 4652"/>
                          <a:gd name="connsiteX21" fmla="*/ 442 w 11630"/>
                          <a:gd name="connsiteY21" fmla="*/ 582 h 4652"/>
                          <a:gd name="connsiteX22" fmla="*/ 442 w 11630"/>
                          <a:gd name="connsiteY22" fmla="*/ 605 h 4652"/>
                          <a:gd name="connsiteX23" fmla="*/ 209 w 11630"/>
                          <a:gd name="connsiteY23" fmla="*/ 1047 h 4652"/>
                          <a:gd name="connsiteX24" fmla="*/ 186 w 11630"/>
                          <a:gd name="connsiteY24" fmla="*/ 1093 h 4652"/>
                          <a:gd name="connsiteX25" fmla="*/ 163 w 11630"/>
                          <a:gd name="connsiteY25" fmla="*/ 1163 h 4652"/>
                          <a:gd name="connsiteX26" fmla="*/ 70 w 11630"/>
                          <a:gd name="connsiteY26" fmla="*/ 1512 h 4652"/>
                          <a:gd name="connsiteX27" fmla="*/ 47 w 11630"/>
                          <a:gd name="connsiteY27" fmla="*/ 1605 h 4652"/>
                          <a:gd name="connsiteX28" fmla="*/ 47 w 11630"/>
                          <a:gd name="connsiteY28" fmla="*/ 1628 h 4652"/>
                          <a:gd name="connsiteX29" fmla="*/ 23 w 11630"/>
                          <a:gd name="connsiteY29" fmla="*/ 1861 h 4652"/>
                          <a:gd name="connsiteX30" fmla="*/ 0 w 11630"/>
                          <a:gd name="connsiteY30" fmla="*/ 2047 h 4652"/>
                          <a:gd name="connsiteX31" fmla="*/ 0 w 11630"/>
                          <a:gd name="connsiteY31" fmla="*/ 2094 h 4652"/>
                          <a:gd name="connsiteX32" fmla="*/ 0 w 11630"/>
                          <a:gd name="connsiteY32" fmla="*/ 2280 h 4652"/>
                          <a:gd name="connsiteX33" fmla="*/ 0 w 11630"/>
                          <a:gd name="connsiteY33" fmla="*/ 2466 h 4652"/>
                          <a:gd name="connsiteX34" fmla="*/ 0 w 11630"/>
                          <a:gd name="connsiteY34" fmla="*/ 2582 h 4652"/>
                          <a:gd name="connsiteX35" fmla="*/ 209 w 11630"/>
                          <a:gd name="connsiteY35" fmla="*/ 4071 h 4652"/>
                          <a:gd name="connsiteX36" fmla="*/ 256 w 11630"/>
                          <a:gd name="connsiteY36" fmla="*/ 4327 h 4652"/>
                          <a:gd name="connsiteX37" fmla="*/ 349 w 11630"/>
                          <a:gd name="connsiteY37" fmla="*/ 4583 h 4652"/>
                          <a:gd name="connsiteX38" fmla="*/ 442 w 11630"/>
                          <a:gd name="connsiteY38" fmla="*/ 4838 h 4652"/>
                          <a:gd name="connsiteX39" fmla="*/ 651 w 11630"/>
                          <a:gd name="connsiteY39" fmla="*/ 5164 h 4652"/>
                          <a:gd name="connsiteX40" fmla="*/ 791 w 11630"/>
                          <a:gd name="connsiteY40" fmla="*/ 5350 h 4652"/>
                          <a:gd name="connsiteX41" fmla="*/ 1070 w 11630"/>
                          <a:gd name="connsiteY41" fmla="*/ 5583 h 4652"/>
                          <a:gd name="connsiteX42" fmla="*/ 1233 w 11630"/>
                          <a:gd name="connsiteY42" fmla="*/ 5676 h 4652"/>
                          <a:gd name="connsiteX43" fmla="*/ 1721 w 11630"/>
                          <a:gd name="connsiteY43" fmla="*/ 5792 h 4652"/>
                          <a:gd name="connsiteX44" fmla="*/ 2094 w 11630"/>
                          <a:gd name="connsiteY44" fmla="*/ 5792 h 4652"/>
                          <a:gd name="connsiteX45" fmla="*/ 12166 w 11630"/>
                          <a:gd name="connsiteY45" fmla="*/ 5792 h 4652"/>
                          <a:gd name="connsiteX46" fmla="*/ 11677 w 11630"/>
                          <a:gd name="connsiteY46" fmla="*/ 5699 h 465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  <a:cxn ang="0">
                            <a:pos x="connsiteX43" y="connsiteY43"/>
                          </a:cxn>
                          <a:cxn ang="0">
                            <a:pos x="connsiteX44" y="connsiteY44"/>
                          </a:cxn>
                          <a:cxn ang="0">
                            <a:pos x="connsiteX45" y="connsiteY45"/>
                          </a:cxn>
                          <a:cxn ang="0">
                            <a:pos x="connsiteX46" y="connsiteY46"/>
                          </a:cxn>
                        </a:cxnLst>
                        <a:rect l="l" t="t" r="r" b="b"/>
                        <a:pathLst>
                          <a:path w="11630" h="4652">
                            <a:moveTo>
                              <a:pt x="11677" y="5699"/>
                            </a:moveTo>
                            <a:lnTo>
                              <a:pt x="11677" y="5699"/>
                            </a:lnTo>
                            <a:cubicBezTo>
                              <a:pt x="11631" y="5676"/>
                              <a:pt x="11584" y="5629"/>
                              <a:pt x="11538" y="5606"/>
                            </a:cubicBezTo>
                            <a:lnTo>
                              <a:pt x="11538" y="5606"/>
                            </a:lnTo>
                            <a:cubicBezTo>
                              <a:pt x="11445" y="5536"/>
                              <a:pt x="11328" y="5466"/>
                              <a:pt x="11235" y="5373"/>
                            </a:cubicBezTo>
                            <a:lnTo>
                              <a:pt x="11235" y="5373"/>
                            </a:lnTo>
                            <a:cubicBezTo>
                              <a:pt x="10956" y="5071"/>
                              <a:pt x="10724" y="4629"/>
                              <a:pt x="10631" y="4071"/>
                            </a:cubicBezTo>
                            <a:cubicBezTo>
                              <a:pt x="10561" y="3582"/>
                              <a:pt x="10491" y="3070"/>
                              <a:pt x="10421" y="2582"/>
                            </a:cubicBezTo>
                            <a:cubicBezTo>
                              <a:pt x="10328" y="1838"/>
                              <a:pt x="10491" y="1117"/>
                              <a:pt x="10840" y="605"/>
                            </a:cubicBezTo>
                            <a:lnTo>
                              <a:pt x="10840" y="605"/>
                            </a:lnTo>
                            <a:lnTo>
                              <a:pt x="10840" y="605"/>
                            </a:lnTo>
                            <a:cubicBezTo>
                              <a:pt x="11073" y="302"/>
                              <a:pt x="11328" y="70"/>
                              <a:pt x="11654" y="0"/>
                            </a:cubicBezTo>
                            <a:lnTo>
                              <a:pt x="11677" y="0"/>
                            </a:lnTo>
                            <a:lnTo>
                              <a:pt x="1256" y="0"/>
                            </a:lnTo>
                            <a:lnTo>
                              <a:pt x="1256" y="0"/>
                            </a:lnTo>
                            <a:lnTo>
                              <a:pt x="1233" y="0"/>
                            </a:lnTo>
                            <a:cubicBezTo>
                              <a:pt x="1210" y="0"/>
                              <a:pt x="1186" y="23"/>
                              <a:pt x="1163" y="23"/>
                            </a:cubicBezTo>
                            <a:cubicBezTo>
                              <a:pt x="1140" y="23"/>
                              <a:pt x="1117" y="70"/>
                              <a:pt x="1093" y="70"/>
                            </a:cubicBezTo>
                            <a:cubicBezTo>
                              <a:pt x="1000" y="93"/>
                              <a:pt x="930" y="140"/>
                              <a:pt x="861" y="186"/>
                            </a:cubicBezTo>
                            <a:cubicBezTo>
                              <a:pt x="837" y="186"/>
                              <a:pt x="814" y="209"/>
                              <a:pt x="814" y="209"/>
                            </a:cubicBezTo>
                            <a:cubicBezTo>
                              <a:pt x="791" y="209"/>
                              <a:pt x="791" y="233"/>
                              <a:pt x="768" y="256"/>
                            </a:cubicBezTo>
                            <a:cubicBezTo>
                              <a:pt x="651" y="349"/>
                              <a:pt x="535" y="465"/>
                              <a:pt x="442" y="582"/>
                            </a:cubicBezTo>
                            <a:lnTo>
                              <a:pt x="442" y="605"/>
                            </a:lnTo>
                            <a:cubicBezTo>
                              <a:pt x="349" y="721"/>
                              <a:pt x="279" y="884"/>
                              <a:pt x="209" y="1047"/>
                            </a:cubicBezTo>
                            <a:cubicBezTo>
                              <a:pt x="209" y="1070"/>
                              <a:pt x="186" y="1093"/>
                              <a:pt x="186" y="1093"/>
                            </a:cubicBezTo>
                            <a:cubicBezTo>
                              <a:pt x="186" y="1117"/>
                              <a:pt x="186" y="1140"/>
                              <a:pt x="163" y="1163"/>
                            </a:cubicBezTo>
                            <a:cubicBezTo>
                              <a:pt x="116" y="1279"/>
                              <a:pt x="93" y="1396"/>
                              <a:pt x="70" y="1512"/>
                            </a:cubicBezTo>
                            <a:cubicBezTo>
                              <a:pt x="70" y="1535"/>
                              <a:pt x="47" y="1558"/>
                              <a:pt x="47" y="1605"/>
                            </a:cubicBezTo>
                            <a:cubicBezTo>
                              <a:pt x="47" y="1605"/>
                              <a:pt x="47" y="1628"/>
                              <a:pt x="47" y="1628"/>
                            </a:cubicBezTo>
                            <a:cubicBezTo>
                              <a:pt x="23" y="1698"/>
                              <a:pt x="23" y="1768"/>
                              <a:pt x="23" y="1861"/>
                            </a:cubicBezTo>
                            <a:cubicBezTo>
                              <a:pt x="23" y="1907"/>
                              <a:pt x="0" y="1977"/>
                              <a:pt x="0" y="2047"/>
                            </a:cubicBezTo>
                            <a:lnTo>
                              <a:pt x="0" y="2094"/>
                            </a:lnTo>
                            <a:cubicBezTo>
                              <a:pt x="0" y="2140"/>
                              <a:pt x="0" y="2210"/>
                              <a:pt x="0" y="2280"/>
                            </a:cubicBezTo>
                            <a:cubicBezTo>
                              <a:pt x="0" y="2326"/>
                              <a:pt x="0" y="2396"/>
                              <a:pt x="0" y="2466"/>
                            </a:cubicBezTo>
                            <a:cubicBezTo>
                              <a:pt x="0" y="2512"/>
                              <a:pt x="0" y="2536"/>
                              <a:pt x="0" y="2582"/>
                            </a:cubicBezTo>
                            <a:cubicBezTo>
                              <a:pt x="70" y="3070"/>
                              <a:pt x="140" y="3582"/>
                              <a:pt x="209" y="4071"/>
                            </a:cubicBezTo>
                            <a:cubicBezTo>
                              <a:pt x="233" y="4164"/>
                              <a:pt x="256" y="4257"/>
                              <a:pt x="256" y="4327"/>
                            </a:cubicBezTo>
                            <a:cubicBezTo>
                              <a:pt x="279" y="4420"/>
                              <a:pt x="326" y="4489"/>
                              <a:pt x="349" y="4583"/>
                            </a:cubicBezTo>
                            <a:cubicBezTo>
                              <a:pt x="372" y="4676"/>
                              <a:pt x="419" y="4769"/>
                              <a:pt x="442" y="4838"/>
                            </a:cubicBezTo>
                            <a:cubicBezTo>
                              <a:pt x="488" y="4955"/>
                              <a:pt x="582" y="5071"/>
                              <a:pt x="651" y="5164"/>
                            </a:cubicBezTo>
                            <a:cubicBezTo>
                              <a:pt x="698" y="5234"/>
                              <a:pt x="744" y="5304"/>
                              <a:pt x="791" y="5350"/>
                            </a:cubicBezTo>
                            <a:cubicBezTo>
                              <a:pt x="884" y="5443"/>
                              <a:pt x="977" y="5513"/>
                              <a:pt x="1070" y="5583"/>
                            </a:cubicBezTo>
                            <a:cubicBezTo>
                              <a:pt x="1140" y="5606"/>
                              <a:pt x="1163" y="5653"/>
                              <a:pt x="1233" y="5676"/>
                            </a:cubicBezTo>
                            <a:cubicBezTo>
                              <a:pt x="1396" y="5746"/>
                              <a:pt x="1559" y="5792"/>
                              <a:pt x="1721" y="5792"/>
                            </a:cubicBezTo>
                            <a:lnTo>
                              <a:pt x="2094" y="5792"/>
                            </a:lnTo>
                            <a:lnTo>
                              <a:pt x="12166" y="5792"/>
                            </a:lnTo>
                            <a:cubicBezTo>
                              <a:pt x="12003" y="5815"/>
                              <a:pt x="11840" y="5769"/>
                              <a:pt x="11677" y="5699"/>
                            </a:cubicBezTo>
                            <a:close/>
                          </a:path>
                        </a:pathLst>
                      </a:custGeom>
                      <a:solidFill>
                        <a:srgbClr val="F19439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754" name="Freeform: Shape 1753">
                        <a:extLst>
                          <a:ext uri="{FF2B5EF4-FFF2-40B4-BE49-F238E27FC236}">
                            <a16:creationId xmlns:a16="http://schemas.microsoft.com/office/drawing/2014/main" id="{767D6DEB-143F-432C-932A-F29205401A3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51686" y="4106082"/>
                        <a:ext cx="11631" cy="4652"/>
                      </a:xfrm>
                      <a:custGeom>
                        <a:avLst/>
                        <a:gdLst>
                          <a:gd name="connsiteX0" fmla="*/ 11701 w 11630"/>
                          <a:gd name="connsiteY0" fmla="*/ 5769 h 4652"/>
                          <a:gd name="connsiteX1" fmla="*/ 11491 w 11630"/>
                          <a:gd name="connsiteY1" fmla="*/ 5722 h 4652"/>
                          <a:gd name="connsiteX2" fmla="*/ 11491 w 11630"/>
                          <a:gd name="connsiteY2" fmla="*/ 5722 h 4652"/>
                          <a:gd name="connsiteX3" fmla="*/ 10468 w 11630"/>
                          <a:gd name="connsiteY3" fmla="*/ 3885 h 4652"/>
                          <a:gd name="connsiteX4" fmla="*/ 10375 w 11630"/>
                          <a:gd name="connsiteY4" fmla="*/ 2373 h 4652"/>
                          <a:gd name="connsiteX5" fmla="*/ 10375 w 11630"/>
                          <a:gd name="connsiteY5" fmla="*/ 2001 h 4652"/>
                          <a:gd name="connsiteX6" fmla="*/ 10375 w 11630"/>
                          <a:gd name="connsiteY6" fmla="*/ 2001 h 4652"/>
                          <a:gd name="connsiteX7" fmla="*/ 10398 w 11630"/>
                          <a:gd name="connsiteY7" fmla="*/ 1768 h 4652"/>
                          <a:gd name="connsiteX8" fmla="*/ 10421 w 11630"/>
                          <a:gd name="connsiteY8" fmla="*/ 1605 h 4652"/>
                          <a:gd name="connsiteX9" fmla="*/ 10421 w 11630"/>
                          <a:gd name="connsiteY9" fmla="*/ 1605 h 4652"/>
                          <a:gd name="connsiteX10" fmla="*/ 10538 w 11630"/>
                          <a:gd name="connsiteY10" fmla="*/ 1210 h 4652"/>
                          <a:gd name="connsiteX11" fmla="*/ 10538 w 11630"/>
                          <a:gd name="connsiteY11" fmla="*/ 1210 h 4652"/>
                          <a:gd name="connsiteX12" fmla="*/ 10538 w 11630"/>
                          <a:gd name="connsiteY12" fmla="*/ 1210 h 4652"/>
                          <a:gd name="connsiteX13" fmla="*/ 11794 w 11630"/>
                          <a:gd name="connsiteY13" fmla="*/ 0 h 4652"/>
                          <a:gd name="connsiteX14" fmla="*/ 11817 w 11630"/>
                          <a:gd name="connsiteY14" fmla="*/ 0 h 4652"/>
                          <a:gd name="connsiteX15" fmla="*/ 11817 w 11630"/>
                          <a:gd name="connsiteY15" fmla="*/ 0 h 4652"/>
                          <a:gd name="connsiteX16" fmla="*/ 11817 w 11630"/>
                          <a:gd name="connsiteY16" fmla="*/ 0 h 4652"/>
                          <a:gd name="connsiteX17" fmla="*/ 11817 w 11630"/>
                          <a:gd name="connsiteY17" fmla="*/ 0 h 4652"/>
                          <a:gd name="connsiteX18" fmla="*/ 11817 w 11630"/>
                          <a:gd name="connsiteY18" fmla="*/ 0 h 4652"/>
                          <a:gd name="connsiteX19" fmla="*/ 1396 w 11630"/>
                          <a:gd name="connsiteY19" fmla="*/ 0 h 4652"/>
                          <a:gd name="connsiteX20" fmla="*/ 1396 w 11630"/>
                          <a:gd name="connsiteY20" fmla="*/ 0 h 4652"/>
                          <a:gd name="connsiteX21" fmla="*/ 1372 w 11630"/>
                          <a:gd name="connsiteY21" fmla="*/ 0 h 4652"/>
                          <a:gd name="connsiteX22" fmla="*/ 1372 w 11630"/>
                          <a:gd name="connsiteY22" fmla="*/ 0 h 4652"/>
                          <a:gd name="connsiteX23" fmla="*/ 1372 w 11630"/>
                          <a:gd name="connsiteY23" fmla="*/ 0 h 4652"/>
                          <a:gd name="connsiteX24" fmla="*/ 1140 w 11630"/>
                          <a:gd name="connsiteY24" fmla="*/ 70 h 4652"/>
                          <a:gd name="connsiteX25" fmla="*/ 1117 w 11630"/>
                          <a:gd name="connsiteY25" fmla="*/ 93 h 4652"/>
                          <a:gd name="connsiteX26" fmla="*/ 791 w 11630"/>
                          <a:gd name="connsiteY26" fmla="*/ 256 h 4652"/>
                          <a:gd name="connsiteX27" fmla="*/ 791 w 11630"/>
                          <a:gd name="connsiteY27" fmla="*/ 256 h 4652"/>
                          <a:gd name="connsiteX28" fmla="*/ 791 w 11630"/>
                          <a:gd name="connsiteY28" fmla="*/ 256 h 4652"/>
                          <a:gd name="connsiteX29" fmla="*/ 465 w 11630"/>
                          <a:gd name="connsiteY29" fmla="*/ 605 h 4652"/>
                          <a:gd name="connsiteX30" fmla="*/ 395 w 11630"/>
                          <a:gd name="connsiteY30" fmla="*/ 698 h 4652"/>
                          <a:gd name="connsiteX31" fmla="*/ 163 w 11630"/>
                          <a:gd name="connsiteY31" fmla="*/ 1163 h 4652"/>
                          <a:gd name="connsiteX32" fmla="*/ 163 w 11630"/>
                          <a:gd name="connsiteY32" fmla="*/ 1163 h 4652"/>
                          <a:gd name="connsiteX33" fmla="*/ 163 w 11630"/>
                          <a:gd name="connsiteY33" fmla="*/ 1210 h 4652"/>
                          <a:gd name="connsiteX34" fmla="*/ 47 w 11630"/>
                          <a:gd name="connsiteY34" fmla="*/ 1605 h 4652"/>
                          <a:gd name="connsiteX35" fmla="*/ 23 w 11630"/>
                          <a:gd name="connsiteY35" fmla="*/ 1652 h 4652"/>
                          <a:gd name="connsiteX36" fmla="*/ 23 w 11630"/>
                          <a:gd name="connsiteY36" fmla="*/ 1791 h 4652"/>
                          <a:gd name="connsiteX37" fmla="*/ 0 w 11630"/>
                          <a:gd name="connsiteY37" fmla="*/ 2001 h 4652"/>
                          <a:gd name="connsiteX38" fmla="*/ 0 w 11630"/>
                          <a:gd name="connsiteY38" fmla="*/ 2070 h 4652"/>
                          <a:gd name="connsiteX39" fmla="*/ 0 w 11630"/>
                          <a:gd name="connsiteY39" fmla="*/ 2396 h 4652"/>
                          <a:gd name="connsiteX40" fmla="*/ 93 w 11630"/>
                          <a:gd name="connsiteY40" fmla="*/ 3908 h 4652"/>
                          <a:gd name="connsiteX41" fmla="*/ 93 w 11630"/>
                          <a:gd name="connsiteY41" fmla="*/ 3955 h 4652"/>
                          <a:gd name="connsiteX42" fmla="*/ 163 w 11630"/>
                          <a:gd name="connsiteY42" fmla="*/ 4420 h 4652"/>
                          <a:gd name="connsiteX43" fmla="*/ 209 w 11630"/>
                          <a:gd name="connsiteY43" fmla="*/ 4583 h 4652"/>
                          <a:gd name="connsiteX44" fmla="*/ 326 w 11630"/>
                          <a:gd name="connsiteY44" fmla="*/ 4838 h 4652"/>
                          <a:gd name="connsiteX45" fmla="*/ 535 w 11630"/>
                          <a:gd name="connsiteY45" fmla="*/ 5211 h 4652"/>
                          <a:gd name="connsiteX46" fmla="*/ 675 w 11630"/>
                          <a:gd name="connsiteY46" fmla="*/ 5397 h 4652"/>
                          <a:gd name="connsiteX47" fmla="*/ 977 w 11630"/>
                          <a:gd name="connsiteY47" fmla="*/ 5653 h 4652"/>
                          <a:gd name="connsiteX48" fmla="*/ 1140 w 11630"/>
                          <a:gd name="connsiteY48" fmla="*/ 5769 h 4652"/>
                          <a:gd name="connsiteX49" fmla="*/ 1675 w 11630"/>
                          <a:gd name="connsiteY49" fmla="*/ 5908 h 4652"/>
                          <a:gd name="connsiteX50" fmla="*/ 1861 w 11630"/>
                          <a:gd name="connsiteY50" fmla="*/ 5908 h 4652"/>
                          <a:gd name="connsiteX51" fmla="*/ 12096 w 11630"/>
                          <a:gd name="connsiteY51" fmla="*/ 5908 h 4652"/>
                          <a:gd name="connsiteX52" fmla="*/ 11701 w 11630"/>
                          <a:gd name="connsiteY52" fmla="*/ 5769 h 465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  <a:cxn ang="0">
                            <a:pos x="connsiteX43" y="connsiteY43"/>
                          </a:cxn>
                          <a:cxn ang="0">
                            <a:pos x="connsiteX44" y="connsiteY44"/>
                          </a:cxn>
                          <a:cxn ang="0">
                            <a:pos x="connsiteX45" y="connsiteY45"/>
                          </a:cxn>
                          <a:cxn ang="0">
                            <a:pos x="connsiteX46" y="connsiteY46"/>
                          </a:cxn>
                          <a:cxn ang="0">
                            <a:pos x="connsiteX47" y="connsiteY47"/>
                          </a:cxn>
                          <a:cxn ang="0">
                            <a:pos x="connsiteX48" y="connsiteY48"/>
                          </a:cxn>
                          <a:cxn ang="0">
                            <a:pos x="connsiteX49" y="connsiteY49"/>
                          </a:cxn>
                          <a:cxn ang="0">
                            <a:pos x="connsiteX50" y="connsiteY50"/>
                          </a:cxn>
                          <a:cxn ang="0">
                            <a:pos x="connsiteX51" y="connsiteY51"/>
                          </a:cxn>
                          <a:cxn ang="0">
                            <a:pos x="connsiteX52" y="connsiteY52"/>
                          </a:cxn>
                        </a:cxnLst>
                        <a:rect l="l" t="t" r="r" b="b"/>
                        <a:pathLst>
                          <a:path w="11630" h="4652">
                            <a:moveTo>
                              <a:pt x="11701" y="5769"/>
                            </a:moveTo>
                            <a:cubicBezTo>
                              <a:pt x="11631" y="5746"/>
                              <a:pt x="11561" y="5746"/>
                              <a:pt x="11491" y="5722"/>
                            </a:cubicBezTo>
                            <a:lnTo>
                              <a:pt x="11491" y="5722"/>
                            </a:lnTo>
                            <a:cubicBezTo>
                              <a:pt x="10956" y="5443"/>
                              <a:pt x="10514" y="4745"/>
                              <a:pt x="10468" y="3885"/>
                            </a:cubicBezTo>
                            <a:cubicBezTo>
                              <a:pt x="10445" y="3373"/>
                              <a:pt x="10398" y="2861"/>
                              <a:pt x="10375" y="2373"/>
                            </a:cubicBezTo>
                            <a:cubicBezTo>
                              <a:pt x="10375" y="2233"/>
                              <a:pt x="10375" y="2117"/>
                              <a:pt x="10375" y="2001"/>
                            </a:cubicBezTo>
                            <a:lnTo>
                              <a:pt x="10375" y="2001"/>
                            </a:lnTo>
                            <a:cubicBezTo>
                              <a:pt x="10375" y="1907"/>
                              <a:pt x="10398" y="1838"/>
                              <a:pt x="10398" y="1768"/>
                            </a:cubicBezTo>
                            <a:cubicBezTo>
                              <a:pt x="10398" y="1721"/>
                              <a:pt x="10421" y="1652"/>
                              <a:pt x="10421" y="1605"/>
                            </a:cubicBezTo>
                            <a:lnTo>
                              <a:pt x="10421" y="1605"/>
                            </a:lnTo>
                            <a:cubicBezTo>
                              <a:pt x="10445" y="1465"/>
                              <a:pt x="10491" y="1326"/>
                              <a:pt x="10538" y="1210"/>
                            </a:cubicBezTo>
                            <a:lnTo>
                              <a:pt x="10538" y="1210"/>
                            </a:lnTo>
                            <a:lnTo>
                              <a:pt x="10538" y="1210"/>
                            </a:lnTo>
                            <a:cubicBezTo>
                              <a:pt x="10770" y="558"/>
                              <a:pt x="11235" y="70"/>
                              <a:pt x="11794" y="0"/>
                            </a:cubicBezTo>
                            <a:lnTo>
                              <a:pt x="11817" y="0"/>
                            </a:lnTo>
                            <a:lnTo>
                              <a:pt x="11817" y="0"/>
                            </a:lnTo>
                            <a:lnTo>
                              <a:pt x="11817" y="0"/>
                            </a:lnTo>
                            <a:lnTo>
                              <a:pt x="11817" y="0"/>
                            </a:lnTo>
                            <a:lnTo>
                              <a:pt x="11817" y="0"/>
                            </a:lnTo>
                            <a:lnTo>
                              <a:pt x="1396" y="0"/>
                            </a:lnTo>
                            <a:lnTo>
                              <a:pt x="1396" y="0"/>
                            </a:lnTo>
                            <a:lnTo>
                              <a:pt x="1372" y="0"/>
                            </a:lnTo>
                            <a:lnTo>
                              <a:pt x="1372" y="0"/>
                            </a:lnTo>
                            <a:lnTo>
                              <a:pt x="1372" y="0"/>
                            </a:lnTo>
                            <a:cubicBezTo>
                              <a:pt x="1303" y="23"/>
                              <a:pt x="1210" y="23"/>
                              <a:pt x="1140" y="70"/>
                            </a:cubicBezTo>
                            <a:lnTo>
                              <a:pt x="1117" y="93"/>
                            </a:lnTo>
                            <a:cubicBezTo>
                              <a:pt x="1000" y="140"/>
                              <a:pt x="907" y="186"/>
                              <a:pt x="791" y="256"/>
                            </a:cubicBezTo>
                            <a:lnTo>
                              <a:pt x="791" y="256"/>
                            </a:lnTo>
                            <a:lnTo>
                              <a:pt x="791" y="256"/>
                            </a:lnTo>
                            <a:cubicBezTo>
                              <a:pt x="675" y="349"/>
                              <a:pt x="558" y="488"/>
                              <a:pt x="465" y="605"/>
                            </a:cubicBezTo>
                            <a:cubicBezTo>
                              <a:pt x="442" y="651"/>
                              <a:pt x="419" y="675"/>
                              <a:pt x="395" y="698"/>
                            </a:cubicBezTo>
                            <a:cubicBezTo>
                              <a:pt x="302" y="837"/>
                              <a:pt x="233" y="1000"/>
                              <a:pt x="163" y="1163"/>
                            </a:cubicBezTo>
                            <a:lnTo>
                              <a:pt x="163" y="1163"/>
                            </a:lnTo>
                            <a:cubicBezTo>
                              <a:pt x="163" y="1186"/>
                              <a:pt x="163" y="1210"/>
                              <a:pt x="163" y="1210"/>
                            </a:cubicBezTo>
                            <a:cubicBezTo>
                              <a:pt x="116" y="1326"/>
                              <a:pt x="70" y="1465"/>
                              <a:pt x="47" y="1605"/>
                            </a:cubicBezTo>
                            <a:cubicBezTo>
                              <a:pt x="47" y="1628"/>
                              <a:pt x="47" y="1652"/>
                              <a:pt x="23" y="1652"/>
                            </a:cubicBezTo>
                            <a:cubicBezTo>
                              <a:pt x="23" y="1698"/>
                              <a:pt x="23" y="1745"/>
                              <a:pt x="23" y="1791"/>
                            </a:cubicBezTo>
                            <a:cubicBezTo>
                              <a:pt x="0" y="1861"/>
                              <a:pt x="0" y="1931"/>
                              <a:pt x="0" y="2001"/>
                            </a:cubicBezTo>
                            <a:cubicBezTo>
                              <a:pt x="0" y="2024"/>
                              <a:pt x="0" y="2047"/>
                              <a:pt x="0" y="2070"/>
                            </a:cubicBezTo>
                            <a:cubicBezTo>
                              <a:pt x="0" y="2163"/>
                              <a:pt x="0" y="2280"/>
                              <a:pt x="0" y="2396"/>
                            </a:cubicBezTo>
                            <a:cubicBezTo>
                              <a:pt x="23" y="2884"/>
                              <a:pt x="70" y="3396"/>
                              <a:pt x="93" y="3908"/>
                            </a:cubicBezTo>
                            <a:cubicBezTo>
                              <a:pt x="93" y="3931"/>
                              <a:pt x="93" y="3955"/>
                              <a:pt x="93" y="3955"/>
                            </a:cubicBezTo>
                            <a:cubicBezTo>
                              <a:pt x="116" y="4117"/>
                              <a:pt x="140" y="4280"/>
                              <a:pt x="163" y="4420"/>
                            </a:cubicBezTo>
                            <a:cubicBezTo>
                              <a:pt x="186" y="4489"/>
                              <a:pt x="209" y="4536"/>
                              <a:pt x="209" y="4583"/>
                            </a:cubicBezTo>
                            <a:cubicBezTo>
                              <a:pt x="233" y="4676"/>
                              <a:pt x="279" y="4745"/>
                              <a:pt x="326" y="4838"/>
                            </a:cubicBezTo>
                            <a:cubicBezTo>
                              <a:pt x="372" y="4978"/>
                              <a:pt x="442" y="5094"/>
                              <a:pt x="535" y="5211"/>
                            </a:cubicBezTo>
                            <a:cubicBezTo>
                              <a:pt x="582" y="5280"/>
                              <a:pt x="628" y="5350"/>
                              <a:pt x="675" y="5397"/>
                            </a:cubicBezTo>
                            <a:cubicBezTo>
                              <a:pt x="768" y="5513"/>
                              <a:pt x="861" y="5583"/>
                              <a:pt x="977" y="5653"/>
                            </a:cubicBezTo>
                            <a:cubicBezTo>
                              <a:pt x="1024" y="5699"/>
                              <a:pt x="1070" y="5746"/>
                              <a:pt x="1140" y="5769"/>
                            </a:cubicBezTo>
                            <a:cubicBezTo>
                              <a:pt x="1303" y="5862"/>
                              <a:pt x="1489" y="5908"/>
                              <a:pt x="1675" y="5908"/>
                            </a:cubicBezTo>
                            <a:lnTo>
                              <a:pt x="1861" y="5908"/>
                            </a:lnTo>
                            <a:lnTo>
                              <a:pt x="12096" y="5908"/>
                            </a:lnTo>
                            <a:cubicBezTo>
                              <a:pt x="11887" y="5839"/>
                              <a:pt x="11794" y="5792"/>
                              <a:pt x="11701" y="5769"/>
                            </a:cubicBezTo>
                            <a:close/>
                          </a:path>
                        </a:pathLst>
                      </a:custGeom>
                      <a:solidFill>
                        <a:srgbClr val="F19439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755" name="Freeform: Shape 1754">
                        <a:extLst>
                          <a:ext uri="{FF2B5EF4-FFF2-40B4-BE49-F238E27FC236}">
                            <a16:creationId xmlns:a16="http://schemas.microsoft.com/office/drawing/2014/main" id="{F97835EB-B862-4233-AA4E-6B8214DD5F3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51686" y="4091381"/>
                        <a:ext cx="11631" cy="4652"/>
                      </a:xfrm>
                      <a:custGeom>
                        <a:avLst/>
                        <a:gdLst>
                          <a:gd name="connsiteX0" fmla="*/ 11840 w 11630"/>
                          <a:gd name="connsiteY0" fmla="*/ 5862 h 4652"/>
                          <a:gd name="connsiteX1" fmla="*/ 11445 w 11630"/>
                          <a:gd name="connsiteY1" fmla="*/ 5722 h 4652"/>
                          <a:gd name="connsiteX2" fmla="*/ 11445 w 11630"/>
                          <a:gd name="connsiteY2" fmla="*/ 5722 h 4652"/>
                          <a:gd name="connsiteX3" fmla="*/ 11445 w 11630"/>
                          <a:gd name="connsiteY3" fmla="*/ 5722 h 4652"/>
                          <a:gd name="connsiteX4" fmla="*/ 10445 w 11630"/>
                          <a:gd name="connsiteY4" fmla="*/ 3768 h 4652"/>
                          <a:gd name="connsiteX5" fmla="*/ 10445 w 11630"/>
                          <a:gd name="connsiteY5" fmla="*/ 3768 h 4652"/>
                          <a:gd name="connsiteX6" fmla="*/ 10445 w 11630"/>
                          <a:gd name="connsiteY6" fmla="*/ 3443 h 4652"/>
                          <a:gd name="connsiteX7" fmla="*/ 10561 w 11630"/>
                          <a:gd name="connsiteY7" fmla="*/ 1931 h 4652"/>
                          <a:gd name="connsiteX8" fmla="*/ 10747 w 11630"/>
                          <a:gd name="connsiteY8" fmla="*/ 1140 h 4652"/>
                          <a:gd name="connsiteX9" fmla="*/ 10747 w 11630"/>
                          <a:gd name="connsiteY9" fmla="*/ 1140 h 4652"/>
                          <a:gd name="connsiteX10" fmla="*/ 11049 w 11630"/>
                          <a:gd name="connsiteY10" fmla="*/ 605 h 4652"/>
                          <a:gd name="connsiteX11" fmla="*/ 11049 w 11630"/>
                          <a:gd name="connsiteY11" fmla="*/ 605 h 4652"/>
                          <a:gd name="connsiteX12" fmla="*/ 12119 w 11630"/>
                          <a:gd name="connsiteY12" fmla="*/ 0 h 4652"/>
                          <a:gd name="connsiteX13" fmla="*/ 1884 w 11630"/>
                          <a:gd name="connsiteY13" fmla="*/ 0 h 4652"/>
                          <a:gd name="connsiteX14" fmla="*/ 1675 w 11630"/>
                          <a:gd name="connsiteY14" fmla="*/ 0 h 4652"/>
                          <a:gd name="connsiteX15" fmla="*/ 1628 w 11630"/>
                          <a:gd name="connsiteY15" fmla="*/ 0 h 4652"/>
                          <a:gd name="connsiteX16" fmla="*/ 1303 w 11630"/>
                          <a:gd name="connsiteY16" fmla="*/ 47 h 4652"/>
                          <a:gd name="connsiteX17" fmla="*/ 1186 w 11630"/>
                          <a:gd name="connsiteY17" fmla="*/ 116 h 4652"/>
                          <a:gd name="connsiteX18" fmla="*/ 1047 w 11630"/>
                          <a:gd name="connsiteY18" fmla="*/ 186 h 4652"/>
                          <a:gd name="connsiteX19" fmla="*/ 930 w 11630"/>
                          <a:gd name="connsiteY19" fmla="*/ 256 h 4652"/>
                          <a:gd name="connsiteX20" fmla="*/ 744 w 11630"/>
                          <a:gd name="connsiteY20" fmla="*/ 465 h 4652"/>
                          <a:gd name="connsiteX21" fmla="*/ 605 w 11630"/>
                          <a:gd name="connsiteY21" fmla="*/ 605 h 4652"/>
                          <a:gd name="connsiteX22" fmla="*/ 302 w 11630"/>
                          <a:gd name="connsiteY22" fmla="*/ 1140 h 4652"/>
                          <a:gd name="connsiteX23" fmla="*/ 279 w 11630"/>
                          <a:gd name="connsiteY23" fmla="*/ 1163 h 4652"/>
                          <a:gd name="connsiteX24" fmla="*/ 279 w 11630"/>
                          <a:gd name="connsiteY24" fmla="*/ 1163 h 4652"/>
                          <a:gd name="connsiteX25" fmla="*/ 140 w 11630"/>
                          <a:gd name="connsiteY25" fmla="*/ 1652 h 4652"/>
                          <a:gd name="connsiteX26" fmla="*/ 116 w 11630"/>
                          <a:gd name="connsiteY26" fmla="*/ 1907 h 4652"/>
                          <a:gd name="connsiteX27" fmla="*/ 0 w 11630"/>
                          <a:gd name="connsiteY27" fmla="*/ 3419 h 4652"/>
                          <a:gd name="connsiteX28" fmla="*/ 0 w 11630"/>
                          <a:gd name="connsiteY28" fmla="*/ 3513 h 4652"/>
                          <a:gd name="connsiteX29" fmla="*/ 0 w 11630"/>
                          <a:gd name="connsiteY29" fmla="*/ 3745 h 4652"/>
                          <a:gd name="connsiteX30" fmla="*/ 0 w 11630"/>
                          <a:gd name="connsiteY30" fmla="*/ 3908 h 4652"/>
                          <a:gd name="connsiteX31" fmla="*/ 0 w 11630"/>
                          <a:gd name="connsiteY31" fmla="*/ 3931 h 4652"/>
                          <a:gd name="connsiteX32" fmla="*/ 23 w 11630"/>
                          <a:gd name="connsiteY32" fmla="*/ 4094 h 4652"/>
                          <a:gd name="connsiteX33" fmla="*/ 70 w 11630"/>
                          <a:gd name="connsiteY33" fmla="*/ 4350 h 4652"/>
                          <a:gd name="connsiteX34" fmla="*/ 70 w 11630"/>
                          <a:gd name="connsiteY34" fmla="*/ 4396 h 4652"/>
                          <a:gd name="connsiteX35" fmla="*/ 93 w 11630"/>
                          <a:gd name="connsiteY35" fmla="*/ 4466 h 4652"/>
                          <a:gd name="connsiteX36" fmla="*/ 233 w 11630"/>
                          <a:gd name="connsiteY36" fmla="*/ 4885 h 4652"/>
                          <a:gd name="connsiteX37" fmla="*/ 302 w 11630"/>
                          <a:gd name="connsiteY37" fmla="*/ 5001 h 4652"/>
                          <a:gd name="connsiteX38" fmla="*/ 558 w 11630"/>
                          <a:gd name="connsiteY38" fmla="*/ 5397 h 4652"/>
                          <a:gd name="connsiteX39" fmla="*/ 605 w 11630"/>
                          <a:gd name="connsiteY39" fmla="*/ 5443 h 4652"/>
                          <a:gd name="connsiteX40" fmla="*/ 907 w 11630"/>
                          <a:gd name="connsiteY40" fmla="*/ 5699 h 4652"/>
                          <a:gd name="connsiteX41" fmla="*/ 1000 w 11630"/>
                          <a:gd name="connsiteY41" fmla="*/ 5746 h 4652"/>
                          <a:gd name="connsiteX42" fmla="*/ 1396 w 11630"/>
                          <a:gd name="connsiteY42" fmla="*/ 5885 h 4652"/>
                          <a:gd name="connsiteX43" fmla="*/ 1419 w 11630"/>
                          <a:gd name="connsiteY43" fmla="*/ 5885 h 4652"/>
                          <a:gd name="connsiteX44" fmla="*/ 11840 w 11630"/>
                          <a:gd name="connsiteY44" fmla="*/ 5885 h 4652"/>
                          <a:gd name="connsiteX45" fmla="*/ 11840 w 11630"/>
                          <a:gd name="connsiteY45" fmla="*/ 5885 h 465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  <a:cxn ang="0">
                            <a:pos x="connsiteX43" y="connsiteY43"/>
                          </a:cxn>
                          <a:cxn ang="0">
                            <a:pos x="connsiteX44" y="connsiteY44"/>
                          </a:cxn>
                          <a:cxn ang="0">
                            <a:pos x="connsiteX45" y="connsiteY45"/>
                          </a:cxn>
                        </a:cxnLst>
                        <a:rect l="l" t="t" r="r" b="b"/>
                        <a:pathLst>
                          <a:path w="11630" h="4652">
                            <a:moveTo>
                              <a:pt x="11840" y="5862"/>
                            </a:moveTo>
                            <a:cubicBezTo>
                              <a:pt x="11701" y="5839"/>
                              <a:pt x="11584" y="5792"/>
                              <a:pt x="11445" y="5722"/>
                            </a:cubicBezTo>
                            <a:lnTo>
                              <a:pt x="11445" y="5722"/>
                            </a:lnTo>
                            <a:lnTo>
                              <a:pt x="11445" y="5722"/>
                            </a:lnTo>
                            <a:cubicBezTo>
                              <a:pt x="10863" y="5420"/>
                              <a:pt x="10468" y="4652"/>
                              <a:pt x="10445" y="3768"/>
                            </a:cubicBezTo>
                            <a:lnTo>
                              <a:pt x="10445" y="3768"/>
                            </a:lnTo>
                            <a:cubicBezTo>
                              <a:pt x="10445" y="3652"/>
                              <a:pt x="10445" y="3536"/>
                              <a:pt x="10445" y="3443"/>
                            </a:cubicBezTo>
                            <a:cubicBezTo>
                              <a:pt x="10491" y="2931"/>
                              <a:pt x="10514" y="2419"/>
                              <a:pt x="10561" y="1931"/>
                            </a:cubicBezTo>
                            <a:cubicBezTo>
                              <a:pt x="10584" y="1652"/>
                              <a:pt x="10654" y="1372"/>
                              <a:pt x="10747" y="1140"/>
                            </a:cubicBezTo>
                            <a:lnTo>
                              <a:pt x="10747" y="1140"/>
                            </a:lnTo>
                            <a:cubicBezTo>
                              <a:pt x="10817" y="931"/>
                              <a:pt x="10933" y="768"/>
                              <a:pt x="11049" y="605"/>
                            </a:cubicBezTo>
                            <a:lnTo>
                              <a:pt x="11049" y="605"/>
                            </a:lnTo>
                            <a:cubicBezTo>
                              <a:pt x="11328" y="233"/>
                              <a:pt x="11724" y="0"/>
                              <a:pt x="12119" y="0"/>
                            </a:cubicBezTo>
                            <a:lnTo>
                              <a:pt x="1884" y="0"/>
                            </a:lnTo>
                            <a:lnTo>
                              <a:pt x="1675" y="0"/>
                            </a:lnTo>
                            <a:cubicBezTo>
                              <a:pt x="1652" y="0"/>
                              <a:pt x="1628" y="0"/>
                              <a:pt x="1628" y="0"/>
                            </a:cubicBezTo>
                            <a:cubicBezTo>
                              <a:pt x="1512" y="0"/>
                              <a:pt x="1419" y="23"/>
                              <a:pt x="1303" y="47"/>
                            </a:cubicBezTo>
                            <a:cubicBezTo>
                              <a:pt x="1256" y="70"/>
                              <a:pt x="1233" y="93"/>
                              <a:pt x="1186" y="116"/>
                            </a:cubicBezTo>
                            <a:cubicBezTo>
                              <a:pt x="1140" y="140"/>
                              <a:pt x="1093" y="163"/>
                              <a:pt x="1047" y="186"/>
                            </a:cubicBezTo>
                            <a:cubicBezTo>
                              <a:pt x="1000" y="209"/>
                              <a:pt x="954" y="233"/>
                              <a:pt x="930" y="256"/>
                            </a:cubicBezTo>
                            <a:cubicBezTo>
                              <a:pt x="861" y="302"/>
                              <a:pt x="814" y="395"/>
                              <a:pt x="744" y="465"/>
                            </a:cubicBezTo>
                            <a:cubicBezTo>
                              <a:pt x="698" y="512"/>
                              <a:pt x="651" y="558"/>
                              <a:pt x="605" y="605"/>
                            </a:cubicBezTo>
                            <a:cubicBezTo>
                              <a:pt x="488" y="768"/>
                              <a:pt x="372" y="931"/>
                              <a:pt x="302" y="1140"/>
                            </a:cubicBezTo>
                            <a:lnTo>
                              <a:pt x="279" y="1163"/>
                            </a:lnTo>
                            <a:lnTo>
                              <a:pt x="279" y="1163"/>
                            </a:lnTo>
                            <a:cubicBezTo>
                              <a:pt x="233" y="1326"/>
                              <a:pt x="163" y="1489"/>
                              <a:pt x="140" y="1652"/>
                            </a:cubicBezTo>
                            <a:cubicBezTo>
                              <a:pt x="140" y="1745"/>
                              <a:pt x="116" y="1838"/>
                              <a:pt x="116" y="1907"/>
                            </a:cubicBezTo>
                            <a:cubicBezTo>
                              <a:pt x="70" y="2419"/>
                              <a:pt x="47" y="2931"/>
                              <a:pt x="0" y="3419"/>
                            </a:cubicBezTo>
                            <a:cubicBezTo>
                              <a:pt x="0" y="3443"/>
                              <a:pt x="0" y="3489"/>
                              <a:pt x="0" y="3513"/>
                            </a:cubicBezTo>
                            <a:cubicBezTo>
                              <a:pt x="0" y="3582"/>
                              <a:pt x="0" y="3675"/>
                              <a:pt x="0" y="3745"/>
                            </a:cubicBezTo>
                            <a:cubicBezTo>
                              <a:pt x="0" y="3792"/>
                              <a:pt x="0" y="3838"/>
                              <a:pt x="0" y="3908"/>
                            </a:cubicBezTo>
                            <a:lnTo>
                              <a:pt x="0" y="3931"/>
                            </a:lnTo>
                            <a:cubicBezTo>
                              <a:pt x="0" y="3978"/>
                              <a:pt x="23" y="4024"/>
                              <a:pt x="23" y="4094"/>
                            </a:cubicBezTo>
                            <a:cubicBezTo>
                              <a:pt x="23" y="4187"/>
                              <a:pt x="47" y="4257"/>
                              <a:pt x="70" y="4350"/>
                            </a:cubicBezTo>
                            <a:lnTo>
                              <a:pt x="70" y="4396"/>
                            </a:lnTo>
                            <a:cubicBezTo>
                              <a:pt x="70" y="4420"/>
                              <a:pt x="93" y="4443"/>
                              <a:pt x="93" y="4466"/>
                            </a:cubicBezTo>
                            <a:cubicBezTo>
                              <a:pt x="140" y="4606"/>
                              <a:pt x="186" y="4745"/>
                              <a:pt x="233" y="4885"/>
                            </a:cubicBezTo>
                            <a:cubicBezTo>
                              <a:pt x="256" y="4932"/>
                              <a:pt x="279" y="4955"/>
                              <a:pt x="302" y="5001"/>
                            </a:cubicBezTo>
                            <a:cubicBezTo>
                              <a:pt x="372" y="5141"/>
                              <a:pt x="465" y="5280"/>
                              <a:pt x="558" y="5397"/>
                            </a:cubicBezTo>
                            <a:cubicBezTo>
                              <a:pt x="558" y="5420"/>
                              <a:pt x="582" y="5420"/>
                              <a:pt x="605" y="5443"/>
                            </a:cubicBezTo>
                            <a:cubicBezTo>
                              <a:pt x="698" y="5536"/>
                              <a:pt x="791" y="5629"/>
                              <a:pt x="907" y="5699"/>
                            </a:cubicBezTo>
                            <a:cubicBezTo>
                              <a:pt x="954" y="5722"/>
                              <a:pt x="977" y="5746"/>
                              <a:pt x="1000" y="5746"/>
                            </a:cubicBezTo>
                            <a:cubicBezTo>
                              <a:pt x="1140" y="5815"/>
                              <a:pt x="1256" y="5862"/>
                              <a:pt x="1396" y="5885"/>
                            </a:cubicBezTo>
                            <a:lnTo>
                              <a:pt x="1419" y="5885"/>
                            </a:lnTo>
                            <a:lnTo>
                              <a:pt x="11840" y="5885"/>
                            </a:lnTo>
                            <a:lnTo>
                              <a:pt x="11840" y="5885"/>
                            </a:lnTo>
                            <a:close/>
                          </a:path>
                        </a:pathLst>
                      </a:custGeom>
                      <a:solidFill>
                        <a:srgbClr val="F19439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756" name="Freeform: Shape 1755">
                        <a:extLst>
                          <a:ext uri="{FF2B5EF4-FFF2-40B4-BE49-F238E27FC236}">
                            <a16:creationId xmlns:a16="http://schemas.microsoft.com/office/drawing/2014/main" id="{472328ED-D820-4192-ABA0-BC577D7095C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63433" y="4104524"/>
                        <a:ext cx="2326" cy="2326"/>
                      </a:xfrm>
                      <a:custGeom>
                        <a:avLst/>
                        <a:gdLst>
                          <a:gd name="connsiteX0" fmla="*/ 0 w 0"/>
                          <a:gd name="connsiteY0" fmla="*/ 0 h 0"/>
                          <a:gd name="connsiteX1" fmla="*/ 0 w 0"/>
                          <a:gd name="connsiteY1" fmla="*/ 0 h 0"/>
                          <a:gd name="connsiteX2" fmla="*/ 0 w 0"/>
                          <a:gd name="connsiteY2" fmla="*/ 0 h 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</a:cxnLst>
                        <a:rect l="l" t="t" r="r" b="b"/>
                        <a:pathLst>
                          <a:path>
                            <a:moveTo>
                              <a:pt x="0" y="0"/>
                            </a:moveTo>
                            <a:lnTo>
                              <a:pt x="0" y="0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solidFill>
                        <a:srgbClr val="F19439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757" name="Freeform: Shape 1756">
                        <a:extLst>
                          <a:ext uri="{FF2B5EF4-FFF2-40B4-BE49-F238E27FC236}">
                            <a16:creationId xmlns:a16="http://schemas.microsoft.com/office/drawing/2014/main" id="{588ECF98-3F9A-47D6-89C7-772EAAC5209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51453" y="4098708"/>
                        <a:ext cx="11631" cy="4652"/>
                      </a:xfrm>
                      <a:custGeom>
                        <a:avLst/>
                        <a:gdLst>
                          <a:gd name="connsiteX0" fmla="*/ 11538 w 11630"/>
                          <a:gd name="connsiteY0" fmla="*/ 5722 h 4652"/>
                          <a:gd name="connsiteX1" fmla="*/ 11538 w 11630"/>
                          <a:gd name="connsiteY1" fmla="*/ 5722 h 4652"/>
                          <a:gd name="connsiteX2" fmla="*/ 11538 w 11630"/>
                          <a:gd name="connsiteY2" fmla="*/ 5722 h 4652"/>
                          <a:gd name="connsiteX3" fmla="*/ 10421 w 11630"/>
                          <a:gd name="connsiteY3" fmla="*/ 3675 h 4652"/>
                          <a:gd name="connsiteX4" fmla="*/ 10421 w 11630"/>
                          <a:gd name="connsiteY4" fmla="*/ 3536 h 4652"/>
                          <a:gd name="connsiteX5" fmla="*/ 10445 w 11630"/>
                          <a:gd name="connsiteY5" fmla="*/ 2187 h 4652"/>
                          <a:gd name="connsiteX6" fmla="*/ 10910 w 11630"/>
                          <a:gd name="connsiteY6" fmla="*/ 651 h 4652"/>
                          <a:gd name="connsiteX7" fmla="*/ 10910 w 11630"/>
                          <a:gd name="connsiteY7" fmla="*/ 651 h 4652"/>
                          <a:gd name="connsiteX8" fmla="*/ 10910 w 11630"/>
                          <a:gd name="connsiteY8" fmla="*/ 651 h 4652"/>
                          <a:gd name="connsiteX9" fmla="*/ 10910 w 11630"/>
                          <a:gd name="connsiteY9" fmla="*/ 651 h 4652"/>
                          <a:gd name="connsiteX10" fmla="*/ 11608 w 11630"/>
                          <a:gd name="connsiteY10" fmla="*/ 93 h 4652"/>
                          <a:gd name="connsiteX11" fmla="*/ 11677 w 11630"/>
                          <a:gd name="connsiteY11" fmla="*/ 70 h 4652"/>
                          <a:gd name="connsiteX12" fmla="*/ 11677 w 11630"/>
                          <a:gd name="connsiteY12" fmla="*/ 70 h 4652"/>
                          <a:gd name="connsiteX13" fmla="*/ 11794 w 11630"/>
                          <a:gd name="connsiteY13" fmla="*/ 46 h 4652"/>
                          <a:gd name="connsiteX14" fmla="*/ 11794 w 11630"/>
                          <a:gd name="connsiteY14" fmla="*/ 46 h 4652"/>
                          <a:gd name="connsiteX15" fmla="*/ 12003 w 11630"/>
                          <a:gd name="connsiteY15" fmla="*/ 0 h 4652"/>
                          <a:gd name="connsiteX16" fmla="*/ 1628 w 11630"/>
                          <a:gd name="connsiteY16" fmla="*/ 0 h 4652"/>
                          <a:gd name="connsiteX17" fmla="*/ 1559 w 11630"/>
                          <a:gd name="connsiteY17" fmla="*/ 0 h 4652"/>
                          <a:gd name="connsiteX18" fmla="*/ 1512 w 11630"/>
                          <a:gd name="connsiteY18" fmla="*/ 0 h 4652"/>
                          <a:gd name="connsiteX19" fmla="*/ 1372 w 11630"/>
                          <a:gd name="connsiteY19" fmla="*/ 46 h 4652"/>
                          <a:gd name="connsiteX20" fmla="*/ 1233 w 11630"/>
                          <a:gd name="connsiteY20" fmla="*/ 70 h 4652"/>
                          <a:gd name="connsiteX21" fmla="*/ 1210 w 11630"/>
                          <a:gd name="connsiteY21" fmla="*/ 70 h 4652"/>
                          <a:gd name="connsiteX22" fmla="*/ 1140 w 11630"/>
                          <a:gd name="connsiteY22" fmla="*/ 116 h 4652"/>
                          <a:gd name="connsiteX23" fmla="*/ 884 w 11630"/>
                          <a:gd name="connsiteY23" fmla="*/ 256 h 4652"/>
                          <a:gd name="connsiteX24" fmla="*/ 837 w 11630"/>
                          <a:gd name="connsiteY24" fmla="*/ 279 h 4652"/>
                          <a:gd name="connsiteX25" fmla="*/ 791 w 11630"/>
                          <a:gd name="connsiteY25" fmla="*/ 326 h 4652"/>
                          <a:gd name="connsiteX26" fmla="*/ 465 w 11630"/>
                          <a:gd name="connsiteY26" fmla="*/ 675 h 4652"/>
                          <a:gd name="connsiteX27" fmla="*/ 465 w 11630"/>
                          <a:gd name="connsiteY27" fmla="*/ 675 h 4652"/>
                          <a:gd name="connsiteX28" fmla="*/ 209 w 11630"/>
                          <a:gd name="connsiteY28" fmla="*/ 1140 h 4652"/>
                          <a:gd name="connsiteX29" fmla="*/ 186 w 11630"/>
                          <a:gd name="connsiteY29" fmla="*/ 1186 h 4652"/>
                          <a:gd name="connsiteX30" fmla="*/ 163 w 11630"/>
                          <a:gd name="connsiteY30" fmla="*/ 1256 h 4652"/>
                          <a:gd name="connsiteX31" fmla="*/ 70 w 11630"/>
                          <a:gd name="connsiteY31" fmla="*/ 1605 h 4652"/>
                          <a:gd name="connsiteX32" fmla="*/ 47 w 11630"/>
                          <a:gd name="connsiteY32" fmla="*/ 1698 h 4652"/>
                          <a:gd name="connsiteX33" fmla="*/ 47 w 11630"/>
                          <a:gd name="connsiteY33" fmla="*/ 1721 h 4652"/>
                          <a:gd name="connsiteX34" fmla="*/ 23 w 11630"/>
                          <a:gd name="connsiteY34" fmla="*/ 1907 h 4652"/>
                          <a:gd name="connsiteX35" fmla="*/ 0 w 11630"/>
                          <a:gd name="connsiteY35" fmla="*/ 2117 h 4652"/>
                          <a:gd name="connsiteX36" fmla="*/ 0 w 11630"/>
                          <a:gd name="connsiteY36" fmla="*/ 2210 h 4652"/>
                          <a:gd name="connsiteX37" fmla="*/ 0 w 11630"/>
                          <a:gd name="connsiteY37" fmla="*/ 3559 h 4652"/>
                          <a:gd name="connsiteX38" fmla="*/ 0 w 11630"/>
                          <a:gd name="connsiteY38" fmla="*/ 3699 h 4652"/>
                          <a:gd name="connsiteX39" fmla="*/ 0 w 11630"/>
                          <a:gd name="connsiteY39" fmla="*/ 3978 h 4652"/>
                          <a:gd name="connsiteX40" fmla="*/ 23 w 11630"/>
                          <a:gd name="connsiteY40" fmla="*/ 4048 h 4652"/>
                          <a:gd name="connsiteX41" fmla="*/ 70 w 11630"/>
                          <a:gd name="connsiteY41" fmla="*/ 4257 h 4652"/>
                          <a:gd name="connsiteX42" fmla="*/ 93 w 11630"/>
                          <a:gd name="connsiteY42" fmla="*/ 4396 h 4652"/>
                          <a:gd name="connsiteX43" fmla="*/ 116 w 11630"/>
                          <a:gd name="connsiteY43" fmla="*/ 4443 h 4652"/>
                          <a:gd name="connsiteX44" fmla="*/ 302 w 11630"/>
                          <a:gd name="connsiteY44" fmla="*/ 4955 h 4652"/>
                          <a:gd name="connsiteX45" fmla="*/ 349 w 11630"/>
                          <a:gd name="connsiteY45" fmla="*/ 5024 h 4652"/>
                          <a:gd name="connsiteX46" fmla="*/ 628 w 11630"/>
                          <a:gd name="connsiteY46" fmla="*/ 5397 h 4652"/>
                          <a:gd name="connsiteX47" fmla="*/ 675 w 11630"/>
                          <a:gd name="connsiteY47" fmla="*/ 5466 h 4652"/>
                          <a:gd name="connsiteX48" fmla="*/ 1070 w 11630"/>
                          <a:gd name="connsiteY48" fmla="*/ 5722 h 4652"/>
                          <a:gd name="connsiteX49" fmla="*/ 1163 w 11630"/>
                          <a:gd name="connsiteY49" fmla="*/ 5769 h 4652"/>
                          <a:gd name="connsiteX50" fmla="*/ 1605 w 11630"/>
                          <a:gd name="connsiteY50" fmla="*/ 5862 h 4652"/>
                          <a:gd name="connsiteX51" fmla="*/ 1628 w 11630"/>
                          <a:gd name="connsiteY51" fmla="*/ 5862 h 4652"/>
                          <a:gd name="connsiteX52" fmla="*/ 12026 w 11630"/>
                          <a:gd name="connsiteY52" fmla="*/ 5862 h 4652"/>
                          <a:gd name="connsiteX53" fmla="*/ 11538 w 11630"/>
                          <a:gd name="connsiteY53" fmla="*/ 5722 h 465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  <a:cxn ang="0">
                            <a:pos x="connsiteX43" y="connsiteY43"/>
                          </a:cxn>
                          <a:cxn ang="0">
                            <a:pos x="connsiteX44" y="connsiteY44"/>
                          </a:cxn>
                          <a:cxn ang="0">
                            <a:pos x="connsiteX45" y="connsiteY45"/>
                          </a:cxn>
                          <a:cxn ang="0">
                            <a:pos x="connsiteX46" y="connsiteY46"/>
                          </a:cxn>
                          <a:cxn ang="0">
                            <a:pos x="connsiteX47" y="connsiteY47"/>
                          </a:cxn>
                          <a:cxn ang="0">
                            <a:pos x="connsiteX48" y="connsiteY48"/>
                          </a:cxn>
                          <a:cxn ang="0">
                            <a:pos x="connsiteX49" y="connsiteY49"/>
                          </a:cxn>
                          <a:cxn ang="0">
                            <a:pos x="connsiteX50" y="connsiteY50"/>
                          </a:cxn>
                          <a:cxn ang="0">
                            <a:pos x="connsiteX51" y="connsiteY51"/>
                          </a:cxn>
                          <a:cxn ang="0">
                            <a:pos x="connsiteX52" y="connsiteY52"/>
                          </a:cxn>
                          <a:cxn ang="0">
                            <a:pos x="connsiteX53" y="connsiteY53"/>
                          </a:cxn>
                        </a:cxnLst>
                        <a:rect l="l" t="t" r="r" b="b"/>
                        <a:pathLst>
                          <a:path w="11630" h="4652">
                            <a:moveTo>
                              <a:pt x="11538" y="5722"/>
                            </a:moveTo>
                            <a:lnTo>
                              <a:pt x="11538" y="5722"/>
                            </a:lnTo>
                            <a:lnTo>
                              <a:pt x="11538" y="5722"/>
                            </a:lnTo>
                            <a:cubicBezTo>
                              <a:pt x="10886" y="5443"/>
                              <a:pt x="10421" y="4676"/>
                              <a:pt x="10421" y="3675"/>
                            </a:cubicBezTo>
                            <a:lnTo>
                              <a:pt x="10421" y="3536"/>
                            </a:lnTo>
                            <a:cubicBezTo>
                              <a:pt x="10421" y="3094"/>
                              <a:pt x="10421" y="2629"/>
                              <a:pt x="10445" y="2187"/>
                            </a:cubicBezTo>
                            <a:cubicBezTo>
                              <a:pt x="10445" y="1582"/>
                              <a:pt x="10631" y="1047"/>
                              <a:pt x="10910" y="651"/>
                            </a:cubicBezTo>
                            <a:lnTo>
                              <a:pt x="10910" y="651"/>
                            </a:lnTo>
                            <a:lnTo>
                              <a:pt x="10910" y="651"/>
                            </a:lnTo>
                            <a:lnTo>
                              <a:pt x="10910" y="651"/>
                            </a:lnTo>
                            <a:cubicBezTo>
                              <a:pt x="11096" y="395"/>
                              <a:pt x="11352" y="209"/>
                              <a:pt x="11608" y="93"/>
                            </a:cubicBezTo>
                            <a:cubicBezTo>
                              <a:pt x="11631" y="93"/>
                              <a:pt x="11654" y="70"/>
                              <a:pt x="11677" y="70"/>
                            </a:cubicBezTo>
                            <a:lnTo>
                              <a:pt x="11677" y="70"/>
                            </a:lnTo>
                            <a:cubicBezTo>
                              <a:pt x="11724" y="70"/>
                              <a:pt x="11747" y="46"/>
                              <a:pt x="11794" y="46"/>
                            </a:cubicBezTo>
                            <a:lnTo>
                              <a:pt x="11794" y="46"/>
                            </a:lnTo>
                            <a:cubicBezTo>
                              <a:pt x="11863" y="23"/>
                              <a:pt x="11933" y="0"/>
                              <a:pt x="12003" y="0"/>
                            </a:cubicBezTo>
                            <a:lnTo>
                              <a:pt x="1628" y="0"/>
                            </a:lnTo>
                            <a:lnTo>
                              <a:pt x="1559" y="0"/>
                            </a:lnTo>
                            <a:cubicBezTo>
                              <a:pt x="1535" y="0"/>
                              <a:pt x="1512" y="0"/>
                              <a:pt x="1512" y="0"/>
                            </a:cubicBezTo>
                            <a:cubicBezTo>
                              <a:pt x="1465" y="0"/>
                              <a:pt x="1419" y="23"/>
                              <a:pt x="1372" y="46"/>
                            </a:cubicBezTo>
                            <a:cubicBezTo>
                              <a:pt x="1326" y="46"/>
                              <a:pt x="1279" y="46"/>
                              <a:pt x="1233" y="70"/>
                            </a:cubicBezTo>
                            <a:lnTo>
                              <a:pt x="1210" y="70"/>
                            </a:lnTo>
                            <a:cubicBezTo>
                              <a:pt x="1186" y="93"/>
                              <a:pt x="1163" y="93"/>
                              <a:pt x="1140" y="116"/>
                            </a:cubicBezTo>
                            <a:cubicBezTo>
                              <a:pt x="1047" y="163"/>
                              <a:pt x="977" y="186"/>
                              <a:pt x="884" y="256"/>
                            </a:cubicBezTo>
                            <a:cubicBezTo>
                              <a:pt x="884" y="256"/>
                              <a:pt x="861" y="279"/>
                              <a:pt x="837" y="279"/>
                            </a:cubicBezTo>
                            <a:cubicBezTo>
                              <a:pt x="837" y="279"/>
                              <a:pt x="814" y="302"/>
                              <a:pt x="791" y="326"/>
                            </a:cubicBezTo>
                            <a:cubicBezTo>
                              <a:pt x="675" y="419"/>
                              <a:pt x="558" y="535"/>
                              <a:pt x="465" y="675"/>
                            </a:cubicBezTo>
                            <a:lnTo>
                              <a:pt x="465" y="675"/>
                            </a:lnTo>
                            <a:cubicBezTo>
                              <a:pt x="372" y="814"/>
                              <a:pt x="279" y="977"/>
                              <a:pt x="209" y="1140"/>
                            </a:cubicBezTo>
                            <a:cubicBezTo>
                              <a:pt x="209" y="1163"/>
                              <a:pt x="186" y="1186"/>
                              <a:pt x="186" y="1186"/>
                            </a:cubicBezTo>
                            <a:cubicBezTo>
                              <a:pt x="186" y="1210"/>
                              <a:pt x="186" y="1233"/>
                              <a:pt x="163" y="1256"/>
                            </a:cubicBezTo>
                            <a:cubicBezTo>
                              <a:pt x="116" y="1372"/>
                              <a:pt x="93" y="1489"/>
                              <a:pt x="70" y="1605"/>
                            </a:cubicBezTo>
                            <a:cubicBezTo>
                              <a:pt x="70" y="1628"/>
                              <a:pt x="47" y="1652"/>
                              <a:pt x="47" y="1698"/>
                            </a:cubicBezTo>
                            <a:lnTo>
                              <a:pt x="47" y="1721"/>
                            </a:lnTo>
                            <a:cubicBezTo>
                              <a:pt x="47" y="1791"/>
                              <a:pt x="23" y="1861"/>
                              <a:pt x="23" y="1907"/>
                            </a:cubicBezTo>
                            <a:cubicBezTo>
                              <a:pt x="23" y="1977"/>
                              <a:pt x="0" y="2047"/>
                              <a:pt x="0" y="2117"/>
                            </a:cubicBezTo>
                            <a:cubicBezTo>
                              <a:pt x="0" y="2140"/>
                              <a:pt x="0" y="2187"/>
                              <a:pt x="0" y="2210"/>
                            </a:cubicBezTo>
                            <a:cubicBezTo>
                              <a:pt x="0" y="2675"/>
                              <a:pt x="0" y="3117"/>
                              <a:pt x="0" y="3559"/>
                            </a:cubicBezTo>
                            <a:lnTo>
                              <a:pt x="0" y="3699"/>
                            </a:lnTo>
                            <a:cubicBezTo>
                              <a:pt x="0" y="3792"/>
                              <a:pt x="0" y="3885"/>
                              <a:pt x="0" y="3978"/>
                            </a:cubicBezTo>
                            <a:cubicBezTo>
                              <a:pt x="0" y="4001"/>
                              <a:pt x="23" y="4024"/>
                              <a:pt x="23" y="4048"/>
                            </a:cubicBezTo>
                            <a:cubicBezTo>
                              <a:pt x="23" y="4117"/>
                              <a:pt x="47" y="4187"/>
                              <a:pt x="70" y="4257"/>
                            </a:cubicBezTo>
                            <a:cubicBezTo>
                              <a:pt x="70" y="4303"/>
                              <a:pt x="70" y="4350"/>
                              <a:pt x="93" y="4396"/>
                            </a:cubicBezTo>
                            <a:cubicBezTo>
                              <a:pt x="93" y="4396"/>
                              <a:pt x="93" y="4420"/>
                              <a:pt x="116" y="4443"/>
                            </a:cubicBezTo>
                            <a:cubicBezTo>
                              <a:pt x="163" y="4629"/>
                              <a:pt x="233" y="4792"/>
                              <a:pt x="302" y="4955"/>
                            </a:cubicBezTo>
                            <a:cubicBezTo>
                              <a:pt x="326" y="4978"/>
                              <a:pt x="349" y="5001"/>
                              <a:pt x="349" y="5024"/>
                            </a:cubicBezTo>
                            <a:cubicBezTo>
                              <a:pt x="442" y="5164"/>
                              <a:pt x="512" y="5280"/>
                              <a:pt x="628" y="5397"/>
                            </a:cubicBezTo>
                            <a:cubicBezTo>
                              <a:pt x="651" y="5420"/>
                              <a:pt x="675" y="5443"/>
                              <a:pt x="675" y="5466"/>
                            </a:cubicBezTo>
                            <a:cubicBezTo>
                              <a:pt x="791" y="5560"/>
                              <a:pt x="930" y="5653"/>
                              <a:pt x="1070" y="5722"/>
                            </a:cubicBezTo>
                            <a:cubicBezTo>
                              <a:pt x="1093" y="5746"/>
                              <a:pt x="1117" y="5746"/>
                              <a:pt x="1163" y="5769"/>
                            </a:cubicBezTo>
                            <a:cubicBezTo>
                              <a:pt x="1303" y="5815"/>
                              <a:pt x="1442" y="5862"/>
                              <a:pt x="1605" y="5862"/>
                            </a:cubicBezTo>
                            <a:lnTo>
                              <a:pt x="1628" y="5862"/>
                            </a:lnTo>
                            <a:lnTo>
                              <a:pt x="12026" y="5862"/>
                            </a:lnTo>
                            <a:cubicBezTo>
                              <a:pt x="11817" y="5815"/>
                              <a:pt x="11677" y="5769"/>
                              <a:pt x="11538" y="5722"/>
                            </a:cubicBezTo>
                            <a:close/>
                          </a:path>
                        </a:pathLst>
                      </a:custGeom>
                      <a:solidFill>
                        <a:srgbClr val="F19439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758" name="Freeform: Shape 1757">
                        <a:extLst>
                          <a:ext uri="{FF2B5EF4-FFF2-40B4-BE49-F238E27FC236}">
                            <a16:creationId xmlns:a16="http://schemas.microsoft.com/office/drawing/2014/main" id="{79986EFD-D86C-493A-B1DA-9B006C33395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66017" y="4099732"/>
                        <a:ext cx="2326" cy="4652"/>
                      </a:xfrm>
                      <a:custGeom>
                        <a:avLst/>
                        <a:gdLst>
                          <a:gd name="connsiteX0" fmla="*/ 70 w 0"/>
                          <a:gd name="connsiteY0" fmla="*/ 0 h 4652"/>
                          <a:gd name="connsiteX1" fmla="*/ 70 w 0"/>
                          <a:gd name="connsiteY1" fmla="*/ 0 h 4652"/>
                          <a:gd name="connsiteX2" fmla="*/ 70 w 0"/>
                          <a:gd name="connsiteY2" fmla="*/ 2512 h 4652"/>
                          <a:gd name="connsiteX3" fmla="*/ 0 w 0"/>
                          <a:gd name="connsiteY3" fmla="*/ 6188 h 4652"/>
                          <a:gd name="connsiteX4" fmla="*/ 23 w 0"/>
                          <a:gd name="connsiteY4" fmla="*/ 6188 h 4652"/>
                          <a:gd name="connsiteX5" fmla="*/ 23 w 0"/>
                          <a:gd name="connsiteY5" fmla="*/ 6188 h 4652"/>
                          <a:gd name="connsiteX6" fmla="*/ 47 w 0"/>
                          <a:gd name="connsiteY6" fmla="*/ 6188 h 4652"/>
                          <a:gd name="connsiteX7" fmla="*/ 1605 w 0"/>
                          <a:gd name="connsiteY7" fmla="*/ 4024 h 4652"/>
                          <a:gd name="connsiteX8" fmla="*/ 1605 w 0"/>
                          <a:gd name="connsiteY8" fmla="*/ 2512 h 4652"/>
                          <a:gd name="connsiteX9" fmla="*/ 1605 w 0"/>
                          <a:gd name="connsiteY9" fmla="*/ 2233 h 4652"/>
                          <a:gd name="connsiteX10" fmla="*/ 70 w 0"/>
                          <a:gd name="connsiteY10" fmla="*/ 0 h 465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</a:cxnLst>
                        <a:rect l="l" t="t" r="r" b="b"/>
                        <a:pathLst>
                          <a:path h="4652">
                            <a:moveTo>
                              <a:pt x="70" y="0"/>
                            </a:moveTo>
                            <a:cubicBezTo>
                              <a:pt x="70" y="0"/>
                              <a:pt x="47" y="0"/>
                              <a:pt x="70" y="0"/>
                            </a:cubicBezTo>
                            <a:cubicBezTo>
                              <a:pt x="70" y="837"/>
                              <a:pt x="70" y="1652"/>
                              <a:pt x="70" y="2512"/>
                            </a:cubicBezTo>
                            <a:cubicBezTo>
                              <a:pt x="70" y="3745"/>
                              <a:pt x="47" y="4978"/>
                              <a:pt x="0" y="6188"/>
                            </a:cubicBezTo>
                            <a:lnTo>
                              <a:pt x="23" y="6188"/>
                            </a:lnTo>
                            <a:lnTo>
                              <a:pt x="23" y="6188"/>
                            </a:lnTo>
                            <a:lnTo>
                              <a:pt x="47" y="6188"/>
                            </a:lnTo>
                            <a:cubicBezTo>
                              <a:pt x="907" y="6188"/>
                              <a:pt x="1605" y="5234"/>
                              <a:pt x="1605" y="4024"/>
                            </a:cubicBezTo>
                            <a:cubicBezTo>
                              <a:pt x="1605" y="3536"/>
                              <a:pt x="1605" y="3024"/>
                              <a:pt x="1605" y="2512"/>
                            </a:cubicBezTo>
                            <a:lnTo>
                              <a:pt x="1605" y="2233"/>
                            </a:lnTo>
                            <a:cubicBezTo>
                              <a:pt x="1652" y="977"/>
                              <a:pt x="954" y="0"/>
                              <a:pt x="70" y="0"/>
                            </a:cubicBezTo>
                            <a:close/>
                          </a:path>
                        </a:pathLst>
                      </a:custGeom>
                      <a:solidFill>
                        <a:srgbClr val="FAAB3C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759" name="Freeform: Shape 1758">
                        <a:extLst>
                          <a:ext uri="{FF2B5EF4-FFF2-40B4-BE49-F238E27FC236}">
                            <a16:creationId xmlns:a16="http://schemas.microsoft.com/office/drawing/2014/main" id="{EEABA4AB-0E90-4834-BCAD-87342D53EEF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65621" y="4092381"/>
                        <a:ext cx="2326" cy="4652"/>
                      </a:xfrm>
                      <a:custGeom>
                        <a:avLst/>
                        <a:gdLst>
                          <a:gd name="connsiteX0" fmla="*/ 419 w 0"/>
                          <a:gd name="connsiteY0" fmla="*/ 5885 h 4652"/>
                          <a:gd name="connsiteX1" fmla="*/ 1861 w 0"/>
                          <a:gd name="connsiteY1" fmla="*/ 3489 h 4652"/>
                          <a:gd name="connsiteX2" fmla="*/ 1745 w 0"/>
                          <a:gd name="connsiteY2" fmla="*/ 1977 h 4652"/>
                          <a:gd name="connsiteX3" fmla="*/ 186 w 0"/>
                          <a:gd name="connsiteY3" fmla="*/ 0 h 4652"/>
                          <a:gd name="connsiteX4" fmla="*/ 23 w 0"/>
                          <a:gd name="connsiteY4" fmla="*/ 0 h 4652"/>
                          <a:gd name="connsiteX5" fmla="*/ 0 w 0"/>
                          <a:gd name="connsiteY5" fmla="*/ 0 h 4652"/>
                          <a:gd name="connsiteX6" fmla="*/ 233 w 0"/>
                          <a:gd name="connsiteY6" fmla="*/ 2908 h 4652"/>
                          <a:gd name="connsiteX7" fmla="*/ 395 w 0"/>
                          <a:gd name="connsiteY7" fmla="*/ 5862 h 4652"/>
                          <a:gd name="connsiteX8" fmla="*/ 419 w 0"/>
                          <a:gd name="connsiteY8" fmla="*/ 5862 h 465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h="4652">
                            <a:moveTo>
                              <a:pt x="419" y="5885"/>
                            </a:moveTo>
                            <a:cubicBezTo>
                              <a:pt x="1279" y="5792"/>
                              <a:pt x="1907" y="4699"/>
                              <a:pt x="1861" y="3489"/>
                            </a:cubicBezTo>
                            <a:cubicBezTo>
                              <a:pt x="1838" y="2977"/>
                              <a:pt x="1791" y="2466"/>
                              <a:pt x="1745" y="1977"/>
                            </a:cubicBezTo>
                            <a:cubicBezTo>
                              <a:pt x="1675" y="861"/>
                              <a:pt x="1000" y="0"/>
                              <a:pt x="186" y="0"/>
                            </a:cubicBezTo>
                            <a:cubicBezTo>
                              <a:pt x="140" y="0"/>
                              <a:pt x="70" y="0"/>
                              <a:pt x="23" y="0"/>
                            </a:cubicBezTo>
                            <a:lnTo>
                              <a:pt x="0" y="0"/>
                            </a:lnTo>
                            <a:cubicBezTo>
                              <a:pt x="93" y="977"/>
                              <a:pt x="163" y="1931"/>
                              <a:pt x="233" y="2908"/>
                            </a:cubicBezTo>
                            <a:cubicBezTo>
                              <a:pt x="302" y="3885"/>
                              <a:pt x="349" y="4862"/>
                              <a:pt x="395" y="5862"/>
                            </a:cubicBezTo>
                            <a:lnTo>
                              <a:pt x="419" y="5862"/>
                            </a:lnTo>
                            <a:close/>
                          </a:path>
                        </a:pathLst>
                      </a:custGeom>
                      <a:solidFill>
                        <a:srgbClr val="FAAB3C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760" name="Freeform: Shape 1759">
                        <a:extLst>
                          <a:ext uri="{FF2B5EF4-FFF2-40B4-BE49-F238E27FC236}">
                            <a16:creationId xmlns:a16="http://schemas.microsoft.com/office/drawing/2014/main" id="{AF7662C8-26D6-470B-9588-B48EF785D7C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65505" y="4107361"/>
                        <a:ext cx="2326" cy="4652"/>
                      </a:xfrm>
                      <a:custGeom>
                        <a:avLst/>
                        <a:gdLst>
                          <a:gd name="connsiteX0" fmla="*/ 23 w 0"/>
                          <a:gd name="connsiteY0" fmla="*/ 5862 h 4652"/>
                          <a:gd name="connsiteX1" fmla="*/ 209 w 0"/>
                          <a:gd name="connsiteY1" fmla="*/ 5885 h 4652"/>
                          <a:gd name="connsiteX2" fmla="*/ 1768 w 0"/>
                          <a:gd name="connsiteY2" fmla="*/ 3931 h 4652"/>
                          <a:gd name="connsiteX3" fmla="*/ 1884 w 0"/>
                          <a:gd name="connsiteY3" fmla="*/ 2419 h 4652"/>
                          <a:gd name="connsiteX4" fmla="*/ 489 w 0"/>
                          <a:gd name="connsiteY4" fmla="*/ 0 h 4652"/>
                          <a:gd name="connsiteX5" fmla="*/ 465 w 0"/>
                          <a:gd name="connsiteY5" fmla="*/ 0 h 4652"/>
                          <a:gd name="connsiteX6" fmla="*/ 0 w 0"/>
                          <a:gd name="connsiteY6" fmla="*/ 5862 h 4652"/>
                          <a:gd name="connsiteX7" fmla="*/ 23 w 0"/>
                          <a:gd name="connsiteY7" fmla="*/ 5862 h 465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</a:cxnLst>
                        <a:rect l="l" t="t" r="r" b="b"/>
                        <a:pathLst>
                          <a:path h="4652">
                            <a:moveTo>
                              <a:pt x="23" y="5862"/>
                            </a:moveTo>
                            <a:lnTo>
                              <a:pt x="209" y="5885"/>
                            </a:lnTo>
                            <a:cubicBezTo>
                              <a:pt x="977" y="5885"/>
                              <a:pt x="1675" y="5071"/>
                              <a:pt x="1768" y="3931"/>
                            </a:cubicBezTo>
                            <a:cubicBezTo>
                              <a:pt x="1814" y="3443"/>
                              <a:pt x="1861" y="2931"/>
                              <a:pt x="1884" y="2419"/>
                            </a:cubicBezTo>
                            <a:cubicBezTo>
                              <a:pt x="1954" y="1210"/>
                              <a:pt x="1326" y="116"/>
                              <a:pt x="489" y="0"/>
                            </a:cubicBezTo>
                            <a:lnTo>
                              <a:pt x="465" y="0"/>
                            </a:lnTo>
                            <a:cubicBezTo>
                              <a:pt x="372" y="1977"/>
                              <a:pt x="209" y="3931"/>
                              <a:pt x="0" y="5862"/>
                            </a:cubicBezTo>
                            <a:lnTo>
                              <a:pt x="23" y="5862"/>
                            </a:lnTo>
                            <a:close/>
                          </a:path>
                        </a:pathLst>
                      </a:custGeom>
                      <a:solidFill>
                        <a:srgbClr val="FAAB3C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761" name="Freeform: Shape 1760">
                        <a:extLst>
                          <a:ext uri="{FF2B5EF4-FFF2-40B4-BE49-F238E27FC236}">
                            <a16:creationId xmlns:a16="http://schemas.microsoft.com/office/drawing/2014/main" id="{56314B8B-3F1D-41F6-B32F-7D4C036AEAB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64621" y="4085147"/>
                        <a:ext cx="2326" cy="4652"/>
                      </a:xfrm>
                      <a:custGeom>
                        <a:avLst/>
                        <a:gdLst>
                          <a:gd name="connsiteX0" fmla="*/ 744 w 0"/>
                          <a:gd name="connsiteY0" fmla="*/ 5118 h 4652"/>
                          <a:gd name="connsiteX1" fmla="*/ 837 w 0"/>
                          <a:gd name="connsiteY1" fmla="*/ 5815 h 4652"/>
                          <a:gd name="connsiteX2" fmla="*/ 861 w 0"/>
                          <a:gd name="connsiteY2" fmla="*/ 5815 h 4652"/>
                          <a:gd name="connsiteX3" fmla="*/ 2117 w 0"/>
                          <a:gd name="connsiteY3" fmla="*/ 3233 h 4652"/>
                          <a:gd name="connsiteX4" fmla="*/ 1884 w 0"/>
                          <a:gd name="connsiteY4" fmla="*/ 1768 h 4652"/>
                          <a:gd name="connsiteX5" fmla="*/ 349 w 0"/>
                          <a:gd name="connsiteY5" fmla="*/ 0 h 4652"/>
                          <a:gd name="connsiteX6" fmla="*/ 23 w 0"/>
                          <a:gd name="connsiteY6" fmla="*/ 46 h 4652"/>
                          <a:gd name="connsiteX7" fmla="*/ 0 w 0"/>
                          <a:gd name="connsiteY7" fmla="*/ 46 h 4652"/>
                          <a:gd name="connsiteX8" fmla="*/ 0 w 0"/>
                          <a:gd name="connsiteY8" fmla="*/ 46 h 4652"/>
                          <a:gd name="connsiteX9" fmla="*/ 744 w 0"/>
                          <a:gd name="connsiteY9" fmla="*/ 5118 h 465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</a:cxnLst>
                        <a:rect l="l" t="t" r="r" b="b"/>
                        <a:pathLst>
                          <a:path h="4652">
                            <a:moveTo>
                              <a:pt x="744" y="5118"/>
                            </a:moveTo>
                            <a:cubicBezTo>
                              <a:pt x="768" y="5350"/>
                              <a:pt x="814" y="5583"/>
                              <a:pt x="837" y="5815"/>
                            </a:cubicBezTo>
                            <a:lnTo>
                              <a:pt x="861" y="5815"/>
                            </a:lnTo>
                            <a:cubicBezTo>
                              <a:pt x="1721" y="5583"/>
                              <a:pt x="2280" y="4420"/>
                              <a:pt x="2117" y="3233"/>
                            </a:cubicBezTo>
                            <a:cubicBezTo>
                              <a:pt x="2047" y="2745"/>
                              <a:pt x="1977" y="2256"/>
                              <a:pt x="1884" y="1768"/>
                            </a:cubicBezTo>
                            <a:cubicBezTo>
                              <a:pt x="1745" y="698"/>
                              <a:pt x="1070" y="0"/>
                              <a:pt x="349" y="0"/>
                            </a:cubicBezTo>
                            <a:cubicBezTo>
                              <a:pt x="233" y="0"/>
                              <a:pt x="140" y="23"/>
                              <a:pt x="23" y="46"/>
                            </a:cubicBezTo>
                            <a:lnTo>
                              <a:pt x="0" y="46"/>
                            </a:lnTo>
                            <a:lnTo>
                              <a:pt x="0" y="46"/>
                            </a:lnTo>
                            <a:cubicBezTo>
                              <a:pt x="326" y="1698"/>
                              <a:pt x="558" y="3396"/>
                              <a:pt x="744" y="5118"/>
                            </a:cubicBezTo>
                            <a:close/>
                          </a:path>
                        </a:pathLst>
                      </a:custGeom>
                      <a:solidFill>
                        <a:srgbClr val="FAAB3C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762" name="Freeform: Shape 1761">
                        <a:extLst>
                          <a:ext uri="{FF2B5EF4-FFF2-40B4-BE49-F238E27FC236}">
                            <a16:creationId xmlns:a16="http://schemas.microsoft.com/office/drawing/2014/main" id="{3962332B-8EE3-4C42-9C8C-8331DEF7FE8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64458" y="4114666"/>
                        <a:ext cx="2326" cy="4652"/>
                      </a:xfrm>
                      <a:custGeom>
                        <a:avLst/>
                        <a:gdLst>
                          <a:gd name="connsiteX0" fmla="*/ 0 w 0"/>
                          <a:gd name="connsiteY0" fmla="*/ 5769 h 4652"/>
                          <a:gd name="connsiteX1" fmla="*/ 0 w 0"/>
                          <a:gd name="connsiteY1" fmla="*/ 5769 h 4652"/>
                          <a:gd name="connsiteX2" fmla="*/ 23 w 0"/>
                          <a:gd name="connsiteY2" fmla="*/ 5769 h 4652"/>
                          <a:gd name="connsiteX3" fmla="*/ 372 w 0"/>
                          <a:gd name="connsiteY3" fmla="*/ 5815 h 4652"/>
                          <a:gd name="connsiteX4" fmla="*/ 1907 w 0"/>
                          <a:gd name="connsiteY4" fmla="*/ 4094 h 4652"/>
                          <a:gd name="connsiteX5" fmla="*/ 2117 w 0"/>
                          <a:gd name="connsiteY5" fmla="*/ 2605 h 4652"/>
                          <a:gd name="connsiteX6" fmla="*/ 907 w 0"/>
                          <a:gd name="connsiteY6" fmla="*/ 0 h 4652"/>
                          <a:gd name="connsiteX7" fmla="*/ 884 w 0"/>
                          <a:gd name="connsiteY7" fmla="*/ 0 h 4652"/>
                          <a:gd name="connsiteX8" fmla="*/ 884 w 0"/>
                          <a:gd name="connsiteY8" fmla="*/ 0 h 4652"/>
                          <a:gd name="connsiteX9" fmla="*/ 0 w 0"/>
                          <a:gd name="connsiteY9" fmla="*/ 5769 h 4652"/>
                          <a:gd name="connsiteX10" fmla="*/ 0 w 0"/>
                          <a:gd name="connsiteY10" fmla="*/ 5769 h 465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</a:cxnLst>
                        <a:rect l="l" t="t" r="r" b="b"/>
                        <a:pathLst>
                          <a:path h="4652">
                            <a:moveTo>
                              <a:pt x="0" y="5769"/>
                            </a:moveTo>
                            <a:lnTo>
                              <a:pt x="0" y="5769"/>
                            </a:lnTo>
                            <a:lnTo>
                              <a:pt x="23" y="5769"/>
                            </a:lnTo>
                            <a:cubicBezTo>
                              <a:pt x="140" y="5815"/>
                              <a:pt x="256" y="5815"/>
                              <a:pt x="372" y="5815"/>
                            </a:cubicBezTo>
                            <a:cubicBezTo>
                              <a:pt x="1093" y="5815"/>
                              <a:pt x="1721" y="5118"/>
                              <a:pt x="1907" y="4094"/>
                            </a:cubicBezTo>
                            <a:cubicBezTo>
                              <a:pt x="1977" y="3606"/>
                              <a:pt x="2047" y="3117"/>
                              <a:pt x="2117" y="2605"/>
                            </a:cubicBezTo>
                            <a:cubicBezTo>
                              <a:pt x="2280" y="1419"/>
                              <a:pt x="1745" y="233"/>
                              <a:pt x="907" y="0"/>
                            </a:cubicBezTo>
                            <a:cubicBezTo>
                              <a:pt x="884" y="0"/>
                              <a:pt x="884" y="0"/>
                              <a:pt x="884" y="0"/>
                            </a:cubicBezTo>
                            <a:lnTo>
                              <a:pt x="884" y="0"/>
                            </a:lnTo>
                            <a:cubicBezTo>
                              <a:pt x="651" y="1954"/>
                              <a:pt x="349" y="3861"/>
                              <a:pt x="0" y="5769"/>
                            </a:cubicBezTo>
                            <a:lnTo>
                              <a:pt x="0" y="5769"/>
                            </a:lnTo>
                            <a:close/>
                          </a:path>
                        </a:pathLst>
                      </a:custGeom>
                      <a:solidFill>
                        <a:srgbClr val="FAAB3C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763" name="Freeform: Shape 1762">
                        <a:extLst>
                          <a:ext uri="{FF2B5EF4-FFF2-40B4-BE49-F238E27FC236}">
                            <a16:creationId xmlns:a16="http://schemas.microsoft.com/office/drawing/2014/main" id="{A93DFBC1-334F-494E-AEB7-7AFA49087A4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63202" y="4078028"/>
                        <a:ext cx="2326" cy="4652"/>
                      </a:xfrm>
                      <a:custGeom>
                        <a:avLst/>
                        <a:gdLst>
                          <a:gd name="connsiteX0" fmla="*/ 0 w 2326"/>
                          <a:gd name="connsiteY0" fmla="*/ 93 h 4652"/>
                          <a:gd name="connsiteX1" fmla="*/ 1233 w 2326"/>
                          <a:gd name="connsiteY1" fmla="*/ 5746 h 4652"/>
                          <a:gd name="connsiteX2" fmla="*/ 1233 w 2326"/>
                          <a:gd name="connsiteY2" fmla="*/ 5746 h 4652"/>
                          <a:gd name="connsiteX3" fmla="*/ 1256 w 2326"/>
                          <a:gd name="connsiteY3" fmla="*/ 5746 h 4652"/>
                          <a:gd name="connsiteX4" fmla="*/ 2326 w 2326"/>
                          <a:gd name="connsiteY4" fmla="*/ 3001 h 4652"/>
                          <a:gd name="connsiteX5" fmla="*/ 2024 w 2326"/>
                          <a:gd name="connsiteY5" fmla="*/ 1559 h 4652"/>
                          <a:gd name="connsiteX6" fmla="*/ 512 w 2326"/>
                          <a:gd name="connsiteY6" fmla="*/ 0 h 4652"/>
                          <a:gd name="connsiteX7" fmla="*/ 46 w 2326"/>
                          <a:gd name="connsiteY7" fmla="*/ 116 h 4652"/>
                          <a:gd name="connsiteX8" fmla="*/ 0 w 2326"/>
                          <a:gd name="connsiteY8" fmla="*/ 93 h 465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2326" h="4652">
                            <a:moveTo>
                              <a:pt x="0" y="93"/>
                            </a:moveTo>
                            <a:cubicBezTo>
                              <a:pt x="465" y="1931"/>
                              <a:pt x="861" y="3815"/>
                              <a:pt x="1233" y="5746"/>
                            </a:cubicBezTo>
                            <a:lnTo>
                              <a:pt x="1233" y="5746"/>
                            </a:lnTo>
                            <a:lnTo>
                              <a:pt x="1256" y="5746"/>
                            </a:lnTo>
                            <a:cubicBezTo>
                              <a:pt x="2094" y="5397"/>
                              <a:pt x="2559" y="4164"/>
                              <a:pt x="2326" y="3001"/>
                            </a:cubicBezTo>
                            <a:cubicBezTo>
                              <a:pt x="2233" y="2512"/>
                              <a:pt x="2117" y="2024"/>
                              <a:pt x="2024" y="1559"/>
                            </a:cubicBezTo>
                            <a:cubicBezTo>
                              <a:pt x="1814" y="605"/>
                              <a:pt x="1186" y="0"/>
                              <a:pt x="512" y="0"/>
                            </a:cubicBezTo>
                            <a:cubicBezTo>
                              <a:pt x="349" y="0"/>
                              <a:pt x="186" y="23"/>
                              <a:pt x="46" y="116"/>
                            </a:cubicBezTo>
                            <a:lnTo>
                              <a:pt x="0" y="93"/>
                            </a:lnTo>
                            <a:close/>
                          </a:path>
                        </a:pathLst>
                      </a:custGeom>
                      <a:solidFill>
                        <a:srgbClr val="FAAB3C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764" name="Freeform: Shape 1763">
                        <a:extLst>
                          <a:ext uri="{FF2B5EF4-FFF2-40B4-BE49-F238E27FC236}">
                            <a16:creationId xmlns:a16="http://schemas.microsoft.com/office/drawing/2014/main" id="{3346D86F-7ADD-4D2A-8070-82361FAF4E8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62923" y="4121830"/>
                        <a:ext cx="2326" cy="4652"/>
                      </a:xfrm>
                      <a:custGeom>
                        <a:avLst/>
                        <a:gdLst>
                          <a:gd name="connsiteX0" fmla="*/ 0 w 2326"/>
                          <a:gd name="connsiteY0" fmla="*/ 5629 h 4652"/>
                          <a:gd name="connsiteX1" fmla="*/ 512 w 2326"/>
                          <a:gd name="connsiteY1" fmla="*/ 5746 h 4652"/>
                          <a:gd name="connsiteX2" fmla="*/ 2001 w 2326"/>
                          <a:gd name="connsiteY2" fmla="*/ 4234 h 4652"/>
                          <a:gd name="connsiteX3" fmla="*/ 2326 w 2326"/>
                          <a:gd name="connsiteY3" fmla="*/ 2791 h 4652"/>
                          <a:gd name="connsiteX4" fmla="*/ 1303 w 2326"/>
                          <a:gd name="connsiteY4" fmla="*/ 23 h 4652"/>
                          <a:gd name="connsiteX5" fmla="*/ 1279 w 2326"/>
                          <a:gd name="connsiteY5" fmla="*/ 0 h 4652"/>
                          <a:gd name="connsiteX6" fmla="*/ 0 w 2326"/>
                          <a:gd name="connsiteY6" fmla="*/ 5629 h 4652"/>
                          <a:gd name="connsiteX7" fmla="*/ 0 w 2326"/>
                          <a:gd name="connsiteY7" fmla="*/ 5629 h 4652"/>
                          <a:gd name="connsiteX8" fmla="*/ 0 w 2326"/>
                          <a:gd name="connsiteY8" fmla="*/ 5629 h 465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2326" h="4652">
                            <a:moveTo>
                              <a:pt x="0" y="5629"/>
                            </a:moveTo>
                            <a:cubicBezTo>
                              <a:pt x="163" y="5699"/>
                              <a:pt x="326" y="5746"/>
                              <a:pt x="512" y="5746"/>
                            </a:cubicBezTo>
                            <a:cubicBezTo>
                              <a:pt x="1163" y="5746"/>
                              <a:pt x="1768" y="5141"/>
                              <a:pt x="2001" y="4234"/>
                            </a:cubicBezTo>
                            <a:cubicBezTo>
                              <a:pt x="2117" y="3745"/>
                              <a:pt x="2233" y="3280"/>
                              <a:pt x="2326" y="2791"/>
                            </a:cubicBezTo>
                            <a:cubicBezTo>
                              <a:pt x="2582" y="1628"/>
                              <a:pt x="2117" y="372"/>
                              <a:pt x="1303" y="23"/>
                            </a:cubicBezTo>
                            <a:lnTo>
                              <a:pt x="1279" y="0"/>
                            </a:lnTo>
                            <a:cubicBezTo>
                              <a:pt x="907" y="1907"/>
                              <a:pt x="465" y="3792"/>
                              <a:pt x="0" y="5629"/>
                            </a:cubicBezTo>
                            <a:lnTo>
                              <a:pt x="0" y="5629"/>
                            </a:lnTo>
                            <a:lnTo>
                              <a:pt x="0" y="5629"/>
                            </a:lnTo>
                            <a:close/>
                          </a:path>
                        </a:pathLst>
                      </a:custGeom>
                      <a:solidFill>
                        <a:srgbClr val="FAAB3C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765" name="Freeform: Shape 1764">
                        <a:extLst>
                          <a:ext uri="{FF2B5EF4-FFF2-40B4-BE49-F238E27FC236}">
                            <a16:creationId xmlns:a16="http://schemas.microsoft.com/office/drawing/2014/main" id="{D525E685-0325-4CBC-806D-82FFFBDCB41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61225" y="4071120"/>
                        <a:ext cx="2326" cy="4652"/>
                      </a:xfrm>
                      <a:custGeom>
                        <a:avLst/>
                        <a:gdLst>
                          <a:gd name="connsiteX0" fmla="*/ 0 w 2326"/>
                          <a:gd name="connsiteY0" fmla="*/ 209 h 4652"/>
                          <a:gd name="connsiteX1" fmla="*/ 1628 w 2326"/>
                          <a:gd name="connsiteY1" fmla="*/ 5629 h 4652"/>
                          <a:gd name="connsiteX2" fmla="*/ 1628 w 2326"/>
                          <a:gd name="connsiteY2" fmla="*/ 5629 h 4652"/>
                          <a:gd name="connsiteX3" fmla="*/ 1628 w 2326"/>
                          <a:gd name="connsiteY3" fmla="*/ 5629 h 4652"/>
                          <a:gd name="connsiteX4" fmla="*/ 2489 w 2326"/>
                          <a:gd name="connsiteY4" fmla="*/ 2745 h 4652"/>
                          <a:gd name="connsiteX5" fmla="*/ 2070 w 2326"/>
                          <a:gd name="connsiteY5" fmla="*/ 1349 h 4652"/>
                          <a:gd name="connsiteX6" fmla="*/ 628 w 2326"/>
                          <a:gd name="connsiteY6" fmla="*/ 0 h 4652"/>
                          <a:gd name="connsiteX7" fmla="*/ 582 w 2326"/>
                          <a:gd name="connsiteY7" fmla="*/ 0 h 4652"/>
                          <a:gd name="connsiteX8" fmla="*/ 0 w 2326"/>
                          <a:gd name="connsiteY8" fmla="*/ 209 h 4652"/>
                          <a:gd name="connsiteX9" fmla="*/ 0 w 2326"/>
                          <a:gd name="connsiteY9" fmla="*/ 209 h 465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</a:cxnLst>
                        <a:rect l="l" t="t" r="r" b="b"/>
                        <a:pathLst>
                          <a:path w="2326" h="4652">
                            <a:moveTo>
                              <a:pt x="0" y="209"/>
                            </a:moveTo>
                            <a:cubicBezTo>
                              <a:pt x="582" y="1977"/>
                              <a:pt x="1117" y="3792"/>
                              <a:pt x="1628" y="5629"/>
                            </a:cubicBezTo>
                            <a:lnTo>
                              <a:pt x="1628" y="5629"/>
                            </a:lnTo>
                            <a:lnTo>
                              <a:pt x="1628" y="5629"/>
                            </a:lnTo>
                            <a:cubicBezTo>
                              <a:pt x="2442" y="5164"/>
                              <a:pt x="2815" y="3861"/>
                              <a:pt x="2489" y="2745"/>
                            </a:cubicBezTo>
                            <a:cubicBezTo>
                              <a:pt x="2349" y="2280"/>
                              <a:pt x="2210" y="1814"/>
                              <a:pt x="2070" y="1349"/>
                            </a:cubicBezTo>
                            <a:cubicBezTo>
                              <a:pt x="1814" y="512"/>
                              <a:pt x="1233" y="0"/>
                              <a:pt x="628" y="0"/>
                            </a:cubicBezTo>
                            <a:cubicBezTo>
                              <a:pt x="628" y="0"/>
                              <a:pt x="605" y="0"/>
                              <a:pt x="582" y="0"/>
                            </a:cubicBezTo>
                            <a:cubicBezTo>
                              <a:pt x="419" y="23"/>
                              <a:pt x="209" y="70"/>
                              <a:pt x="0" y="209"/>
                            </a:cubicBezTo>
                            <a:cubicBezTo>
                              <a:pt x="23" y="209"/>
                              <a:pt x="0" y="209"/>
                              <a:pt x="0" y="209"/>
                            </a:cubicBezTo>
                            <a:close/>
                          </a:path>
                        </a:pathLst>
                      </a:custGeom>
                      <a:solidFill>
                        <a:srgbClr val="FAAB3C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766" name="Freeform: Shape 1765">
                        <a:extLst>
                          <a:ext uri="{FF2B5EF4-FFF2-40B4-BE49-F238E27FC236}">
                            <a16:creationId xmlns:a16="http://schemas.microsoft.com/office/drawing/2014/main" id="{7651B8FB-B033-4041-A9FE-F2B8338BA00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60899" y="4128809"/>
                        <a:ext cx="2326" cy="4652"/>
                      </a:xfrm>
                      <a:custGeom>
                        <a:avLst/>
                        <a:gdLst>
                          <a:gd name="connsiteX0" fmla="*/ 0 w 2326"/>
                          <a:gd name="connsiteY0" fmla="*/ 5420 h 4652"/>
                          <a:gd name="connsiteX1" fmla="*/ 651 w 2326"/>
                          <a:gd name="connsiteY1" fmla="*/ 5629 h 4652"/>
                          <a:gd name="connsiteX2" fmla="*/ 2070 w 2326"/>
                          <a:gd name="connsiteY2" fmla="*/ 4327 h 4652"/>
                          <a:gd name="connsiteX3" fmla="*/ 2512 w 2326"/>
                          <a:gd name="connsiteY3" fmla="*/ 2931 h 4652"/>
                          <a:gd name="connsiteX4" fmla="*/ 1698 w 2326"/>
                          <a:gd name="connsiteY4" fmla="*/ 23 h 4652"/>
                          <a:gd name="connsiteX5" fmla="*/ 1675 w 2326"/>
                          <a:gd name="connsiteY5" fmla="*/ 0 h 4652"/>
                          <a:gd name="connsiteX6" fmla="*/ 0 w 2326"/>
                          <a:gd name="connsiteY6" fmla="*/ 5397 h 4652"/>
                          <a:gd name="connsiteX7" fmla="*/ 0 w 2326"/>
                          <a:gd name="connsiteY7" fmla="*/ 5420 h 465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</a:cxnLst>
                        <a:rect l="l" t="t" r="r" b="b"/>
                        <a:pathLst>
                          <a:path w="2326" h="4652">
                            <a:moveTo>
                              <a:pt x="0" y="5420"/>
                            </a:moveTo>
                            <a:cubicBezTo>
                              <a:pt x="209" y="5560"/>
                              <a:pt x="419" y="5629"/>
                              <a:pt x="651" y="5629"/>
                            </a:cubicBezTo>
                            <a:cubicBezTo>
                              <a:pt x="1256" y="5629"/>
                              <a:pt x="1814" y="5141"/>
                              <a:pt x="2070" y="4327"/>
                            </a:cubicBezTo>
                            <a:cubicBezTo>
                              <a:pt x="2233" y="3861"/>
                              <a:pt x="2349" y="3419"/>
                              <a:pt x="2512" y="2931"/>
                            </a:cubicBezTo>
                            <a:cubicBezTo>
                              <a:pt x="2861" y="1814"/>
                              <a:pt x="2489" y="512"/>
                              <a:pt x="1698" y="23"/>
                            </a:cubicBezTo>
                            <a:lnTo>
                              <a:pt x="1675" y="0"/>
                            </a:lnTo>
                            <a:cubicBezTo>
                              <a:pt x="1163" y="1838"/>
                              <a:pt x="605" y="3629"/>
                              <a:pt x="0" y="5397"/>
                            </a:cubicBezTo>
                            <a:lnTo>
                              <a:pt x="0" y="5420"/>
                            </a:lnTo>
                            <a:close/>
                          </a:path>
                        </a:pathLst>
                      </a:custGeom>
                      <a:solidFill>
                        <a:srgbClr val="FAAB3C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767" name="Freeform: Shape 1766">
                        <a:extLst>
                          <a:ext uri="{FF2B5EF4-FFF2-40B4-BE49-F238E27FC236}">
                            <a16:creationId xmlns:a16="http://schemas.microsoft.com/office/drawing/2014/main" id="{975D2862-2F4F-48ED-8D21-BBA5C366088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58782" y="4064537"/>
                        <a:ext cx="2326" cy="4652"/>
                      </a:xfrm>
                      <a:custGeom>
                        <a:avLst/>
                        <a:gdLst>
                          <a:gd name="connsiteX0" fmla="*/ 23 w 2326"/>
                          <a:gd name="connsiteY0" fmla="*/ 302 h 4652"/>
                          <a:gd name="connsiteX1" fmla="*/ 23 w 2326"/>
                          <a:gd name="connsiteY1" fmla="*/ 302 h 4652"/>
                          <a:gd name="connsiteX2" fmla="*/ 0 w 2326"/>
                          <a:gd name="connsiteY2" fmla="*/ 326 h 4652"/>
                          <a:gd name="connsiteX3" fmla="*/ 2001 w 2326"/>
                          <a:gd name="connsiteY3" fmla="*/ 5490 h 4652"/>
                          <a:gd name="connsiteX4" fmla="*/ 2001 w 2326"/>
                          <a:gd name="connsiteY4" fmla="*/ 5490 h 4652"/>
                          <a:gd name="connsiteX5" fmla="*/ 2024 w 2326"/>
                          <a:gd name="connsiteY5" fmla="*/ 5466 h 4652"/>
                          <a:gd name="connsiteX6" fmla="*/ 2675 w 2326"/>
                          <a:gd name="connsiteY6" fmla="*/ 2466 h 4652"/>
                          <a:gd name="connsiteX7" fmla="*/ 2163 w 2326"/>
                          <a:gd name="connsiteY7" fmla="*/ 1140 h 4652"/>
                          <a:gd name="connsiteX8" fmla="*/ 791 w 2326"/>
                          <a:gd name="connsiteY8" fmla="*/ 0 h 4652"/>
                          <a:gd name="connsiteX9" fmla="*/ 791 w 2326"/>
                          <a:gd name="connsiteY9" fmla="*/ 0 h 4652"/>
                          <a:gd name="connsiteX10" fmla="*/ 186 w 2326"/>
                          <a:gd name="connsiteY10" fmla="*/ 186 h 4652"/>
                          <a:gd name="connsiteX11" fmla="*/ 23 w 2326"/>
                          <a:gd name="connsiteY11" fmla="*/ 302 h 465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2326" h="4652">
                            <a:moveTo>
                              <a:pt x="23" y="302"/>
                            </a:moveTo>
                            <a:lnTo>
                              <a:pt x="23" y="302"/>
                            </a:lnTo>
                            <a:lnTo>
                              <a:pt x="0" y="326"/>
                            </a:lnTo>
                            <a:cubicBezTo>
                              <a:pt x="721" y="2000"/>
                              <a:pt x="1396" y="3745"/>
                              <a:pt x="2001" y="5490"/>
                            </a:cubicBezTo>
                            <a:lnTo>
                              <a:pt x="2001" y="5490"/>
                            </a:lnTo>
                            <a:cubicBezTo>
                              <a:pt x="2001" y="5490"/>
                              <a:pt x="2001" y="5490"/>
                              <a:pt x="2024" y="5466"/>
                            </a:cubicBezTo>
                            <a:cubicBezTo>
                              <a:pt x="2791" y="4885"/>
                              <a:pt x="3071" y="3536"/>
                              <a:pt x="2675" y="2466"/>
                            </a:cubicBezTo>
                            <a:cubicBezTo>
                              <a:pt x="2512" y="2024"/>
                              <a:pt x="2349" y="1582"/>
                              <a:pt x="2163" y="1140"/>
                            </a:cubicBezTo>
                            <a:cubicBezTo>
                              <a:pt x="1884" y="419"/>
                              <a:pt x="1349" y="0"/>
                              <a:pt x="791" y="0"/>
                            </a:cubicBezTo>
                            <a:lnTo>
                              <a:pt x="791" y="0"/>
                            </a:lnTo>
                            <a:cubicBezTo>
                              <a:pt x="582" y="0"/>
                              <a:pt x="395" y="70"/>
                              <a:pt x="186" y="186"/>
                            </a:cubicBezTo>
                            <a:cubicBezTo>
                              <a:pt x="140" y="256"/>
                              <a:pt x="70" y="256"/>
                              <a:pt x="23" y="302"/>
                            </a:cubicBezTo>
                            <a:close/>
                          </a:path>
                        </a:pathLst>
                      </a:custGeom>
                      <a:solidFill>
                        <a:srgbClr val="FAAB3C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768" name="Freeform: Shape 1767">
                        <a:extLst>
                          <a:ext uri="{FF2B5EF4-FFF2-40B4-BE49-F238E27FC236}">
                            <a16:creationId xmlns:a16="http://schemas.microsoft.com/office/drawing/2014/main" id="{C5469F7B-F045-4E97-8A82-E47B553CFB0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58340" y="4135508"/>
                        <a:ext cx="2326" cy="4652"/>
                      </a:xfrm>
                      <a:custGeom>
                        <a:avLst/>
                        <a:gdLst>
                          <a:gd name="connsiteX0" fmla="*/ 23 w 2326"/>
                          <a:gd name="connsiteY0" fmla="*/ 5164 h 4652"/>
                          <a:gd name="connsiteX1" fmla="*/ 814 w 2326"/>
                          <a:gd name="connsiteY1" fmla="*/ 5443 h 4652"/>
                          <a:gd name="connsiteX2" fmla="*/ 814 w 2326"/>
                          <a:gd name="connsiteY2" fmla="*/ 5443 h 4652"/>
                          <a:gd name="connsiteX3" fmla="*/ 2163 w 2326"/>
                          <a:gd name="connsiteY3" fmla="*/ 4350 h 4652"/>
                          <a:gd name="connsiteX4" fmla="*/ 2698 w 2326"/>
                          <a:gd name="connsiteY4" fmla="*/ 3024 h 4652"/>
                          <a:gd name="connsiteX5" fmla="*/ 2094 w 2326"/>
                          <a:gd name="connsiteY5" fmla="*/ 23 h 4652"/>
                          <a:gd name="connsiteX6" fmla="*/ 2070 w 2326"/>
                          <a:gd name="connsiteY6" fmla="*/ 0 h 4652"/>
                          <a:gd name="connsiteX7" fmla="*/ 2070 w 2326"/>
                          <a:gd name="connsiteY7" fmla="*/ 0 h 4652"/>
                          <a:gd name="connsiteX8" fmla="*/ 0 w 2326"/>
                          <a:gd name="connsiteY8" fmla="*/ 5118 h 4652"/>
                          <a:gd name="connsiteX9" fmla="*/ 23 w 2326"/>
                          <a:gd name="connsiteY9" fmla="*/ 5164 h 465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</a:cxnLst>
                        <a:rect l="l" t="t" r="r" b="b"/>
                        <a:pathLst>
                          <a:path w="2326" h="4652">
                            <a:moveTo>
                              <a:pt x="23" y="5164"/>
                            </a:moveTo>
                            <a:cubicBezTo>
                              <a:pt x="256" y="5350"/>
                              <a:pt x="535" y="5443"/>
                              <a:pt x="814" y="5443"/>
                            </a:cubicBezTo>
                            <a:lnTo>
                              <a:pt x="814" y="5443"/>
                            </a:lnTo>
                            <a:cubicBezTo>
                              <a:pt x="1349" y="5443"/>
                              <a:pt x="1884" y="5048"/>
                              <a:pt x="2163" y="4350"/>
                            </a:cubicBezTo>
                            <a:cubicBezTo>
                              <a:pt x="2326" y="3908"/>
                              <a:pt x="2512" y="3466"/>
                              <a:pt x="2698" y="3024"/>
                            </a:cubicBezTo>
                            <a:cubicBezTo>
                              <a:pt x="3117" y="1954"/>
                              <a:pt x="2861" y="605"/>
                              <a:pt x="2094" y="23"/>
                            </a:cubicBezTo>
                            <a:lnTo>
                              <a:pt x="2070" y="0"/>
                            </a:lnTo>
                            <a:lnTo>
                              <a:pt x="2070" y="0"/>
                            </a:lnTo>
                            <a:cubicBezTo>
                              <a:pt x="1419" y="1745"/>
                              <a:pt x="744" y="3466"/>
                              <a:pt x="0" y="5118"/>
                            </a:cubicBezTo>
                            <a:cubicBezTo>
                              <a:pt x="0" y="5118"/>
                              <a:pt x="0" y="5141"/>
                              <a:pt x="23" y="5164"/>
                            </a:cubicBezTo>
                            <a:close/>
                          </a:path>
                        </a:pathLst>
                      </a:custGeom>
                      <a:solidFill>
                        <a:srgbClr val="FAAB3C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769" name="Freeform: Shape 1768">
                        <a:extLst>
                          <a:ext uri="{FF2B5EF4-FFF2-40B4-BE49-F238E27FC236}">
                            <a16:creationId xmlns:a16="http://schemas.microsoft.com/office/drawing/2014/main" id="{77FDBBB3-0713-4261-B130-86AB43EA99B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55875" y="4058302"/>
                        <a:ext cx="2326" cy="4652"/>
                      </a:xfrm>
                      <a:custGeom>
                        <a:avLst/>
                        <a:gdLst>
                          <a:gd name="connsiteX0" fmla="*/ 512 w 2326"/>
                          <a:gd name="connsiteY0" fmla="*/ 116 h 4652"/>
                          <a:gd name="connsiteX1" fmla="*/ 372 w 2326"/>
                          <a:gd name="connsiteY1" fmla="*/ 186 h 4652"/>
                          <a:gd name="connsiteX2" fmla="*/ 23 w 2326"/>
                          <a:gd name="connsiteY2" fmla="*/ 419 h 4652"/>
                          <a:gd name="connsiteX3" fmla="*/ 0 w 2326"/>
                          <a:gd name="connsiteY3" fmla="*/ 442 h 4652"/>
                          <a:gd name="connsiteX4" fmla="*/ 2373 w 2326"/>
                          <a:gd name="connsiteY4" fmla="*/ 5304 h 4652"/>
                          <a:gd name="connsiteX5" fmla="*/ 2373 w 2326"/>
                          <a:gd name="connsiteY5" fmla="*/ 5280 h 4652"/>
                          <a:gd name="connsiteX6" fmla="*/ 2815 w 2326"/>
                          <a:gd name="connsiteY6" fmla="*/ 2187 h 4652"/>
                          <a:gd name="connsiteX7" fmla="*/ 2210 w 2326"/>
                          <a:gd name="connsiteY7" fmla="*/ 954 h 4652"/>
                          <a:gd name="connsiteX8" fmla="*/ 930 w 2326"/>
                          <a:gd name="connsiteY8" fmla="*/ 0 h 4652"/>
                          <a:gd name="connsiteX9" fmla="*/ 930 w 2326"/>
                          <a:gd name="connsiteY9" fmla="*/ 0 h 4652"/>
                          <a:gd name="connsiteX10" fmla="*/ 768 w 2326"/>
                          <a:gd name="connsiteY10" fmla="*/ 23 h 4652"/>
                          <a:gd name="connsiteX11" fmla="*/ 512 w 2326"/>
                          <a:gd name="connsiteY11" fmla="*/ 116 h 465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2326" h="4652">
                            <a:moveTo>
                              <a:pt x="512" y="116"/>
                            </a:moveTo>
                            <a:cubicBezTo>
                              <a:pt x="465" y="140"/>
                              <a:pt x="419" y="163"/>
                              <a:pt x="372" y="186"/>
                            </a:cubicBezTo>
                            <a:cubicBezTo>
                              <a:pt x="256" y="233"/>
                              <a:pt x="140" y="326"/>
                              <a:pt x="23" y="419"/>
                            </a:cubicBezTo>
                            <a:cubicBezTo>
                              <a:pt x="23" y="419"/>
                              <a:pt x="0" y="442"/>
                              <a:pt x="0" y="442"/>
                            </a:cubicBezTo>
                            <a:cubicBezTo>
                              <a:pt x="837" y="2001"/>
                              <a:pt x="1605" y="3629"/>
                              <a:pt x="2373" y="5304"/>
                            </a:cubicBezTo>
                            <a:lnTo>
                              <a:pt x="2373" y="5280"/>
                            </a:lnTo>
                            <a:cubicBezTo>
                              <a:pt x="3117" y="4583"/>
                              <a:pt x="3280" y="3210"/>
                              <a:pt x="2815" y="2187"/>
                            </a:cubicBezTo>
                            <a:cubicBezTo>
                              <a:pt x="2629" y="1768"/>
                              <a:pt x="2419" y="1373"/>
                              <a:pt x="2210" y="954"/>
                            </a:cubicBezTo>
                            <a:cubicBezTo>
                              <a:pt x="1907" y="326"/>
                              <a:pt x="1419" y="0"/>
                              <a:pt x="930" y="0"/>
                            </a:cubicBezTo>
                            <a:lnTo>
                              <a:pt x="930" y="0"/>
                            </a:lnTo>
                            <a:cubicBezTo>
                              <a:pt x="884" y="0"/>
                              <a:pt x="814" y="23"/>
                              <a:pt x="768" y="23"/>
                            </a:cubicBezTo>
                            <a:cubicBezTo>
                              <a:pt x="698" y="93"/>
                              <a:pt x="582" y="93"/>
                              <a:pt x="512" y="116"/>
                            </a:cubicBezTo>
                            <a:close/>
                          </a:path>
                        </a:pathLst>
                      </a:custGeom>
                      <a:solidFill>
                        <a:srgbClr val="FAAB3C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770" name="Freeform: Shape 1769">
                        <a:extLst>
                          <a:ext uri="{FF2B5EF4-FFF2-40B4-BE49-F238E27FC236}">
                            <a16:creationId xmlns:a16="http://schemas.microsoft.com/office/drawing/2014/main" id="{014501E2-575F-4B5E-9A7D-ECC614D7218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55386" y="4141882"/>
                        <a:ext cx="2326" cy="4652"/>
                      </a:xfrm>
                      <a:custGeom>
                        <a:avLst/>
                        <a:gdLst>
                          <a:gd name="connsiteX0" fmla="*/ 0 w 2326"/>
                          <a:gd name="connsiteY0" fmla="*/ 4815 h 4652"/>
                          <a:gd name="connsiteX1" fmla="*/ 930 w 2326"/>
                          <a:gd name="connsiteY1" fmla="*/ 5257 h 4652"/>
                          <a:gd name="connsiteX2" fmla="*/ 2187 w 2326"/>
                          <a:gd name="connsiteY2" fmla="*/ 4350 h 4652"/>
                          <a:gd name="connsiteX3" fmla="*/ 2815 w 2326"/>
                          <a:gd name="connsiteY3" fmla="*/ 3117 h 4652"/>
                          <a:gd name="connsiteX4" fmla="*/ 2442 w 2326"/>
                          <a:gd name="connsiteY4" fmla="*/ 23 h 4652"/>
                          <a:gd name="connsiteX5" fmla="*/ 2419 w 2326"/>
                          <a:gd name="connsiteY5" fmla="*/ 0 h 4652"/>
                          <a:gd name="connsiteX6" fmla="*/ 0 w 2326"/>
                          <a:gd name="connsiteY6" fmla="*/ 4815 h 4652"/>
                          <a:gd name="connsiteX7" fmla="*/ 0 w 2326"/>
                          <a:gd name="connsiteY7" fmla="*/ 4815 h 465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</a:cxnLst>
                        <a:rect l="l" t="t" r="r" b="b"/>
                        <a:pathLst>
                          <a:path w="2326" h="4652">
                            <a:moveTo>
                              <a:pt x="0" y="4815"/>
                            </a:moveTo>
                            <a:cubicBezTo>
                              <a:pt x="279" y="5118"/>
                              <a:pt x="605" y="5257"/>
                              <a:pt x="930" y="5257"/>
                            </a:cubicBezTo>
                            <a:cubicBezTo>
                              <a:pt x="1419" y="5257"/>
                              <a:pt x="1884" y="4931"/>
                              <a:pt x="2187" y="4350"/>
                            </a:cubicBezTo>
                            <a:cubicBezTo>
                              <a:pt x="2396" y="3954"/>
                              <a:pt x="2605" y="3536"/>
                              <a:pt x="2815" y="3117"/>
                            </a:cubicBezTo>
                            <a:cubicBezTo>
                              <a:pt x="3303" y="2117"/>
                              <a:pt x="3140" y="744"/>
                              <a:pt x="2442" y="23"/>
                            </a:cubicBezTo>
                            <a:cubicBezTo>
                              <a:pt x="2442" y="23"/>
                              <a:pt x="2419" y="23"/>
                              <a:pt x="2419" y="0"/>
                            </a:cubicBezTo>
                            <a:cubicBezTo>
                              <a:pt x="1628" y="1628"/>
                              <a:pt x="814" y="3233"/>
                              <a:pt x="0" y="4815"/>
                            </a:cubicBezTo>
                            <a:lnTo>
                              <a:pt x="0" y="4815"/>
                            </a:lnTo>
                            <a:close/>
                          </a:path>
                        </a:pathLst>
                      </a:custGeom>
                      <a:solidFill>
                        <a:srgbClr val="FAAB3C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771" name="Freeform: Shape 1770">
                        <a:extLst>
                          <a:ext uri="{FF2B5EF4-FFF2-40B4-BE49-F238E27FC236}">
                            <a16:creationId xmlns:a16="http://schemas.microsoft.com/office/drawing/2014/main" id="{184E2308-55D6-4C65-96B7-9009EC873E6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52572" y="4052534"/>
                        <a:ext cx="2326" cy="4652"/>
                      </a:xfrm>
                      <a:custGeom>
                        <a:avLst/>
                        <a:gdLst>
                          <a:gd name="connsiteX0" fmla="*/ 23 w 2326"/>
                          <a:gd name="connsiteY0" fmla="*/ 535 h 4652"/>
                          <a:gd name="connsiteX1" fmla="*/ 0 w 2326"/>
                          <a:gd name="connsiteY1" fmla="*/ 558 h 4652"/>
                          <a:gd name="connsiteX2" fmla="*/ 2675 w 2326"/>
                          <a:gd name="connsiteY2" fmla="*/ 5071 h 4652"/>
                          <a:gd name="connsiteX3" fmla="*/ 2675 w 2326"/>
                          <a:gd name="connsiteY3" fmla="*/ 5071 h 4652"/>
                          <a:gd name="connsiteX4" fmla="*/ 2675 w 2326"/>
                          <a:gd name="connsiteY4" fmla="*/ 5071 h 4652"/>
                          <a:gd name="connsiteX5" fmla="*/ 2698 w 2326"/>
                          <a:gd name="connsiteY5" fmla="*/ 5048 h 4652"/>
                          <a:gd name="connsiteX6" fmla="*/ 2908 w 2326"/>
                          <a:gd name="connsiteY6" fmla="*/ 1931 h 4652"/>
                          <a:gd name="connsiteX7" fmla="*/ 2210 w 2326"/>
                          <a:gd name="connsiteY7" fmla="*/ 768 h 4652"/>
                          <a:gd name="connsiteX8" fmla="*/ 1024 w 2326"/>
                          <a:gd name="connsiteY8" fmla="*/ 0 h 4652"/>
                          <a:gd name="connsiteX9" fmla="*/ 535 w 2326"/>
                          <a:gd name="connsiteY9" fmla="*/ 116 h 4652"/>
                          <a:gd name="connsiteX10" fmla="*/ 116 w 2326"/>
                          <a:gd name="connsiteY10" fmla="*/ 442 h 4652"/>
                          <a:gd name="connsiteX11" fmla="*/ 23 w 2326"/>
                          <a:gd name="connsiteY11" fmla="*/ 535 h 465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2326" h="4652">
                            <a:moveTo>
                              <a:pt x="23" y="535"/>
                            </a:moveTo>
                            <a:lnTo>
                              <a:pt x="0" y="558"/>
                            </a:lnTo>
                            <a:cubicBezTo>
                              <a:pt x="930" y="2000"/>
                              <a:pt x="1838" y="3512"/>
                              <a:pt x="2675" y="5071"/>
                            </a:cubicBezTo>
                            <a:lnTo>
                              <a:pt x="2675" y="5071"/>
                            </a:lnTo>
                            <a:lnTo>
                              <a:pt x="2675" y="5071"/>
                            </a:lnTo>
                            <a:cubicBezTo>
                              <a:pt x="2675" y="5071"/>
                              <a:pt x="2698" y="5048"/>
                              <a:pt x="2698" y="5048"/>
                            </a:cubicBezTo>
                            <a:cubicBezTo>
                              <a:pt x="3350" y="4257"/>
                              <a:pt x="3443" y="2884"/>
                              <a:pt x="2908" y="1931"/>
                            </a:cubicBezTo>
                            <a:cubicBezTo>
                              <a:pt x="2675" y="1558"/>
                              <a:pt x="2442" y="1163"/>
                              <a:pt x="2210" y="768"/>
                            </a:cubicBezTo>
                            <a:cubicBezTo>
                              <a:pt x="1884" y="256"/>
                              <a:pt x="1465" y="0"/>
                              <a:pt x="1024" y="0"/>
                            </a:cubicBezTo>
                            <a:cubicBezTo>
                              <a:pt x="861" y="0"/>
                              <a:pt x="698" y="46"/>
                              <a:pt x="535" y="116"/>
                            </a:cubicBezTo>
                            <a:cubicBezTo>
                              <a:pt x="395" y="186"/>
                              <a:pt x="256" y="302"/>
                              <a:pt x="116" y="442"/>
                            </a:cubicBezTo>
                            <a:cubicBezTo>
                              <a:pt x="93" y="488"/>
                              <a:pt x="47" y="512"/>
                              <a:pt x="23" y="535"/>
                            </a:cubicBezTo>
                            <a:close/>
                          </a:path>
                        </a:pathLst>
                      </a:custGeom>
                      <a:solidFill>
                        <a:srgbClr val="FAAB3C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772" name="Freeform: Shape 1771">
                        <a:extLst>
                          <a:ext uri="{FF2B5EF4-FFF2-40B4-BE49-F238E27FC236}">
                            <a16:creationId xmlns:a16="http://schemas.microsoft.com/office/drawing/2014/main" id="{29E533AB-8797-4432-B95C-6714E3B63E3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51967" y="4147790"/>
                        <a:ext cx="2326" cy="4652"/>
                      </a:xfrm>
                      <a:custGeom>
                        <a:avLst/>
                        <a:gdLst>
                          <a:gd name="connsiteX0" fmla="*/ 0 w 2326"/>
                          <a:gd name="connsiteY0" fmla="*/ 4443 h 4652"/>
                          <a:gd name="connsiteX1" fmla="*/ 23 w 2326"/>
                          <a:gd name="connsiteY1" fmla="*/ 4466 h 4652"/>
                          <a:gd name="connsiteX2" fmla="*/ 1070 w 2326"/>
                          <a:gd name="connsiteY2" fmla="*/ 5025 h 4652"/>
                          <a:gd name="connsiteX3" fmla="*/ 1070 w 2326"/>
                          <a:gd name="connsiteY3" fmla="*/ 5025 h 4652"/>
                          <a:gd name="connsiteX4" fmla="*/ 2233 w 2326"/>
                          <a:gd name="connsiteY4" fmla="*/ 4280 h 4652"/>
                          <a:gd name="connsiteX5" fmla="*/ 2931 w 2326"/>
                          <a:gd name="connsiteY5" fmla="*/ 3140 h 4652"/>
                          <a:gd name="connsiteX6" fmla="*/ 2768 w 2326"/>
                          <a:gd name="connsiteY6" fmla="*/ 23 h 4652"/>
                          <a:gd name="connsiteX7" fmla="*/ 2745 w 2326"/>
                          <a:gd name="connsiteY7" fmla="*/ 0 h 4652"/>
                          <a:gd name="connsiteX8" fmla="*/ 2745 w 2326"/>
                          <a:gd name="connsiteY8" fmla="*/ 0 h 4652"/>
                          <a:gd name="connsiteX9" fmla="*/ 0 w 2326"/>
                          <a:gd name="connsiteY9" fmla="*/ 4443 h 465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</a:cxnLst>
                        <a:rect l="l" t="t" r="r" b="b"/>
                        <a:pathLst>
                          <a:path w="2326" h="4652">
                            <a:moveTo>
                              <a:pt x="0" y="4443"/>
                            </a:moveTo>
                            <a:lnTo>
                              <a:pt x="23" y="4466"/>
                            </a:lnTo>
                            <a:cubicBezTo>
                              <a:pt x="326" y="4838"/>
                              <a:pt x="698" y="5025"/>
                              <a:pt x="1070" y="5025"/>
                            </a:cubicBezTo>
                            <a:lnTo>
                              <a:pt x="1070" y="5025"/>
                            </a:lnTo>
                            <a:cubicBezTo>
                              <a:pt x="1512" y="5025"/>
                              <a:pt x="1931" y="4769"/>
                              <a:pt x="2233" y="4280"/>
                            </a:cubicBezTo>
                            <a:cubicBezTo>
                              <a:pt x="2466" y="3908"/>
                              <a:pt x="2722" y="3536"/>
                              <a:pt x="2931" y="3140"/>
                            </a:cubicBezTo>
                            <a:cubicBezTo>
                              <a:pt x="3489" y="2233"/>
                              <a:pt x="3419" y="814"/>
                              <a:pt x="2768" y="23"/>
                            </a:cubicBezTo>
                            <a:lnTo>
                              <a:pt x="2745" y="0"/>
                            </a:lnTo>
                            <a:lnTo>
                              <a:pt x="2745" y="0"/>
                            </a:lnTo>
                            <a:cubicBezTo>
                              <a:pt x="1884" y="1535"/>
                              <a:pt x="954" y="3024"/>
                              <a:pt x="0" y="4443"/>
                            </a:cubicBezTo>
                            <a:close/>
                          </a:path>
                        </a:pathLst>
                      </a:custGeom>
                      <a:solidFill>
                        <a:srgbClr val="FAAB3C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773" name="Freeform: Shape 1772">
                        <a:extLst>
                          <a:ext uri="{FF2B5EF4-FFF2-40B4-BE49-F238E27FC236}">
                            <a16:creationId xmlns:a16="http://schemas.microsoft.com/office/drawing/2014/main" id="{D06C5856-D322-4E9B-826F-EC0FC8FC35F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48826" y="4047230"/>
                        <a:ext cx="2326" cy="4652"/>
                      </a:xfrm>
                      <a:custGeom>
                        <a:avLst/>
                        <a:gdLst>
                          <a:gd name="connsiteX0" fmla="*/ 744 w 2326"/>
                          <a:gd name="connsiteY0" fmla="*/ 116 h 4652"/>
                          <a:gd name="connsiteX1" fmla="*/ 419 w 2326"/>
                          <a:gd name="connsiteY1" fmla="*/ 302 h 4652"/>
                          <a:gd name="connsiteX2" fmla="*/ 395 w 2326"/>
                          <a:gd name="connsiteY2" fmla="*/ 302 h 4652"/>
                          <a:gd name="connsiteX3" fmla="*/ 23 w 2326"/>
                          <a:gd name="connsiteY3" fmla="*/ 698 h 4652"/>
                          <a:gd name="connsiteX4" fmla="*/ 0 w 2326"/>
                          <a:gd name="connsiteY4" fmla="*/ 721 h 4652"/>
                          <a:gd name="connsiteX5" fmla="*/ 1535 w 2326"/>
                          <a:gd name="connsiteY5" fmla="*/ 2722 h 4652"/>
                          <a:gd name="connsiteX6" fmla="*/ 3001 w 2326"/>
                          <a:gd name="connsiteY6" fmla="*/ 4815 h 4652"/>
                          <a:gd name="connsiteX7" fmla="*/ 3024 w 2326"/>
                          <a:gd name="connsiteY7" fmla="*/ 4792 h 4652"/>
                          <a:gd name="connsiteX8" fmla="*/ 3001 w 2326"/>
                          <a:gd name="connsiteY8" fmla="*/ 1652 h 4652"/>
                          <a:gd name="connsiteX9" fmla="*/ 2233 w 2326"/>
                          <a:gd name="connsiteY9" fmla="*/ 605 h 4652"/>
                          <a:gd name="connsiteX10" fmla="*/ 1163 w 2326"/>
                          <a:gd name="connsiteY10" fmla="*/ 0 h 4652"/>
                          <a:gd name="connsiteX11" fmla="*/ 837 w 2326"/>
                          <a:gd name="connsiteY11" fmla="*/ 46 h 4652"/>
                          <a:gd name="connsiteX12" fmla="*/ 744 w 2326"/>
                          <a:gd name="connsiteY12" fmla="*/ 116 h 465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</a:cxnLst>
                        <a:rect l="l" t="t" r="r" b="b"/>
                        <a:pathLst>
                          <a:path w="2326" h="4652">
                            <a:moveTo>
                              <a:pt x="744" y="116"/>
                            </a:moveTo>
                            <a:cubicBezTo>
                              <a:pt x="651" y="163"/>
                              <a:pt x="535" y="233"/>
                              <a:pt x="419" y="302"/>
                            </a:cubicBezTo>
                            <a:lnTo>
                              <a:pt x="395" y="302"/>
                            </a:lnTo>
                            <a:cubicBezTo>
                              <a:pt x="256" y="419"/>
                              <a:pt x="140" y="535"/>
                              <a:pt x="23" y="698"/>
                            </a:cubicBezTo>
                            <a:lnTo>
                              <a:pt x="0" y="721"/>
                            </a:lnTo>
                            <a:cubicBezTo>
                              <a:pt x="512" y="1372"/>
                              <a:pt x="1024" y="2047"/>
                              <a:pt x="1535" y="2722"/>
                            </a:cubicBezTo>
                            <a:cubicBezTo>
                              <a:pt x="2024" y="3396"/>
                              <a:pt x="2536" y="4094"/>
                              <a:pt x="3001" y="4815"/>
                            </a:cubicBezTo>
                            <a:lnTo>
                              <a:pt x="3024" y="4792"/>
                            </a:lnTo>
                            <a:cubicBezTo>
                              <a:pt x="3629" y="3931"/>
                              <a:pt x="3629" y="2536"/>
                              <a:pt x="3001" y="1652"/>
                            </a:cubicBezTo>
                            <a:cubicBezTo>
                              <a:pt x="2745" y="1303"/>
                              <a:pt x="2489" y="954"/>
                              <a:pt x="2233" y="605"/>
                            </a:cubicBezTo>
                            <a:cubicBezTo>
                              <a:pt x="1931" y="209"/>
                              <a:pt x="1535" y="0"/>
                              <a:pt x="1163" y="0"/>
                            </a:cubicBezTo>
                            <a:cubicBezTo>
                              <a:pt x="1047" y="0"/>
                              <a:pt x="930" y="23"/>
                              <a:pt x="837" y="46"/>
                            </a:cubicBezTo>
                            <a:cubicBezTo>
                              <a:pt x="814" y="70"/>
                              <a:pt x="791" y="93"/>
                              <a:pt x="744" y="116"/>
                            </a:cubicBezTo>
                            <a:close/>
                          </a:path>
                        </a:pathLst>
                      </a:custGeom>
                      <a:solidFill>
                        <a:srgbClr val="FAAB3C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774" name="Freeform: Shape 1773">
                        <a:extLst>
                          <a:ext uri="{FF2B5EF4-FFF2-40B4-BE49-F238E27FC236}">
                            <a16:creationId xmlns:a16="http://schemas.microsoft.com/office/drawing/2014/main" id="{6D0907F6-3EB1-4D57-9324-8968ECD3729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48198" y="4153303"/>
                        <a:ext cx="2326" cy="4652"/>
                      </a:xfrm>
                      <a:custGeom>
                        <a:avLst/>
                        <a:gdLst>
                          <a:gd name="connsiteX0" fmla="*/ 1559 w 2326"/>
                          <a:gd name="connsiteY0" fmla="*/ 2047 h 4652"/>
                          <a:gd name="connsiteX1" fmla="*/ 0 w 2326"/>
                          <a:gd name="connsiteY1" fmla="*/ 4001 h 4652"/>
                          <a:gd name="connsiteX2" fmla="*/ 0 w 2326"/>
                          <a:gd name="connsiteY2" fmla="*/ 4001 h 4652"/>
                          <a:gd name="connsiteX3" fmla="*/ 0 w 2326"/>
                          <a:gd name="connsiteY3" fmla="*/ 4024 h 4652"/>
                          <a:gd name="connsiteX4" fmla="*/ 1163 w 2326"/>
                          <a:gd name="connsiteY4" fmla="*/ 4745 h 4652"/>
                          <a:gd name="connsiteX5" fmla="*/ 1163 w 2326"/>
                          <a:gd name="connsiteY5" fmla="*/ 4745 h 4652"/>
                          <a:gd name="connsiteX6" fmla="*/ 2233 w 2326"/>
                          <a:gd name="connsiteY6" fmla="*/ 4164 h 4652"/>
                          <a:gd name="connsiteX7" fmla="*/ 3001 w 2326"/>
                          <a:gd name="connsiteY7" fmla="*/ 3140 h 4652"/>
                          <a:gd name="connsiteX8" fmla="*/ 3071 w 2326"/>
                          <a:gd name="connsiteY8" fmla="*/ 0 h 4652"/>
                          <a:gd name="connsiteX9" fmla="*/ 3071 w 2326"/>
                          <a:gd name="connsiteY9" fmla="*/ 0 h 4652"/>
                          <a:gd name="connsiteX10" fmla="*/ 3071 w 2326"/>
                          <a:gd name="connsiteY10" fmla="*/ 0 h 4652"/>
                          <a:gd name="connsiteX11" fmla="*/ 1559 w 2326"/>
                          <a:gd name="connsiteY11" fmla="*/ 2047 h 465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2326" h="4652">
                            <a:moveTo>
                              <a:pt x="1559" y="2047"/>
                            </a:moveTo>
                            <a:cubicBezTo>
                              <a:pt x="1047" y="2722"/>
                              <a:pt x="535" y="3373"/>
                              <a:pt x="0" y="4001"/>
                            </a:cubicBezTo>
                            <a:lnTo>
                              <a:pt x="0" y="4001"/>
                            </a:lnTo>
                            <a:lnTo>
                              <a:pt x="0" y="4024"/>
                            </a:lnTo>
                            <a:cubicBezTo>
                              <a:pt x="326" y="4513"/>
                              <a:pt x="744" y="4745"/>
                              <a:pt x="1163" y="4745"/>
                            </a:cubicBezTo>
                            <a:lnTo>
                              <a:pt x="1163" y="4745"/>
                            </a:lnTo>
                            <a:cubicBezTo>
                              <a:pt x="1535" y="4745"/>
                              <a:pt x="1907" y="4559"/>
                              <a:pt x="2233" y="4164"/>
                            </a:cubicBezTo>
                            <a:cubicBezTo>
                              <a:pt x="2489" y="3815"/>
                              <a:pt x="2768" y="3466"/>
                              <a:pt x="3001" y="3140"/>
                            </a:cubicBezTo>
                            <a:cubicBezTo>
                              <a:pt x="3629" y="2280"/>
                              <a:pt x="3652" y="884"/>
                              <a:pt x="3071" y="0"/>
                            </a:cubicBezTo>
                            <a:lnTo>
                              <a:pt x="3071" y="0"/>
                            </a:lnTo>
                            <a:lnTo>
                              <a:pt x="3071" y="0"/>
                            </a:lnTo>
                            <a:cubicBezTo>
                              <a:pt x="2559" y="698"/>
                              <a:pt x="2070" y="1372"/>
                              <a:pt x="1559" y="2047"/>
                            </a:cubicBezTo>
                            <a:close/>
                          </a:path>
                        </a:pathLst>
                      </a:custGeom>
                      <a:solidFill>
                        <a:srgbClr val="FAAB3C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775" name="Freeform: Shape 1774">
                        <a:extLst>
                          <a:ext uri="{FF2B5EF4-FFF2-40B4-BE49-F238E27FC236}">
                            <a16:creationId xmlns:a16="http://schemas.microsoft.com/office/drawing/2014/main" id="{483F5BF2-15FE-4CD9-8B16-4E71FC1D8E7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44849" y="4042485"/>
                        <a:ext cx="2326" cy="2326"/>
                      </a:xfrm>
                      <a:custGeom>
                        <a:avLst/>
                        <a:gdLst>
                          <a:gd name="connsiteX0" fmla="*/ 768 w 2326"/>
                          <a:gd name="connsiteY0" fmla="*/ 93 h 2326"/>
                          <a:gd name="connsiteX1" fmla="*/ 512 w 2326"/>
                          <a:gd name="connsiteY1" fmla="*/ 233 h 2326"/>
                          <a:gd name="connsiteX2" fmla="*/ 326 w 2326"/>
                          <a:gd name="connsiteY2" fmla="*/ 395 h 2326"/>
                          <a:gd name="connsiteX3" fmla="*/ 233 w 2326"/>
                          <a:gd name="connsiteY3" fmla="*/ 488 h 2326"/>
                          <a:gd name="connsiteX4" fmla="*/ 209 w 2326"/>
                          <a:gd name="connsiteY4" fmla="*/ 535 h 2326"/>
                          <a:gd name="connsiteX5" fmla="*/ 0 w 2326"/>
                          <a:gd name="connsiteY5" fmla="*/ 861 h 2326"/>
                          <a:gd name="connsiteX6" fmla="*/ 0 w 2326"/>
                          <a:gd name="connsiteY6" fmla="*/ 861 h 2326"/>
                          <a:gd name="connsiteX7" fmla="*/ 0 w 2326"/>
                          <a:gd name="connsiteY7" fmla="*/ 884 h 2326"/>
                          <a:gd name="connsiteX8" fmla="*/ 0 w 2326"/>
                          <a:gd name="connsiteY8" fmla="*/ 884 h 2326"/>
                          <a:gd name="connsiteX9" fmla="*/ 675 w 2326"/>
                          <a:gd name="connsiteY9" fmla="*/ 1582 h 2326"/>
                          <a:gd name="connsiteX10" fmla="*/ 1675 w 2326"/>
                          <a:gd name="connsiteY10" fmla="*/ 2652 h 2326"/>
                          <a:gd name="connsiteX11" fmla="*/ 3280 w 2326"/>
                          <a:gd name="connsiteY11" fmla="*/ 4536 h 2326"/>
                          <a:gd name="connsiteX12" fmla="*/ 3303 w 2326"/>
                          <a:gd name="connsiteY12" fmla="*/ 4513 h 2326"/>
                          <a:gd name="connsiteX13" fmla="*/ 3071 w 2326"/>
                          <a:gd name="connsiteY13" fmla="*/ 1396 h 2326"/>
                          <a:gd name="connsiteX14" fmla="*/ 2233 w 2326"/>
                          <a:gd name="connsiteY14" fmla="*/ 465 h 2326"/>
                          <a:gd name="connsiteX15" fmla="*/ 1279 w 2326"/>
                          <a:gd name="connsiteY15" fmla="*/ 0 h 2326"/>
                          <a:gd name="connsiteX16" fmla="*/ 1279 w 2326"/>
                          <a:gd name="connsiteY16" fmla="*/ 0 h 2326"/>
                          <a:gd name="connsiteX17" fmla="*/ 861 w 2326"/>
                          <a:gd name="connsiteY17" fmla="*/ 93 h 2326"/>
                          <a:gd name="connsiteX18" fmla="*/ 768 w 2326"/>
                          <a:gd name="connsiteY18" fmla="*/ 93 h 232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</a:cxnLst>
                        <a:rect l="l" t="t" r="r" b="b"/>
                        <a:pathLst>
                          <a:path w="2326" h="2326">
                            <a:moveTo>
                              <a:pt x="768" y="93"/>
                            </a:moveTo>
                            <a:cubicBezTo>
                              <a:pt x="675" y="140"/>
                              <a:pt x="605" y="163"/>
                              <a:pt x="512" y="233"/>
                            </a:cubicBezTo>
                            <a:cubicBezTo>
                              <a:pt x="442" y="279"/>
                              <a:pt x="395" y="326"/>
                              <a:pt x="326" y="395"/>
                            </a:cubicBezTo>
                            <a:cubicBezTo>
                              <a:pt x="302" y="419"/>
                              <a:pt x="256" y="442"/>
                              <a:pt x="233" y="488"/>
                            </a:cubicBezTo>
                            <a:cubicBezTo>
                              <a:pt x="233" y="488"/>
                              <a:pt x="209" y="512"/>
                              <a:pt x="209" y="535"/>
                            </a:cubicBezTo>
                            <a:cubicBezTo>
                              <a:pt x="140" y="628"/>
                              <a:pt x="46" y="721"/>
                              <a:pt x="0" y="861"/>
                            </a:cubicBezTo>
                            <a:lnTo>
                              <a:pt x="0" y="861"/>
                            </a:lnTo>
                            <a:lnTo>
                              <a:pt x="0" y="884"/>
                            </a:lnTo>
                            <a:lnTo>
                              <a:pt x="0" y="884"/>
                            </a:lnTo>
                            <a:cubicBezTo>
                              <a:pt x="233" y="1117"/>
                              <a:pt x="442" y="1372"/>
                              <a:pt x="675" y="1582"/>
                            </a:cubicBezTo>
                            <a:cubicBezTo>
                              <a:pt x="1000" y="1931"/>
                              <a:pt x="1326" y="2280"/>
                              <a:pt x="1675" y="2652"/>
                            </a:cubicBezTo>
                            <a:cubicBezTo>
                              <a:pt x="2210" y="3257"/>
                              <a:pt x="2745" y="3885"/>
                              <a:pt x="3280" y="4536"/>
                            </a:cubicBezTo>
                            <a:lnTo>
                              <a:pt x="3303" y="4513"/>
                            </a:lnTo>
                            <a:cubicBezTo>
                              <a:pt x="3838" y="3559"/>
                              <a:pt x="3745" y="2163"/>
                              <a:pt x="3071" y="1396"/>
                            </a:cubicBezTo>
                            <a:cubicBezTo>
                              <a:pt x="2791" y="1070"/>
                              <a:pt x="2512" y="768"/>
                              <a:pt x="2233" y="465"/>
                            </a:cubicBezTo>
                            <a:cubicBezTo>
                              <a:pt x="1931" y="140"/>
                              <a:pt x="1605" y="0"/>
                              <a:pt x="1279" y="0"/>
                            </a:cubicBezTo>
                            <a:lnTo>
                              <a:pt x="1279" y="0"/>
                            </a:lnTo>
                            <a:cubicBezTo>
                              <a:pt x="1140" y="0"/>
                              <a:pt x="1000" y="23"/>
                              <a:pt x="861" y="93"/>
                            </a:cubicBezTo>
                            <a:lnTo>
                              <a:pt x="768" y="93"/>
                            </a:lnTo>
                            <a:close/>
                          </a:path>
                        </a:pathLst>
                      </a:custGeom>
                      <a:solidFill>
                        <a:srgbClr val="FAAB3C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776" name="Freeform: Shape 1775">
                        <a:extLst>
                          <a:ext uri="{FF2B5EF4-FFF2-40B4-BE49-F238E27FC236}">
                            <a16:creationId xmlns:a16="http://schemas.microsoft.com/office/drawing/2014/main" id="{EC1F556B-5331-49C2-B07A-338A2E8A457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44104" y="4158235"/>
                        <a:ext cx="2326" cy="2326"/>
                      </a:xfrm>
                      <a:custGeom>
                        <a:avLst/>
                        <a:gdLst>
                          <a:gd name="connsiteX0" fmla="*/ 1675 w 2326"/>
                          <a:gd name="connsiteY0" fmla="*/ 1838 h 2326"/>
                          <a:gd name="connsiteX1" fmla="*/ 0 w 2326"/>
                          <a:gd name="connsiteY1" fmla="*/ 3559 h 2326"/>
                          <a:gd name="connsiteX2" fmla="*/ 0 w 2326"/>
                          <a:gd name="connsiteY2" fmla="*/ 3559 h 2326"/>
                          <a:gd name="connsiteX3" fmla="*/ 0 w 2326"/>
                          <a:gd name="connsiteY3" fmla="*/ 3582 h 2326"/>
                          <a:gd name="connsiteX4" fmla="*/ 279 w 2326"/>
                          <a:gd name="connsiteY4" fmla="*/ 3978 h 2326"/>
                          <a:gd name="connsiteX5" fmla="*/ 582 w 2326"/>
                          <a:gd name="connsiteY5" fmla="*/ 4257 h 2326"/>
                          <a:gd name="connsiteX6" fmla="*/ 1279 w 2326"/>
                          <a:gd name="connsiteY6" fmla="*/ 4489 h 2326"/>
                          <a:gd name="connsiteX7" fmla="*/ 1279 w 2326"/>
                          <a:gd name="connsiteY7" fmla="*/ 4489 h 2326"/>
                          <a:gd name="connsiteX8" fmla="*/ 2210 w 2326"/>
                          <a:gd name="connsiteY8" fmla="*/ 4048 h 2326"/>
                          <a:gd name="connsiteX9" fmla="*/ 3071 w 2326"/>
                          <a:gd name="connsiteY9" fmla="*/ 3140 h 2326"/>
                          <a:gd name="connsiteX10" fmla="*/ 3350 w 2326"/>
                          <a:gd name="connsiteY10" fmla="*/ 23 h 2326"/>
                          <a:gd name="connsiteX11" fmla="*/ 3350 w 2326"/>
                          <a:gd name="connsiteY11" fmla="*/ 0 h 2326"/>
                          <a:gd name="connsiteX12" fmla="*/ 1675 w 2326"/>
                          <a:gd name="connsiteY12" fmla="*/ 1838 h 232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</a:cxnLst>
                        <a:rect l="l" t="t" r="r" b="b"/>
                        <a:pathLst>
                          <a:path w="2326" h="2326">
                            <a:moveTo>
                              <a:pt x="1675" y="1838"/>
                            </a:moveTo>
                            <a:cubicBezTo>
                              <a:pt x="1140" y="2442"/>
                              <a:pt x="558" y="3001"/>
                              <a:pt x="0" y="3559"/>
                            </a:cubicBezTo>
                            <a:lnTo>
                              <a:pt x="0" y="3559"/>
                            </a:lnTo>
                            <a:cubicBezTo>
                              <a:pt x="0" y="3559"/>
                              <a:pt x="0" y="3582"/>
                              <a:pt x="0" y="3582"/>
                            </a:cubicBezTo>
                            <a:cubicBezTo>
                              <a:pt x="93" y="3745"/>
                              <a:pt x="163" y="3861"/>
                              <a:pt x="279" y="3978"/>
                            </a:cubicBezTo>
                            <a:cubicBezTo>
                              <a:pt x="372" y="4094"/>
                              <a:pt x="489" y="4187"/>
                              <a:pt x="582" y="4257"/>
                            </a:cubicBezTo>
                            <a:cubicBezTo>
                              <a:pt x="814" y="4420"/>
                              <a:pt x="1047" y="4489"/>
                              <a:pt x="1279" y="4489"/>
                            </a:cubicBezTo>
                            <a:lnTo>
                              <a:pt x="1279" y="4489"/>
                            </a:lnTo>
                            <a:cubicBezTo>
                              <a:pt x="1605" y="4489"/>
                              <a:pt x="1931" y="4350"/>
                              <a:pt x="2210" y="4048"/>
                            </a:cubicBezTo>
                            <a:cubicBezTo>
                              <a:pt x="2489" y="3768"/>
                              <a:pt x="2791" y="3443"/>
                              <a:pt x="3071" y="3140"/>
                            </a:cubicBezTo>
                            <a:cubicBezTo>
                              <a:pt x="3768" y="2396"/>
                              <a:pt x="3885" y="977"/>
                              <a:pt x="3350" y="23"/>
                            </a:cubicBezTo>
                            <a:lnTo>
                              <a:pt x="3350" y="0"/>
                            </a:lnTo>
                            <a:cubicBezTo>
                              <a:pt x="2768" y="651"/>
                              <a:pt x="2233" y="1256"/>
                              <a:pt x="1675" y="1838"/>
                            </a:cubicBezTo>
                            <a:close/>
                          </a:path>
                        </a:pathLst>
                      </a:custGeom>
                      <a:solidFill>
                        <a:srgbClr val="FAAB3C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777" name="Freeform: Shape 1776">
                        <a:extLst>
                          <a:ext uri="{FF2B5EF4-FFF2-40B4-BE49-F238E27FC236}">
                            <a16:creationId xmlns:a16="http://schemas.microsoft.com/office/drawing/2014/main" id="{006D2349-ABFB-4A63-8A03-85EBDDDBA56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40452" y="4038251"/>
                        <a:ext cx="2326" cy="2326"/>
                      </a:xfrm>
                      <a:custGeom>
                        <a:avLst/>
                        <a:gdLst>
                          <a:gd name="connsiteX0" fmla="*/ 721 w 2326"/>
                          <a:gd name="connsiteY0" fmla="*/ 209 h 2326"/>
                          <a:gd name="connsiteX1" fmla="*/ 372 w 2326"/>
                          <a:gd name="connsiteY1" fmla="*/ 512 h 2326"/>
                          <a:gd name="connsiteX2" fmla="*/ 326 w 2326"/>
                          <a:gd name="connsiteY2" fmla="*/ 558 h 2326"/>
                          <a:gd name="connsiteX3" fmla="*/ 0 w 2326"/>
                          <a:gd name="connsiteY3" fmla="*/ 1093 h 2326"/>
                          <a:gd name="connsiteX4" fmla="*/ 0 w 2326"/>
                          <a:gd name="connsiteY4" fmla="*/ 1093 h 2326"/>
                          <a:gd name="connsiteX5" fmla="*/ 1256 w 2326"/>
                          <a:gd name="connsiteY5" fmla="*/ 2187 h 2326"/>
                          <a:gd name="connsiteX6" fmla="*/ 1768 w 2326"/>
                          <a:gd name="connsiteY6" fmla="*/ 2629 h 2326"/>
                          <a:gd name="connsiteX7" fmla="*/ 3513 w 2326"/>
                          <a:gd name="connsiteY7" fmla="*/ 4257 h 2326"/>
                          <a:gd name="connsiteX8" fmla="*/ 3513 w 2326"/>
                          <a:gd name="connsiteY8" fmla="*/ 4234 h 2326"/>
                          <a:gd name="connsiteX9" fmla="*/ 3513 w 2326"/>
                          <a:gd name="connsiteY9" fmla="*/ 4210 h 2326"/>
                          <a:gd name="connsiteX10" fmla="*/ 3047 w 2326"/>
                          <a:gd name="connsiteY10" fmla="*/ 1163 h 2326"/>
                          <a:gd name="connsiteX11" fmla="*/ 2140 w 2326"/>
                          <a:gd name="connsiteY11" fmla="*/ 349 h 2326"/>
                          <a:gd name="connsiteX12" fmla="*/ 1303 w 2326"/>
                          <a:gd name="connsiteY12" fmla="*/ 0 h 2326"/>
                          <a:gd name="connsiteX13" fmla="*/ 1303 w 2326"/>
                          <a:gd name="connsiteY13" fmla="*/ 0 h 2326"/>
                          <a:gd name="connsiteX14" fmla="*/ 768 w 2326"/>
                          <a:gd name="connsiteY14" fmla="*/ 163 h 2326"/>
                          <a:gd name="connsiteX15" fmla="*/ 721 w 2326"/>
                          <a:gd name="connsiteY15" fmla="*/ 209 h 232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</a:cxnLst>
                        <a:rect l="l" t="t" r="r" b="b"/>
                        <a:pathLst>
                          <a:path w="2326" h="2326">
                            <a:moveTo>
                              <a:pt x="721" y="209"/>
                            </a:moveTo>
                            <a:cubicBezTo>
                              <a:pt x="605" y="279"/>
                              <a:pt x="465" y="372"/>
                              <a:pt x="372" y="512"/>
                            </a:cubicBezTo>
                            <a:cubicBezTo>
                              <a:pt x="349" y="512"/>
                              <a:pt x="349" y="535"/>
                              <a:pt x="326" y="558"/>
                            </a:cubicBezTo>
                            <a:cubicBezTo>
                              <a:pt x="209" y="721"/>
                              <a:pt x="70" y="884"/>
                              <a:pt x="0" y="1093"/>
                            </a:cubicBezTo>
                            <a:lnTo>
                              <a:pt x="0" y="1093"/>
                            </a:lnTo>
                            <a:cubicBezTo>
                              <a:pt x="419" y="1465"/>
                              <a:pt x="837" y="1838"/>
                              <a:pt x="1256" y="2187"/>
                            </a:cubicBezTo>
                            <a:cubicBezTo>
                              <a:pt x="1419" y="2349"/>
                              <a:pt x="1605" y="2466"/>
                              <a:pt x="1768" y="2629"/>
                            </a:cubicBezTo>
                            <a:cubicBezTo>
                              <a:pt x="2349" y="3164"/>
                              <a:pt x="2931" y="3699"/>
                              <a:pt x="3513" y="4257"/>
                            </a:cubicBezTo>
                            <a:lnTo>
                              <a:pt x="3513" y="4234"/>
                            </a:lnTo>
                            <a:lnTo>
                              <a:pt x="3513" y="4210"/>
                            </a:lnTo>
                            <a:cubicBezTo>
                              <a:pt x="3978" y="3187"/>
                              <a:pt x="3768" y="1814"/>
                              <a:pt x="3047" y="1163"/>
                            </a:cubicBezTo>
                            <a:cubicBezTo>
                              <a:pt x="2745" y="884"/>
                              <a:pt x="2442" y="628"/>
                              <a:pt x="2140" y="349"/>
                            </a:cubicBezTo>
                            <a:cubicBezTo>
                              <a:pt x="1884" y="116"/>
                              <a:pt x="1605" y="0"/>
                              <a:pt x="1303" y="0"/>
                            </a:cubicBezTo>
                            <a:lnTo>
                              <a:pt x="1303" y="0"/>
                            </a:lnTo>
                            <a:cubicBezTo>
                              <a:pt x="1117" y="0"/>
                              <a:pt x="930" y="70"/>
                              <a:pt x="768" y="163"/>
                            </a:cubicBezTo>
                            <a:cubicBezTo>
                              <a:pt x="744" y="186"/>
                              <a:pt x="744" y="209"/>
                              <a:pt x="721" y="209"/>
                            </a:cubicBezTo>
                            <a:close/>
                          </a:path>
                        </a:pathLst>
                      </a:custGeom>
                      <a:solidFill>
                        <a:srgbClr val="FAAB3C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778" name="Freeform: Shape 1777">
                        <a:extLst>
                          <a:ext uri="{FF2B5EF4-FFF2-40B4-BE49-F238E27FC236}">
                            <a16:creationId xmlns:a16="http://schemas.microsoft.com/office/drawing/2014/main" id="{3FCBA624-DBA7-4635-929A-DD23B5625AB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00175" y="4029411"/>
                        <a:ext cx="2326" cy="2326"/>
                      </a:xfrm>
                      <a:custGeom>
                        <a:avLst/>
                        <a:gdLst>
                          <a:gd name="connsiteX0" fmla="*/ 4035 w 2326"/>
                          <a:gd name="connsiteY0" fmla="*/ 1442 h 2326"/>
                          <a:gd name="connsiteX1" fmla="*/ 2593 w 2326"/>
                          <a:gd name="connsiteY1" fmla="*/ 0 h 2326"/>
                          <a:gd name="connsiteX2" fmla="*/ 2221 w 2326"/>
                          <a:gd name="connsiteY2" fmla="*/ 70 h 2326"/>
                          <a:gd name="connsiteX3" fmla="*/ 1174 w 2326"/>
                          <a:gd name="connsiteY3" fmla="*/ 442 h 2326"/>
                          <a:gd name="connsiteX4" fmla="*/ 197 w 2326"/>
                          <a:gd name="connsiteY4" fmla="*/ 1489 h 2326"/>
                          <a:gd name="connsiteX5" fmla="*/ 174 w 2326"/>
                          <a:gd name="connsiteY5" fmla="*/ 1605 h 2326"/>
                          <a:gd name="connsiteX6" fmla="*/ 58 w 2326"/>
                          <a:gd name="connsiteY6" fmla="*/ 3140 h 2326"/>
                          <a:gd name="connsiteX7" fmla="*/ 58 w 2326"/>
                          <a:gd name="connsiteY7" fmla="*/ 3187 h 2326"/>
                          <a:gd name="connsiteX8" fmla="*/ 4105 w 2326"/>
                          <a:gd name="connsiteY8" fmla="*/ 1745 h 2326"/>
                          <a:gd name="connsiteX9" fmla="*/ 4105 w 2326"/>
                          <a:gd name="connsiteY9" fmla="*/ 1698 h 2326"/>
                          <a:gd name="connsiteX10" fmla="*/ 4035 w 2326"/>
                          <a:gd name="connsiteY10" fmla="*/ 1442 h 232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</a:cxnLst>
                        <a:rect l="l" t="t" r="r" b="b"/>
                        <a:pathLst>
                          <a:path w="2326" h="2326">
                            <a:moveTo>
                              <a:pt x="4035" y="1442"/>
                            </a:moveTo>
                            <a:cubicBezTo>
                              <a:pt x="3803" y="582"/>
                              <a:pt x="3245" y="0"/>
                              <a:pt x="2593" y="0"/>
                            </a:cubicBezTo>
                            <a:cubicBezTo>
                              <a:pt x="2477" y="0"/>
                              <a:pt x="2337" y="23"/>
                              <a:pt x="2221" y="70"/>
                            </a:cubicBezTo>
                            <a:cubicBezTo>
                              <a:pt x="1872" y="186"/>
                              <a:pt x="1523" y="302"/>
                              <a:pt x="1174" y="442"/>
                            </a:cubicBezTo>
                            <a:cubicBezTo>
                              <a:pt x="732" y="605"/>
                              <a:pt x="407" y="977"/>
                              <a:pt x="197" y="1489"/>
                            </a:cubicBezTo>
                            <a:cubicBezTo>
                              <a:pt x="197" y="1512"/>
                              <a:pt x="174" y="1558"/>
                              <a:pt x="174" y="1605"/>
                            </a:cubicBezTo>
                            <a:cubicBezTo>
                              <a:pt x="11" y="2070"/>
                              <a:pt x="-59" y="2605"/>
                              <a:pt x="58" y="3140"/>
                            </a:cubicBezTo>
                            <a:lnTo>
                              <a:pt x="58" y="3187"/>
                            </a:lnTo>
                            <a:cubicBezTo>
                              <a:pt x="1384" y="2629"/>
                              <a:pt x="2733" y="2163"/>
                              <a:pt x="4105" y="1745"/>
                            </a:cubicBezTo>
                            <a:lnTo>
                              <a:pt x="4105" y="1698"/>
                            </a:lnTo>
                            <a:cubicBezTo>
                              <a:pt x="4082" y="1605"/>
                              <a:pt x="4059" y="1535"/>
                              <a:pt x="4035" y="1442"/>
                            </a:cubicBezTo>
                            <a:close/>
                          </a:path>
                        </a:pathLst>
                      </a:custGeom>
                      <a:solidFill>
                        <a:srgbClr val="FAAB3C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779" name="Freeform: Shape 1778">
                        <a:extLst>
                          <a:ext uri="{FF2B5EF4-FFF2-40B4-BE49-F238E27FC236}">
                            <a16:creationId xmlns:a16="http://schemas.microsoft.com/office/drawing/2014/main" id="{281ECA2F-DD39-406D-A75C-BDFA5F335F9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99386" y="4171541"/>
                        <a:ext cx="2326" cy="2326"/>
                      </a:xfrm>
                      <a:custGeom>
                        <a:avLst/>
                        <a:gdLst>
                          <a:gd name="connsiteX0" fmla="*/ 56 w 2326"/>
                          <a:gd name="connsiteY0" fmla="*/ 0 h 2326"/>
                          <a:gd name="connsiteX1" fmla="*/ 56 w 2326"/>
                          <a:gd name="connsiteY1" fmla="*/ 23 h 2326"/>
                          <a:gd name="connsiteX2" fmla="*/ 9 w 2326"/>
                          <a:gd name="connsiteY2" fmla="*/ 791 h 2326"/>
                          <a:gd name="connsiteX3" fmla="*/ 9 w 2326"/>
                          <a:gd name="connsiteY3" fmla="*/ 861 h 2326"/>
                          <a:gd name="connsiteX4" fmla="*/ 9 w 2326"/>
                          <a:gd name="connsiteY4" fmla="*/ 930 h 2326"/>
                          <a:gd name="connsiteX5" fmla="*/ 9 w 2326"/>
                          <a:gd name="connsiteY5" fmla="*/ 930 h 2326"/>
                          <a:gd name="connsiteX6" fmla="*/ 79 w 2326"/>
                          <a:gd name="connsiteY6" fmla="*/ 1303 h 2326"/>
                          <a:gd name="connsiteX7" fmla="*/ 102 w 2326"/>
                          <a:gd name="connsiteY7" fmla="*/ 1372 h 2326"/>
                          <a:gd name="connsiteX8" fmla="*/ 218 w 2326"/>
                          <a:gd name="connsiteY8" fmla="*/ 1745 h 2326"/>
                          <a:gd name="connsiteX9" fmla="*/ 242 w 2326"/>
                          <a:gd name="connsiteY9" fmla="*/ 1768 h 2326"/>
                          <a:gd name="connsiteX10" fmla="*/ 1126 w 2326"/>
                          <a:gd name="connsiteY10" fmla="*/ 2722 h 2326"/>
                          <a:gd name="connsiteX11" fmla="*/ 2172 w 2326"/>
                          <a:gd name="connsiteY11" fmla="*/ 3117 h 2326"/>
                          <a:gd name="connsiteX12" fmla="*/ 2545 w 2326"/>
                          <a:gd name="connsiteY12" fmla="*/ 3187 h 2326"/>
                          <a:gd name="connsiteX13" fmla="*/ 3987 w 2326"/>
                          <a:gd name="connsiteY13" fmla="*/ 1791 h 2326"/>
                          <a:gd name="connsiteX14" fmla="*/ 4080 w 2326"/>
                          <a:gd name="connsiteY14" fmla="*/ 1512 h 2326"/>
                          <a:gd name="connsiteX15" fmla="*/ 4080 w 2326"/>
                          <a:gd name="connsiteY15" fmla="*/ 1489 h 2326"/>
                          <a:gd name="connsiteX16" fmla="*/ 2033 w 2326"/>
                          <a:gd name="connsiteY16" fmla="*/ 768 h 2326"/>
                          <a:gd name="connsiteX17" fmla="*/ 56 w 2326"/>
                          <a:gd name="connsiteY17" fmla="*/ 0 h 2326"/>
                          <a:gd name="connsiteX18" fmla="*/ 56 w 2326"/>
                          <a:gd name="connsiteY18" fmla="*/ 0 h 232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</a:cxnLst>
                        <a:rect l="l" t="t" r="r" b="b"/>
                        <a:pathLst>
                          <a:path w="2326" h="2326">
                            <a:moveTo>
                              <a:pt x="56" y="0"/>
                            </a:moveTo>
                            <a:lnTo>
                              <a:pt x="56" y="23"/>
                            </a:lnTo>
                            <a:cubicBezTo>
                              <a:pt x="9" y="279"/>
                              <a:pt x="-14" y="535"/>
                              <a:pt x="9" y="791"/>
                            </a:cubicBezTo>
                            <a:cubicBezTo>
                              <a:pt x="9" y="814"/>
                              <a:pt x="9" y="837"/>
                              <a:pt x="9" y="861"/>
                            </a:cubicBezTo>
                            <a:cubicBezTo>
                              <a:pt x="9" y="884"/>
                              <a:pt x="9" y="907"/>
                              <a:pt x="9" y="930"/>
                            </a:cubicBezTo>
                            <a:lnTo>
                              <a:pt x="9" y="930"/>
                            </a:lnTo>
                            <a:cubicBezTo>
                              <a:pt x="9" y="1070"/>
                              <a:pt x="56" y="1186"/>
                              <a:pt x="79" y="1303"/>
                            </a:cubicBezTo>
                            <a:cubicBezTo>
                              <a:pt x="79" y="1326"/>
                              <a:pt x="102" y="1349"/>
                              <a:pt x="102" y="1372"/>
                            </a:cubicBezTo>
                            <a:cubicBezTo>
                              <a:pt x="149" y="1489"/>
                              <a:pt x="172" y="1628"/>
                              <a:pt x="218" y="1745"/>
                            </a:cubicBezTo>
                            <a:cubicBezTo>
                              <a:pt x="218" y="1768"/>
                              <a:pt x="242" y="1768"/>
                              <a:pt x="242" y="1768"/>
                            </a:cubicBezTo>
                            <a:cubicBezTo>
                              <a:pt x="451" y="2233"/>
                              <a:pt x="753" y="2559"/>
                              <a:pt x="1126" y="2722"/>
                            </a:cubicBezTo>
                            <a:cubicBezTo>
                              <a:pt x="1475" y="2861"/>
                              <a:pt x="1824" y="3001"/>
                              <a:pt x="2172" y="3117"/>
                            </a:cubicBezTo>
                            <a:cubicBezTo>
                              <a:pt x="2312" y="3164"/>
                              <a:pt x="2428" y="3187"/>
                              <a:pt x="2545" y="3187"/>
                            </a:cubicBezTo>
                            <a:cubicBezTo>
                              <a:pt x="3196" y="3187"/>
                              <a:pt x="3731" y="2629"/>
                              <a:pt x="3987" y="1791"/>
                            </a:cubicBezTo>
                            <a:cubicBezTo>
                              <a:pt x="4010" y="1698"/>
                              <a:pt x="4057" y="1628"/>
                              <a:pt x="4080" y="1512"/>
                            </a:cubicBezTo>
                            <a:lnTo>
                              <a:pt x="4080" y="1489"/>
                            </a:lnTo>
                            <a:cubicBezTo>
                              <a:pt x="3405" y="1256"/>
                              <a:pt x="2731" y="1024"/>
                              <a:pt x="2033" y="768"/>
                            </a:cubicBezTo>
                            <a:cubicBezTo>
                              <a:pt x="1382" y="558"/>
                              <a:pt x="730" y="302"/>
                              <a:pt x="56" y="0"/>
                            </a:cubicBezTo>
                            <a:lnTo>
                              <a:pt x="56" y="0"/>
                            </a:lnTo>
                            <a:close/>
                          </a:path>
                        </a:pathLst>
                      </a:custGeom>
                      <a:solidFill>
                        <a:srgbClr val="FAAB3C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780" name="Freeform: Shape 1779">
                        <a:extLst>
                          <a:ext uri="{FF2B5EF4-FFF2-40B4-BE49-F238E27FC236}">
                            <a16:creationId xmlns:a16="http://schemas.microsoft.com/office/drawing/2014/main" id="{B7569433-9BC3-457D-B0B1-96C01E2D14A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89710" y="4165772"/>
                        <a:ext cx="2326" cy="2326"/>
                      </a:xfrm>
                      <a:custGeom>
                        <a:avLst/>
                        <a:gdLst>
                          <a:gd name="connsiteX0" fmla="*/ 172 w 2326"/>
                          <a:gd name="connsiteY0" fmla="*/ 23 h 2326"/>
                          <a:gd name="connsiteX1" fmla="*/ 9 w 2326"/>
                          <a:gd name="connsiteY1" fmla="*/ 837 h 2326"/>
                          <a:gd name="connsiteX2" fmla="*/ 79 w 2326"/>
                          <a:gd name="connsiteY2" fmla="*/ 1745 h 2326"/>
                          <a:gd name="connsiteX3" fmla="*/ 265 w 2326"/>
                          <a:gd name="connsiteY3" fmla="*/ 2233 h 2326"/>
                          <a:gd name="connsiteX4" fmla="*/ 846 w 2326"/>
                          <a:gd name="connsiteY4" fmla="*/ 3001 h 2326"/>
                          <a:gd name="connsiteX5" fmla="*/ 1149 w 2326"/>
                          <a:gd name="connsiteY5" fmla="*/ 3233 h 2326"/>
                          <a:gd name="connsiteX6" fmla="*/ 1800 w 2326"/>
                          <a:gd name="connsiteY6" fmla="*/ 3699 h 2326"/>
                          <a:gd name="connsiteX7" fmla="*/ 2498 w 2326"/>
                          <a:gd name="connsiteY7" fmla="*/ 3908 h 2326"/>
                          <a:gd name="connsiteX8" fmla="*/ 3614 w 2326"/>
                          <a:gd name="connsiteY8" fmla="*/ 3233 h 2326"/>
                          <a:gd name="connsiteX9" fmla="*/ 3893 w 2326"/>
                          <a:gd name="connsiteY9" fmla="*/ 2675 h 2326"/>
                          <a:gd name="connsiteX10" fmla="*/ 3893 w 2326"/>
                          <a:gd name="connsiteY10" fmla="*/ 2652 h 2326"/>
                          <a:gd name="connsiteX11" fmla="*/ 172 w 2326"/>
                          <a:gd name="connsiteY11" fmla="*/ 0 h 2326"/>
                          <a:gd name="connsiteX12" fmla="*/ 172 w 2326"/>
                          <a:gd name="connsiteY12" fmla="*/ 0 h 2326"/>
                          <a:gd name="connsiteX13" fmla="*/ 172 w 2326"/>
                          <a:gd name="connsiteY13" fmla="*/ 0 h 2326"/>
                          <a:gd name="connsiteX14" fmla="*/ 172 w 2326"/>
                          <a:gd name="connsiteY14" fmla="*/ 23 h 232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</a:cxnLst>
                        <a:rect l="l" t="t" r="r" b="b"/>
                        <a:pathLst>
                          <a:path w="2326" h="2326">
                            <a:moveTo>
                              <a:pt x="172" y="23"/>
                            </a:moveTo>
                            <a:cubicBezTo>
                              <a:pt x="79" y="279"/>
                              <a:pt x="32" y="558"/>
                              <a:pt x="9" y="837"/>
                            </a:cubicBezTo>
                            <a:cubicBezTo>
                              <a:pt x="-15" y="1140"/>
                              <a:pt x="9" y="1442"/>
                              <a:pt x="79" y="1745"/>
                            </a:cubicBezTo>
                            <a:cubicBezTo>
                              <a:pt x="125" y="1907"/>
                              <a:pt x="195" y="2070"/>
                              <a:pt x="265" y="2233"/>
                            </a:cubicBezTo>
                            <a:cubicBezTo>
                              <a:pt x="404" y="2536"/>
                              <a:pt x="590" y="2838"/>
                              <a:pt x="846" y="3001"/>
                            </a:cubicBezTo>
                            <a:cubicBezTo>
                              <a:pt x="962" y="3071"/>
                              <a:pt x="1055" y="3164"/>
                              <a:pt x="1149" y="3233"/>
                            </a:cubicBezTo>
                            <a:cubicBezTo>
                              <a:pt x="1358" y="3396"/>
                              <a:pt x="1591" y="3536"/>
                              <a:pt x="1800" y="3699"/>
                            </a:cubicBezTo>
                            <a:cubicBezTo>
                              <a:pt x="2032" y="3861"/>
                              <a:pt x="2265" y="3908"/>
                              <a:pt x="2498" y="3908"/>
                            </a:cubicBezTo>
                            <a:cubicBezTo>
                              <a:pt x="2916" y="3908"/>
                              <a:pt x="3335" y="3675"/>
                              <a:pt x="3614" y="3233"/>
                            </a:cubicBezTo>
                            <a:cubicBezTo>
                              <a:pt x="3731" y="3071"/>
                              <a:pt x="3824" y="2884"/>
                              <a:pt x="3893" y="2675"/>
                            </a:cubicBezTo>
                            <a:lnTo>
                              <a:pt x="3893" y="2652"/>
                            </a:lnTo>
                            <a:cubicBezTo>
                              <a:pt x="2614" y="1838"/>
                              <a:pt x="1381" y="954"/>
                              <a:pt x="172" y="0"/>
                            </a:cubicBezTo>
                            <a:lnTo>
                              <a:pt x="172" y="0"/>
                            </a:lnTo>
                            <a:lnTo>
                              <a:pt x="172" y="0"/>
                            </a:lnTo>
                            <a:lnTo>
                              <a:pt x="172" y="23"/>
                            </a:lnTo>
                            <a:close/>
                          </a:path>
                        </a:pathLst>
                      </a:custGeom>
                      <a:solidFill>
                        <a:srgbClr val="FAAB3C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781" name="Freeform: Shape 1780">
                        <a:extLst>
                          <a:ext uri="{FF2B5EF4-FFF2-40B4-BE49-F238E27FC236}">
                            <a16:creationId xmlns:a16="http://schemas.microsoft.com/office/drawing/2014/main" id="{E828DB65-8D28-4FC0-B150-6CE0E27DC49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85225" y="4161887"/>
                        <a:ext cx="2326" cy="2326"/>
                      </a:xfrm>
                      <a:custGeom>
                        <a:avLst/>
                        <a:gdLst>
                          <a:gd name="connsiteX0" fmla="*/ 97 w 2326"/>
                          <a:gd name="connsiteY0" fmla="*/ 558 h 2326"/>
                          <a:gd name="connsiteX1" fmla="*/ 27 w 2326"/>
                          <a:gd name="connsiteY1" fmla="*/ 791 h 2326"/>
                          <a:gd name="connsiteX2" fmla="*/ 27 w 2326"/>
                          <a:gd name="connsiteY2" fmla="*/ 907 h 2326"/>
                          <a:gd name="connsiteX3" fmla="*/ 27 w 2326"/>
                          <a:gd name="connsiteY3" fmla="*/ 1652 h 2326"/>
                          <a:gd name="connsiteX4" fmla="*/ 306 w 2326"/>
                          <a:gd name="connsiteY4" fmla="*/ 2536 h 2326"/>
                          <a:gd name="connsiteX5" fmla="*/ 446 w 2326"/>
                          <a:gd name="connsiteY5" fmla="*/ 2722 h 2326"/>
                          <a:gd name="connsiteX6" fmla="*/ 725 w 2326"/>
                          <a:gd name="connsiteY6" fmla="*/ 3094 h 2326"/>
                          <a:gd name="connsiteX7" fmla="*/ 1632 w 2326"/>
                          <a:gd name="connsiteY7" fmla="*/ 3908 h 2326"/>
                          <a:gd name="connsiteX8" fmla="*/ 2446 w 2326"/>
                          <a:gd name="connsiteY8" fmla="*/ 4257 h 2326"/>
                          <a:gd name="connsiteX9" fmla="*/ 3283 w 2326"/>
                          <a:gd name="connsiteY9" fmla="*/ 3885 h 2326"/>
                          <a:gd name="connsiteX10" fmla="*/ 3772 w 2326"/>
                          <a:gd name="connsiteY10" fmla="*/ 3187 h 2326"/>
                          <a:gd name="connsiteX11" fmla="*/ 3772 w 2326"/>
                          <a:gd name="connsiteY11" fmla="*/ 3164 h 2326"/>
                          <a:gd name="connsiteX12" fmla="*/ 259 w 2326"/>
                          <a:gd name="connsiteY12" fmla="*/ 0 h 2326"/>
                          <a:gd name="connsiteX13" fmla="*/ 259 w 2326"/>
                          <a:gd name="connsiteY13" fmla="*/ 23 h 2326"/>
                          <a:gd name="connsiteX14" fmla="*/ 97 w 2326"/>
                          <a:gd name="connsiteY14" fmla="*/ 558 h 232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</a:cxnLst>
                        <a:rect l="l" t="t" r="r" b="b"/>
                        <a:pathLst>
                          <a:path w="2326" h="2326">
                            <a:moveTo>
                              <a:pt x="97" y="558"/>
                            </a:moveTo>
                            <a:cubicBezTo>
                              <a:pt x="73" y="628"/>
                              <a:pt x="50" y="721"/>
                              <a:pt x="27" y="791"/>
                            </a:cubicBezTo>
                            <a:cubicBezTo>
                              <a:pt x="27" y="837"/>
                              <a:pt x="27" y="861"/>
                              <a:pt x="27" y="907"/>
                            </a:cubicBezTo>
                            <a:cubicBezTo>
                              <a:pt x="-20" y="1163"/>
                              <a:pt x="4" y="1396"/>
                              <a:pt x="27" y="1652"/>
                            </a:cubicBezTo>
                            <a:cubicBezTo>
                              <a:pt x="73" y="1977"/>
                              <a:pt x="166" y="2256"/>
                              <a:pt x="306" y="2536"/>
                            </a:cubicBezTo>
                            <a:cubicBezTo>
                              <a:pt x="353" y="2605"/>
                              <a:pt x="399" y="2652"/>
                              <a:pt x="446" y="2722"/>
                            </a:cubicBezTo>
                            <a:cubicBezTo>
                              <a:pt x="539" y="2861"/>
                              <a:pt x="608" y="3001"/>
                              <a:pt x="725" y="3094"/>
                            </a:cubicBezTo>
                            <a:cubicBezTo>
                              <a:pt x="1004" y="3373"/>
                              <a:pt x="1306" y="3629"/>
                              <a:pt x="1632" y="3908"/>
                            </a:cubicBezTo>
                            <a:cubicBezTo>
                              <a:pt x="1888" y="4141"/>
                              <a:pt x="2167" y="4257"/>
                              <a:pt x="2446" y="4257"/>
                            </a:cubicBezTo>
                            <a:cubicBezTo>
                              <a:pt x="2748" y="4257"/>
                              <a:pt x="3028" y="4117"/>
                              <a:pt x="3283" y="3885"/>
                            </a:cubicBezTo>
                            <a:cubicBezTo>
                              <a:pt x="3470" y="3722"/>
                              <a:pt x="3656" y="3489"/>
                              <a:pt x="3772" y="3187"/>
                            </a:cubicBezTo>
                            <a:lnTo>
                              <a:pt x="3772" y="3164"/>
                            </a:lnTo>
                            <a:cubicBezTo>
                              <a:pt x="2586" y="2187"/>
                              <a:pt x="1399" y="1117"/>
                              <a:pt x="259" y="0"/>
                            </a:cubicBezTo>
                            <a:cubicBezTo>
                              <a:pt x="259" y="0"/>
                              <a:pt x="259" y="23"/>
                              <a:pt x="259" y="23"/>
                            </a:cubicBezTo>
                            <a:cubicBezTo>
                              <a:pt x="166" y="186"/>
                              <a:pt x="120" y="372"/>
                              <a:pt x="97" y="558"/>
                            </a:cubicBezTo>
                            <a:close/>
                          </a:path>
                        </a:pathLst>
                      </a:custGeom>
                      <a:solidFill>
                        <a:srgbClr val="FAAB3C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782" name="Freeform: Shape 1781">
                        <a:extLst>
                          <a:ext uri="{FF2B5EF4-FFF2-40B4-BE49-F238E27FC236}">
                            <a16:creationId xmlns:a16="http://schemas.microsoft.com/office/drawing/2014/main" id="{A3F4A9D4-FA0A-4980-AD9B-0415E1E52D9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81702" y="4041810"/>
                        <a:ext cx="2326" cy="2326"/>
                      </a:xfrm>
                      <a:custGeom>
                        <a:avLst/>
                        <a:gdLst>
                          <a:gd name="connsiteX0" fmla="*/ 2806 w 2326"/>
                          <a:gd name="connsiteY0" fmla="*/ 93 h 2326"/>
                          <a:gd name="connsiteX1" fmla="*/ 2364 w 2326"/>
                          <a:gd name="connsiteY1" fmla="*/ 0 h 2326"/>
                          <a:gd name="connsiteX2" fmla="*/ 1434 w 2326"/>
                          <a:gd name="connsiteY2" fmla="*/ 442 h 2326"/>
                          <a:gd name="connsiteX3" fmla="*/ 573 w 2326"/>
                          <a:gd name="connsiteY3" fmla="*/ 1372 h 2326"/>
                          <a:gd name="connsiteX4" fmla="*/ 178 w 2326"/>
                          <a:gd name="connsiteY4" fmla="*/ 2047 h 2326"/>
                          <a:gd name="connsiteX5" fmla="*/ 85 w 2326"/>
                          <a:gd name="connsiteY5" fmla="*/ 2419 h 2326"/>
                          <a:gd name="connsiteX6" fmla="*/ 317 w 2326"/>
                          <a:gd name="connsiteY6" fmla="*/ 4466 h 2326"/>
                          <a:gd name="connsiteX7" fmla="*/ 340 w 2326"/>
                          <a:gd name="connsiteY7" fmla="*/ 4490 h 2326"/>
                          <a:gd name="connsiteX8" fmla="*/ 3644 w 2326"/>
                          <a:gd name="connsiteY8" fmla="*/ 907 h 2326"/>
                          <a:gd name="connsiteX9" fmla="*/ 3644 w 2326"/>
                          <a:gd name="connsiteY9" fmla="*/ 884 h 2326"/>
                          <a:gd name="connsiteX10" fmla="*/ 2806 w 2326"/>
                          <a:gd name="connsiteY10" fmla="*/ 93 h 232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</a:cxnLst>
                        <a:rect l="l" t="t" r="r" b="b"/>
                        <a:pathLst>
                          <a:path w="2326" h="2326">
                            <a:moveTo>
                              <a:pt x="2806" y="93"/>
                            </a:moveTo>
                            <a:cubicBezTo>
                              <a:pt x="2643" y="23"/>
                              <a:pt x="2504" y="0"/>
                              <a:pt x="2364" y="0"/>
                            </a:cubicBezTo>
                            <a:cubicBezTo>
                              <a:pt x="2039" y="0"/>
                              <a:pt x="1713" y="140"/>
                              <a:pt x="1434" y="442"/>
                            </a:cubicBezTo>
                            <a:cubicBezTo>
                              <a:pt x="1155" y="744"/>
                              <a:pt x="875" y="1047"/>
                              <a:pt x="573" y="1372"/>
                            </a:cubicBezTo>
                            <a:cubicBezTo>
                              <a:pt x="410" y="1559"/>
                              <a:pt x="271" y="1791"/>
                              <a:pt x="178" y="2047"/>
                            </a:cubicBezTo>
                            <a:cubicBezTo>
                              <a:pt x="131" y="2163"/>
                              <a:pt x="131" y="2303"/>
                              <a:pt x="85" y="2419"/>
                            </a:cubicBezTo>
                            <a:cubicBezTo>
                              <a:pt x="-78" y="3094"/>
                              <a:pt x="-9" y="3861"/>
                              <a:pt x="317" y="4466"/>
                            </a:cubicBezTo>
                            <a:lnTo>
                              <a:pt x="340" y="4490"/>
                            </a:lnTo>
                            <a:cubicBezTo>
                              <a:pt x="1410" y="3233"/>
                              <a:pt x="2504" y="2047"/>
                              <a:pt x="3644" y="907"/>
                            </a:cubicBezTo>
                            <a:lnTo>
                              <a:pt x="3644" y="884"/>
                            </a:lnTo>
                            <a:cubicBezTo>
                              <a:pt x="3411" y="489"/>
                              <a:pt x="3109" y="233"/>
                              <a:pt x="2806" y="93"/>
                            </a:cubicBezTo>
                            <a:close/>
                          </a:path>
                        </a:pathLst>
                      </a:custGeom>
                      <a:solidFill>
                        <a:srgbClr val="FAAB3C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783" name="Freeform: Shape 1782">
                        <a:extLst>
                          <a:ext uri="{FF2B5EF4-FFF2-40B4-BE49-F238E27FC236}">
                            <a16:creationId xmlns:a16="http://schemas.microsoft.com/office/drawing/2014/main" id="{74F58A7D-8A6B-4B9D-8596-21D866166B0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68248" y="4036460"/>
                        <a:ext cx="90721" cy="130266"/>
                      </a:xfrm>
                      <a:custGeom>
                        <a:avLst/>
                        <a:gdLst>
                          <a:gd name="connsiteX0" fmla="*/ 92186 w 90720"/>
                          <a:gd name="connsiteY0" fmla="*/ 78206 h 130265"/>
                          <a:gd name="connsiteX1" fmla="*/ 92372 w 90720"/>
                          <a:gd name="connsiteY1" fmla="*/ 76787 h 130265"/>
                          <a:gd name="connsiteX2" fmla="*/ 92884 w 90720"/>
                          <a:gd name="connsiteY2" fmla="*/ 70902 h 130265"/>
                          <a:gd name="connsiteX3" fmla="*/ 92954 w 90720"/>
                          <a:gd name="connsiteY3" fmla="*/ 69459 h 130265"/>
                          <a:gd name="connsiteX4" fmla="*/ 93024 w 90720"/>
                          <a:gd name="connsiteY4" fmla="*/ 65784 h 130265"/>
                          <a:gd name="connsiteX5" fmla="*/ 91558 w 90720"/>
                          <a:gd name="connsiteY5" fmla="*/ 49338 h 130265"/>
                          <a:gd name="connsiteX6" fmla="*/ 90930 w 90720"/>
                          <a:gd name="connsiteY6" fmla="*/ 46221 h 130265"/>
                          <a:gd name="connsiteX7" fmla="*/ 66668 w 90720"/>
                          <a:gd name="connsiteY7" fmla="*/ 6490 h 130265"/>
                          <a:gd name="connsiteX8" fmla="*/ 64621 w 90720"/>
                          <a:gd name="connsiteY8" fmla="*/ 5164 h 130265"/>
                          <a:gd name="connsiteX9" fmla="*/ 46523 w 90720"/>
                          <a:gd name="connsiteY9" fmla="*/ 0 h 130265"/>
                          <a:gd name="connsiteX10" fmla="*/ 28426 w 90720"/>
                          <a:gd name="connsiteY10" fmla="*/ 5164 h 130265"/>
                          <a:gd name="connsiteX11" fmla="*/ 26356 w 90720"/>
                          <a:gd name="connsiteY11" fmla="*/ 6490 h 130265"/>
                          <a:gd name="connsiteX12" fmla="*/ 13631 w 90720"/>
                          <a:gd name="connsiteY12" fmla="*/ 19261 h 130265"/>
                          <a:gd name="connsiteX13" fmla="*/ 12096 w 90720"/>
                          <a:gd name="connsiteY13" fmla="*/ 21540 h 130265"/>
                          <a:gd name="connsiteX14" fmla="*/ 2094 w 90720"/>
                          <a:gd name="connsiteY14" fmla="*/ 46198 h 130265"/>
                          <a:gd name="connsiteX15" fmla="*/ 1465 w 90720"/>
                          <a:gd name="connsiteY15" fmla="*/ 49315 h 130265"/>
                          <a:gd name="connsiteX16" fmla="*/ 0 w 90720"/>
                          <a:gd name="connsiteY16" fmla="*/ 65761 h 130265"/>
                          <a:gd name="connsiteX17" fmla="*/ 2094 w 90720"/>
                          <a:gd name="connsiteY17" fmla="*/ 85324 h 130265"/>
                          <a:gd name="connsiteX18" fmla="*/ 6746 w 90720"/>
                          <a:gd name="connsiteY18" fmla="*/ 99886 h 130265"/>
                          <a:gd name="connsiteX19" fmla="*/ 9258 w 90720"/>
                          <a:gd name="connsiteY19" fmla="*/ 105143 h 130265"/>
                          <a:gd name="connsiteX20" fmla="*/ 10654 w 90720"/>
                          <a:gd name="connsiteY20" fmla="*/ 107632 h 130265"/>
                          <a:gd name="connsiteX21" fmla="*/ 13655 w 90720"/>
                          <a:gd name="connsiteY21" fmla="*/ 112308 h 130265"/>
                          <a:gd name="connsiteX22" fmla="*/ 18702 w 90720"/>
                          <a:gd name="connsiteY22" fmla="*/ 118518 h 130265"/>
                          <a:gd name="connsiteX23" fmla="*/ 46547 w 90720"/>
                          <a:gd name="connsiteY23" fmla="*/ 131592 h 130265"/>
                          <a:gd name="connsiteX24" fmla="*/ 76136 w 90720"/>
                          <a:gd name="connsiteY24" fmla="*/ 116564 h 130265"/>
                          <a:gd name="connsiteX25" fmla="*/ 77810 w 90720"/>
                          <a:gd name="connsiteY25" fmla="*/ 114494 h 130265"/>
                          <a:gd name="connsiteX26" fmla="*/ 82416 w 90720"/>
                          <a:gd name="connsiteY26" fmla="*/ 107655 h 130265"/>
                          <a:gd name="connsiteX27" fmla="*/ 83812 w 90720"/>
                          <a:gd name="connsiteY27" fmla="*/ 105166 h 130265"/>
                          <a:gd name="connsiteX28" fmla="*/ 86324 w 90720"/>
                          <a:gd name="connsiteY28" fmla="*/ 99909 h 130265"/>
                          <a:gd name="connsiteX29" fmla="*/ 88464 w 90720"/>
                          <a:gd name="connsiteY29" fmla="*/ 94326 h 130265"/>
                          <a:gd name="connsiteX30" fmla="*/ 90232 w 90720"/>
                          <a:gd name="connsiteY30" fmla="*/ 88418 h 130265"/>
                          <a:gd name="connsiteX31" fmla="*/ 90953 w 90720"/>
                          <a:gd name="connsiteY31" fmla="*/ 85347 h 130265"/>
                          <a:gd name="connsiteX32" fmla="*/ 91209 w 90720"/>
                          <a:gd name="connsiteY32" fmla="*/ 84045 h 130265"/>
                          <a:gd name="connsiteX33" fmla="*/ 92186 w 90720"/>
                          <a:gd name="connsiteY33" fmla="*/ 78206 h 130265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</a:cxnLst>
                        <a:rect l="l" t="t" r="r" b="b"/>
                        <a:pathLst>
                          <a:path w="90720" h="130265">
                            <a:moveTo>
                              <a:pt x="92186" y="78206"/>
                            </a:moveTo>
                            <a:cubicBezTo>
                              <a:pt x="92256" y="77741"/>
                              <a:pt x="92302" y="77252"/>
                              <a:pt x="92372" y="76787"/>
                            </a:cubicBezTo>
                            <a:cubicBezTo>
                              <a:pt x="92605" y="74856"/>
                              <a:pt x="92768" y="72879"/>
                              <a:pt x="92884" y="70902"/>
                            </a:cubicBezTo>
                            <a:cubicBezTo>
                              <a:pt x="92907" y="70413"/>
                              <a:pt x="92931" y="69948"/>
                              <a:pt x="92954" y="69459"/>
                            </a:cubicBezTo>
                            <a:cubicBezTo>
                              <a:pt x="93000" y="68227"/>
                              <a:pt x="93024" y="67017"/>
                              <a:pt x="93024" y="65784"/>
                            </a:cubicBezTo>
                            <a:cubicBezTo>
                              <a:pt x="93024" y="60108"/>
                              <a:pt x="92512" y="54595"/>
                              <a:pt x="91558" y="49338"/>
                            </a:cubicBezTo>
                            <a:cubicBezTo>
                              <a:pt x="91372" y="48291"/>
                              <a:pt x="91163" y="47245"/>
                              <a:pt x="90930" y="46221"/>
                            </a:cubicBezTo>
                            <a:cubicBezTo>
                              <a:pt x="87092" y="28705"/>
                              <a:pt x="78206" y="14329"/>
                              <a:pt x="66668" y="6490"/>
                            </a:cubicBezTo>
                            <a:cubicBezTo>
                              <a:pt x="65993" y="6025"/>
                              <a:pt x="65296" y="5583"/>
                              <a:pt x="64621" y="5164"/>
                            </a:cubicBezTo>
                            <a:cubicBezTo>
                              <a:pt x="59061" y="1838"/>
                              <a:pt x="52944" y="0"/>
                              <a:pt x="46523" y="0"/>
                            </a:cubicBezTo>
                            <a:cubicBezTo>
                              <a:pt x="40103" y="0"/>
                              <a:pt x="33985" y="1838"/>
                              <a:pt x="28426" y="5164"/>
                            </a:cubicBezTo>
                            <a:cubicBezTo>
                              <a:pt x="27728" y="5583"/>
                              <a:pt x="27030" y="6025"/>
                              <a:pt x="26356" y="6490"/>
                            </a:cubicBezTo>
                            <a:cubicBezTo>
                              <a:pt x="21610" y="9723"/>
                              <a:pt x="17307" y="14050"/>
                              <a:pt x="13631" y="19261"/>
                            </a:cubicBezTo>
                            <a:cubicBezTo>
                              <a:pt x="13096" y="20005"/>
                              <a:pt x="12585" y="20773"/>
                              <a:pt x="12096" y="21540"/>
                            </a:cubicBezTo>
                            <a:cubicBezTo>
                              <a:pt x="7583" y="28542"/>
                              <a:pt x="4141" y="36940"/>
                              <a:pt x="2094" y="46198"/>
                            </a:cubicBezTo>
                            <a:cubicBezTo>
                              <a:pt x="1861" y="47221"/>
                              <a:pt x="1652" y="48268"/>
                              <a:pt x="1465" y="49315"/>
                            </a:cubicBezTo>
                            <a:cubicBezTo>
                              <a:pt x="512" y="54572"/>
                              <a:pt x="0" y="60085"/>
                              <a:pt x="0" y="65761"/>
                            </a:cubicBezTo>
                            <a:cubicBezTo>
                              <a:pt x="0" y="72577"/>
                              <a:pt x="744" y="79136"/>
                              <a:pt x="2094" y="85324"/>
                            </a:cubicBezTo>
                            <a:cubicBezTo>
                              <a:pt x="3233" y="90488"/>
                              <a:pt x="4792" y="95350"/>
                              <a:pt x="6746" y="99886"/>
                            </a:cubicBezTo>
                            <a:cubicBezTo>
                              <a:pt x="7514" y="101700"/>
                              <a:pt x="8351" y="103445"/>
                              <a:pt x="9258" y="105143"/>
                            </a:cubicBezTo>
                            <a:cubicBezTo>
                              <a:pt x="9700" y="105980"/>
                              <a:pt x="10165" y="106818"/>
                              <a:pt x="10654" y="107632"/>
                            </a:cubicBezTo>
                            <a:cubicBezTo>
                              <a:pt x="11608" y="109260"/>
                              <a:pt x="12608" y="110819"/>
                              <a:pt x="13655" y="112308"/>
                            </a:cubicBezTo>
                            <a:cubicBezTo>
                              <a:pt x="15236" y="114541"/>
                              <a:pt x="16935" y="116611"/>
                              <a:pt x="18702" y="118518"/>
                            </a:cubicBezTo>
                            <a:cubicBezTo>
                              <a:pt x="26472" y="126730"/>
                              <a:pt x="36102" y="131592"/>
                              <a:pt x="46547" y="131592"/>
                            </a:cubicBezTo>
                            <a:cubicBezTo>
                              <a:pt x="57782" y="131592"/>
                              <a:pt x="68087" y="125962"/>
                              <a:pt x="76136" y="116564"/>
                            </a:cubicBezTo>
                            <a:cubicBezTo>
                              <a:pt x="76717" y="115890"/>
                              <a:pt x="77275" y="115215"/>
                              <a:pt x="77810" y="114494"/>
                            </a:cubicBezTo>
                            <a:cubicBezTo>
                              <a:pt x="79462" y="112377"/>
                              <a:pt x="80997" y="110098"/>
                              <a:pt x="82416" y="107655"/>
                            </a:cubicBezTo>
                            <a:cubicBezTo>
                              <a:pt x="82905" y="106841"/>
                              <a:pt x="83347" y="106004"/>
                              <a:pt x="83812" y="105166"/>
                            </a:cubicBezTo>
                            <a:cubicBezTo>
                              <a:pt x="84696" y="103468"/>
                              <a:pt x="85533" y="101724"/>
                              <a:pt x="86324" y="99909"/>
                            </a:cubicBezTo>
                            <a:cubicBezTo>
                              <a:pt x="87092" y="98095"/>
                              <a:pt x="87813" y="96234"/>
                              <a:pt x="88464" y="94326"/>
                            </a:cubicBezTo>
                            <a:cubicBezTo>
                              <a:pt x="89116" y="92396"/>
                              <a:pt x="89697" y="90442"/>
                              <a:pt x="90232" y="88418"/>
                            </a:cubicBezTo>
                            <a:cubicBezTo>
                              <a:pt x="90488" y="87418"/>
                              <a:pt x="90744" y="86394"/>
                              <a:pt x="90953" y="85347"/>
                            </a:cubicBezTo>
                            <a:cubicBezTo>
                              <a:pt x="91046" y="84905"/>
                              <a:pt x="91116" y="84487"/>
                              <a:pt x="91209" y="84045"/>
                            </a:cubicBezTo>
                            <a:cubicBezTo>
                              <a:pt x="91605" y="82114"/>
                              <a:pt x="91930" y="80183"/>
                              <a:pt x="92186" y="78206"/>
                            </a:cubicBezTo>
                            <a:close/>
                          </a:path>
                        </a:pathLst>
                      </a:custGeom>
                      <a:solidFill>
                        <a:srgbClr val="FFD744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784" name="Freeform: Shape 1783">
                        <a:extLst>
                          <a:ext uri="{FF2B5EF4-FFF2-40B4-BE49-F238E27FC236}">
                            <a16:creationId xmlns:a16="http://schemas.microsoft.com/office/drawing/2014/main" id="{DFBAA8B4-AC0D-44F2-877A-453947EEA51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62037" y="4106036"/>
                        <a:ext cx="2326" cy="4652"/>
                      </a:xfrm>
                      <a:custGeom>
                        <a:avLst/>
                        <a:gdLst>
                          <a:gd name="connsiteX0" fmla="*/ 1442 w 0"/>
                          <a:gd name="connsiteY0" fmla="*/ 0 h 4652"/>
                          <a:gd name="connsiteX1" fmla="*/ 1419 w 0"/>
                          <a:gd name="connsiteY1" fmla="*/ 0 h 4652"/>
                          <a:gd name="connsiteX2" fmla="*/ 163 w 0"/>
                          <a:gd name="connsiteY2" fmla="*/ 1210 h 4652"/>
                          <a:gd name="connsiteX3" fmla="*/ 163 w 0"/>
                          <a:gd name="connsiteY3" fmla="*/ 1210 h 4652"/>
                          <a:gd name="connsiteX4" fmla="*/ 47 w 0"/>
                          <a:gd name="connsiteY4" fmla="*/ 1605 h 4652"/>
                          <a:gd name="connsiteX5" fmla="*/ 23 w 0"/>
                          <a:gd name="connsiteY5" fmla="*/ 1768 h 4652"/>
                          <a:gd name="connsiteX6" fmla="*/ 0 w 0"/>
                          <a:gd name="connsiteY6" fmla="*/ 2000 h 4652"/>
                          <a:gd name="connsiteX7" fmla="*/ 0 w 0"/>
                          <a:gd name="connsiteY7" fmla="*/ 2373 h 4652"/>
                          <a:gd name="connsiteX8" fmla="*/ 93 w 0"/>
                          <a:gd name="connsiteY8" fmla="*/ 3885 h 4652"/>
                          <a:gd name="connsiteX9" fmla="*/ 1117 w 0"/>
                          <a:gd name="connsiteY9" fmla="*/ 5722 h 4652"/>
                          <a:gd name="connsiteX10" fmla="*/ 1326 w 0"/>
                          <a:gd name="connsiteY10" fmla="*/ 5769 h 4652"/>
                          <a:gd name="connsiteX11" fmla="*/ 1652 w 0"/>
                          <a:gd name="connsiteY11" fmla="*/ 5862 h 4652"/>
                          <a:gd name="connsiteX12" fmla="*/ 1652 w 0"/>
                          <a:gd name="connsiteY12" fmla="*/ 5862 h 4652"/>
                          <a:gd name="connsiteX13" fmla="*/ 1814 w 0"/>
                          <a:gd name="connsiteY13" fmla="*/ 5862 h 4652"/>
                          <a:gd name="connsiteX14" fmla="*/ 1838 w 0"/>
                          <a:gd name="connsiteY14" fmla="*/ 5862 h 4652"/>
                          <a:gd name="connsiteX15" fmla="*/ 1838 w 0"/>
                          <a:gd name="connsiteY15" fmla="*/ 5746 h 4652"/>
                          <a:gd name="connsiteX16" fmla="*/ 1791 w 0"/>
                          <a:gd name="connsiteY16" fmla="*/ 5257 h 4652"/>
                          <a:gd name="connsiteX17" fmla="*/ 1605 w 0"/>
                          <a:gd name="connsiteY17" fmla="*/ 2931 h 4652"/>
                          <a:gd name="connsiteX18" fmla="*/ 1442 w 0"/>
                          <a:gd name="connsiteY18" fmla="*/ 0 h 4652"/>
                          <a:gd name="connsiteX19" fmla="*/ 1442 w 0"/>
                          <a:gd name="connsiteY19" fmla="*/ 0 h 4652"/>
                          <a:gd name="connsiteX20" fmla="*/ 1442 w 0"/>
                          <a:gd name="connsiteY20" fmla="*/ 0 h 465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</a:cxnLst>
                        <a:rect l="l" t="t" r="r" b="b"/>
                        <a:pathLst>
                          <a:path h="4652">
                            <a:moveTo>
                              <a:pt x="1442" y="0"/>
                            </a:moveTo>
                            <a:lnTo>
                              <a:pt x="1419" y="0"/>
                            </a:lnTo>
                            <a:cubicBezTo>
                              <a:pt x="884" y="70"/>
                              <a:pt x="395" y="558"/>
                              <a:pt x="163" y="1210"/>
                            </a:cubicBezTo>
                            <a:lnTo>
                              <a:pt x="163" y="1210"/>
                            </a:lnTo>
                            <a:cubicBezTo>
                              <a:pt x="116" y="1326"/>
                              <a:pt x="70" y="1465"/>
                              <a:pt x="47" y="1605"/>
                            </a:cubicBezTo>
                            <a:cubicBezTo>
                              <a:pt x="47" y="1652"/>
                              <a:pt x="23" y="1721"/>
                              <a:pt x="23" y="1768"/>
                            </a:cubicBezTo>
                            <a:cubicBezTo>
                              <a:pt x="23" y="1838"/>
                              <a:pt x="0" y="1907"/>
                              <a:pt x="0" y="2000"/>
                            </a:cubicBezTo>
                            <a:cubicBezTo>
                              <a:pt x="0" y="2117"/>
                              <a:pt x="0" y="2256"/>
                              <a:pt x="0" y="2373"/>
                            </a:cubicBezTo>
                            <a:cubicBezTo>
                              <a:pt x="23" y="2861"/>
                              <a:pt x="70" y="3373"/>
                              <a:pt x="93" y="3885"/>
                            </a:cubicBezTo>
                            <a:cubicBezTo>
                              <a:pt x="163" y="4745"/>
                              <a:pt x="582" y="5443"/>
                              <a:pt x="1117" y="5722"/>
                            </a:cubicBezTo>
                            <a:cubicBezTo>
                              <a:pt x="1186" y="5769"/>
                              <a:pt x="1256" y="5769"/>
                              <a:pt x="1326" y="5769"/>
                            </a:cubicBezTo>
                            <a:cubicBezTo>
                              <a:pt x="1442" y="5792"/>
                              <a:pt x="1535" y="5862"/>
                              <a:pt x="1652" y="5862"/>
                            </a:cubicBezTo>
                            <a:lnTo>
                              <a:pt x="1652" y="5862"/>
                            </a:lnTo>
                            <a:lnTo>
                              <a:pt x="1814" y="5862"/>
                            </a:lnTo>
                            <a:lnTo>
                              <a:pt x="1838" y="5862"/>
                            </a:lnTo>
                            <a:cubicBezTo>
                              <a:pt x="1838" y="5815"/>
                              <a:pt x="1838" y="5769"/>
                              <a:pt x="1838" y="5746"/>
                            </a:cubicBezTo>
                            <a:cubicBezTo>
                              <a:pt x="1838" y="5583"/>
                              <a:pt x="1814" y="5420"/>
                              <a:pt x="1791" y="5257"/>
                            </a:cubicBezTo>
                            <a:cubicBezTo>
                              <a:pt x="1721" y="4489"/>
                              <a:pt x="1652" y="3699"/>
                              <a:pt x="1605" y="2931"/>
                            </a:cubicBezTo>
                            <a:cubicBezTo>
                              <a:pt x="1559" y="1977"/>
                              <a:pt x="1512" y="1000"/>
                              <a:pt x="1442" y="0"/>
                            </a:cubicBezTo>
                            <a:lnTo>
                              <a:pt x="1442" y="0"/>
                            </a:lnTo>
                            <a:lnTo>
                              <a:pt x="1442" y="0"/>
                            </a:lnTo>
                            <a:close/>
                          </a:path>
                        </a:pathLst>
                      </a:custGeom>
                      <a:solidFill>
                        <a:srgbClr val="FAAB3C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785" name="Freeform: Shape 1784">
                        <a:extLst>
                          <a:ext uri="{FF2B5EF4-FFF2-40B4-BE49-F238E27FC236}">
                            <a16:creationId xmlns:a16="http://schemas.microsoft.com/office/drawing/2014/main" id="{133A96BF-DC57-4ECF-8E7F-F1A4F9ED9E4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63409" y="4029667"/>
                        <a:ext cx="102352" cy="144223"/>
                      </a:xfrm>
                      <a:custGeom>
                        <a:avLst/>
                        <a:gdLst>
                          <a:gd name="connsiteX0" fmla="*/ 102677 w 102351"/>
                          <a:gd name="connsiteY0" fmla="*/ 72553 h 144222"/>
                          <a:gd name="connsiteX1" fmla="*/ 102654 w 102351"/>
                          <a:gd name="connsiteY1" fmla="*/ 70041 h 144222"/>
                          <a:gd name="connsiteX2" fmla="*/ 102607 w 102351"/>
                          <a:gd name="connsiteY2" fmla="*/ 68576 h 144222"/>
                          <a:gd name="connsiteX3" fmla="*/ 102445 w 102351"/>
                          <a:gd name="connsiteY3" fmla="*/ 65621 h 144222"/>
                          <a:gd name="connsiteX4" fmla="*/ 102212 w 102351"/>
                          <a:gd name="connsiteY4" fmla="*/ 62714 h 144222"/>
                          <a:gd name="connsiteX5" fmla="*/ 102072 w 102351"/>
                          <a:gd name="connsiteY5" fmla="*/ 61271 h 144222"/>
                          <a:gd name="connsiteX6" fmla="*/ 101979 w 102351"/>
                          <a:gd name="connsiteY6" fmla="*/ 60574 h 144222"/>
                          <a:gd name="connsiteX7" fmla="*/ 101281 w 102351"/>
                          <a:gd name="connsiteY7" fmla="*/ 55502 h 144222"/>
                          <a:gd name="connsiteX8" fmla="*/ 101281 w 102351"/>
                          <a:gd name="connsiteY8" fmla="*/ 55502 h 144222"/>
                          <a:gd name="connsiteX9" fmla="*/ 101026 w 102351"/>
                          <a:gd name="connsiteY9" fmla="*/ 54107 h 144222"/>
                          <a:gd name="connsiteX10" fmla="*/ 99793 w 102351"/>
                          <a:gd name="connsiteY10" fmla="*/ 48454 h 144222"/>
                          <a:gd name="connsiteX11" fmla="*/ 99769 w 102351"/>
                          <a:gd name="connsiteY11" fmla="*/ 48338 h 144222"/>
                          <a:gd name="connsiteX12" fmla="*/ 99444 w 102351"/>
                          <a:gd name="connsiteY12" fmla="*/ 47082 h 144222"/>
                          <a:gd name="connsiteX13" fmla="*/ 99444 w 102351"/>
                          <a:gd name="connsiteY13" fmla="*/ 47082 h 144222"/>
                          <a:gd name="connsiteX14" fmla="*/ 97815 w 102351"/>
                          <a:gd name="connsiteY14" fmla="*/ 41662 h 144222"/>
                          <a:gd name="connsiteX15" fmla="*/ 97746 w 102351"/>
                          <a:gd name="connsiteY15" fmla="*/ 41452 h 144222"/>
                          <a:gd name="connsiteX16" fmla="*/ 97374 w 102351"/>
                          <a:gd name="connsiteY16" fmla="*/ 40359 h 144222"/>
                          <a:gd name="connsiteX17" fmla="*/ 95373 w 102351"/>
                          <a:gd name="connsiteY17" fmla="*/ 35195 h 144222"/>
                          <a:gd name="connsiteX18" fmla="*/ 95233 w 102351"/>
                          <a:gd name="connsiteY18" fmla="*/ 34893 h 144222"/>
                          <a:gd name="connsiteX19" fmla="*/ 94838 w 102351"/>
                          <a:gd name="connsiteY19" fmla="*/ 33962 h 144222"/>
                          <a:gd name="connsiteX20" fmla="*/ 94838 w 102351"/>
                          <a:gd name="connsiteY20" fmla="*/ 33962 h 144222"/>
                          <a:gd name="connsiteX21" fmla="*/ 92465 w 102351"/>
                          <a:gd name="connsiteY21" fmla="*/ 29100 h 144222"/>
                          <a:gd name="connsiteX22" fmla="*/ 92233 w 102351"/>
                          <a:gd name="connsiteY22" fmla="*/ 28658 h 144222"/>
                          <a:gd name="connsiteX23" fmla="*/ 91837 w 102351"/>
                          <a:gd name="connsiteY23" fmla="*/ 27937 h 144222"/>
                          <a:gd name="connsiteX24" fmla="*/ 91837 w 102351"/>
                          <a:gd name="connsiteY24" fmla="*/ 27937 h 144222"/>
                          <a:gd name="connsiteX25" fmla="*/ 91837 w 102351"/>
                          <a:gd name="connsiteY25" fmla="*/ 27937 h 144222"/>
                          <a:gd name="connsiteX26" fmla="*/ 89162 w 102351"/>
                          <a:gd name="connsiteY26" fmla="*/ 23425 h 144222"/>
                          <a:gd name="connsiteX27" fmla="*/ 88767 w 102351"/>
                          <a:gd name="connsiteY27" fmla="*/ 22866 h 144222"/>
                          <a:gd name="connsiteX28" fmla="*/ 88441 w 102351"/>
                          <a:gd name="connsiteY28" fmla="*/ 22378 h 144222"/>
                          <a:gd name="connsiteX29" fmla="*/ 86976 w 102351"/>
                          <a:gd name="connsiteY29" fmla="*/ 20284 h 144222"/>
                          <a:gd name="connsiteX30" fmla="*/ 85440 w 102351"/>
                          <a:gd name="connsiteY30" fmla="*/ 18284 h 144222"/>
                          <a:gd name="connsiteX31" fmla="*/ 84859 w 102351"/>
                          <a:gd name="connsiteY31" fmla="*/ 17563 h 144222"/>
                          <a:gd name="connsiteX32" fmla="*/ 84649 w 102351"/>
                          <a:gd name="connsiteY32" fmla="*/ 17330 h 144222"/>
                          <a:gd name="connsiteX33" fmla="*/ 84649 w 102351"/>
                          <a:gd name="connsiteY33" fmla="*/ 17330 h 144222"/>
                          <a:gd name="connsiteX34" fmla="*/ 83044 w 102351"/>
                          <a:gd name="connsiteY34" fmla="*/ 15446 h 144222"/>
                          <a:gd name="connsiteX35" fmla="*/ 82044 w 102351"/>
                          <a:gd name="connsiteY35" fmla="*/ 14399 h 144222"/>
                          <a:gd name="connsiteX36" fmla="*/ 81369 w 102351"/>
                          <a:gd name="connsiteY36" fmla="*/ 13678 h 144222"/>
                          <a:gd name="connsiteX37" fmla="*/ 81369 w 102351"/>
                          <a:gd name="connsiteY37" fmla="*/ 13678 h 144222"/>
                          <a:gd name="connsiteX38" fmla="*/ 81369 w 102351"/>
                          <a:gd name="connsiteY38" fmla="*/ 13678 h 144222"/>
                          <a:gd name="connsiteX39" fmla="*/ 80532 w 102351"/>
                          <a:gd name="connsiteY39" fmla="*/ 12841 h 144222"/>
                          <a:gd name="connsiteX40" fmla="*/ 78787 w 102351"/>
                          <a:gd name="connsiteY40" fmla="*/ 11212 h 144222"/>
                          <a:gd name="connsiteX41" fmla="*/ 78276 w 102351"/>
                          <a:gd name="connsiteY41" fmla="*/ 10770 h 144222"/>
                          <a:gd name="connsiteX42" fmla="*/ 77020 w 102351"/>
                          <a:gd name="connsiteY42" fmla="*/ 9700 h 144222"/>
                          <a:gd name="connsiteX43" fmla="*/ 76112 w 102351"/>
                          <a:gd name="connsiteY43" fmla="*/ 8979 h 144222"/>
                          <a:gd name="connsiteX44" fmla="*/ 72390 w 102351"/>
                          <a:gd name="connsiteY44" fmla="*/ 6350 h 144222"/>
                          <a:gd name="connsiteX45" fmla="*/ 71437 w 102351"/>
                          <a:gd name="connsiteY45" fmla="*/ 5769 h 144222"/>
                          <a:gd name="connsiteX46" fmla="*/ 71437 w 102351"/>
                          <a:gd name="connsiteY46" fmla="*/ 5769 h 144222"/>
                          <a:gd name="connsiteX47" fmla="*/ 71437 w 102351"/>
                          <a:gd name="connsiteY47" fmla="*/ 5769 h 144222"/>
                          <a:gd name="connsiteX48" fmla="*/ 67529 w 102351"/>
                          <a:gd name="connsiteY48" fmla="*/ 3675 h 144222"/>
                          <a:gd name="connsiteX49" fmla="*/ 67529 w 102351"/>
                          <a:gd name="connsiteY49" fmla="*/ 3675 h 144222"/>
                          <a:gd name="connsiteX50" fmla="*/ 67529 w 102351"/>
                          <a:gd name="connsiteY50" fmla="*/ 3675 h 144222"/>
                          <a:gd name="connsiteX51" fmla="*/ 66552 w 102351"/>
                          <a:gd name="connsiteY51" fmla="*/ 3233 h 144222"/>
                          <a:gd name="connsiteX52" fmla="*/ 62527 w 102351"/>
                          <a:gd name="connsiteY52" fmla="*/ 1721 h 144222"/>
                          <a:gd name="connsiteX53" fmla="*/ 61527 w 102351"/>
                          <a:gd name="connsiteY53" fmla="*/ 1419 h 144222"/>
                          <a:gd name="connsiteX54" fmla="*/ 61527 w 102351"/>
                          <a:gd name="connsiteY54" fmla="*/ 1419 h 144222"/>
                          <a:gd name="connsiteX55" fmla="*/ 61527 w 102351"/>
                          <a:gd name="connsiteY55" fmla="*/ 1419 h 144222"/>
                          <a:gd name="connsiteX56" fmla="*/ 59480 w 102351"/>
                          <a:gd name="connsiteY56" fmla="*/ 907 h 144222"/>
                          <a:gd name="connsiteX57" fmla="*/ 57410 w 102351"/>
                          <a:gd name="connsiteY57" fmla="*/ 489 h 144222"/>
                          <a:gd name="connsiteX58" fmla="*/ 56386 w 102351"/>
                          <a:gd name="connsiteY58" fmla="*/ 326 h 144222"/>
                          <a:gd name="connsiteX59" fmla="*/ 52223 w 102351"/>
                          <a:gd name="connsiteY59" fmla="*/ 0 h 144222"/>
                          <a:gd name="connsiteX60" fmla="*/ 51199 w 102351"/>
                          <a:gd name="connsiteY60" fmla="*/ 0 h 144222"/>
                          <a:gd name="connsiteX61" fmla="*/ 47035 w 102351"/>
                          <a:gd name="connsiteY61" fmla="*/ 256 h 144222"/>
                          <a:gd name="connsiteX62" fmla="*/ 47035 w 102351"/>
                          <a:gd name="connsiteY62" fmla="*/ 256 h 144222"/>
                          <a:gd name="connsiteX63" fmla="*/ 46337 w 102351"/>
                          <a:gd name="connsiteY63" fmla="*/ 349 h 144222"/>
                          <a:gd name="connsiteX64" fmla="*/ 46012 w 102351"/>
                          <a:gd name="connsiteY64" fmla="*/ 395 h 144222"/>
                          <a:gd name="connsiteX65" fmla="*/ 43941 w 102351"/>
                          <a:gd name="connsiteY65" fmla="*/ 768 h 144222"/>
                          <a:gd name="connsiteX66" fmla="*/ 41894 w 102351"/>
                          <a:gd name="connsiteY66" fmla="*/ 1256 h 144222"/>
                          <a:gd name="connsiteX67" fmla="*/ 40871 w 102351"/>
                          <a:gd name="connsiteY67" fmla="*/ 1535 h 144222"/>
                          <a:gd name="connsiteX68" fmla="*/ 36823 w 102351"/>
                          <a:gd name="connsiteY68" fmla="*/ 2977 h 144222"/>
                          <a:gd name="connsiteX69" fmla="*/ 35846 w 102351"/>
                          <a:gd name="connsiteY69" fmla="*/ 3396 h 144222"/>
                          <a:gd name="connsiteX70" fmla="*/ 33869 w 102351"/>
                          <a:gd name="connsiteY70" fmla="*/ 4350 h 144222"/>
                          <a:gd name="connsiteX71" fmla="*/ 31938 w 102351"/>
                          <a:gd name="connsiteY71" fmla="*/ 5420 h 144222"/>
                          <a:gd name="connsiteX72" fmla="*/ 31938 w 102351"/>
                          <a:gd name="connsiteY72" fmla="*/ 5420 h 144222"/>
                          <a:gd name="connsiteX73" fmla="*/ 31938 w 102351"/>
                          <a:gd name="connsiteY73" fmla="*/ 5420 h 144222"/>
                          <a:gd name="connsiteX74" fmla="*/ 30985 w 102351"/>
                          <a:gd name="connsiteY74" fmla="*/ 5978 h 144222"/>
                          <a:gd name="connsiteX75" fmla="*/ 28565 w 102351"/>
                          <a:gd name="connsiteY75" fmla="*/ 7583 h 144222"/>
                          <a:gd name="connsiteX76" fmla="*/ 28193 w 102351"/>
                          <a:gd name="connsiteY76" fmla="*/ 7862 h 144222"/>
                          <a:gd name="connsiteX77" fmla="*/ 27239 w 102351"/>
                          <a:gd name="connsiteY77" fmla="*/ 8537 h 144222"/>
                          <a:gd name="connsiteX78" fmla="*/ 27239 w 102351"/>
                          <a:gd name="connsiteY78" fmla="*/ 8537 h 144222"/>
                          <a:gd name="connsiteX79" fmla="*/ 26542 w 102351"/>
                          <a:gd name="connsiteY79" fmla="*/ 9072 h 144222"/>
                          <a:gd name="connsiteX80" fmla="*/ 26332 w 102351"/>
                          <a:gd name="connsiteY80" fmla="*/ 9235 h 144222"/>
                          <a:gd name="connsiteX81" fmla="*/ 24518 w 102351"/>
                          <a:gd name="connsiteY81" fmla="*/ 10724 h 144222"/>
                          <a:gd name="connsiteX82" fmla="*/ 22773 w 102351"/>
                          <a:gd name="connsiteY82" fmla="*/ 12329 h 144222"/>
                          <a:gd name="connsiteX83" fmla="*/ 22773 w 102351"/>
                          <a:gd name="connsiteY83" fmla="*/ 12329 h 144222"/>
                          <a:gd name="connsiteX84" fmla="*/ 21913 w 102351"/>
                          <a:gd name="connsiteY84" fmla="*/ 13143 h 144222"/>
                          <a:gd name="connsiteX85" fmla="*/ 18609 w 102351"/>
                          <a:gd name="connsiteY85" fmla="*/ 16725 h 144222"/>
                          <a:gd name="connsiteX86" fmla="*/ 17818 w 102351"/>
                          <a:gd name="connsiteY86" fmla="*/ 17679 h 144222"/>
                          <a:gd name="connsiteX87" fmla="*/ 14771 w 102351"/>
                          <a:gd name="connsiteY87" fmla="*/ 21703 h 144222"/>
                          <a:gd name="connsiteX88" fmla="*/ 14422 w 102351"/>
                          <a:gd name="connsiteY88" fmla="*/ 22238 h 144222"/>
                          <a:gd name="connsiteX89" fmla="*/ 14050 w 102351"/>
                          <a:gd name="connsiteY89" fmla="*/ 22773 h 144222"/>
                          <a:gd name="connsiteX90" fmla="*/ 11305 w 102351"/>
                          <a:gd name="connsiteY90" fmla="*/ 27216 h 144222"/>
                          <a:gd name="connsiteX91" fmla="*/ 10654 w 102351"/>
                          <a:gd name="connsiteY91" fmla="*/ 28379 h 144222"/>
                          <a:gd name="connsiteX92" fmla="*/ 8235 w 102351"/>
                          <a:gd name="connsiteY92" fmla="*/ 33171 h 144222"/>
                          <a:gd name="connsiteX93" fmla="*/ 7676 w 102351"/>
                          <a:gd name="connsiteY93" fmla="*/ 34404 h 144222"/>
                          <a:gd name="connsiteX94" fmla="*/ 7676 w 102351"/>
                          <a:gd name="connsiteY94" fmla="*/ 34404 h 144222"/>
                          <a:gd name="connsiteX95" fmla="*/ 5629 w 102351"/>
                          <a:gd name="connsiteY95" fmla="*/ 39522 h 144222"/>
                          <a:gd name="connsiteX96" fmla="*/ 5164 w 102351"/>
                          <a:gd name="connsiteY96" fmla="*/ 40848 h 144222"/>
                          <a:gd name="connsiteX97" fmla="*/ 5164 w 102351"/>
                          <a:gd name="connsiteY97" fmla="*/ 40848 h 144222"/>
                          <a:gd name="connsiteX98" fmla="*/ 3489 w 102351"/>
                          <a:gd name="connsiteY98" fmla="*/ 46244 h 144222"/>
                          <a:gd name="connsiteX99" fmla="*/ 3489 w 102351"/>
                          <a:gd name="connsiteY99" fmla="*/ 46244 h 144222"/>
                          <a:gd name="connsiteX100" fmla="*/ 3489 w 102351"/>
                          <a:gd name="connsiteY100" fmla="*/ 46244 h 144222"/>
                          <a:gd name="connsiteX101" fmla="*/ 3117 w 102351"/>
                          <a:gd name="connsiteY101" fmla="*/ 47617 h 144222"/>
                          <a:gd name="connsiteX102" fmla="*/ 1838 w 102351"/>
                          <a:gd name="connsiteY102" fmla="*/ 53223 h 144222"/>
                          <a:gd name="connsiteX103" fmla="*/ 1582 w 102351"/>
                          <a:gd name="connsiteY103" fmla="*/ 54619 h 144222"/>
                          <a:gd name="connsiteX104" fmla="*/ 721 w 102351"/>
                          <a:gd name="connsiteY104" fmla="*/ 60364 h 144222"/>
                          <a:gd name="connsiteX105" fmla="*/ 558 w 102351"/>
                          <a:gd name="connsiteY105" fmla="*/ 61806 h 144222"/>
                          <a:gd name="connsiteX106" fmla="*/ 558 w 102351"/>
                          <a:gd name="connsiteY106" fmla="*/ 61806 h 144222"/>
                          <a:gd name="connsiteX107" fmla="*/ 558 w 102351"/>
                          <a:gd name="connsiteY107" fmla="*/ 61806 h 144222"/>
                          <a:gd name="connsiteX108" fmla="*/ 116 w 102351"/>
                          <a:gd name="connsiteY108" fmla="*/ 67668 h 144222"/>
                          <a:gd name="connsiteX109" fmla="*/ 70 w 102351"/>
                          <a:gd name="connsiteY109" fmla="*/ 69134 h 144222"/>
                          <a:gd name="connsiteX110" fmla="*/ 70 w 102351"/>
                          <a:gd name="connsiteY110" fmla="*/ 69134 h 144222"/>
                          <a:gd name="connsiteX111" fmla="*/ 0 w 102351"/>
                          <a:gd name="connsiteY111" fmla="*/ 72670 h 144222"/>
                          <a:gd name="connsiteX112" fmla="*/ 23 w 102351"/>
                          <a:gd name="connsiteY112" fmla="*/ 74949 h 144222"/>
                          <a:gd name="connsiteX113" fmla="*/ 23 w 102351"/>
                          <a:gd name="connsiteY113" fmla="*/ 74949 h 144222"/>
                          <a:gd name="connsiteX114" fmla="*/ 23 w 102351"/>
                          <a:gd name="connsiteY114" fmla="*/ 74949 h 144222"/>
                          <a:gd name="connsiteX115" fmla="*/ 47 w 102351"/>
                          <a:gd name="connsiteY115" fmla="*/ 75973 h 144222"/>
                          <a:gd name="connsiteX116" fmla="*/ 70 w 102351"/>
                          <a:gd name="connsiteY116" fmla="*/ 76461 h 144222"/>
                          <a:gd name="connsiteX117" fmla="*/ 70 w 102351"/>
                          <a:gd name="connsiteY117" fmla="*/ 76461 h 144222"/>
                          <a:gd name="connsiteX118" fmla="*/ 70 w 102351"/>
                          <a:gd name="connsiteY118" fmla="*/ 76461 h 144222"/>
                          <a:gd name="connsiteX119" fmla="*/ 233 w 102351"/>
                          <a:gd name="connsiteY119" fmla="*/ 79416 h 144222"/>
                          <a:gd name="connsiteX120" fmla="*/ 419 w 102351"/>
                          <a:gd name="connsiteY120" fmla="*/ 81742 h 144222"/>
                          <a:gd name="connsiteX121" fmla="*/ 465 w 102351"/>
                          <a:gd name="connsiteY121" fmla="*/ 82323 h 144222"/>
                          <a:gd name="connsiteX122" fmla="*/ 605 w 102351"/>
                          <a:gd name="connsiteY122" fmla="*/ 83765 h 144222"/>
                          <a:gd name="connsiteX123" fmla="*/ 1419 w 102351"/>
                          <a:gd name="connsiteY123" fmla="*/ 89558 h 144222"/>
                          <a:gd name="connsiteX124" fmla="*/ 1675 w 102351"/>
                          <a:gd name="connsiteY124" fmla="*/ 90977 h 144222"/>
                          <a:gd name="connsiteX125" fmla="*/ 2884 w 102351"/>
                          <a:gd name="connsiteY125" fmla="*/ 96629 h 144222"/>
                          <a:gd name="connsiteX126" fmla="*/ 3233 w 102351"/>
                          <a:gd name="connsiteY126" fmla="*/ 98002 h 144222"/>
                          <a:gd name="connsiteX127" fmla="*/ 3233 w 102351"/>
                          <a:gd name="connsiteY127" fmla="*/ 98002 h 144222"/>
                          <a:gd name="connsiteX128" fmla="*/ 3233 w 102351"/>
                          <a:gd name="connsiteY128" fmla="*/ 98002 h 144222"/>
                          <a:gd name="connsiteX129" fmla="*/ 4280 w 102351"/>
                          <a:gd name="connsiteY129" fmla="*/ 101514 h 144222"/>
                          <a:gd name="connsiteX130" fmla="*/ 4838 w 102351"/>
                          <a:gd name="connsiteY130" fmla="*/ 103422 h 144222"/>
                          <a:gd name="connsiteX131" fmla="*/ 5280 w 102351"/>
                          <a:gd name="connsiteY131" fmla="*/ 104724 h 144222"/>
                          <a:gd name="connsiteX132" fmla="*/ 7281 w 102351"/>
                          <a:gd name="connsiteY132" fmla="*/ 109888 h 144222"/>
                          <a:gd name="connsiteX133" fmla="*/ 7281 w 102351"/>
                          <a:gd name="connsiteY133" fmla="*/ 109888 h 144222"/>
                          <a:gd name="connsiteX134" fmla="*/ 7281 w 102351"/>
                          <a:gd name="connsiteY134" fmla="*/ 109888 h 144222"/>
                          <a:gd name="connsiteX135" fmla="*/ 7816 w 102351"/>
                          <a:gd name="connsiteY135" fmla="*/ 111121 h 144222"/>
                          <a:gd name="connsiteX136" fmla="*/ 7816 w 102351"/>
                          <a:gd name="connsiteY136" fmla="*/ 111121 h 144222"/>
                          <a:gd name="connsiteX137" fmla="*/ 7816 w 102351"/>
                          <a:gd name="connsiteY137" fmla="*/ 111121 h 144222"/>
                          <a:gd name="connsiteX138" fmla="*/ 10165 w 102351"/>
                          <a:gd name="connsiteY138" fmla="*/ 115983 h 144222"/>
                          <a:gd name="connsiteX139" fmla="*/ 10793 w 102351"/>
                          <a:gd name="connsiteY139" fmla="*/ 117146 h 144222"/>
                          <a:gd name="connsiteX140" fmla="*/ 13469 w 102351"/>
                          <a:gd name="connsiteY140" fmla="*/ 121659 h 144222"/>
                          <a:gd name="connsiteX141" fmla="*/ 13469 w 102351"/>
                          <a:gd name="connsiteY141" fmla="*/ 121659 h 144222"/>
                          <a:gd name="connsiteX142" fmla="*/ 13469 w 102351"/>
                          <a:gd name="connsiteY142" fmla="*/ 121659 h 144222"/>
                          <a:gd name="connsiteX143" fmla="*/ 14166 w 102351"/>
                          <a:gd name="connsiteY143" fmla="*/ 122729 h 144222"/>
                          <a:gd name="connsiteX144" fmla="*/ 14166 w 102351"/>
                          <a:gd name="connsiteY144" fmla="*/ 122729 h 144222"/>
                          <a:gd name="connsiteX145" fmla="*/ 14166 w 102351"/>
                          <a:gd name="connsiteY145" fmla="*/ 122729 h 144222"/>
                          <a:gd name="connsiteX146" fmla="*/ 14771 w 102351"/>
                          <a:gd name="connsiteY146" fmla="*/ 123590 h 144222"/>
                          <a:gd name="connsiteX147" fmla="*/ 16400 w 102351"/>
                          <a:gd name="connsiteY147" fmla="*/ 125823 h 144222"/>
                          <a:gd name="connsiteX148" fmla="*/ 17144 w 102351"/>
                          <a:gd name="connsiteY148" fmla="*/ 126823 h 144222"/>
                          <a:gd name="connsiteX149" fmla="*/ 17144 w 102351"/>
                          <a:gd name="connsiteY149" fmla="*/ 126823 h 144222"/>
                          <a:gd name="connsiteX150" fmla="*/ 17144 w 102351"/>
                          <a:gd name="connsiteY150" fmla="*/ 126823 h 144222"/>
                          <a:gd name="connsiteX151" fmla="*/ 17912 w 102351"/>
                          <a:gd name="connsiteY151" fmla="*/ 127800 h 144222"/>
                          <a:gd name="connsiteX152" fmla="*/ 17912 w 102351"/>
                          <a:gd name="connsiteY152" fmla="*/ 127800 h 144222"/>
                          <a:gd name="connsiteX153" fmla="*/ 17912 w 102351"/>
                          <a:gd name="connsiteY153" fmla="*/ 127800 h 144222"/>
                          <a:gd name="connsiteX154" fmla="*/ 19517 w 102351"/>
                          <a:gd name="connsiteY154" fmla="*/ 129661 h 144222"/>
                          <a:gd name="connsiteX155" fmla="*/ 21168 w 102351"/>
                          <a:gd name="connsiteY155" fmla="*/ 131452 h 144222"/>
                          <a:gd name="connsiteX156" fmla="*/ 22006 w 102351"/>
                          <a:gd name="connsiteY156" fmla="*/ 132289 h 144222"/>
                          <a:gd name="connsiteX157" fmla="*/ 25518 w 102351"/>
                          <a:gd name="connsiteY157" fmla="*/ 135453 h 144222"/>
                          <a:gd name="connsiteX158" fmla="*/ 26425 w 102351"/>
                          <a:gd name="connsiteY158" fmla="*/ 136174 h 144222"/>
                          <a:gd name="connsiteX159" fmla="*/ 26425 w 102351"/>
                          <a:gd name="connsiteY159" fmla="*/ 136174 h 144222"/>
                          <a:gd name="connsiteX160" fmla="*/ 28263 w 102351"/>
                          <a:gd name="connsiteY160" fmla="*/ 137547 h 144222"/>
                          <a:gd name="connsiteX161" fmla="*/ 30147 w 102351"/>
                          <a:gd name="connsiteY161" fmla="*/ 138826 h 144222"/>
                          <a:gd name="connsiteX162" fmla="*/ 31101 w 102351"/>
                          <a:gd name="connsiteY162" fmla="*/ 139408 h 144222"/>
                          <a:gd name="connsiteX163" fmla="*/ 33032 w 102351"/>
                          <a:gd name="connsiteY163" fmla="*/ 140524 h 144222"/>
                          <a:gd name="connsiteX164" fmla="*/ 35009 w 102351"/>
                          <a:gd name="connsiteY164" fmla="*/ 141524 h 144222"/>
                          <a:gd name="connsiteX165" fmla="*/ 35986 w 102351"/>
                          <a:gd name="connsiteY165" fmla="*/ 141966 h 144222"/>
                          <a:gd name="connsiteX166" fmla="*/ 37963 w 102351"/>
                          <a:gd name="connsiteY166" fmla="*/ 142780 h 144222"/>
                          <a:gd name="connsiteX167" fmla="*/ 40010 w 102351"/>
                          <a:gd name="connsiteY167" fmla="*/ 143478 h 144222"/>
                          <a:gd name="connsiteX168" fmla="*/ 40010 w 102351"/>
                          <a:gd name="connsiteY168" fmla="*/ 143478 h 144222"/>
                          <a:gd name="connsiteX169" fmla="*/ 40499 w 102351"/>
                          <a:gd name="connsiteY169" fmla="*/ 143641 h 144222"/>
                          <a:gd name="connsiteX170" fmla="*/ 41010 w 102351"/>
                          <a:gd name="connsiteY170" fmla="*/ 143804 h 144222"/>
                          <a:gd name="connsiteX171" fmla="*/ 45128 w 102351"/>
                          <a:gd name="connsiteY171" fmla="*/ 144734 h 144222"/>
                          <a:gd name="connsiteX172" fmla="*/ 45128 w 102351"/>
                          <a:gd name="connsiteY172" fmla="*/ 144734 h 144222"/>
                          <a:gd name="connsiteX173" fmla="*/ 45128 w 102351"/>
                          <a:gd name="connsiteY173" fmla="*/ 144734 h 144222"/>
                          <a:gd name="connsiteX174" fmla="*/ 46081 w 102351"/>
                          <a:gd name="connsiteY174" fmla="*/ 144897 h 144222"/>
                          <a:gd name="connsiteX175" fmla="*/ 46128 w 102351"/>
                          <a:gd name="connsiteY175" fmla="*/ 144897 h 144222"/>
                          <a:gd name="connsiteX176" fmla="*/ 46128 w 102351"/>
                          <a:gd name="connsiteY176" fmla="*/ 144897 h 144222"/>
                          <a:gd name="connsiteX177" fmla="*/ 48198 w 102351"/>
                          <a:gd name="connsiteY177" fmla="*/ 145130 h 144222"/>
                          <a:gd name="connsiteX178" fmla="*/ 50292 w 102351"/>
                          <a:gd name="connsiteY178" fmla="*/ 145246 h 144222"/>
                          <a:gd name="connsiteX179" fmla="*/ 51315 w 102351"/>
                          <a:gd name="connsiteY179" fmla="*/ 145246 h 144222"/>
                          <a:gd name="connsiteX180" fmla="*/ 54432 w 102351"/>
                          <a:gd name="connsiteY180" fmla="*/ 145083 h 144222"/>
                          <a:gd name="connsiteX181" fmla="*/ 55456 w 102351"/>
                          <a:gd name="connsiteY181" fmla="*/ 144990 h 144222"/>
                          <a:gd name="connsiteX182" fmla="*/ 55456 w 102351"/>
                          <a:gd name="connsiteY182" fmla="*/ 144990 h 144222"/>
                          <a:gd name="connsiteX183" fmla="*/ 56479 w 102351"/>
                          <a:gd name="connsiteY183" fmla="*/ 144851 h 144222"/>
                          <a:gd name="connsiteX184" fmla="*/ 60597 w 102351"/>
                          <a:gd name="connsiteY184" fmla="*/ 144013 h 144222"/>
                          <a:gd name="connsiteX185" fmla="*/ 61620 w 102351"/>
                          <a:gd name="connsiteY185" fmla="*/ 143734 h 144222"/>
                          <a:gd name="connsiteX186" fmla="*/ 63667 w 102351"/>
                          <a:gd name="connsiteY186" fmla="*/ 143083 h 144222"/>
                          <a:gd name="connsiteX187" fmla="*/ 65668 w 102351"/>
                          <a:gd name="connsiteY187" fmla="*/ 142315 h 144222"/>
                          <a:gd name="connsiteX188" fmla="*/ 65668 w 102351"/>
                          <a:gd name="connsiteY188" fmla="*/ 142315 h 144222"/>
                          <a:gd name="connsiteX189" fmla="*/ 66645 w 102351"/>
                          <a:gd name="connsiteY189" fmla="*/ 141896 h 144222"/>
                          <a:gd name="connsiteX190" fmla="*/ 67761 w 102351"/>
                          <a:gd name="connsiteY190" fmla="*/ 141361 h 144222"/>
                          <a:gd name="connsiteX191" fmla="*/ 68622 w 102351"/>
                          <a:gd name="connsiteY191" fmla="*/ 140943 h 144222"/>
                          <a:gd name="connsiteX192" fmla="*/ 70553 w 102351"/>
                          <a:gd name="connsiteY192" fmla="*/ 139896 h 144222"/>
                          <a:gd name="connsiteX193" fmla="*/ 71506 w 102351"/>
                          <a:gd name="connsiteY193" fmla="*/ 139338 h 144222"/>
                          <a:gd name="connsiteX194" fmla="*/ 75275 w 102351"/>
                          <a:gd name="connsiteY194" fmla="*/ 136802 h 144222"/>
                          <a:gd name="connsiteX195" fmla="*/ 76182 w 102351"/>
                          <a:gd name="connsiteY195" fmla="*/ 136104 h 144222"/>
                          <a:gd name="connsiteX196" fmla="*/ 79718 w 102351"/>
                          <a:gd name="connsiteY196" fmla="*/ 133034 h 144222"/>
                          <a:gd name="connsiteX197" fmla="*/ 80579 w 102351"/>
                          <a:gd name="connsiteY197" fmla="*/ 132220 h 144222"/>
                          <a:gd name="connsiteX198" fmla="*/ 80579 w 102351"/>
                          <a:gd name="connsiteY198" fmla="*/ 132220 h 144222"/>
                          <a:gd name="connsiteX199" fmla="*/ 82253 w 102351"/>
                          <a:gd name="connsiteY199" fmla="*/ 130498 h 144222"/>
                          <a:gd name="connsiteX200" fmla="*/ 83882 w 102351"/>
                          <a:gd name="connsiteY200" fmla="*/ 128661 h 144222"/>
                          <a:gd name="connsiteX201" fmla="*/ 84045 w 102351"/>
                          <a:gd name="connsiteY201" fmla="*/ 128451 h 144222"/>
                          <a:gd name="connsiteX202" fmla="*/ 84673 w 102351"/>
                          <a:gd name="connsiteY202" fmla="*/ 127707 h 144222"/>
                          <a:gd name="connsiteX203" fmla="*/ 84696 w 102351"/>
                          <a:gd name="connsiteY203" fmla="*/ 127684 h 144222"/>
                          <a:gd name="connsiteX204" fmla="*/ 86231 w 102351"/>
                          <a:gd name="connsiteY204" fmla="*/ 125753 h 144222"/>
                          <a:gd name="connsiteX205" fmla="*/ 87720 w 102351"/>
                          <a:gd name="connsiteY205" fmla="*/ 123706 h 144222"/>
                          <a:gd name="connsiteX206" fmla="*/ 88046 w 102351"/>
                          <a:gd name="connsiteY206" fmla="*/ 123241 h 144222"/>
                          <a:gd name="connsiteX207" fmla="*/ 88464 w 102351"/>
                          <a:gd name="connsiteY207" fmla="*/ 122636 h 144222"/>
                          <a:gd name="connsiteX208" fmla="*/ 88464 w 102351"/>
                          <a:gd name="connsiteY208" fmla="*/ 122636 h 144222"/>
                          <a:gd name="connsiteX209" fmla="*/ 91209 w 102351"/>
                          <a:gd name="connsiteY209" fmla="*/ 118193 h 144222"/>
                          <a:gd name="connsiteX210" fmla="*/ 91209 w 102351"/>
                          <a:gd name="connsiteY210" fmla="*/ 118193 h 144222"/>
                          <a:gd name="connsiteX211" fmla="*/ 91605 w 102351"/>
                          <a:gd name="connsiteY211" fmla="*/ 117495 h 144222"/>
                          <a:gd name="connsiteX212" fmla="*/ 91860 w 102351"/>
                          <a:gd name="connsiteY212" fmla="*/ 117053 h 144222"/>
                          <a:gd name="connsiteX213" fmla="*/ 94280 w 102351"/>
                          <a:gd name="connsiteY213" fmla="*/ 112238 h 144222"/>
                          <a:gd name="connsiteX214" fmla="*/ 94698 w 102351"/>
                          <a:gd name="connsiteY214" fmla="*/ 111331 h 144222"/>
                          <a:gd name="connsiteX215" fmla="*/ 94838 w 102351"/>
                          <a:gd name="connsiteY215" fmla="*/ 111005 h 144222"/>
                          <a:gd name="connsiteX216" fmla="*/ 96908 w 102351"/>
                          <a:gd name="connsiteY216" fmla="*/ 105887 h 144222"/>
                          <a:gd name="connsiteX217" fmla="*/ 96908 w 102351"/>
                          <a:gd name="connsiteY217" fmla="*/ 105887 h 144222"/>
                          <a:gd name="connsiteX218" fmla="*/ 97304 w 102351"/>
                          <a:gd name="connsiteY218" fmla="*/ 104794 h 144222"/>
                          <a:gd name="connsiteX219" fmla="*/ 97374 w 102351"/>
                          <a:gd name="connsiteY219" fmla="*/ 104585 h 144222"/>
                          <a:gd name="connsiteX220" fmla="*/ 97374 w 102351"/>
                          <a:gd name="connsiteY220" fmla="*/ 104585 h 144222"/>
                          <a:gd name="connsiteX221" fmla="*/ 99048 w 102351"/>
                          <a:gd name="connsiteY221" fmla="*/ 99188 h 144222"/>
                          <a:gd name="connsiteX222" fmla="*/ 99048 w 102351"/>
                          <a:gd name="connsiteY222" fmla="*/ 99188 h 144222"/>
                          <a:gd name="connsiteX223" fmla="*/ 99374 w 102351"/>
                          <a:gd name="connsiteY223" fmla="*/ 97955 h 144222"/>
                          <a:gd name="connsiteX224" fmla="*/ 99421 w 102351"/>
                          <a:gd name="connsiteY224" fmla="*/ 97816 h 144222"/>
                          <a:gd name="connsiteX225" fmla="*/ 99421 w 102351"/>
                          <a:gd name="connsiteY225" fmla="*/ 97816 h 144222"/>
                          <a:gd name="connsiteX226" fmla="*/ 100700 w 102351"/>
                          <a:gd name="connsiteY226" fmla="*/ 92186 h 144222"/>
                          <a:gd name="connsiteX227" fmla="*/ 100956 w 102351"/>
                          <a:gd name="connsiteY227" fmla="*/ 90837 h 144222"/>
                          <a:gd name="connsiteX228" fmla="*/ 100956 w 102351"/>
                          <a:gd name="connsiteY228" fmla="*/ 90767 h 144222"/>
                          <a:gd name="connsiteX229" fmla="*/ 100956 w 102351"/>
                          <a:gd name="connsiteY229" fmla="*/ 90767 h 144222"/>
                          <a:gd name="connsiteX230" fmla="*/ 100956 w 102351"/>
                          <a:gd name="connsiteY230" fmla="*/ 90767 h 144222"/>
                          <a:gd name="connsiteX231" fmla="*/ 101840 w 102351"/>
                          <a:gd name="connsiteY231" fmla="*/ 85022 h 144222"/>
                          <a:gd name="connsiteX232" fmla="*/ 102003 w 102351"/>
                          <a:gd name="connsiteY232" fmla="*/ 83603 h 144222"/>
                          <a:gd name="connsiteX233" fmla="*/ 102003 w 102351"/>
                          <a:gd name="connsiteY233" fmla="*/ 83579 h 144222"/>
                          <a:gd name="connsiteX234" fmla="*/ 102468 w 102351"/>
                          <a:gd name="connsiteY234" fmla="*/ 77717 h 144222"/>
                          <a:gd name="connsiteX235" fmla="*/ 102538 w 102351"/>
                          <a:gd name="connsiteY235" fmla="*/ 76275 h 144222"/>
                          <a:gd name="connsiteX236" fmla="*/ 102538 w 102351"/>
                          <a:gd name="connsiteY236" fmla="*/ 76275 h 144222"/>
                          <a:gd name="connsiteX237" fmla="*/ 102677 w 102351"/>
                          <a:gd name="connsiteY237" fmla="*/ 72553 h 144222"/>
                          <a:gd name="connsiteX238" fmla="*/ 97722 w 102351"/>
                          <a:gd name="connsiteY238" fmla="*/ 77694 h 144222"/>
                          <a:gd name="connsiteX239" fmla="*/ 97211 w 102351"/>
                          <a:gd name="connsiteY239" fmla="*/ 83579 h 144222"/>
                          <a:gd name="connsiteX240" fmla="*/ 97025 w 102351"/>
                          <a:gd name="connsiteY240" fmla="*/ 84998 h 144222"/>
                          <a:gd name="connsiteX241" fmla="*/ 96048 w 102351"/>
                          <a:gd name="connsiteY241" fmla="*/ 90814 h 144222"/>
                          <a:gd name="connsiteX242" fmla="*/ 95792 w 102351"/>
                          <a:gd name="connsiteY242" fmla="*/ 92116 h 144222"/>
                          <a:gd name="connsiteX243" fmla="*/ 95071 w 102351"/>
                          <a:gd name="connsiteY243" fmla="*/ 95187 h 144222"/>
                          <a:gd name="connsiteX244" fmla="*/ 93303 w 102351"/>
                          <a:gd name="connsiteY244" fmla="*/ 101095 h 144222"/>
                          <a:gd name="connsiteX245" fmla="*/ 91163 w 102351"/>
                          <a:gd name="connsiteY245" fmla="*/ 106678 h 144222"/>
                          <a:gd name="connsiteX246" fmla="*/ 88650 w 102351"/>
                          <a:gd name="connsiteY246" fmla="*/ 111935 h 144222"/>
                          <a:gd name="connsiteX247" fmla="*/ 87255 w 102351"/>
                          <a:gd name="connsiteY247" fmla="*/ 114424 h 144222"/>
                          <a:gd name="connsiteX248" fmla="*/ 82649 w 102351"/>
                          <a:gd name="connsiteY248" fmla="*/ 121263 h 144222"/>
                          <a:gd name="connsiteX249" fmla="*/ 80974 w 102351"/>
                          <a:gd name="connsiteY249" fmla="*/ 123334 h 144222"/>
                          <a:gd name="connsiteX250" fmla="*/ 51385 w 102351"/>
                          <a:gd name="connsiteY250" fmla="*/ 138361 h 144222"/>
                          <a:gd name="connsiteX251" fmla="*/ 23541 w 102351"/>
                          <a:gd name="connsiteY251" fmla="*/ 125288 h 144222"/>
                          <a:gd name="connsiteX252" fmla="*/ 18493 w 102351"/>
                          <a:gd name="connsiteY252" fmla="*/ 119077 h 144222"/>
                          <a:gd name="connsiteX253" fmla="*/ 15492 w 102351"/>
                          <a:gd name="connsiteY253" fmla="*/ 114401 h 144222"/>
                          <a:gd name="connsiteX254" fmla="*/ 14097 w 102351"/>
                          <a:gd name="connsiteY254" fmla="*/ 111912 h 144222"/>
                          <a:gd name="connsiteX255" fmla="*/ 11584 w 102351"/>
                          <a:gd name="connsiteY255" fmla="*/ 106655 h 144222"/>
                          <a:gd name="connsiteX256" fmla="*/ 6932 w 102351"/>
                          <a:gd name="connsiteY256" fmla="*/ 92093 h 144222"/>
                          <a:gd name="connsiteX257" fmla="*/ 4838 w 102351"/>
                          <a:gd name="connsiteY257" fmla="*/ 72530 h 144222"/>
                          <a:gd name="connsiteX258" fmla="*/ 4838 w 102351"/>
                          <a:gd name="connsiteY258" fmla="*/ 72530 h 144222"/>
                          <a:gd name="connsiteX259" fmla="*/ 6304 w 102351"/>
                          <a:gd name="connsiteY259" fmla="*/ 56084 h 144222"/>
                          <a:gd name="connsiteX260" fmla="*/ 6932 w 102351"/>
                          <a:gd name="connsiteY260" fmla="*/ 52967 h 144222"/>
                          <a:gd name="connsiteX261" fmla="*/ 16935 w 102351"/>
                          <a:gd name="connsiteY261" fmla="*/ 28310 h 144222"/>
                          <a:gd name="connsiteX262" fmla="*/ 18470 w 102351"/>
                          <a:gd name="connsiteY262" fmla="*/ 26030 h 144222"/>
                          <a:gd name="connsiteX263" fmla="*/ 31194 w 102351"/>
                          <a:gd name="connsiteY263" fmla="*/ 13259 h 144222"/>
                          <a:gd name="connsiteX264" fmla="*/ 33264 w 102351"/>
                          <a:gd name="connsiteY264" fmla="*/ 11933 h 144222"/>
                          <a:gd name="connsiteX265" fmla="*/ 51362 w 102351"/>
                          <a:gd name="connsiteY265" fmla="*/ 6769 h 144222"/>
                          <a:gd name="connsiteX266" fmla="*/ 69459 w 102351"/>
                          <a:gd name="connsiteY266" fmla="*/ 11933 h 144222"/>
                          <a:gd name="connsiteX267" fmla="*/ 71506 w 102351"/>
                          <a:gd name="connsiteY267" fmla="*/ 13259 h 144222"/>
                          <a:gd name="connsiteX268" fmla="*/ 95768 w 102351"/>
                          <a:gd name="connsiteY268" fmla="*/ 52990 h 144222"/>
                          <a:gd name="connsiteX269" fmla="*/ 96397 w 102351"/>
                          <a:gd name="connsiteY269" fmla="*/ 56107 h 144222"/>
                          <a:gd name="connsiteX270" fmla="*/ 97862 w 102351"/>
                          <a:gd name="connsiteY270" fmla="*/ 72553 h 144222"/>
                          <a:gd name="connsiteX271" fmla="*/ 97862 w 102351"/>
                          <a:gd name="connsiteY271" fmla="*/ 72553 h 144222"/>
                          <a:gd name="connsiteX272" fmla="*/ 97792 w 102351"/>
                          <a:gd name="connsiteY272" fmla="*/ 76229 h 144222"/>
                          <a:gd name="connsiteX273" fmla="*/ 97722 w 102351"/>
                          <a:gd name="connsiteY273" fmla="*/ 77694 h 14422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  <a:cxn ang="0">
                            <a:pos x="connsiteX43" y="connsiteY43"/>
                          </a:cxn>
                          <a:cxn ang="0">
                            <a:pos x="connsiteX44" y="connsiteY44"/>
                          </a:cxn>
                          <a:cxn ang="0">
                            <a:pos x="connsiteX45" y="connsiteY45"/>
                          </a:cxn>
                          <a:cxn ang="0">
                            <a:pos x="connsiteX46" y="connsiteY46"/>
                          </a:cxn>
                          <a:cxn ang="0">
                            <a:pos x="connsiteX47" y="connsiteY47"/>
                          </a:cxn>
                          <a:cxn ang="0">
                            <a:pos x="connsiteX48" y="connsiteY48"/>
                          </a:cxn>
                          <a:cxn ang="0">
                            <a:pos x="connsiteX49" y="connsiteY49"/>
                          </a:cxn>
                          <a:cxn ang="0">
                            <a:pos x="connsiteX50" y="connsiteY50"/>
                          </a:cxn>
                          <a:cxn ang="0">
                            <a:pos x="connsiteX51" y="connsiteY51"/>
                          </a:cxn>
                          <a:cxn ang="0">
                            <a:pos x="connsiteX52" y="connsiteY52"/>
                          </a:cxn>
                          <a:cxn ang="0">
                            <a:pos x="connsiteX53" y="connsiteY53"/>
                          </a:cxn>
                          <a:cxn ang="0">
                            <a:pos x="connsiteX54" y="connsiteY54"/>
                          </a:cxn>
                          <a:cxn ang="0">
                            <a:pos x="connsiteX55" y="connsiteY55"/>
                          </a:cxn>
                          <a:cxn ang="0">
                            <a:pos x="connsiteX56" y="connsiteY56"/>
                          </a:cxn>
                          <a:cxn ang="0">
                            <a:pos x="connsiteX57" y="connsiteY57"/>
                          </a:cxn>
                          <a:cxn ang="0">
                            <a:pos x="connsiteX58" y="connsiteY58"/>
                          </a:cxn>
                          <a:cxn ang="0">
                            <a:pos x="connsiteX59" y="connsiteY59"/>
                          </a:cxn>
                          <a:cxn ang="0">
                            <a:pos x="connsiteX60" y="connsiteY60"/>
                          </a:cxn>
                          <a:cxn ang="0">
                            <a:pos x="connsiteX61" y="connsiteY61"/>
                          </a:cxn>
                          <a:cxn ang="0">
                            <a:pos x="connsiteX62" y="connsiteY62"/>
                          </a:cxn>
                          <a:cxn ang="0">
                            <a:pos x="connsiteX63" y="connsiteY63"/>
                          </a:cxn>
                          <a:cxn ang="0">
                            <a:pos x="connsiteX64" y="connsiteY64"/>
                          </a:cxn>
                          <a:cxn ang="0">
                            <a:pos x="connsiteX65" y="connsiteY65"/>
                          </a:cxn>
                          <a:cxn ang="0">
                            <a:pos x="connsiteX66" y="connsiteY66"/>
                          </a:cxn>
                          <a:cxn ang="0">
                            <a:pos x="connsiteX67" y="connsiteY67"/>
                          </a:cxn>
                          <a:cxn ang="0">
                            <a:pos x="connsiteX68" y="connsiteY68"/>
                          </a:cxn>
                          <a:cxn ang="0">
                            <a:pos x="connsiteX69" y="connsiteY69"/>
                          </a:cxn>
                          <a:cxn ang="0">
                            <a:pos x="connsiteX70" y="connsiteY70"/>
                          </a:cxn>
                          <a:cxn ang="0">
                            <a:pos x="connsiteX71" y="connsiteY71"/>
                          </a:cxn>
                          <a:cxn ang="0">
                            <a:pos x="connsiteX72" y="connsiteY72"/>
                          </a:cxn>
                          <a:cxn ang="0">
                            <a:pos x="connsiteX73" y="connsiteY73"/>
                          </a:cxn>
                          <a:cxn ang="0">
                            <a:pos x="connsiteX74" y="connsiteY74"/>
                          </a:cxn>
                          <a:cxn ang="0">
                            <a:pos x="connsiteX75" y="connsiteY75"/>
                          </a:cxn>
                          <a:cxn ang="0">
                            <a:pos x="connsiteX76" y="connsiteY76"/>
                          </a:cxn>
                          <a:cxn ang="0">
                            <a:pos x="connsiteX77" y="connsiteY77"/>
                          </a:cxn>
                          <a:cxn ang="0">
                            <a:pos x="connsiteX78" y="connsiteY78"/>
                          </a:cxn>
                          <a:cxn ang="0">
                            <a:pos x="connsiteX79" y="connsiteY79"/>
                          </a:cxn>
                          <a:cxn ang="0">
                            <a:pos x="connsiteX80" y="connsiteY80"/>
                          </a:cxn>
                          <a:cxn ang="0">
                            <a:pos x="connsiteX81" y="connsiteY81"/>
                          </a:cxn>
                          <a:cxn ang="0">
                            <a:pos x="connsiteX82" y="connsiteY82"/>
                          </a:cxn>
                          <a:cxn ang="0">
                            <a:pos x="connsiteX83" y="connsiteY83"/>
                          </a:cxn>
                          <a:cxn ang="0">
                            <a:pos x="connsiteX84" y="connsiteY84"/>
                          </a:cxn>
                          <a:cxn ang="0">
                            <a:pos x="connsiteX85" y="connsiteY85"/>
                          </a:cxn>
                          <a:cxn ang="0">
                            <a:pos x="connsiteX86" y="connsiteY86"/>
                          </a:cxn>
                          <a:cxn ang="0">
                            <a:pos x="connsiteX87" y="connsiteY87"/>
                          </a:cxn>
                          <a:cxn ang="0">
                            <a:pos x="connsiteX88" y="connsiteY88"/>
                          </a:cxn>
                          <a:cxn ang="0">
                            <a:pos x="connsiteX89" y="connsiteY89"/>
                          </a:cxn>
                          <a:cxn ang="0">
                            <a:pos x="connsiteX90" y="connsiteY90"/>
                          </a:cxn>
                          <a:cxn ang="0">
                            <a:pos x="connsiteX91" y="connsiteY91"/>
                          </a:cxn>
                          <a:cxn ang="0">
                            <a:pos x="connsiteX92" y="connsiteY92"/>
                          </a:cxn>
                          <a:cxn ang="0">
                            <a:pos x="connsiteX93" y="connsiteY93"/>
                          </a:cxn>
                          <a:cxn ang="0">
                            <a:pos x="connsiteX94" y="connsiteY94"/>
                          </a:cxn>
                          <a:cxn ang="0">
                            <a:pos x="connsiteX95" y="connsiteY95"/>
                          </a:cxn>
                          <a:cxn ang="0">
                            <a:pos x="connsiteX96" y="connsiteY96"/>
                          </a:cxn>
                          <a:cxn ang="0">
                            <a:pos x="connsiteX97" y="connsiteY97"/>
                          </a:cxn>
                          <a:cxn ang="0">
                            <a:pos x="connsiteX98" y="connsiteY98"/>
                          </a:cxn>
                          <a:cxn ang="0">
                            <a:pos x="connsiteX99" y="connsiteY99"/>
                          </a:cxn>
                          <a:cxn ang="0">
                            <a:pos x="connsiteX100" y="connsiteY100"/>
                          </a:cxn>
                          <a:cxn ang="0">
                            <a:pos x="connsiteX101" y="connsiteY101"/>
                          </a:cxn>
                          <a:cxn ang="0">
                            <a:pos x="connsiteX102" y="connsiteY102"/>
                          </a:cxn>
                          <a:cxn ang="0">
                            <a:pos x="connsiteX103" y="connsiteY103"/>
                          </a:cxn>
                          <a:cxn ang="0">
                            <a:pos x="connsiteX104" y="connsiteY104"/>
                          </a:cxn>
                          <a:cxn ang="0">
                            <a:pos x="connsiteX105" y="connsiteY105"/>
                          </a:cxn>
                          <a:cxn ang="0">
                            <a:pos x="connsiteX106" y="connsiteY106"/>
                          </a:cxn>
                          <a:cxn ang="0">
                            <a:pos x="connsiteX107" y="connsiteY107"/>
                          </a:cxn>
                          <a:cxn ang="0">
                            <a:pos x="connsiteX108" y="connsiteY108"/>
                          </a:cxn>
                          <a:cxn ang="0">
                            <a:pos x="connsiteX109" y="connsiteY109"/>
                          </a:cxn>
                          <a:cxn ang="0">
                            <a:pos x="connsiteX110" y="connsiteY110"/>
                          </a:cxn>
                          <a:cxn ang="0">
                            <a:pos x="connsiteX111" y="connsiteY111"/>
                          </a:cxn>
                          <a:cxn ang="0">
                            <a:pos x="connsiteX112" y="connsiteY112"/>
                          </a:cxn>
                          <a:cxn ang="0">
                            <a:pos x="connsiteX113" y="connsiteY113"/>
                          </a:cxn>
                          <a:cxn ang="0">
                            <a:pos x="connsiteX114" y="connsiteY114"/>
                          </a:cxn>
                          <a:cxn ang="0">
                            <a:pos x="connsiteX115" y="connsiteY115"/>
                          </a:cxn>
                          <a:cxn ang="0">
                            <a:pos x="connsiteX116" y="connsiteY116"/>
                          </a:cxn>
                          <a:cxn ang="0">
                            <a:pos x="connsiteX117" y="connsiteY117"/>
                          </a:cxn>
                          <a:cxn ang="0">
                            <a:pos x="connsiteX118" y="connsiteY118"/>
                          </a:cxn>
                          <a:cxn ang="0">
                            <a:pos x="connsiteX119" y="connsiteY119"/>
                          </a:cxn>
                          <a:cxn ang="0">
                            <a:pos x="connsiteX120" y="connsiteY120"/>
                          </a:cxn>
                          <a:cxn ang="0">
                            <a:pos x="connsiteX121" y="connsiteY121"/>
                          </a:cxn>
                          <a:cxn ang="0">
                            <a:pos x="connsiteX122" y="connsiteY122"/>
                          </a:cxn>
                          <a:cxn ang="0">
                            <a:pos x="connsiteX123" y="connsiteY123"/>
                          </a:cxn>
                          <a:cxn ang="0">
                            <a:pos x="connsiteX124" y="connsiteY124"/>
                          </a:cxn>
                          <a:cxn ang="0">
                            <a:pos x="connsiteX125" y="connsiteY125"/>
                          </a:cxn>
                          <a:cxn ang="0">
                            <a:pos x="connsiteX126" y="connsiteY126"/>
                          </a:cxn>
                          <a:cxn ang="0">
                            <a:pos x="connsiteX127" y="connsiteY127"/>
                          </a:cxn>
                          <a:cxn ang="0">
                            <a:pos x="connsiteX128" y="connsiteY128"/>
                          </a:cxn>
                          <a:cxn ang="0">
                            <a:pos x="connsiteX129" y="connsiteY129"/>
                          </a:cxn>
                          <a:cxn ang="0">
                            <a:pos x="connsiteX130" y="connsiteY130"/>
                          </a:cxn>
                          <a:cxn ang="0">
                            <a:pos x="connsiteX131" y="connsiteY131"/>
                          </a:cxn>
                          <a:cxn ang="0">
                            <a:pos x="connsiteX132" y="connsiteY132"/>
                          </a:cxn>
                          <a:cxn ang="0">
                            <a:pos x="connsiteX133" y="connsiteY133"/>
                          </a:cxn>
                          <a:cxn ang="0">
                            <a:pos x="connsiteX134" y="connsiteY134"/>
                          </a:cxn>
                          <a:cxn ang="0">
                            <a:pos x="connsiteX135" y="connsiteY135"/>
                          </a:cxn>
                          <a:cxn ang="0">
                            <a:pos x="connsiteX136" y="connsiteY136"/>
                          </a:cxn>
                          <a:cxn ang="0">
                            <a:pos x="connsiteX137" y="connsiteY137"/>
                          </a:cxn>
                          <a:cxn ang="0">
                            <a:pos x="connsiteX138" y="connsiteY138"/>
                          </a:cxn>
                          <a:cxn ang="0">
                            <a:pos x="connsiteX139" y="connsiteY139"/>
                          </a:cxn>
                          <a:cxn ang="0">
                            <a:pos x="connsiteX140" y="connsiteY140"/>
                          </a:cxn>
                          <a:cxn ang="0">
                            <a:pos x="connsiteX141" y="connsiteY141"/>
                          </a:cxn>
                          <a:cxn ang="0">
                            <a:pos x="connsiteX142" y="connsiteY142"/>
                          </a:cxn>
                          <a:cxn ang="0">
                            <a:pos x="connsiteX143" y="connsiteY143"/>
                          </a:cxn>
                          <a:cxn ang="0">
                            <a:pos x="connsiteX144" y="connsiteY144"/>
                          </a:cxn>
                          <a:cxn ang="0">
                            <a:pos x="connsiteX145" y="connsiteY145"/>
                          </a:cxn>
                          <a:cxn ang="0">
                            <a:pos x="connsiteX146" y="connsiteY146"/>
                          </a:cxn>
                          <a:cxn ang="0">
                            <a:pos x="connsiteX147" y="connsiteY147"/>
                          </a:cxn>
                          <a:cxn ang="0">
                            <a:pos x="connsiteX148" y="connsiteY148"/>
                          </a:cxn>
                          <a:cxn ang="0">
                            <a:pos x="connsiteX149" y="connsiteY149"/>
                          </a:cxn>
                          <a:cxn ang="0">
                            <a:pos x="connsiteX150" y="connsiteY150"/>
                          </a:cxn>
                          <a:cxn ang="0">
                            <a:pos x="connsiteX151" y="connsiteY151"/>
                          </a:cxn>
                          <a:cxn ang="0">
                            <a:pos x="connsiteX152" y="connsiteY152"/>
                          </a:cxn>
                          <a:cxn ang="0">
                            <a:pos x="connsiteX153" y="connsiteY153"/>
                          </a:cxn>
                          <a:cxn ang="0">
                            <a:pos x="connsiteX154" y="connsiteY154"/>
                          </a:cxn>
                          <a:cxn ang="0">
                            <a:pos x="connsiteX155" y="connsiteY155"/>
                          </a:cxn>
                          <a:cxn ang="0">
                            <a:pos x="connsiteX156" y="connsiteY156"/>
                          </a:cxn>
                          <a:cxn ang="0">
                            <a:pos x="connsiteX157" y="connsiteY157"/>
                          </a:cxn>
                          <a:cxn ang="0">
                            <a:pos x="connsiteX158" y="connsiteY158"/>
                          </a:cxn>
                          <a:cxn ang="0">
                            <a:pos x="connsiteX159" y="connsiteY159"/>
                          </a:cxn>
                          <a:cxn ang="0">
                            <a:pos x="connsiteX160" y="connsiteY160"/>
                          </a:cxn>
                          <a:cxn ang="0">
                            <a:pos x="connsiteX161" y="connsiteY161"/>
                          </a:cxn>
                          <a:cxn ang="0">
                            <a:pos x="connsiteX162" y="connsiteY162"/>
                          </a:cxn>
                          <a:cxn ang="0">
                            <a:pos x="connsiteX163" y="connsiteY163"/>
                          </a:cxn>
                          <a:cxn ang="0">
                            <a:pos x="connsiteX164" y="connsiteY164"/>
                          </a:cxn>
                          <a:cxn ang="0">
                            <a:pos x="connsiteX165" y="connsiteY165"/>
                          </a:cxn>
                          <a:cxn ang="0">
                            <a:pos x="connsiteX166" y="connsiteY166"/>
                          </a:cxn>
                          <a:cxn ang="0">
                            <a:pos x="connsiteX167" y="connsiteY167"/>
                          </a:cxn>
                          <a:cxn ang="0">
                            <a:pos x="connsiteX168" y="connsiteY168"/>
                          </a:cxn>
                          <a:cxn ang="0">
                            <a:pos x="connsiteX169" y="connsiteY169"/>
                          </a:cxn>
                          <a:cxn ang="0">
                            <a:pos x="connsiteX170" y="connsiteY170"/>
                          </a:cxn>
                          <a:cxn ang="0">
                            <a:pos x="connsiteX171" y="connsiteY171"/>
                          </a:cxn>
                          <a:cxn ang="0">
                            <a:pos x="connsiteX172" y="connsiteY172"/>
                          </a:cxn>
                          <a:cxn ang="0">
                            <a:pos x="connsiteX173" y="connsiteY173"/>
                          </a:cxn>
                          <a:cxn ang="0">
                            <a:pos x="connsiteX174" y="connsiteY174"/>
                          </a:cxn>
                          <a:cxn ang="0">
                            <a:pos x="connsiteX175" y="connsiteY175"/>
                          </a:cxn>
                          <a:cxn ang="0">
                            <a:pos x="connsiteX176" y="connsiteY176"/>
                          </a:cxn>
                          <a:cxn ang="0">
                            <a:pos x="connsiteX177" y="connsiteY177"/>
                          </a:cxn>
                          <a:cxn ang="0">
                            <a:pos x="connsiteX178" y="connsiteY178"/>
                          </a:cxn>
                          <a:cxn ang="0">
                            <a:pos x="connsiteX179" y="connsiteY179"/>
                          </a:cxn>
                          <a:cxn ang="0">
                            <a:pos x="connsiteX180" y="connsiteY180"/>
                          </a:cxn>
                          <a:cxn ang="0">
                            <a:pos x="connsiteX181" y="connsiteY181"/>
                          </a:cxn>
                          <a:cxn ang="0">
                            <a:pos x="connsiteX182" y="connsiteY182"/>
                          </a:cxn>
                          <a:cxn ang="0">
                            <a:pos x="connsiteX183" y="connsiteY183"/>
                          </a:cxn>
                          <a:cxn ang="0">
                            <a:pos x="connsiteX184" y="connsiteY184"/>
                          </a:cxn>
                          <a:cxn ang="0">
                            <a:pos x="connsiteX185" y="connsiteY185"/>
                          </a:cxn>
                          <a:cxn ang="0">
                            <a:pos x="connsiteX186" y="connsiteY186"/>
                          </a:cxn>
                          <a:cxn ang="0">
                            <a:pos x="connsiteX187" y="connsiteY187"/>
                          </a:cxn>
                          <a:cxn ang="0">
                            <a:pos x="connsiteX188" y="connsiteY188"/>
                          </a:cxn>
                          <a:cxn ang="0">
                            <a:pos x="connsiteX189" y="connsiteY189"/>
                          </a:cxn>
                          <a:cxn ang="0">
                            <a:pos x="connsiteX190" y="connsiteY190"/>
                          </a:cxn>
                          <a:cxn ang="0">
                            <a:pos x="connsiteX191" y="connsiteY191"/>
                          </a:cxn>
                          <a:cxn ang="0">
                            <a:pos x="connsiteX192" y="connsiteY192"/>
                          </a:cxn>
                          <a:cxn ang="0">
                            <a:pos x="connsiteX193" y="connsiteY193"/>
                          </a:cxn>
                          <a:cxn ang="0">
                            <a:pos x="connsiteX194" y="connsiteY194"/>
                          </a:cxn>
                          <a:cxn ang="0">
                            <a:pos x="connsiteX195" y="connsiteY195"/>
                          </a:cxn>
                          <a:cxn ang="0">
                            <a:pos x="connsiteX196" y="connsiteY196"/>
                          </a:cxn>
                          <a:cxn ang="0">
                            <a:pos x="connsiteX197" y="connsiteY197"/>
                          </a:cxn>
                          <a:cxn ang="0">
                            <a:pos x="connsiteX198" y="connsiteY198"/>
                          </a:cxn>
                          <a:cxn ang="0">
                            <a:pos x="connsiteX199" y="connsiteY199"/>
                          </a:cxn>
                          <a:cxn ang="0">
                            <a:pos x="connsiteX200" y="connsiteY200"/>
                          </a:cxn>
                          <a:cxn ang="0">
                            <a:pos x="connsiteX201" y="connsiteY201"/>
                          </a:cxn>
                          <a:cxn ang="0">
                            <a:pos x="connsiteX202" y="connsiteY202"/>
                          </a:cxn>
                          <a:cxn ang="0">
                            <a:pos x="connsiteX203" y="connsiteY203"/>
                          </a:cxn>
                          <a:cxn ang="0">
                            <a:pos x="connsiteX204" y="connsiteY204"/>
                          </a:cxn>
                          <a:cxn ang="0">
                            <a:pos x="connsiteX205" y="connsiteY205"/>
                          </a:cxn>
                          <a:cxn ang="0">
                            <a:pos x="connsiteX206" y="connsiteY206"/>
                          </a:cxn>
                          <a:cxn ang="0">
                            <a:pos x="connsiteX207" y="connsiteY207"/>
                          </a:cxn>
                          <a:cxn ang="0">
                            <a:pos x="connsiteX208" y="connsiteY208"/>
                          </a:cxn>
                          <a:cxn ang="0">
                            <a:pos x="connsiteX209" y="connsiteY209"/>
                          </a:cxn>
                          <a:cxn ang="0">
                            <a:pos x="connsiteX210" y="connsiteY210"/>
                          </a:cxn>
                          <a:cxn ang="0">
                            <a:pos x="connsiteX211" y="connsiteY211"/>
                          </a:cxn>
                          <a:cxn ang="0">
                            <a:pos x="connsiteX212" y="connsiteY212"/>
                          </a:cxn>
                          <a:cxn ang="0">
                            <a:pos x="connsiteX213" y="connsiteY213"/>
                          </a:cxn>
                          <a:cxn ang="0">
                            <a:pos x="connsiteX214" y="connsiteY214"/>
                          </a:cxn>
                          <a:cxn ang="0">
                            <a:pos x="connsiteX215" y="connsiteY215"/>
                          </a:cxn>
                          <a:cxn ang="0">
                            <a:pos x="connsiteX216" y="connsiteY216"/>
                          </a:cxn>
                          <a:cxn ang="0">
                            <a:pos x="connsiteX217" y="connsiteY217"/>
                          </a:cxn>
                          <a:cxn ang="0">
                            <a:pos x="connsiteX218" y="connsiteY218"/>
                          </a:cxn>
                          <a:cxn ang="0">
                            <a:pos x="connsiteX219" y="connsiteY219"/>
                          </a:cxn>
                          <a:cxn ang="0">
                            <a:pos x="connsiteX220" y="connsiteY220"/>
                          </a:cxn>
                          <a:cxn ang="0">
                            <a:pos x="connsiteX221" y="connsiteY221"/>
                          </a:cxn>
                          <a:cxn ang="0">
                            <a:pos x="connsiteX222" y="connsiteY222"/>
                          </a:cxn>
                          <a:cxn ang="0">
                            <a:pos x="connsiteX223" y="connsiteY223"/>
                          </a:cxn>
                          <a:cxn ang="0">
                            <a:pos x="connsiteX224" y="connsiteY224"/>
                          </a:cxn>
                          <a:cxn ang="0">
                            <a:pos x="connsiteX225" y="connsiteY225"/>
                          </a:cxn>
                          <a:cxn ang="0">
                            <a:pos x="connsiteX226" y="connsiteY226"/>
                          </a:cxn>
                          <a:cxn ang="0">
                            <a:pos x="connsiteX227" y="connsiteY227"/>
                          </a:cxn>
                          <a:cxn ang="0">
                            <a:pos x="connsiteX228" y="connsiteY228"/>
                          </a:cxn>
                          <a:cxn ang="0">
                            <a:pos x="connsiteX229" y="connsiteY229"/>
                          </a:cxn>
                          <a:cxn ang="0">
                            <a:pos x="connsiteX230" y="connsiteY230"/>
                          </a:cxn>
                          <a:cxn ang="0">
                            <a:pos x="connsiteX231" y="connsiteY231"/>
                          </a:cxn>
                          <a:cxn ang="0">
                            <a:pos x="connsiteX232" y="connsiteY232"/>
                          </a:cxn>
                          <a:cxn ang="0">
                            <a:pos x="connsiteX233" y="connsiteY233"/>
                          </a:cxn>
                          <a:cxn ang="0">
                            <a:pos x="connsiteX234" y="connsiteY234"/>
                          </a:cxn>
                          <a:cxn ang="0">
                            <a:pos x="connsiteX235" y="connsiteY235"/>
                          </a:cxn>
                          <a:cxn ang="0">
                            <a:pos x="connsiteX236" y="connsiteY236"/>
                          </a:cxn>
                          <a:cxn ang="0">
                            <a:pos x="connsiteX237" y="connsiteY237"/>
                          </a:cxn>
                          <a:cxn ang="0">
                            <a:pos x="connsiteX238" y="connsiteY238"/>
                          </a:cxn>
                          <a:cxn ang="0">
                            <a:pos x="connsiteX239" y="connsiteY239"/>
                          </a:cxn>
                          <a:cxn ang="0">
                            <a:pos x="connsiteX240" y="connsiteY240"/>
                          </a:cxn>
                          <a:cxn ang="0">
                            <a:pos x="connsiteX241" y="connsiteY241"/>
                          </a:cxn>
                          <a:cxn ang="0">
                            <a:pos x="connsiteX242" y="connsiteY242"/>
                          </a:cxn>
                          <a:cxn ang="0">
                            <a:pos x="connsiteX243" y="connsiteY243"/>
                          </a:cxn>
                          <a:cxn ang="0">
                            <a:pos x="connsiteX244" y="connsiteY244"/>
                          </a:cxn>
                          <a:cxn ang="0">
                            <a:pos x="connsiteX245" y="connsiteY245"/>
                          </a:cxn>
                          <a:cxn ang="0">
                            <a:pos x="connsiteX246" y="connsiteY246"/>
                          </a:cxn>
                          <a:cxn ang="0">
                            <a:pos x="connsiteX247" y="connsiteY247"/>
                          </a:cxn>
                          <a:cxn ang="0">
                            <a:pos x="connsiteX248" y="connsiteY248"/>
                          </a:cxn>
                          <a:cxn ang="0">
                            <a:pos x="connsiteX249" y="connsiteY249"/>
                          </a:cxn>
                          <a:cxn ang="0">
                            <a:pos x="connsiteX250" y="connsiteY250"/>
                          </a:cxn>
                          <a:cxn ang="0">
                            <a:pos x="connsiteX251" y="connsiteY251"/>
                          </a:cxn>
                          <a:cxn ang="0">
                            <a:pos x="connsiteX252" y="connsiteY252"/>
                          </a:cxn>
                          <a:cxn ang="0">
                            <a:pos x="connsiteX253" y="connsiteY253"/>
                          </a:cxn>
                          <a:cxn ang="0">
                            <a:pos x="connsiteX254" y="connsiteY254"/>
                          </a:cxn>
                          <a:cxn ang="0">
                            <a:pos x="connsiteX255" y="connsiteY255"/>
                          </a:cxn>
                          <a:cxn ang="0">
                            <a:pos x="connsiteX256" y="connsiteY256"/>
                          </a:cxn>
                          <a:cxn ang="0">
                            <a:pos x="connsiteX257" y="connsiteY257"/>
                          </a:cxn>
                          <a:cxn ang="0">
                            <a:pos x="connsiteX258" y="connsiteY258"/>
                          </a:cxn>
                          <a:cxn ang="0">
                            <a:pos x="connsiteX259" y="connsiteY259"/>
                          </a:cxn>
                          <a:cxn ang="0">
                            <a:pos x="connsiteX260" y="connsiteY260"/>
                          </a:cxn>
                          <a:cxn ang="0">
                            <a:pos x="connsiteX261" y="connsiteY261"/>
                          </a:cxn>
                          <a:cxn ang="0">
                            <a:pos x="connsiteX262" y="connsiteY262"/>
                          </a:cxn>
                          <a:cxn ang="0">
                            <a:pos x="connsiteX263" y="connsiteY263"/>
                          </a:cxn>
                          <a:cxn ang="0">
                            <a:pos x="connsiteX264" y="connsiteY264"/>
                          </a:cxn>
                          <a:cxn ang="0">
                            <a:pos x="connsiteX265" y="connsiteY265"/>
                          </a:cxn>
                          <a:cxn ang="0">
                            <a:pos x="connsiteX266" y="connsiteY266"/>
                          </a:cxn>
                          <a:cxn ang="0">
                            <a:pos x="connsiteX267" y="connsiteY267"/>
                          </a:cxn>
                          <a:cxn ang="0">
                            <a:pos x="connsiteX268" y="connsiteY268"/>
                          </a:cxn>
                          <a:cxn ang="0">
                            <a:pos x="connsiteX269" y="connsiteY269"/>
                          </a:cxn>
                          <a:cxn ang="0">
                            <a:pos x="connsiteX270" y="connsiteY270"/>
                          </a:cxn>
                          <a:cxn ang="0">
                            <a:pos x="connsiteX271" y="connsiteY271"/>
                          </a:cxn>
                          <a:cxn ang="0">
                            <a:pos x="connsiteX272" y="connsiteY272"/>
                          </a:cxn>
                          <a:cxn ang="0">
                            <a:pos x="connsiteX273" y="connsiteY273"/>
                          </a:cxn>
                        </a:cxnLst>
                        <a:rect l="l" t="t" r="r" b="b"/>
                        <a:pathLst>
                          <a:path w="102351" h="144222">
                            <a:moveTo>
                              <a:pt x="102677" y="72553"/>
                            </a:moveTo>
                            <a:cubicBezTo>
                              <a:pt x="102677" y="71716"/>
                              <a:pt x="102677" y="70878"/>
                              <a:pt x="102654" y="70041"/>
                            </a:cubicBezTo>
                            <a:cubicBezTo>
                              <a:pt x="102654" y="69553"/>
                              <a:pt x="102631" y="69064"/>
                              <a:pt x="102607" y="68576"/>
                            </a:cubicBezTo>
                            <a:cubicBezTo>
                              <a:pt x="102561" y="67599"/>
                              <a:pt x="102514" y="66598"/>
                              <a:pt x="102445" y="65621"/>
                            </a:cubicBezTo>
                            <a:cubicBezTo>
                              <a:pt x="102375" y="64644"/>
                              <a:pt x="102305" y="63667"/>
                              <a:pt x="102212" y="62714"/>
                            </a:cubicBezTo>
                            <a:cubicBezTo>
                              <a:pt x="102165" y="62225"/>
                              <a:pt x="102119" y="61760"/>
                              <a:pt x="102072" y="61271"/>
                            </a:cubicBezTo>
                            <a:cubicBezTo>
                              <a:pt x="102049" y="61039"/>
                              <a:pt x="102003" y="60806"/>
                              <a:pt x="101979" y="60574"/>
                            </a:cubicBezTo>
                            <a:cubicBezTo>
                              <a:pt x="101770" y="58852"/>
                              <a:pt x="101561" y="57154"/>
                              <a:pt x="101281" y="55502"/>
                            </a:cubicBezTo>
                            <a:lnTo>
                              <a:pt x="101281" y="55502"/>
                            </a:lnTo>
                            <a:cubicBezTo>
                              <a:pt x="101212" y="55037"/>
                              <a:pt x="101119" y="54572"/>
                              <a:pt x="101026" y="54107"/>
                            </a:cubicBezTo>
                            <a:cubicBezTo>
                              <a:pt x="100677" y="52199"/>
                              <a:pt x="100258" y="50315"/>
                              <a:pt x="99793" y="48454"/>
                            </a:cubicBezTo>
                            <a:cubicBezTo>
                              <a:pt x="99793" y="48408"/>
                              <a:pt x="99769" y="48384"/>
                              <a:pt x="99769" y="48338"/>
                            </a:cubicBezTo>
                            <a:cubicBezTo>
                              <a:pt x="99653" y="47919"/>
                              <a:pt x="99560" y="47500"/>
                              <a:pt x="99444" y="47082"/>
                            </a:cubicBezTo>
                            <a:lnTo>
                              <a:pt x="99444" y="47082"/>
                            </a:lnTo>
                            <a:cubicBezTo>
                              <a:pt x="98955" y="45244"/>
                              <a:pt x="98420" y="43430"/>
                              <a:pt x="97815" y="41662"/>
                            </a:cubicBezTo>
                            <a:cubicBezTo>
                              <a:pt x="97792" y="41592"/>
                              <a:pt x="97769" y="41522"/>
                              <a:pt x="97746" y="41452"/>
                            </a:cubicBezTo>
                            <a:cubicBezTo>
                              <a:pt x="97629" y="41080"/>
                              <a:pt x="97490" y="40708"/>
                              <a:pt x="97374" y="40359"/>
                            </a:cubicBezTo>
                            <a:cubicBezTo>
                              <a:pt x="96745" y="38591"/>
                              <a:pt x="96094" y="36870"/>
                              <a:pt x="95373" y="35195"/>
                            </a:cubicBezTo>
                            <a:cubicBezTo>
                              <a:pt x="95326" y="35079"/>
                              <a:pt x="95280" y="34986"/>
                              <a:pt x="95233" y="34893"/>
                            </a:cubicBezTo>
                            <a:cubicBezTo>
                              <a:pt x="95094" y="34590"/>
                              <a:pt x="94978" y="34265"/>
                              <a:pt x="94838" y="33962"/>
                            </a:cubicBezTo>
                            <a:lnTo>
                              <a:pt x="94838" y="33962"/>
                            </a:lnTo>
                            <a:cubicBezTo>
                              <a:pt x="94094" y="32311"/>
                              <a:pt x="93303" y="30682"/>
                              <a:pt x="92465" y="29100"/>
                            </a:cubicBezTo>
                            <a:cubicBezTo>
                              <a:pt x="92395" y="28961"/>
                              <a:pt x="92302" y="28821"/>
                              <a:pt x="92233" y="28658"/>
                            </a:cubicBezTo>
                            <a:cubicBezTo>
                              <a:pt x="92093" y="28426"/>
                              <a:pt x="91977" y="28170"/>
                              <a:pt x="91837" y="27937"/>
                            </a:cubicBezTo>
                            <a:lnTo>
                              <a:pt x="91837" y="27937"/>
                            </a:lnTo>
                            <a:lnTo>
                              <a:pt x="91837" y="27937"/>
                            </a:lnTo>
                            <a:cubicBezTo>
                              <a:pt x="90977" y="26379"/>
                              <a:pt x="90093" y="24890"/>
                              <a:pt x="89162" y="23425"/>
                            </a:cubicBezTo>
                            <a:cubicBezTo>
                              <a:pt x="89046" y="23239"/>
                              <a:pt x="88906" y="23052"/>
                              <a:pt x="88767" y="22866"/>
                            </a:cubicBezTo>
                            <a:cubicBezTo>
                              <a:pt x="88674" y="22703"/>
                              <a:pt x="88557" y="22541"/>
                              <a:pt x="88441" y="22378"/>
                            </a:cubicBezTo>
                            <a:cubicBezTo>
                              <a:pt x="87953" y="21680"/>
                              <a:pt x="87464" y="20982"/>
                              <a:pt x="86976" y="20284"/>
                            </a:cubicBezTo>
                            <a:cubicBezTo>
                              <a:pt x="86487" y="19610"/>
                              <a:pt x="85952" y="18935"/>
                              <a:pt x="85440" y="18284"/>
                            </a:cubicBezTo>
                            <a:cubicBezTo>
                              <a:pt x="85254" y="18051"/>
                              <a:pt x="85045" y="17795"/>
                              <a:pt x="84859" y="17563"/>
                            </a:cubicBezTo>
                            <a:cubicBezTo>
                              <a:pt x="84789" y="17493"/>
                              <a:pt x="84719" y="17400"/>
                              <a:pt x="84649" y="17330"/>
                            </a:cubicBezTo>
                            <a:lnTo>
                              <a:pt x="84649" y="17330"/>
                            </a:lnTo>
                            <a:cubicBezTo>
                              <a:pt x="84114" y="16679"/>
                              <a:pt x="83579" y="16074"/>
                              <a:pt x="83044" y="15446"/>
                            </a:cubicBezTo>
                            <a:cubicBezTo>
                              <a:pt x="82719" y="15097"/>
                              <a:pt x="82370" y="14748"/>
                              <a:pt x="82044" y="14399"/>
                            </a:cubicBezTo>
                            <a:cubicBezTo>
                              <a:pt x="81811" y="14166"/>
                              <a:pt x="81602" y="13911"/>
                              <a:pt x="81369" y="13678"/>
                            </a:cubicBezTo>
                            <a:lnTo>
                              <a:pt x="81369" y="13678"/>
                            </a:lnTo>
                            <a:lnTo>
                              <a:pt x="81369" y="13678"/>
                            </a:lnTo>
                            <a:cubicBezTo>
                              <a:pt x="81090" y="13399"/>
                              <a:pt x="80811" y="13120"/>
                              <a:pt x="80532" y="12841"/>
                            </a:cubicBezTo>
                            <a:cubicBezTo>
                              <a:pt x="79951" y="12282"/>
                              <a:pt x="79392" y="11747"/>
                              <a:pt x="78787" y="11212"/>
                            </a:cubicBezTo>
                            <a:cubicBezTo>
                              <a:pt x="78625" y="11049"/>
                              <a:pt x="78438" y="10933"/>
                              <a:pt x="78276" y="10770"/>
                            </a:cubicBezTo>
                            <a:cubicBezTo>
                              <a:pt x="77857" y="10398"/>
                              <a:pt x="77438" y="10026"/>
                              <a:pt x="77020" y="9700"/>
                            </a:cubicBezTo>
                            <a:cubicBezTo>
                              <a:pt x="76717" y="9444"/>
                              <a:pt x="76415" y="9212"/>
                              <a:pt x="76112" y="8979"/>
                            </a:cubicBezTo>
                            <a:cubicBezTo>
                              <a:pt x="74903" y="8025"/>
                              <a:pt x="73647" y="7165"/>
                              <a:pt x="72390" y="6350"/>
                            </a:cubicBezTo>
                            <a:cubicBezTo>
                              <a:pt x="72065" y="6141"/>
                              <a:pt x="71762" y="5955"/>
                              <a:pt x="71437" y="5769"/>
                            </a:cubicBezTo>
                            <a:lnTo>
                              <a:pt x="71437" y="5769"/>
                            </a:lnTo>
                            <a:lnTo>
                              <a:pt x="71437" y="5769"/>
                            </a:lnTo>
                            <a:cubicBezTo>
                              <a:pt x="70157" y="5001"/>
                              <a:pt x="68855" y="4303"/>
                              <a:pt x="67529" y="3675"/>
                            </a:cubicBezTo>
                            <a:lnTo>
                              <a:pt x="67529" y="3675"/>
                            </a:lnTo>
                            <a:lnTo>
                              <a:pt x="67529" y="3675"/>
                            </a:lnTo>
                            <a:cubicBezTo>
                              <a:pt x="67203" y="3513"/>
                              <a:pt x="66877" y="3373"/>
                              <a:pt x="66552" y="3233"/>
                            </a:cubicBezTo>
                            <a:cubicBezTo>
                              <a:pt x="65226" y="2652"/>
                              <a:pt x="63877" y="2140"/>
                              <a:pt x="62527" y="1721"/>
                            </a:cubicBezTo>
                            <a:cubicBezTo>
                              <a:pt x="62202" y="1605"/>
                              <a:pt x="61853" y="1512"/>
                              <a:pt x="61527" y="1419"/>
                            </a:cubicBezTo>
                            <a:lnTo>
                              <a:pt x="61527" y="1419"/>
                            </a:lnTo>
                            <a:lnTo>
                              <a:pt x="61527" y="1419"/>
                            </a:lnTo>
                            <a:cubicBezTo>
                              <a:pt x="60853" y="1233"/>
                              <a:pt x="60178" y="1047"/>
                              <a:pt x="59480" y="907"/>
                            </a:cubicBezTo>
                            <a:cubicBezTo>
                              <a:pt x="58782" y="744"/>
                              <a:pt x="58108" y="605"/>
                              <a:pt x="57410" y="489"/>
                            </a:cubicBezTo>
                            <a:cubicBezTo>
                              <a:pt x="57061" y="419"/>
                              <a:pt x="56735" y="372"/>
                              <a:pt x="56386" y="326"/>
                            </a:cubicBezTo>
                            <a:cubicBezTo>
                              <a:pt x="55014" y="140"/>
                              <a:pt x="53642" y="23"/>
                              <a:pt x="52223" y="0"/>
                            </a:cubicBezTo>
                            <a:cubicBezTo>
                              <a:pt x="51920" y="0"/>
                              <a:pt x="51641" y="0"/>
                              <a:pt x="51199" y="0"/>
                            </a:cubicBezTo>
                            <a:cubicBezTo>
                              <a:pt x="49803" y="0"/>
                              <a:pt x="48408" y="93"/>
                              <a:pt x="47035" y="256"/>
                            </a:cubicBezTo>
                            <a:lnTo>
                              <a:pt x="47035" y="256"/>
                            </a:lnTo>
                            <a:cubicBezTo>
                              <a:pt x="46803" y="279"/>
                              <a:pt x="46570" y="302"/>
                              <a:pt x="46337" y="349"/>
                            </a:cubicBezTo>
                            <a:cubicBezTo>
                              <a:pt x="46244" y="349"/>
                              <a:pt x="46128" y="372"/>
                              <a:pt x="46012" y="395"/>
                            </a:cubicBezTo>
                            <a:cubicBezTo>
                              <a:pt x="45314" y="512"/>
                              <a:pt x="44616" y="605"/>
                              <a:pt x="43941" y="768"/>
                            </a:cubicBezTo>
                            <a:cubicBezTo>
                              <a:pt x="43244" y="907"/>
                              <a:pt x="42569" y="1070"/>
                              <a:pt x="41894" y="1256"/>
                            </a:cubicBezTo>
                            <a:cubicBezTo>
                              <a:pt x="41569" y="1349"/>
                              <a:pt x="41220" y="1442"/>
                              <a:pt x="40871" y="1535"/>
                            </a:cubicBezTo>
                            <a:cubicBezTo>
                              <a:pt x="39498" y="1931"/>
                              <a:pt x="38149" y="2419"/>
                              <a:pt x="36823" y="2977"/>
                            </a:cubicBezTo>
                            <a:cubicBezTo>
                              <a:pt x="36498" y="3117"/>
                              <a:pt x="36172" y="3257"/>
                              <a:pt x="35846" y="3396"/>
                            </a:cubicBezTo>
                            <a:cubicBezTo>
                              <a:pt x="35172" y="3699"/>
                              <a:pt x="34520" y="4001"/>
                              <a:pt x="33869" y="4350"/>
                            </a:cubicBezTo>
                            <a:cubicBezTo>
                              <a:pt x="33218" y="4676"/>
                              <a:pt x="32566" y="5048"/>
                              <a:pt x="31938" y="5420"/>
                            </a:cubicBezTo>
                            <a:lnTo>
                              <a:pt x="31938" y="5420"/>
                            </a:lnTo>
                            <a:lnTo>
                              <a:pt x="31938" y="5420"/>
                            </a:lnTo>
                            <a:cubicBezTo>
                              <a:pt x="31613" y="5606"/>
                              <a:pt x="31310" y="5792"/>
                              <a:pt x="30985" y="5978"/>
                            </a:cubicBezTo>
                            <a:cubicBezTo>
                              <a:pt x="30170" y="6467"/>
                              <a:pt x="29356" y="7025"/>
                              <a:pt x="28565" y="7583"/>
                            </a:cubicBezTo>
                            <a:cubicBezTo>
                              <a:pt x="28449" y="7676"/>
                              <a:pt x="28310" y="7769"/>
                              <a:pt x="28193" y="7862"/>
                            </a:cubicBezTo>
                            <a:cubicBezTo>
                              <a:pt x="27868" y="8095"/>
                              <a:pt x="27565" y="8304"/>
                              <a:pt x="27239" y="8537"/>
                            </a:cubicBezTo>
                            <a:lnTo>
                              <a:pt x="27239" y="8537"/>
                            </a:lnTo>
                            <a:cubicBezTo>
                              <a:pt x="27007" y="8700"/>
                              <a:pt x="26774" y="8886"/>
                              <a:pt x="26542" y="9072"/>
                            </a:cubicBezTo>
                            <a:cubicBezTo>
                              <a:pt x="26472" y="9119"/>
                              <a:pt x="26402" y="9188"/>
                              <a:pt x="26332" y="9235"/>
                            </a:cubicBezTo>
                            <a:cubicBezTo>
                              <a:pt x="25727" y="9723"/>
                              <a:pt x="25123" y="10212"/>
                              <a:pt x="24518" y="10724"/>
                            </a:cubicBezTo>
                            <a:cubicBezTo>
                              <a:pt x="23913" y="11235"/>
                              <a:pt x="23332" y="11770"/>
                              <a:pt x="22773" y="12329"/>
                            </a:cubicBezTo>
                            <a:lnTo>
                              <a:pt x="22773" y="12329"/>
                            </a:lnTo>
                            <a:cubicBezTo>
                              <a:pt x="22494" y="12608"/>
                              <a:pt x="22215" y="12864"/>
                              <a:pt x="21913" y="13143"/>
                            </a:cubicBezTo>
                            <a:cubicBezTo>
                              <a:pt x="20773" y="14283"/>
                              <a:pt x="19679" y="15469"/>
                              <a:pt x="18609" y="16725"/>
                            </a:cubicBezTo>
                            <a:cubicBezTo>
                              <a:pt x="18354" y="17028"/>
                              <a:pt x="18074" y="17353"/>
                              <a:pt x="17818" y="17679"/>
                            </a:cubicBezTo>
                            <a:cubicBezTo>
                              <a:pt x="16772" y="18958"/>
                              <a:pt x="15748" y="20308"/>
                              <a:pt x="14771" y="21703"/>
                            </a:cubicBezTo>
                            <a:cubicBezTo>
                              <a:pt x="14655" y="21866"/>
                              <a:pt x="14539" y="22052"/>
                              <a:pt x="14422" y="22238"/>
                            </a:cubicBezTo>
                            <a:cubicBezTo>
                              <a:pt x="14306" y="22401"/>
                              <a:pt x="14190" y="22587"/>
                              <a:pt x="14050" y="22773"/>
                            </a:cubicBezTo>
                            <a:cubicBezTo>
                              <a:pt x="13096" y="24192"/>
                              <a:pt x="12189" y="25681"/>
                              <a:pt x="11305" y="27216"/>
                            </a:cubicBezTo>
                            <a:cubicBezTo>
                              <a:pt x="11096" y="27588"/>
                              <a:pt x="10863" y="27984"/>
                              <a:pt x="10654" y="28379"/>
                            </a:cubicBezTo>
                            <a:cubicBezTo>
                              <a:pt x="9816" y="29938"/>
                              <a:pt x="9002" y="31543"/>
                              <a:pt x="8235" y="33171"/>
                            </a:cubicBezTo>
                            <a:cubicBezTo>
                              <a:pt x="8049" y="33590"/>
                              <a:pt x="7862" y="33985"/>
                              <a:pt x="7676" y="34404"/>
                            </a:cubicBezTo>
                            <a:lnTo>
                              <a:pt x="7676" y="34404"/>
                            </a:lnTo>
                            <a:cubicBezTo>
                              <a:pt x="6955" y="36079"/>
                              <a:pt x="6257" y="37777"/>
                              <a:pt x="5629" y="39522"/>
                            </a:cubicBezTo>
                            <a:cubicBezTo>
                              <a:pt x="5467" y="39964"/>
                              <a:pt x="5304" y="40406"/>
                              <a:pt x="5164" y="40848"/>
                            </a:cubicBezTo>
                            <a:lnTo>
                              <a:pt x="5164" y="40848"/>
                            </a:lnTo>
                            <a:cubicBezTo>
                              <a:pt x="4559" y="42615"/>
                              <a:pt x="4001" y="44407"/>
                              <a:pt x="3489" y="46244"/>
                            </a:cubicBezTo>
                            <a:lnTo>
                              <a:pt x="3489" y="46244"/>
                            </a:lnTo>
                            <a:lnTo>
                              <a:pt x="3489" y="46244"/>
                            </a:lnTo>
                            <a:cubicBezTo>
                              <a:pt x="3373" y="46686"/>
                              <a:pt x="3257" y="47152"/>
                              <a:pt x="3117" y="47617"/>
                            </a:cubicBezTo>
                            <a:cubicBezTo>
                              <a:pt x="2629" y="49454"/>
                              <a:pt x="2210" y="51339"/>
                              <a:pt x="1838" y="53223"/>
                            </a:cubicBezTo>
                            <a:cubicBezTo>
                              <a:pt x="1745" y="53688"/>
                              <a:pt x="1652" y="54153"/>
                              <a:pt x="1582" y="54619"/>
                            </a:cubicBezTo>
                            <a:cubicBezTo>
                              <a:pt x="1233" y="56503"/>
                              <a:pt x="954" y="58433"/>
                              <a:pt x="721" y="60364"/>
                            </a:cubicBezTo>
                            <a:cubicBezTo>
                              <a:pt x="675" y="60853"/>
                              <a:pt x="605" y="61318"/>
                              <a:pt x="558" y="61806"/>
                            </a:cubicBezTo>
                            <a:lnTo>
                              <a:pt x="558" y="61806"/>
                            </a:lnTo>
                            <a:lnTo>
                              <a:pt x="558" y="61806"/>
                            </a:lnTo>
                            <a:cubicBezTo>
                              <a:pt x="349" y="63737"/>
                              <a:pt x="209" y="65668"/>
                              <a:pt x="116" y="67668"/>
                            </a:cubicBezTo>
                            <a:cubicBezTo>
                              <a:pt x="93" y="68157"/>
                              <a:pt x="70" y="68645"/>
                              <a:pt x="70" y="69134"/>
                            </a:cubicBezTo>
                            <a:lnTo>
                              <a:pt x="70" y="69134"/>
                            </a:lnTo>
                            <a:cubicBezTo>
                              <a:pt x="23" y="70297"/>
                              <a:pt x="0" y="71483"/>
                              <a:pt x="0" y="72670"/>
                            </a:cubicBezTo>
                            <a:cubicBezTo>
                              <a:pt x="0" y="73437"/>
                              <a:pt x="23" y="74205"/>
                              <a:pt x="23" y="74949"/>
                            </a:cubicBezTo>
                            <a:lnTo>
                              <a:pt x="23" y="74949"/>
                            </a:lnTo>
                            <a:lnTo>
                              <a:pt x="23" y="74949"/>
                            </a:lnTo>
                            <a:cubicBezTo>
                              <a:pt x="23" y="75275"/>
                              <a:pt x="47" y="75624"/>
                              <a:pt x="47" y="75973"/>
                            </a:cubicBezTo>
                            <a:cubicBezTo>
                              <a:pt x="47" y="76136"/>
                              <a:pt x="47" y="76298"/>
                              <a:pt x="70" y="76461"/>
                            </a:cubicBezTo>
                            <a:lnTo>
                              <a:pt x="70" y="76461"/>
                            </a:lnTo>
                            <a:lnTo>
                              <a:pt x="70" y="76461"/>
                            </a:lnTo>
                            <a:cubicBezTo>
                              <a:pt x="116" y="77462"/>
                              <a:pt x="163" y="78439"/>
                              <a:pt x="233" y="79416"/>
                            </a:cubicBezTo>
                            <a:cubicBezTo>
                              <a:pt x="279" y="80183"/>
                              <a:pt x="349" y="80974"/>
                              <a:pt x="419" y="81742"/>
                            </a:cubicBezTo>
                            <a:cubicBezTo>
                              <a:pt x="442" y="81951"/>
                              <a:pt x="442" y="82137"/>
                              <a:pt x="465" y="82323"/>
                            </a:cubicBezTo>
                            <a:cubicBezTo>
                              <a:pt x="512" y="82812"/>
                              <a:pt x="558" y="83300"/>
                              <a:pt x="605" y="83765"/>
                            </a:cubicBezTo>
                            <a:cubicBezTo>
                              <a:pt x="814" y="85719"/>
                              <a:pt x="1093" y="87650"/>
                              <a:pt x="1419" y="89558"/>
                            </a:cubicBezTo>
                            <a:cubicBezTo>
                              <a:pt x="1489" y="90046"/>
                              <a:pt x="1582" y="90511"/>
                              <a:pt x="1675" y="90977"/>
                            </a:cubicBezTo>
                            <a:cubicBezTo>
                              <a:pt x="2024" y="92884"/>
                              <a:pt x="2419" y="94768"/>
                              <a:pt x="2884" y="96629"/>
                            </a:cubicBezTo>
                            <a:cubicBezTo>
                              <a:pt x="3001" y="97094"/>
                              <a:pt x="3117" y="97536"/>
                              <a:pt x="3233" y="98002"/>
                            </a:cubicBezTo>
                            <a:lnTo>
                              <a:pt x="3233" y="98002"/>
                            </a:lnTo>
                            <a:lnTo>
                              <a:pt x="3233" y="98002"/>
                            </a:lnTo>
                            <a:cubicBezTo>
                              <a:pt x="3536" y="99188"/>
                              <a:pt x="3908" y="100351"/>
                              <a:pt x="4280" y="101514"/>
                            </a:cubicBezTo>
                            <a:cubicBezTo>
                              <a:pt x="4466" y="102142"/>
                              <a:pt x="4629" y="102794"/>
                              <a:pt x="4838" y="103422"/>
                            </a:cubicBezTo>
                            <a:cubicBezTo>
                              <a:pt x="4978" y="103864"/>
                              <a:pt x="5118" y="104306"/>
                              <a:pt x="5280" y="104724"/>
                            </a:cubicBezTo>
                            <a:cubicBezTo>
                              <a:pt x="5908" y="106492"/>
                              <a:pt x="6560" y="108214"/>
                              <a:pt x="7281" y="109888"/>
                            </a:cubicBezTo>
                            <a:lnTo>
                              <a:pt x="7281" y="109888"/>
                            </a:lnTo>
                            <a:lnTo>
                              <a:pt x="7281" y="109888"/>
                            </a:lnTo>
                            <a:cubicBezTo>
                              <a:pt x="7444" y="110307"/>
                              <a:pt x="7630" y="110703"/>
                              <a:pt x="7816" y="111121"/>
                            </a:cubicBezTo>
                            <a:lnTo>
                              <a:pt x="7816" y="111121"/>
                            </a:lnTo>
                            <a:lnTo>
                              <a:pt x="7816" y="111121"/>
                            </a:lnTo>
                            <a:cubicBezTo>
                              <a:pt x="8560" y="112796"/>
                              <a:pt x="9351" y="114401"/>
                              <a:pt x="10165" y="115983"/>
                            </a:cubicBezTo>
                            <a:cubicBezTo>
                              <a:pt x="10375" y="116378"/>
                              <a:pt x="10584" y="116774"/>
                              <a:pt x="10793" y="117146"/>
                            </a:cubicBezTo>
                            <a:cubicBezTo>
                              <a:pt x="11654" y="118705"/>
                              <a:pt x="12538" y="120193"/>
                              <a:pt x="13469" y="121659"/>
                            </a:cubicBezTo>
                            <a:lnTo>
                              <a:pt x="13469" y="121659"/>
                            </a:lnTo>
                            <a:lnTo>
                              <a:pt x="13469" y="121659"/>
                            </a:lnTo>
                            <a:cubicBezTo>
                              <a:pt x="13701" y="122008"/>
                              <a:pt x="13934" y="122357"/>
                              <a:pt x="14166" y="122729"/>
                            </a:cubicBezTo>
                            <a:lnTo>
                              <a:pt x="14166" y="122729"/>
                            </a:lnTo>
                            <a:lnTo>
                              <a:pt x="14166" y="122729"/>
                            </a:lnTo>
                            <a:cubicBezTo>
                              <a:pt x="14352" y="123008"/>
                              <a:pt x="14562" y="123310"/>
                              <a:pt x="14771" y="123590"/>
                            </a:cubicBezTo>
                            <a:cubicBezTo>
                              <a:pt x="15306" y="124357"/>
                              <a:pt x="15841" y="125102"/>
                              <a:pt x="16400" y="125823"/>
                            </a:cubicBezTo>
                            <a:cubicBezTo>
                              <a:pt x="16655" y="126148"/>
                              <a:pt x="16888" y="126497"/>
                              <a:pt x="17144" y="126823"/>
                            </a:cubicBezTo>
                            <a:lnTo>
                              <a:pt x="17144" y="126823"/>
                            </a:lnTo>
                            <a:lnTo>
                              <a:pt x="17144" y="126823"/>
                            </a:lnTo>
                            <a:cubicBezTo>
                              <a:pt x="17400" y="127149"/>
                              <a:pt x="17656" y="127474"/>
                              <a:pt x="17912" y="127800"/>
                            </a:cubicBezTo>
                            <a:lnTo>
                              <a:pt x="17912" y="127800"/>
                            </a:lnTo>
                            <a:lnTo>
                              <a:pt x="17912" y="127800"/>
                            </a:lnTo>
                            <a:cubicBezTo>
                              <a:pt x="18447" y="128428"/>
                              <a:pt x="18982" y="129056"/>
                              <a:pt x="19517" y="129661"/>
                            </a:cubicBezTo>
                            <a:cubicBezTo>
                              <a:pt x="20052" y="130266"/>
                              <a:pt x="20610" y="130870"/>
                              <a:pt x="21168" y="131452"/>
                            </a:cubicBezTo>
                            <a:cubicBezTo>
                              <a:pt x="21447" y="131731"/>
                              <a:pt x="21726" y="132010"/>
                              <a:pt x="22006" y="132289"/>
                            </a:cubicBezTo>
                            <a:cubicBezTo>
                              <a:pt x="23145" y="133406"/>
                              <a:pt x="24308" y="134476"/>
                              <a:pt x="25518" y="135453"/>
                            </a:cubicBezTo>
                            <a:cubicBezTo>
                              <a:pt x="25821" y="135709"/>
                              <a:pt x="26123" y="135941"/>
                              <a:pt x="26425" y="136174"/>
                            </a:cubicBezTo>
                            <a:lnTo>
                              <a:pt x="26425" y="136174"/>
                            </a:lnTo>
                            <a:cubicBezTo>
                              <a:pt x="27030" y="136663"/>
                              <a:pt x="27658" y="137105"/>
                              <a:pt x="28263" y="137547"/>
                            </a:cubicBezTo>
                            <a:cubicBezTo>
                              <a:pt x="28891" y="137989"/>
                              <a:pt x="29519" y="138407"/>
                              <a:pt x="30147" y="138826"/>
                            </a:cubicBezTo>
                            <a:cubicBezTo>
                              <a:pt x="30473" y="139012"/>
                              <a:pt x="30775" y="139221"/>
                              <a:pt x="31101" y="139408"/>
                            </a:cubicBezTo>
                            <a:cubicBezTo>
                              <a:pt x="31752" y="139803"/>
                              <a:pt x="32380" y="140152"/>
                              <a:pt x="33032" y="140524"/>
                            </a:cubicBezTo>
                            <a:cubicBezTo>
                              <a:pt x="33683" y="140873"/>
                              <a:pt x="34334" y="141199"/>
                              <a:pt x="35009" y="141524"/>
                            </a:cubicBezTo>
                            <a:cubicBezTo>
                              <a:pt x="35335" y="141687"/>
                              <a:pt x="35660" y="141827"/>
                              <a:pt x="35986" y="141966"/>
                            </a:cubicBezTo>
                            <a:cubicBezTo>
                              <a:pt x="36637" y="142245"/>
                              <a:pt x="37312" y="142525"/>
                              <a:pt x="37963" y="142780"/>
                            </a:cubicBezTo>
                            <a:cubicBezTo>
                              <a:pt x="38638" y="143036"/>
                              <a:pt x="39312" y="143269"/>
                              <a:pt x="40010" y="143478"/>
                            </a:cubicBezTo>
                            <a:lnTo>
                              <a:pt x="40010" y="143478"/>
                            </a:lnTo>
                            <a:cubicBezTo>
                              <a:pt x="40173" y="143525"/>
                              <a:pt x="40336" y="143571"/>
                              <a:pt x="40499" y="143641"/>
                            </a:cubicBezTo>
                            <a:cubicBezTo>
                              <a:pt x="40661" y="143688"/>
                              <a:pt x="40824" y="143757"/>
                              <a:pt x="41010" y="143804"/>
                            </a:cubicBezTo>
                            <a:cubicBezTo>
                              <a:pt x="42360" y="144199"/>
                              <a:pt x="43755" y="144502"/>
                              <a:pt x="45128" y="144734"/>
                            </a:cubicBezTo>
                            <a:lnTo>
                              <a:pt x="45128" y="144734"/>
                            </a:lnTo>
                            <a:lnTo>
                              <a:pt x="45128" y="144734"/>
                            </a:lnTo>
                            <a:cubicBezTo>
                              <a:pt x="45453" y="144804"/>
                              <a:pt x="45779" y="144851"/>
                              <a:pt x="46081" y="144897"/>
                            </a:cubicBezTo>
                            <a:lnTo>
                              <a:pt x="46128" y="144897"/>
                            </a:lnTo>
                            <a:lnTo>
                              <a:pt x="46128" y="144897"/>
                            </a:lnTo>
                            <a:cubicBezTo>
                              <a:pt x="46803" y="144990"/>
                              <a:pt x="47500" y="145060"/>
                              <a:pt x="48198" y="145130"/>
                            </a:cubicBezTo>
                            <a:cubicBezTo>
                              <a:pt x="48896" y="145176"/>
                              <a:pt x="49594" y="145223"/>
                              <a:pt x="50292" y="145246"/>
                            </a:cubicBezTo>
                            <a:cubicBezTo>
                              <a:pt x="50617" y="145246"/>
                              <a:pt x="50943" y="145246"/>
                              <a:pt x="51315" y="145246"/>
                            </a:cubicBezTo>
                            <a:cubicBezTo>
                              <a:pt x="52362" y="145246"/>
                              <a:pt x="53409" y="145200"/>
                              <a:pt x="54432" y="145083"/>
                            </a:cubicBezTo>
                            <a:cubicBezTo>
                              <a:pt x="54758" y="145060"/>
                              <a:pt x="55130" y="145037"/>
                              <a:pt x="55456" y="144990"/>
                            </a:cubicBezTo>
                            <a:lnTo>
                              <a:pt x="55456" y="144990"/>
                            </a:lnTo>
                            <a:cubicBezTo>
                              <a:pt x="55805" y="144944"/>
                              <a:pt x="56154" y="144921"/>
                              <a:pt x="56479" y="144851"/>
                            </a:cubicBezTo>
                            <a:cubicBezTo>
                              <a:pt x="57875" y="144665"/>
                              <a:pt x="59248" y="144362"/>
                              <a:pt x="60597" y="144013"/>
                            </a:cubicBezTo>
                            <a:cubicBezTo>
                              <a:pt x="60946" y="143920"/>
                              <a:pt x="61271" y="143850"/>
                              <a:pt x="61620" y="143734"/>
                            </a:cubicBezTo>
                            <a:cubicBezTo>
                              <a:pt x="62318" y="143548"/>
                              <a:pt x="62993" y="143315"/>
                              <a:pt x="63667" y="143083"/>
                            </a:cubicBezTo>
                            <a:cubicBezTo>
                              <a:pt x="64342" y="142850"/>
                              <a:pt x="65016" y="142594"/>
                              <a:pt x="65668" y="142315"/>
                            </a:cubicBezTo>
                            <a:lnTo>
                              <a:pt x="65668" y="142315"/>
                            </a:lnTo>
                            <a:cubicBezTo>
                              <a:pt x="65993" y="142176"/>
                              <a:pt x="66319" y="142036"/>
                              <a:pt x="66645" y="141896"/>
                            </a:cubicBezTo>
                            <a:cubicBezTo>
                              <a:pt x="67017" y="141734"/>
                              <a:pt x="67389" y="141548"/>
                              <a:pt x="67761" y="141361"/>
                            </a:cubicBezTo>
                            <a:cubicBezTo>
                              <a:pt x="68040" y="141222"/>
                              <a:pt x="68343" y="141106"/>
                              <a:pt x="68622" y="140943"/>
                            </a:cubicBezTo>
                            <a:cubicBezTo>
                              <a:pt x="69273" y="140617"/>
                              <a:pt x="69925" y="140268"/>
                              <a:pt x="70553" y="139896"/>
                            </a:cubicBezTo>
                            <a:cubicBezTo>
                              <a:pt x="70878" y="139710"/>
                              <a:pt x="71181" y="139524"/>
                              <a:pt x="71506" y="139338"/>
                            </a:cubicBezTo>
                            <a:cubicBezTo>
                              <a:pt x="72786" y="138570"/>
                              <a:pt x="74042" y="137709"/>
                              <a:pt x="75275" y="136802"/>
                            </a:cubicBezTo>
                            <a:cubicBezTo>
                              <a:pt x="75577" y="136570"/>
                              <a:pt x="75880" y="136337"/>
                              <a:pt x="76182" y="136104"/>
                            </a:cubicBezTo>
                            <a:cubicBezTo>
                              <a:pt x="77392" y="135151"/>
                              <a:pt x="78578" y="134127"/>
                              <a:pt x="79718" y="133034"/>
                            </a:cubicBezTo>
                            <a:cubicBezTo>
                              <a:pt x="79997" y="132755"/>
                              <a:pt x="80299" y="132499"/>
                              <a:pt x="80579" y="132220"/>
                            </a:cubicBezTo>
                            <a:lnTo>
                              <a:pt x="80579" y="132220"/>
                            </a:lnTo>
                            <a:cubicBezTo>
                              <a:pt x="81160" y="131661"/>
                              <a:pt x="81718" y="131080"/>
                              <a:pt x="82253" y="130498"/>
                            </a:cubicBezTo>
                            <a:cubicBezTo>
                              <a:pt x="82812" y="129893"/>
                              <a:pt x="83347" y="129289"/>
                              <a:pt x="83882" y="128661"/>
                            </a:cubicBezTo>
                            <a:cubicBezTo>
                              <a:pt x="83928" y="128591"/>
                              <a:pt x="83998" y="128521"/>
                              <a:pt x="84045" y="128451"/>
                            </a:cubicBezTo>
                            <a:cubicBezTo>
                              <a:pt x="84254" y="128195"/>
                              <a:pt x="84463" y="127963"/>
                              <a:pt x="84673" y="127707"/>
                            </a:cubicBezTo>
                            <a:lnTo>
                              <a:pt x="84696" y="127684"/>
                            </a:lnTo>
                            <a:cubicBezTo>
                              <a:pt x="85231" y="127055"/>
                              <a:pt x="85743" y="126404"/>
                              <a:pt x="86231" y="125753"/>
                            </a:cubicBezTo>
                            <a:cubicBezTo>
                              <a:pt x="86743" y="125078"/>
                              <a:pt x="87231" y="124404"/>
                              <a:pt x="87720" y="123706"/>
                            </a:cubicBezTo>
                            <a:cubicBezTo>
                              <a:pt x="87836" y="123543"/>
                              <a:pt x="87929" y="123403"/>
                              <a:pt x="88046" y="123241"/>
                            </a:cubicBezTo>
                            <a:cubicBezTo>
                              <a:pt x="88185" y="123031"/>
                              <a:pt x="88325" y="122845"/>
                              <a:pt x="88464" y="122636"/>
                            </a:cubicBezTo>
                            <a:lnTo>
                              <a:pt x="88464" y="122636"/>
                            </a:lnTo>
                            <a:cubicBezTo>
                              <a:pt x="89418" y="121217"/>
                              <a:pt x="90348" y="119728"/>
                              <a:pt x="91209" y="118193"/>
                            </a:cubicBezTo>
                            <a:lnTo>
                              <a:pt x="91209" y="118193"/>
                            </a:lnTo>
                            <a:cubicBezTo>
                              <a:pt x="91325" y="117960"/>
                              <a:pt x="91465" y="117728"/>
                              <a:pt x="91605" y="117495"/>
                            </a:cubicBezTo>
                            <a:cubicBezTo>
                              <a:pt x="91698" y="117332"/>
                              <a:pt x="91767" y="117193"/>
                              <a:pt x="91860" y="117053"/>
                            </a:cubicBezTo>
                            <a:cubicBezTo>
                              <a:pt x="92721" y="115494"/>
                              <a:pt x="93512" y="113889"/>
                              <a:pt x="94280" y="112238"/>
                            </a:cubicBezTo>
                            <a:cubicBezTo>
                              <a:pt x="94419" y="111935"/>
                              <a:pt x="94559" y="111633"/>
                              <a:pt x="94698" y="111331"/>
                            </a:cubicBezTo>
                            <a:cubicBezTo>
                              <a:pt x="94745" y="111238"/>
                              <a:pt x="94791" y="111121"/>
                              <a:pt x="94838" y="111005"/>
                            </a:cubicBezTo>
                            <a:cubicBezTo>
                              <a:pt x="95582" y="109353"/>
                              <a:pt x="96257" y="107632"/>
                              <a:pt x="96908" y="105887"/>
                            </a:cubicBezTo>
                            <a:lnTo>
                              <a:pt x="96908" y="105887"/>
                            </a:lnTo>
                            <a:cubicBezTo>
                              <a:pt x="97048" y="105515"/>
                              <a:pt x="97164" y="105166"/>
                              <a:pt x="97304" y="104794"/>
                            </a:cubicBezTo>
                            <a:cubicBezTo>
                              <a:pt x="97327" y="104724"/>
                              <a:pt x="97350" y="104655"/>
                              <a:pt x="97374" y="104585"/>
                            </a:cubicBezTo>
                            <a:lnTo>
                              <a:pt x="97374" y="104585"/>
                            </a:lnTo>
                            <a:cubicBezTo>
                              <a:pt x="97978" y="102817"/>
                              <a:pt x="98537" y="101026"/>
                              <a:pt x="99048" y="99188"/>
                            </a:cubicBezTo>
                            <a:lnTo>
                              <a:pt x="99048" y="99188"/>
                            </a:lnTo>
                            <a:cubicBezTo>
                              <a:pt x="99165" y="98769"/>
                              <a:pt x="99281" y="98374"/>
                              <a:pt x="99374" y="97955"/>
                            </a:cubicBezTo>
                            <a:cubicBezTo>
                              <a:pt x="99397" y="97909"/>
                              <a:pt x="99397" y="97862"/>
                              <a:pt x="99421" y="97816"/>
                            </a:cubicBezTo>
                            <a:lnTo>
                              <a:pt x="99421" y="97816"/>
                            </a:lnTo>
                            <a:cubicBezTo>
                              <a:pt x="99909" y="95978"/>
                              <a:pt x="100328" y="94094"/>
                              <a:pt x="100700" y="92186"/>
                            </a:cubicBezTo>
                            <a:cubicBezTo>
                              <a:pt x="100793" y="91744"/>
                              <a:pt x="100863" y="91302"/>
                              <a:pt x="100956" y="90837"/>
                            </a:cubicBezTo>
                            <a:cubicBezTo>
                              <a:pt x="100956" y="90814"/>
                              <a:pt x="100956" y="90790"/>
                              <a:pt x="100956" y="90767"/>
                            </a:cubicBezTo>
                            <a:lnTo>
                              <a:pt x="100956" y="90767"/>
                            </a:lnTo>
                            <a:lnTo>
                              <a:pt x="100956" y="90767"/>
                            </a:lnTo>
                            <a:cubicBezTo>
                              <a:pt x="101305" y="88883"/>
                              <a:pt x="101607" y="86952"/>
                              <a:pt x="101840" y="85022"/>
                            </a:cubicBezTo>
                            <a:cubicBezTo>
                              <a:pt x="101886" y="84556"/>
                              <a:pt x="101956" y="84068"/>
                              <a:pt x="102003" y="83603"/>
                            </a:cubicBezTo>
                            <a:lnTo>
                              <a:pt x="102003" y="83579"/>
                            </a:lnTo>
                            <a:cubicBezTo>
                              <a:pt x="102212" y="81649"/>
                              <a:pt x="102375" y="79695"/>
                              <a:pt x="102468" y="77717"/>
                            </a:cubicBezTo>
                            <a:cubicBezTo>
                              <a:pt x="102491" y="77229"/>
                              <a:pt x="102514" y="76764"/>
                              <a:pt x="102538" y="76275"/>
                            </a:cubicBezTo>
                            <a:lnTo>
                              <a:pt x="102538" y="76275"/>
                            </a:lnTo>
                            <a:cubicBezTo>
                              <a:pt x="102654" y="75019"/>
                              <a:pt x="102677" y="73809"/>
                              <a:pt x="102677" y="72553"/>
                            </a:cubicBezTo>
                            <a:close/>
                            <a:moveTo>
                              <a:pt x="97722" y="77694"/>
                            </a:moveTo>
                            <a:cubicBezTo>
                              <a:pt x="97606" y="79695"/>
                              <a:pt x="97443" y="81649"/>
                              <a:pt x="97211" y="83579"/>
                            </a:cubicBezTo>
                            <a:cubicBezTo>
                              <a:pt x="97164" y="84045"/>
                              <a:pt x="97094" y="84533"/>
                              <a:pt x="97025" y="84998"/>
                            </a:cubicBezTo>
                            <a:cubicBezTo>
                              <a:pt x="96769" y="86976"/>
                              <a:pt x="96443" y="88906"/>
                              <a:pt x="96048" y="90814"/>
                            </a:cubicBezTo>
                            <a:cubicBezTo>
                              <a:pt x="95955" y="91256"/>
                              <a:pt x="95885" y="91674"/>
                              <a:pt x="95792" y="92116"/>
                            </a:cubicBezTo>
                            <a:cubicBezTo>
                              <a:pt x="95559" y="93140"/>
                              <a:pt x="95326" y="94163"/>
                              <a:pt x="95071" y="95187"/>
                            </a:cubicBezTo>
                            <a:cubicBezTo>
                              <a:pt x="94536" y="97211"/>
                              <a:pt x="93954" y="99165"/>
                              <a:pt x="93303" y="101095"/>
                            </a:cubicBezTo>
                            <a:cubicBezTo>
                              <a:pt x="92651" y="103026"/>
                              <a:pt x="91930" y="104887"/>
                              <a:pt x="91163" y="106678"/>
                            </a:cubicBezTo>
                            <a:cubicBezTo>
                              <a:pt x="90395" y="108493"/>
                              <a:pt x="89534" y="110237"/>
                              <a:pt x="88650" y="111935"/>
                            </a:cubicBezTo>
                            <a:cubicBezTo>
                              <a:pt x="88208" y="112773"/>
                              <a:pt x="87743" y="113610"/>
                              <a:pt x="87255" y="114424"/>
                            </a:cubicBezTo>
                            <a:cubicBezTo>
                              <a:pt x="85836" y="116867"/>
                              <a:pt x="84300" y="119147"/>
                              <a:pt x="82649" y="121263"/>
                            </a:cubicBezTo>
                            <a:cubicBezTo>
                              <a:pt x="82114" y="121984"/>
                              <a:pt x="81532" y="122659"/>
                              <a:pt x="80974" y="123334"/>
                            </a:cubicBezTo>
                            <a:cubicBezTo>
                              <a:pt x="72925" y="132731"/>
                              <a:pt x="62621" y="138361"/>
                              <a:pt x="51385" y="138361"/>
                            </a:cubicBezTo>
                            <a:cubicBezTo>
                              <a:pt x="40941" y="138361"/>
                              <a:pt x="31310" y="133499"/>
                              <a:pt x="23541" y="125288"/>
                            </a:cubicBezTo>
                            <a:cubicBezTo>
                              <a:pt x="21750" y="123403"/>
                              <a:pt x="20052" y="121310"/>
                              <a:pt x="18493" y="119077"/>
                            </a:cubicBezTo>
                            <a:cubicBezTo>
                              <a:pt x="17446" y="117588"/>
                              <a:pt x="16446" y="116029"/>
                              <a:pt x="15492" y="114401"/>
                            </a:cubicBezTo>
                            <a:cubicBezTo>
                              <a:pt x="15004" y="113587"/>
                              <a:pt x="14562" y="112750"/>
                              <a:pt x="14097" y="111912"/>
                            </a:cubicBezTo>
                            <a:cubicBezTo>
                              <a:pt x="13213" y="110214"/>
                              <a:pt x="12375" y="108469"/>
                              <a:pt x="11584" y="106655"/>
                            </a:cubicBezTo>
                            <a:cubicBezTo>
                              <a:pt x="9654" y="102142"/>
                              <a:pt x="8072" y="97257"/>
                              <a:pt x="6932" y="92093"/>
                            </a:cubicBezTo>
                            <a:cubicBezTo>
                              <a:pt x="5583" y="85929"/>
                              <a:pt x="4838" y="79346"/>
                              <a:pt x="4838" y="72530"/>
                            </a:cubicBezTo>
                            <a:lnTo>
                              <a:pt x="4838" y="72530"/>
                            </a:lnTo>
                            <a:cubicBezTo>
                              <a:pt x="4838" y="66854"/>
                              <a:pt x="5350" y="61341"/>
                              <a:pt x="6304" y="56084"/>
                            </a:cubicBezTo>
                            <a:cubicBezTo>
                              <a:pt x="6490" y="55037"/>
                              <a:pt x="6699" y="53990"/>
                              <a:pt x="6932" y="52967"/>
                            </a:cubicBezTo>
                            <a:cubicBezTo>
                              <a:pt x="8979" y="43686"/>
                              <a:pt x="12422" y="35311"/>
                              <a:pt x="16935" y="28310"/>
                            </a:cubicBezTo>
                            <a:cubicBezTo>
                              <a:pt x="17423" y="27519"/>
                              <a:pt x="17958" y="26751"/>
                              <a:pt x="18470" y="26030"/>
                            </a:cubicBezTo>
                            <a:cubicBezTo>
                              <a:pt x="22145" y="20819"/>
                              <a:pt x="26449" y="16469"/>
                              <a:pt x="31194" y="13259"/>
                            </a:cubicBezTo>
                            <a:cubicBezTo>
                              <a:pt x="31869" y="12794"/>
                              <a:pt x="32566" y="12352"/>
                              <a:pt x="33264" y="11933"/>
                            </a:cubicBezTo>
                            <a:cubicBezTo>
                              <a:pt x="38824" y="8607"/>
                              <a:pt x="44942" y="6769"/>
                              <a:pt x="51362" y="6769"/>
                            </a:cubicBezTo>
                            <a:cubicBezTo>
                              <a:pt x="57782" y="6769"/>
                              <a:pt x="63900" y="8607"/>
                              <a:pt x="69459" y="11933"/>
                            </a:cubicBezTo>
                            <a:cubicBezTo>
                              <a:pt x="70157" y="12352"/>
                              <a:pt x="70832" y="12794"/>
                              <a:pt x="71506" y="13259"/>
                            </a:cubicBezTo>
                            <a:cubicBezTo>
                              <a:pt x="83044" y="21098"/>
                              <a:pt x="91907" y="35474"/>
                              <a:pt x="95768" y="52990"/>
                            </a:cubicBezTo>
                            <a:cubicBezTo>
                              <a:pt x="96001" y="54014"/>
                              <a:pt x="96210" y="55061"/>
                              <a:pt x="96397" y="56107"/>
                            </a:cubicBezTo>
                            <a:cubicBezTo>
                              <a:pt x="97350" y="61364"/>
                              <a:pt x="97862" y="66877"/>
                              <a:pt x="97862" y="72553"/>
                            </a:cubicBezTo>
                            <a:lnTo>
                              <a:pt x="97862" y="72553"/>
                            </a:lnTo>
                            <a:cubicBezTo>
                              <a:pt x="97862" y="73786"/>
                              <a:pt x="97839" y="75019"/>
                              <a:pt x="97792" y="76229"/>
                            </a:cubicBezTo>
                            <a:cubicBezTo>
                              <a:pt x="97769" y="76740"/>
                              <a:pt x="97746" y="77206"/>
                              <a:pt x="97722" y="77694"/>
                            </a:cubicBezTo>
                            <a:close/>
                          </a:path>
                        </a:pathLst>
                      </a:custGeom>
                      <a:solidFill>
                        <a:srgbClr val="FFBD41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786" name="Freeform: Shape 1785">
                        <a:extLst>
                          <a:ext uri="{FF2B5EF4-FFF2-40B4-BE49-F238E27FC236}">
                            <a16:creationId xmlns:a16="http://schemas.microsoft.com/office/drawing/2014/main" id="{7A5FFAA5-C05F-4BEB-A07E-5DC4E251F1C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39708" y="4162631"/>
                        <a:ext cx="2326" cy="2326"/>
                      </a:xfrm>
                      <a:custGeom>
                        <a:avLst/>
                        <a:gdLst>
                          <a:gd name="connsiteX0" fmla="*/ 3536 w 2326"/>
                          <a:gd name="connsiteY0" fmla="*/ 0 h 2326"/>
                          <a:gd name="connsiteX1" fmla="*/ 0 w 2326"/>
                          <a:gd name="connsiteY1" fmla="*/ 3071 h 2326"/>
                          <a:gd name="connsiteX2" fmla="*/ 0 w 2326"/>
                          <a:gd name="connsiteY2" fmla="*/ 3094 h 2326"/>
                          <a:gd name="connsiteX3" fmla="*/ 1349 w 2326"/>
                          <a:gd name="connsiteY3" fmla="*/ 4187 h 2326"/>
                          <a:gd name="connsiteX4" fmla="*/ 2140 w 2326"/>
                          <a:gd name="connsiteY4" fmla="*/ 3861 h 2326"/>
                          <a:gd name="connsiteX5" fmla="*/ 3047 w 2326"/>
                          <a:gd name="connsiteY5" fmla="*/ 3094 h 2326"/>
                          <a:gd name="connsiteX6" fmla="*/ 3559 w 2326"/>
                          <a:gd name="connsiteY6" fmla="*/ 93 h 2326"/>
                          <a:gd name="connsiteX7" fmla="*/ 3559 w 2326"/>
                          <a:gd name="connsiteY7" fmla="*/ 23 h 2326"/>
                          <a:gd name="connsiteX8" fmla="*/ 3536 w 2326"/>
                          <a:gd name="connsiteY8" fmla="*/ 0 h 232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2326" h="2326">
                            <a:moveTo>
                              <a:pt x="3536" y="0"/>
                            </a:moveTo>
                            <a:cubicBezTo>
                              <a:pt x="2396" y="1093"/>
                              <a:pt x="1210" y="2117"/>
                              <a:pt x="0" y="3071"/>
                            </a:cubicBezTo>
                            <a:cubicBezTo>
                              <a:pt x="0" y="3094"/>
                              <a:pt x="0" y="3094"/>
                              <a:pt x="0" y="3094"/>
                            </a:cubicBezTo>
                            <a:cubicBezTo>
                              <a:pt x="302" y="3792"/>
                              <a:pt x="814" y="4187"/>
                              <a:pt x="1349" y="4187"/>
                            </a:cubicBezTo>
                            <a:cubicBezTo>
                              <a:pt x="1628" y="4187"/>
                              <a:pt x="1884" y="4094"/>
                              <a:pt x="2140" y="3861"/>
                            </a:cubicBezTo>
                            <a:cubicBezTo>
                              <a:pt x="2466" y="3606"/>
                              <a:pt x="2745" y="3350"/>
                              <a:pt x="3047" y="3094"/>
                            </a:cubicBezTo>
                            <a:cubicBezTo>
                              <a:pt x="3768" y="2443"/>
                              <a:pt x="4001" y="1140"/>
                              <a:pt x="3559" y="93"/>
                            </a:cubicBezTo>
                            <a:cubicBezTo>
                              <a:pt x="3559" y="70"/>
                              <a:pt x="3559" y="47"/>
                              <a:pt x="3559" y="23"/>
                            </a:cubicBezTo>
                            <a:cubicBezTo>
                              <a:pt x="3536" y="23"/>
                              <a:pt x="3536" y="23"/>
                              <a:pt x="3536" y="0"/>
                            </a:cubicBezTo>
                            <a:close/>
                          </a:path>
                        </a:pathLst>
                      </a:custGeom>
                      <a:solidFill>
                        <a:srgbClr val="FAAB3C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787" name="Freeform: Shape 1786">
                        <a:extLst>
                          <a:ext uri="{FF2B5EF4-FFF2-40B4-BE49-F238E27FC236}">
                            <a16:creationId xmlns:a16="http://schemas.microsoft.com/office/drawing/2014/main" id="{D74E753E-9119-4182-8E52-F4A1DE57DA4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35823" y="4034692"/>
                        <a:ext cx="2326" cy="2326"/>
                      </a:xfrm>
                      <a:custGeom>
                        <a:avLst/>
                        <a:gdLst>
                          <a:gd name="connsiteX0" fmla="*/ 442 w 2326"/>
                          <a:gd name="connsiteY0" fmla="*/ 512 h 2326"/>
                          <a:gd name="connsiteX1" fmla="*/ 395 w 2326"/>
                          <a:gd name="connsiteY1" fmla="*/ 582 h 2326"/>
                          <a:gd name="connsiteX2" fmla="*/ 0 w 2326"/>
                          <a:gd name="connsiteY2" fmla="*/ 1279 h 2326"/>
                          <a:gd name="connsiteX3" fmla="*/ 0 w 2326"/>
                          <a:gd name="connsiteY3" fmla="*/ 1303 h 2326"/>
                          <a:gd name="connsiteX4" fmla="*/ 3722 w 2326"/>
                          <a:gd name="connsiteY4" fmla="*/ 3931 h 2326"/>
                          <a:gd name="connsiteX5" fmla="*/ 3722 w 2326"/>
                          <a:gd name="connsiteY5" fmla="*/ 3908 h 2326"/>
                          <a:gd name="connsiteX6" fmla="*/ 3792 w 2326"/>
                          <a:gd name="connsiteY6" fmla="*/ 3559 h 2326"/>
                          <a:gd name="connsiteX7" fmla="*/ 3047 w 2326"/>
                          <a:gd name="connsiteY7" fmla="*/ 907 h 2326"/>
                          <a:gd name="connsiteX8" fmla="*/ 2070 w 2326"/>
                          <a:gd name="connsiteY8" fmla="*/ 233 h 2326"/>
                          <a:gd name="connsiteX9" fmla="*/ 1372 w 2326"/>
                          <a:gd name="connsiteY9" fmla="*/ 0 h 2326"/>
                          <a:gd name="connsiteX10" fmla="*/ 442 w 2326"/>
                          <a:gd name="connsiteY10" fmla="*/ 512 h 232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</a:cxnLst>
                        <a:rect l="l" t="t" r="r" b="b"/>
                        <a:pathLst>
                          <a:path w="2326" h="2326">
                            <a:moveTo>
                              <a:pt x="442" y="512"/>
                            </a:moveTo>
                            <a:cubicBezTo>
                              <a:pt x="419" y="535"/>
                              <a:pt x="419" y="558"/>
                              <a:pt x="395" y="582"/>
                            </a:cubicBezTo>
                            <a:cubicBezTo>
                              <a:pt x="233" y="768"/>
                              <a:pt x="93" y="1000"/>
                              <a:pt x="0" y="1279"/>
                            </a:cubicBezTo>
                            <a:lnTo>
                              <a:pt x="0" y="1303"/>
                            </a:lnTo>
                            <a:cubicBezTo>
                              <a:pt x="1256" y="2117"/>
                              <a:pt x="2512" y="3001"/>
                              <a:pt x="3722" y="3931"/>
                            </a:cubicBezTo>
                            <a:lnTo>
                              <a:pt x="3722" y="3908"/>
                            </a:lnTo>
                            <a:cubicBezTo>
                              <a:pt x="3768" y="3792"/>
                              <a:pt x="3768" y="3675"/>
                              <a:pt x="3792" y="3559"/>
                            </a:cubicBezTo>
                            <a:cubicBezTo>
                              <a:pt x="4024" y="2536"/>
                              <a:pt x="3745" y="1419"/>
                              <a:pt x="3047" y="907"/>
                            </a:cubicBezTo>
                            <a:cubicBezTo>
                              <a:pt x="2722" y="675"/>
                              <a:pt x="2396" y="442"/>
                              <a:pt x="2070" y="233"/>
                            </a:cubicBezTo>
                            <a:cubicBezTo>
                              <a:pt x="1861" y="70"/>
                              <a:pt x="1605" y="0"/>
                              <a:pt x="1372" y="0"/>
                            </a:cubicBezTo>
                            <a:cubicBezTo>
                              <a:pt x="1047" y="23"/>
                              <a:pt x="721" y="209"/>
                              <a:pt x="442" y="512"/>
                            </a:cubicBezTo>
                            <a:close/>
                          </a:path>
                        </a:pathLst>
                      </a:custGeom>
                      <a:solidFill>
                        <a:srgbClr val="FAAB3C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788" name="Freeform: Shape 1787">
                        <a:extLst>
                          <a:ext uri="{FF2B5EF4-FFF2-40B4-BE49-F238E27FC236}">
                            <a16:creationId xmlns:a16="http://schemas.microsoft.com/office/drawing/2014/main" id="{6B5E00BD-BA88-47E4-B892-BECE8DF3C42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35009" y="4166400"/>
                        <a:ext cx="2326" cy="2326"/>
                      </a:xfrm>
                      <a:custGeom>
                        <a:avLst/>
                        <a:gdLst>
                          <a:gd name="connsiteX0" fmla="*/ 3768 w 2326"/>
                          <a:gd name="connsiteY0" fmla="*/ 0 h 2326"/>
                          <a:gd name="connsiteX1" fmla="*/ 0 w 2326"/>
                          <a:gd name="connsiteY1" fmla="*/ 2536 h 2326"/>
                          <a:gd name="connsiteX2" fmla="*/ 0 w 2326"/>
                          <a:gd name="connsiteY2" fmla="*/ 2582 h 2326"/>
                          <a:gd name="connsiteX3" fmla="*/ 1419 w 2326"/>
                          <a:gd name="connsiteY3" fmla="*/ 3861 h 2326"/>
                          <a:gd name="connsiteX4" fmla="*/ 1419 w 2326"/>
                          <a:gd name="connsiteY4" fmla="*/ 3861 h 2326"/>
                          <a:gd name="connsiteX5" fmla="*/ 2070 w 2326"/>
                          <a:gd name="connsiteY5" fmla="*/ 3652 h 2326"/>
                          <a:gd name="connsiteX6" fmla="*/ 3047 w 2326"/>
                          <a:gd name="connsiteY6" fmla="*/ 3001 h 2326"/>
                          <a:gd name="connsiteX7" fmla="*/ 3838 w 2326"/>
                          <a:gd name="connsiteY7" fmla="*/ 419 h 2326"/>
                          <a:gd name="connsiteX8" fmla="*/ 3768 w 2326"/>
                          <a:gd name="connsiteY8" fmla="*/ 47 h 2326"/>
                          <a:gd name="connsiteX9" fmla="*/ 3768 w 2326"/>
                          <a:gd name="connsiteY9" fmla="*/ 0 h 232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</a:cxnLst>
                        <a:rect l="l" t="t" r="r" b="b"/>
                        <a:pathLst>
                          <a:path w="2326" h="2326">
                            <a:moveTo>
                              <a:pt x="3768" y="0"/>
                            </a:moveTo>
                            <a:cubicBezTo>
                              <a:pt x="2536" y="907"/>
                              <a:pt x="1303" y="1768"/>
                              <a:pt x="0" y="2536"/>
                            </a:cubicBezTo>
                            <a:lnTo>
                              <a:pt x="0" y="2582"/>
                            </a:lnTo>
                            <a:cubicBezTo>
                              <a:pt x="279" y="3396"/>
                              <a:pt x="837" y="3861"/>
                              <a:pt x="1419" y="3861"/>
                            </a:cubicBezTo>
                            <a:lnTo>
                              <a:pt x="1419" y="3861"/>
                            </a:lnTo>
                            <a:cubicBezTo>
                              <a:pt x="1628" y="3861"/>
                              <a:pt x="1861" y="3792"/>
                              <a:pt x="2070" y="3652"/>
                            </a:cubicBezTo>
                            <a:cubicBezTo>
                              <a:pt x="2396" y="3443"/>
                              <a:pt x="2722" y="3233"/>
                              <a:pt x="3047" y="3001"/>
                            </a:cubicBezTo>
                            <a:cubicBezTo>
                              <a:pt x="3745" y="2512"/>
                              <a:pt x="4024" y="1442"/>
                              <a:pt x="3838" y="419"/>
                            </a:cubicBezTo>
                            <a:cubicBezTo>
                              <a:pt x="3815" y="279"/>
                              <a:pt x="3815" y="163"/>
                              <a:pt x="3768" y="47"/>
                            </a:cubicBezTo>
                            <a:lnTo>
                              <a:pt x="3768" y="0"/>
                            </a:lnTo>
                            <a:close/>
                          </a:path>
                        </a:pathLst>
                      </a:custGeom>
                      <a:solidFill>
                        <a:srgbClr val="FAAB3C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789" name="Freeform: Shape 1788">
                        <a:extLst>
                          <a:ext uri="{FF2B5EF4-FFF2-40B4-BE49-F238E27FC236}">
                            <a16:creationId xmlns:a16="http://schemas.microsoft.com/office/drawing/2014/main" id="{2D87EAAC-C6B9-49B2-BC95-BDC3B5570F6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30961" y="4031807"/>
                        <a:ext cx="2326" cy="2326"/>
                      </a:xfrm>
                      <a:custGeom>
                        <a:avLst/>
                        <a:gdLst>
                          <a:gd name="connsiteX0" fmla="*/ 907 w 2326"/>
                          <a:gd name="connsiteY0" fmla="*/ 186 h 2326"/>
                          <a:gd name="connsiteX1" fmla="*/ 675 w 2326"/>
                          <a:gd name="connsiteY1" fmla="*/ 349 h 2326"/>
                          <a:gd name="connsiteX2" fmla="*/ 186 w 2326"/>
                          <a:gd name="connsiteY2" fmla="*/ 1024 h 2326"/>
                          <a:gd name="connsiteX3" fmla="*/ 163 w 2326"/>
                          <a:gd name="connsiteY3" fmla="*/ 1047 h 2326"/>
                          <a:gd name="connsiteX4" fmla="*/ 0 w 2326"/>
                          <a:gd name="connsiteY4" fmla="*/ 1465 h 2326"/>
                          <a:gd name="connsiteX5" fmla="*/ 0 w 2326"/>
                          <a:gd name="connsiteY5" fmla="*/ 1489 h 2326"/>
                          <a:gd name="connsiteX6" fmla="*/ 0 w 2326"/>
                          <a:gd name="connsiteY6" fmla="*/ 1489 h 2326"/>
                          <a:gd name="connsiteX7" fmla="*/ 0 w 2326"/>
                          <a:gd name="connsiteY7" fmla="*/ 1489 h 2326"/>
                          <a:gd name="connsiteX8" fmla="*/ 3908 w 2326"/>
                          <a:gd name="connsiteY8" fmla="*/ 3582 h 2326"/>
                          <a:gd name="connsiteX9" fmla="*/ 3908 w 2326"/>
                          <a:gd name="connsiteY9" fmla="*/ 3582 h 2326"/>
                          <a:gd name="connsiteX10" fmla="*/ 3908 w 2326"/>
                          <a:gd name="connsiteY10" fmla="*/ 3559 h 2326"/>
                          <a:gd name="connsiteX11" fmla="*/ 4001 w 2326"/>
                          <a:gd name="connsiteY11" fmla="*/ 2884 h 2326"/>
                          <a:gd name="connsiteX12" fmla="*/ 3024 w 2326"/>
                          <a:gd name="connsiteY12" fmla="*/ 675 h 2326"/>
                          <a:gd name="connsiteX13" fmla="*/ 2024 w 2326"/>
                          <a:gd name="connsiteY13" fmla="*/ 140 h 2326"/>
                          <a:gd name="connsiteX14" fmla="*/ 1489 w 2326"/>
                          <a:gd name="connsiteY14" fmla="*/ 0 h 2326"/>
                          <a:gd name="connsiteX15" fmla="*/ 1070 w 2326"/>
                          <a:gd name="connsiteY15" fmla="*/ 93 h 2326"/>
                          <a:gd name="connsiteX16" fmla="*/ 907 w 2326"/>
                          <a:gd name="connsiteY16" fmla="*/ 186 h 232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</a:cxnLst>
                        <a:rect l="l" t="t" r="r" b="b"/>
                        <a:pathLst>
                          <a:path w="2326" h="2326">
                            <a:moveTo>
                              <a:pt x="907" y="186"/>
                            </a:moveTo>
                            <a:cubicBezTo>
                              <a:pt x="837" y="233"/>
                              <a:pt x="744" y="302"/>
                              <a:pt x="675" y="349"/>
                            </a:cubicBezTo>
                            <a:cubicBezTo>
                              <a:pt x="465" y="512"/>
                              <a:pt x="302" y="744"/>
                              <a:pt x="186" y="1024"/>
                            </a:cubicBezTo>
                            <a:cubicBezTo>
                              <a:pt x="186" y="1024"/>
                              <a:pt x="186" y="1047"/>
                              <a:pt x="163" y="1047"/>
                            </a:cubicBezTo>
                            <a:cubicBezTo>
                              <a:pt x="93" y="1186"/>
                              <a:pt x="47" y="1326"/>
                              <a:pt x="0" y="1465"/>
                            </a:cubicBezTo>
                            <a:lnTo>
                              <a:pt x="0" y="1489"/>
                            </a:lnTo>
                            <a:lnTo>
                              <a:pt x="0" y="1489"/>
                            </a:lnTo>
                            <a:lnTo>
                              <a:pt x="0" y="1489"/>
                            </a:lnTo>
                            <a:cubicBezTo>
                              <a:pt x="1326" y="2117"/>
                              <a:pt x="2629" y="2815"/>
                              <a:pt x="3908" y="3582"/>
                            </a:cubicBezTo>
                            <a:lnTo>
                              <a:pt x="3908" y="3582"/>
                            </a:lnTo>
                            <a:lnTo>
                              <a:pt x="3908" y="3559"/>
                            </a:lnTo>
                            <a:cubicBezTo>
                              <a:pt x="3978" y="3326"/>
                              <a:pt x="3978" y="3117"/>
                              <a:pt x="4001" y="2884"/>
                            </a:cubicBezTo>
                            <a:cubicBezTo>
                              <a:pt x="4048" y="1954"/>
                              <a:pt x="3675" y="1047"/>
                              <a:pt x="3024" y="675"/>
                            </a:cubicBezTo>
                            <a:cubicBezTo>
                              <a:pt x="2698" y="488"/>
                              <a:pt x="2349" y="302"/>
                              <a:pt x="2024" y="140"/>
                            </a:cubicBezTo>
                            <a:cubicBezTo>
                              <a:pt x="1861" y="46"/>
                              <a:pt x="1675" y="0"/>
                              <a:pt x="1489" y="0"/>
                            </a:cubicBezTo>
                            <a:cubicBezTo>
                              <a:pt x="1349" y="0"/>
                              <a:pt x="1210" y="46"/>
                              <a:pt x="1070" y="93"/>
                            </a:cubicBezTo>
                            <a:cubicBezTo>
                              <a:pt x="1000" y="140"/>
                              <a:pt x="954" y="163"/>
                              <a:pt x="907" y="186"/>
                            </a:cubicBezTo>
                            <a:close/>
                          </a:path>
                        </a:pathLst>
                      </a:custGeom>
                      <a:solidFill>
                        <a:srgbClr val="FAAB3C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790" name="Freeform: Shape 1789">
                        <a:extLst>
                          <a:ext uri="{FF2B5EF4-FFF2-40B4-BE49-F238E27FC236}">
                            <a16:creationId xmlns:a16="http://schemas.microsoft.com/office/drawing/2014/main" id="{2168200C-C467-481A-B98C-4D0B7755ADE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30171" y="4169517"/>
                        <a:ext cx="2326" cy="2326"/>
                      </a:xfrm>
                      <a:custGeom>
                        <a:avLst/>
                        <a:gdLst>
                          <a:gd name="connsiteX0" fmla="*/ 3908 w 2326"/>
                          <a:gd name="connsiteY0" fmla="*/ 0 h 2326"/>
                          <a:gd name="connsiteX1" fmla="*/ 1977 w 2326"/>
                          <a:gd name="connsiteY1" fmla="*/ 1047 h 2326"/>
                          <a:gd name="connsiteX2" fmla="*/ 582 w 2326"/>
                          <a:gd name="connsiteY2" fmla="*/ 1721 h 2326"/>
                          <a:gd name="connsiteX3" fmla="*/ 0 w 2326"/>
                          <a:gd name="connsiteY3" fmla="*/ 2001 h 2326"/>
                          <a:gd name="connsiteX4" fmla="*/ 0 w 2326"/>
                          <a:gd name="connsiteY4" fmla="*/ 2024 h 2326"/>
                          <a:gd name="connsiteX5" fmla="*/ 605 w 2326"/>
                          <a:gd name="connsiteY5" fmla="*/ 3117 h 2326"/>
                          <a:gd name="connsiteX6" fmla="*/ 907 w 2326"/>
                          <a:gd name="connsiteY6" fmla="*/ 3326 h 2326"/>
                          <a:gd name="connsiteX7" fmla="*/ 1186 w 2326"/>
                          <a:gd name="connsiteY7" fmla="*/ 3443 h 2326"/>
                          <a:gd name="connsiteX8" fmla="*/ 1512 w 2326"/>
                          <a:gd name="connsiteY8" fmla="*/ 3513 h 2326"/>
                          <a:gd name="connsiteX9" fmla="*/ 2024 w 2326"/>
                          <a:gd name="connsiteY9" fmla="*/ 3396 h 2326"/>
                          <a:gd name="connsiteX10" fmla="*/ 3047 w 2326"/>
                          <a:gd name="connsiteY10" fmla="*/ 2885 h 2326"/>
                          <a:gd name="connsiteX11" fmla="*/ 4048 w 2326"/>
                          <a:gd name="connsiteY11" fmla="*/ 768 h 2326"/>
                          <a:gd name="connsiteX12" fmla="*/ 3978 w 2326"/>
                          <a:gd name="connsiteY12" fmla="*/ 47 h 2326"/>
                          <a:gd name="connsiteX13" fmla="*/ 3908 w 2326"/>
                          <a:gd name="connsiteY13" fmla="*/ 0 h 232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</a:cxnLst>
                        <a:rect l="l" t="t" r="r" b="b"/>
                        <a:pathLst>
                          <a:path w="2326" h="2326">
                            <a:moveTo>
                              <a:pt x="3908" y="0"/>
                            </a:moveTo>
                            <a:cubicBezTo>
                              <a:pt x="3257" y="372"/>
                              <a:pt x="2629" y="721"/>
                              <a:pt x="1977" y="1047"/>
                            </a:cubicBezTo>
                            <a:cubicBezTo>
                              <a:pt x="1512" y="1279"/>
                              <a:pt x="1047" y="1489"/>
                              <a:pt x="582" y="1721"/>
                            </a:cubicBezTo>
                            <a:cubicBezTo>
                              <a:pt x="372" y="1814"/>
                              <a:pt x="186" y="1907"/>
                              <a:pt x="0" y="2001"/>
                            </a:cubicBezTo>
                            <a:lnTo>
                              <a:pt x="0" y="2024"/>
                            </a:lnTo>
                            <a:cubicBezTo>
                              <a:pt x="116" y="2489"/>
                              <a:pt x="326" y="2861"/>
                              <a:pt x="605" y="3117"/>
                            </a:cubicBezTo>
                            <a:cubicBezTo>
                              <a:pt x="698" y="3210"/>
                              <a:pt x="791" y="3257"/>
                              <a:pt x="907" y="3326"/>
                            </a:cubicBezTo>
                            <a:cubicBezTo>
                              <a:pt x="1000" y="3373"/>
                              <a:pt x="1070" y="3419"/>
                              <a:pt x="1186" y="3443"/>
                            </a:cubicBezTo>
                            <a:cubicBezTo>
                              <a:pt x="1303" y="3466"/>
                              <a:pt x="1396" y="3513"/>
                              <a:pt x="1512" y="3513"/>
                            </a:cubicBezTo>
                            <a:cubicBezTo>
                              <a:pt x="1675" y="3513"/>
                              <a:pt x="1838" y="3466"/>
                              <a:pt x="2024" y="3396"/>
                            </a:cubicBezTo>
                            <a:cubicBezTo>
                              <a:pt x="2349" y="3233"/>
                              <a:pt x="2698" y="3071"/>
                              <a:pt x="3047" y="2885"/>
                            </a:cubicBezTo>
                            <a:cubicBezTo>
                              <a:pt x="3699" y="2559"/>
                              <a:pt x="4071" y="1675"/>
                              <a:pt x="4048" y="768"/>
                            </a:cubicBezTo>
                            <a:cubicBezTo>
                              <a:pt x="4048" y="535"/>
                              <a:pt x="4024" y="279"/>
                              <a:pt x="3978" y="47"/>
                            </a:cubicBezTo>
                            <a:cubicBezTo>
                              <a:pt x="3931" y="23"/>
                              <a:pt x="3908" y="0"/>
                              <a:pt x="3908" y="0"/>
                            </a:cubicBezTo>
                            <a:close/>
                          </a:path>
                        </a:pathLst>
                      </a:custGeom>
                      <a:solidFill>
                        <a:srgbClr val="FAAB3C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791" name="Freeform: Shape 1790">
                        <a:extLst>
                          <a:ext uri="{FF2B5EF4-FFF2-40B4-BE49-F238E27FC236}">
                            <a16:creationId xmlns:a16="http://schemas.microsoft.com/office/drawing/2014/main" id="{47710895-6C81-4B6A-8E5A-67B3423189F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25960" y="4029621"/>
                        <a:ext cx="2326" cy="2326"/>
                      </a:xfrm>
                      <a:custGeom>
                        <a:avLst/>
                        <a:gdLst>
                          <a:gd name="connsiteX0" fmla="*/ 1070 w 2326"/>
                          <a:gd name="connsiteY0" fmla="*/ 140 h 2326"/>
                          <a:gd name="connsiteX1" fmla="*/ 326 w 2326"/>
                          <a:gd name="connsiteY1" fmla="*/ 861 h 2326"/>
                          <a:gd name="connsiteX2" fmla="*/ 326 w 2326"/>
                          <a:gd name="connsiteY2" fmla="*/ 884 h 2326"/>
                          <a:gd name="connsiteX3" fmla="*/ 0 w 2326"/>
                          <a:gd name="connsiteY3" fmla="*/ 1698 h 2326"/>
                          <a:gd name="connsiteX4" fmla="*/ 0 w 2326"/>
                          <a:gd name="connsiteY4" fmla="*/ 1721 h 2326"/>
                          <a:gd name="connsiteX5" fmla="*/ 0 w 2326"/>
                          <a:gd name="connsiteY5" fmla="*/ 1721 h 2326"/>
                          <a:gd name="connsiteX6" fmla="*/ 488 w 2326"/>
                          <a:gd name="connsiteY6" fmla="*/ 1884 h 2326"/>
                          <a:gd name="connsiteX7" fmla="*/ 4048 w 2326"/>
                          <a:gd name="connsiteY7" fmla="*/ 3233 h 2326"/>
                          <a:gd name="connsiteX8" fmla="*/ 4048 w 2326"/>
                          <a:gd name="connsiteY8" fmla="*/ 3210 h 2326"/>
                          <a:gd name="connsiteX9" fmla="*/ 4071 w 2326"/>
                          <a:gd name="connsiteY9" fmla="*/ 2187 h 2326"/>
                          <a:gd name="connsiteX10" fmla="*/ 2954 w 2326"/>
                          <a:gd name="connsiteY10" fmla="*/ 465 h 2326"/>
                          <a:gd name="connsiteX11" fmla="*/ 1907 w 2326"/>
                          <a:gd name="connsiteY11" fmla="*/ 70 h 2326"/>
                          <a:gd name="connsiteX12" fmla="*/ 1512 w 2326"/>
                          <a:gd name="connsiteY12" fmla="*/ 0 h 2326"/>
                          <a:gd name="connsiteX13" fmla="*/ 1512 w 2326"/>
                          <a:gd name="connsiteY13" fmla="*/ 0 h 2326"/>
                          <a:gd name="connsiteX14" fmla="*/ 1349 w 2326"/>
                          <a:gd name="connsiteY14" fmla="*/ 46 h 2326"/>
                          <a:gd name="connsiteX15" fmla="*/ 1070 w 2326"/>
                          <a:gd name="connsiteY15" fmla="*/ 140 h 232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</a:cxnLst>
                        <a:rect l="l" t="t" r="r" b="b"/>
                        <a:pathLst>
                          <a:path w="2326" h="2326">
                            <a:moveTo>
                              <a:pt x="1070" y="140"/>
                            </a:moveTo>
                            <a:cubicBezTo>
                              <a:pt x="791" y="256"/>
                              <a:pt x="535" y="535"/>
                              <a:pt x="326" y="861"/>
                            </a:cubicBezTo>
                            <a:lnTo>
                              <a:pt x="326" y="884"/>
                            </a:lnTo>
                            <a:cubicBezTo>
                              <a:pt x="186" y="1117"/>
                              <a:pt x="70" y="1396"/>
                              <a:pt x="0" y="1698"/>
                            </a:cubicBezTo>
                            <a:lnTo>
                              <a:pt x="0" y="1721"/>
                            </a:lnTo>
                            <a:lnTo>
                              <a:pt x="0" y="1721"/>
                            </a:lnTo>
                            <a:cubicBezTo>
                              <a:pt x="163" y="1768"/>
                              <a:pt x="326" y="1814"/>
                              <a:pt x="488" y="1884"/>
                            </a:cubicBezTo>
                            <a:cubicBezTo>
                              <a:pt x="1675" y="2280"/>
                              <a:pt x="2861" y="2722"/>
                              <a:pt x="4048" y="3233"/>
                            </a:cubicBezTo>
                            <a:lnTo>
                              <a:pt x="4048" y="3210"/>
                            </a:lnTo>
                            <a:cubicBezTo>
                              <a:pt x="4117" y="2861"/>
                              <a:pt x="4117" y="2512"/>
                              <a:pt x="4071" y="2187"/>
                            </a:cubicBezTo>
                            <a:cubicBezTo>
                              <a:pt x="3954" y="1372"/>
                              <a:pt x="3536" y="698"/>
                              <a:pt x="2954" y="465"/>
                            </a:cubicBezTo>
                            <a:cubicBezTo>
                              <a:pt x="2605" y="326"/>
                              <a:pt x="2256" y="186"/>
                              <a:pt x="1907" y="70"/>
                            </a:cubicBezTo>
                            <a:cubicBezTo>
                              <a:pt x="1768" y="23"/>
                              <a:pt x="1652" y="0"/>
                              <a:pt x="1512" y="0"/>
                            </a:cubicBezTo>
                            <a:lnTo>
                              <a:pt x="1512" y="0"/>
                            </a:lnTo>
                            <a:cubicBezTo>
                              <a:pt x="1465" y="0"/>
                              <a:pt x="1419" y="23"/>
                              <a:pt x="1349" y="46"/>
                            </a:cubicBezTo>
                            <a:cubicBezTo>
                              <a:pt x="1256" y="93"/>
                              <a:pt x="1163" y="93"/>
                              <a:pt x="1070" y="140"/>
                            </a:cubicBezTo>
                            <a:close/>
                          </a:path>
                        </a:pathLst>
                      </a:custGeom>
                      <a:solidFill>
                        <a:srgbClr val="FAAB3C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792" name="Freeform: Shape 1791">
                        <a:extLst>
                          <a:ext uri="{FF2B5EF4-FFF2-40B4-BE49-F238E27FC236}">
                            <a16:creationId xmlns:a16="http://schemas.microsoft.com/office/drawing/2014/main" id="{B3B75C0D-F356-4445-8521-7F39EA4DF31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25123" y="4171936"/>
                        <a:ext cx="2326" cy="2326"/>
                      </a:xfrm>
                      <a:custGeom>
                        <a:avLst/>
                        <a:gdLst>
                          <a:gd name="connsiteX0" fmla="*/ 4048 w 2326"/>
                          <a:gd name="connsiteY0" fmla="*/ 23 h 2326"/>
                          <a:gd name="connsiteX1" fmla="*/ 4048 w 2326"/>
                          <a:gd name="connsiteY1" fmla="*/ 23 h 2326"/>
                          <a:gd name="connsiteX2" fmla="*/ 4048 w 2326"/>
                          <a:gd name="connsiteY2" fmla="*/ 0 h 2326"/>
                          <a:gd name="connsiteX3" fmla="*/ 2047 w 2326"/>
                          <a:gd name="connsiteY3" fmla="*/ 768 h 2326"/>
                          <a:gd name="connsiteX4" fmla="*/ 0 w 2326"/>
                          <a:gd name="connsiteY4" fmla="*/ 1419 h 2326"/>
                          <a:gd name="connsiteX5" fmla="*/ 0 w 2326"/>
                          <a:gd name="connsiteY5" fmla="*/ 1465 h 2326"/>
                          <a:gd name="connsiteX6" fmla="*/ 1512 w 2326"/>
                          <a:gd name="connsiteY6" fmla="*/ 3187 h 2326"/>
                          <a:gd name="connsiteX7" fmla="*/ 1512 w 2326"/>
                          <a:gd name="connsiteY7" fmla="*/ 3187 h 2326"/>
                          <a:gd name="connsiteX8" fmla="*/ 1884 w 2326"/>
                          <a:gd name="connsiteY8" fmla="*/ 3117 h 2326"/>
                          <a:gd name="connsiteX9" fmla="*/ 2908 w 2326"/>
                          <a:gd name="connsiteY9" fmla="*/ 2745 h 2326"/>
                          <a:gd name="connsiteX10" fmla="*/ 4024 w 2326"/>
                          <a:gd name="connsiteY10" fmla="*/ 1117 h 2326"/>
                          <a:gd name="connsiteX11" fmla="*/ 4048 w 2326"/>
                          <a:gd name="connsiteY11" fmla="*/ 23 h 232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2326" h="2326">
                            <a:moveTo>
                              <a:pt x="4048" y="23"/>
                            </a:moveTo>
                            <a:lnTo>
                              <a:pt x="4048" y="23"/>
                            </a:lnTo>
                            <a:lnTo>
                              <a:pt x="4048" y="0"/>
                            </a:lnTo>
                            <a:cubicBezTo>
                              <a:pt x="3373" y="256"/>
                              <a:pt x="2722" y="535"/>
                              <a:pt x="2047" y="768"/>
                            </a:cubicBezTo>
                            <a:cubicBezTo>
                              <a:pt x="1372" y="1000"/>
                              <a:pt x="698" y="1233"/>
                              <a:pt x="0" y="1419"/>
                            </a:cubicBezTo>
                            <a:lnTo>
                              <a:pt x="0" y="1465"/>
                            </a:lnTo>
                            <a:cubicBezTo>
                              <a:pt x="163" y="2489"/>
                              <a:pt x="814" y="3187"/>
                              <a:pt x="1512" y="3187"/>
                            </a:cubicBezTo>
                            <a:lnTo>
                              <a:pt x="1512" y="3187"/>
                            </a:lnTo>
                            <a:cubicBezTo>
                              <a:pt x="1628" y="3187"/>
                              <a:pt x="1768" y="3164"/>
                              <a:pt x="1884" y="3117"/>
                            </a:cubicBezTo>
                            <a:cubicBezTo>
                              <a:pt x="2233" y="3001"/>
                              <a:pt x="2582" y="2885"/>
                              <a:pt x="2908" y="2745"/>
                            </a:cubicBezTo>
                            <a:cubicBezTo>
                              <a:pt x="3489" y="2536"/>
                              <a:pt x="3908" y="1884"/>
                              <a:pt x="4024" y="1117"/>
                            </a:cubicBezTo>
                            <a:cubicBezTo>
                              <a:pt x="4094" y="744"/>
                              <a:pt x="4117" y="395"/>
                              <a:pt x="4048" y="23"/>
                            </a:cubicBezTo>
                            <a:close/>
                          </a:path>
                        </a:pathLst>
                      </a:custGeom>
                      <a:solidFill>
                        <a:srgbClr val="FAAB3C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793" name="Freeform: Shape 1792">
                        <a:extLst>
                          <a:ext uri="{FF2B5EF4-FFF2-40B4-BE49-F238E27FC236}">
                            <a16:creationId xmlns:a16="http://schemas.microsoft.com/office/drawing/2014/main" id="{16D4C31F-F51E-4792-AB14-9AA5890BBDF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20843" y="4028225"/>
                        <a:ext cx="2326" cy="2326"/>
                      </a:xfrm>
                      <a:custGeom>
                        <a:avLst/>
                        <a:gdLst>
                          <a:gd name="connsiteX0" fmla="*/ 163 w 2326"/>
                          <a:gd name="connsiteY0" fmla="*/ 1140 h 2326"/>
                          <a:gd name="connsiteX1" fmla="*/ 163 w 2326"/>
                          <a:gd name="connsiteY1" fmla="*/ 1186 h 2326"/>
                          <a:gd name="connsiteX2" fmla="*/ 0 w 2326"/>
                          <a:gd name="connsiteY2" fmla="*/ 1884 h 2326"/>
                          <a:gd name="connsiteX3" fmla="*/ 0 w 2326"/>
                          <a:gd name="connsiteY3" fmla="*/ 1931 h 2326"/>
                          <a:gd name="connsiteX4" fmla="*/ 2070 w 2326"/>
                          <a:gd name="connsiteY4" fmla="*/ 2349 h 2326"/>
                          <a:gd name="connsiteX5" fmla="*/ 4117 w 2326"/>
                          <a:gd name="connsiteY5" fmla="*/ 2861 h 2326"/>
                          <a:gd name="connsiteX6" fmla="*/ 4117 w 2326"/>
                          <a:gd name="connsiteY6" fmla="*/ 2861 h 2326"/>
                          <a:gd name="connsiteX7" fmla="*/ 4117 w 2326"/>
                          <a:gd name="connsiteY7" fmla="*/ 2838 h 2326"/>
                          <a:gd name="connsiteX8" fmla="*/ 3955 w 2326"/>
                          <a:gd name="connsiteY8" fmla="*/ 1442 h 2326"/>
                          <a:gd name="connsiteX9" fmla="*/ 2838 w 2326"/>
                          <a:gd name="connsiteY9" fmla="*/ 256 h 2326"/>
                          <a:gd name="connsiteX10" fmla="*/ 1768 w 2326"/>
                          <a:gd name="connsiteY10" fmla="*/ 23 h 2326"/>
                          <a:gd name="connsiteX11" fmla="*/ 1535 w 2326"/>
                          <a:gd name="connsiteY11" fmla="*/ 0 h 2326"/>
                          <a:gd name="connsiteX12" fmla="*/ 1535 w 2326"/>
                          <a:gd name="connsiteY12" fmla="*/ 0 h 2326"/>
                          <a:gd name="connsiteX13" fmla="*/ 163 w 2326"/>
                          <a:gd name="connsiteY13" fmla="*/ 1140 h 232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</a:cxnLst>
                        <a:rect l="l" t="t" r="r" b="b"/>
                        <a:pathLst>
                          <a:path w="2326" h="2326">
                            <a:moveTo>
                              <a:pt x="163" y="1140"/>
                            </a:moveTo>
                            <a:lnTo>
                              <a:pt x="163" y="1186"/>
                            </a:lnTo>
                            <a:cubicBezTo>
                              <a:pt x="93" y="1396"/>
                              <a:pt x="23" y="1628"/>
                              <a:pt x="0" y="1884"/>
                            </a:cubicBezTo>
                            <a:lnTo>
                              <a:pt x="0" y="1931"/>
                            </a:lnTo>
                            <a:cubicBezTo>
                              <a:pt x="698" y="2047"/>
                              <a:pt x="1396" y="2187"/>
                              <a:pt x="2070" y="2349"/>
                            </a:cubicBezTo>
                            <a:cubicBezTo>
                              <a:pt x="2768" y="2512"/>
                              <a:pt x="3443" y="2675"/>
                              <a:pt x="4117" y="2861"/>
                            </a:cubicBezTo>
                            <a:lnTo>
                              <a:pt x="4117" y="2861"/>
                            </a:lnTo>
                            <a:lnTo>
                              <a:pt x="4117" y="2838"/>
                            </a:lnTo>
                            <a:cubicBezTo>
                              <a:pt x="4187" y="2326"/>
                              <a:pt x="4117" y="1861"/>
                              <a:pt x="3955" y="1442"/>
                            </a:cubicBezTo>
                            <a:cubicBezTo>
                              <a:pt x="3745" y="837"/>
                              <a:pt x="3326" y="372"/>
                              <a:pt x="2838" y="256"/>
                            </a:cubicBezTo>
                            <a:cubicBezTo>
                              <a:pt x="2466" y="163"/>
                              <a:pt x="2117" y="93"/>
                              <a:pt x="1768" y="23"/>
                            </a:cubicBezTo>
                            <a:cubicBezTo>
                              <a:pt x="1675" y="0"/>
                              <a:pt x="1605" y="0"/>
                              <a:pt x="1535" y="0"/>
                            </a:cubicBezTo>
                            <a:lnTo>
                              <a:pt x="1535" y="0"/>
                            </a:lnTo>
                            <a:cubicBezTo>
                              <a:pt x="954" y="0"/>
                              <a:pt x="442" y="442"/>
                              <a:pt x="163" y="1140"/>
                            </a:cubicBezTo>
                            <a:close/>
                          </a:path>
                        </a:pathLst>
                      </a:custGeom>
                      <a:solidFill>
                        <a:srgbClr val="FAAB3C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794" name="Freeform: Shape 1793">
                        <a:extLst>
                          <a:ext uri="{FF2B5EF4-FFF2-40B4-BE49-F238E27FC236}">
                            <a16:creationId xmlns:a16="http://schemas.microsoft.com/office/drawing/2014/main" id="{571CE3FC-B5BB-466A-8410-4C64B225825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20005" y="4173611"/>
                        <a:ext cx="2326" cy="2326"/>
                      </a:xfrm>
                      <a:custGeom>
                        <a:avLst/>
                        <a:gdLst>
                          <a:gd name="connsiteX0" fmla="*/ 4117 w 2326"/>
                          <a:gd name="connsiteY0" fmla="*/ 47 h 2326"/>
                          <a:gd name="connsiteX1" fmla="*/ 4117 w 2326"/>
                          <a:gd name="connsiteY1" fmla="*/ 0 h 2326"/>
                          <a:gd name="connsiteX2" fmla="*/ 0 w 2326"/>
                          <a:gd name="connsiteY2" fmla="*/ 837 h 2326"/>
                          <a:gd name="connsiteX3" fmla="*/ 0 w 2326"/>
                          <a:gd name="connsiteY3" fmla="*/ 861 h 2326"/>
                          <a:gd name="connsiteX4" fmla="*/ 395 w 2326"/>
                          <a:gd name="connsiteY4" fmla="*/ 2024 h 2326"/>
                          <a:gd name="connsiteX5" fmla="*/ 442 w 2326"/>
                          <a:gd name="connsiteY5" fmla="*/ 2117 h 2326"/>
                          <a:gd name="connsiteX6" fmla="*/ 582 w 2326"/>
                          <a:gd name="connsiteY6" fmla="*/ 2303 h 2326"/>
                          <a:gd name="connsiteX7" fmla="*/ 884 w 2326"/>
                          <a:gd name="connsiteY7" fmla="*/ 2559 h 2326"/>
                          <a:gd name="connsiteX8" fmla="*/ 1559 w 2326"/>
                          <a:gd name="connsiteY8" fmla="*/ 2791 h 2326"/>
                          <a:gd name="connsiteX9" fmla="*/ 1768 w 2326"/>
                          <a:gd name="connsiteY9" fmla="*/ 2768 h 2326"/>
                          <a:gd name="connsiteX10" fmla="*/ 2815 w 2326"/>
                          <a:gd name="connsiteY10" fmla="*/ 2559 h 2326"/>
                          <a:gd name="connsiteX11" fmla="*/ 3931 w 2326"/>
                          <a:gd name="connsiteY11" fmla="*/ 1465 h 2326"/>
                          <a:gd name="connsiteX12" fmla="*/ 4117 w 2326"/>
                          <a:gd name="connsiteY12" fmla="*/ 47 h 232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</a:cxnLst>
                        <a:rect l="l" t="t" r="r" b="b"/>
                        <a:pathLst>
                          <a:path w="2326" h="2326">
                            <a:moveTo>
                              <a:pt x="4117" y="47"/>
                            </a:moveTo>
                            <a:lnTo>
                              <a:pt x="4117" y="0"/>
                            </a:lnTo>
                            <a:cubicBezTo>
                              <a:pt x="2768" y="349"/>
                              <a:pt x="1396" y="651"/>
                              <a:pt x="0" y="837"/>
                            </a:cubicBezTo>
                            <a:lnTo>
                              <a:pt x="0" y="861"/>
                            </a:lnTo>
                            <a:cubicBezTo>
                              <a:pt x="47" y="1326"/>
                              <a:pt x="186" y="1721"/>
                              <a:pt x="395" y="2024"/>
                            </a:cubicBezTo>
                            <a:cubicBezTo>
                              <a:pt x="395" y="2047"/>
                              <a:pt x="419" y="2094"/>
                              <a:pt x="442" y="2117"/>
                            </a:cubicBezTo>
                            <a:cubicBezTo>
                              <a:pt x="488" y="2187"/>
                              <a:pt x="535" y="2256"/>
                              <a:pt x="582" y="2303"/>
                            </a:cubicBezTo>
                            <a:cubicBezTo>
                              <a:pt x="675" y="2396"/>
                              <a:pt x="768" y="2489"/>
                              <a:pt x="884" y="2559"/>
                            </a:cubicBezTo>
                            <a:cubicBezTo>
                              <a:pt x="1093" y="2698"/>
                              <a:pt x="1326" y="2791"/>
                              <a:pt x="1559" y="2791"/>
                            </a:cubicBezTo>
                            <a:lnTo>
                              <a:pt x="1768" y="2768"/>
                            </a:lnTo>
                            <a:cubicBezTo>
                              <a:pt x="2117" y="2698"/>
                              <a:pt x="2466" y="2629"/>
                              <a:pt x="2815" y="2559"/>
                            </a:cubicBezTo>
                            <a:cubicBezTo>
                              <a:pt x="3303" y="2443"/>
                              <a:pt x="3699" y="2024"/>
                              <a:pt x="3931" y="1465"/>
                            </a:cubicBezTo>
                            <a:cubicBezTo>
                              <a:pt x="4094" y="1070"/>
                              <a:pt x="4164" y="558"/>
                              <a:pt x="4117" y="47"/>
                            </a:cubicBezTo>
                            <a:close/>
                          </a:path>
                        </a:pathLst>
                      </a:custGeom>
                      <a:solidFill>
                        <a:srgbClr val="FAAB3C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795" name="Freeform: Shape 1794">
                        <a:extLst>
                          <a:ext uri="{FF2B5EF4-FFF2-40B4-BE49-F238E27FC236}">
                            <a16:creationId xmlns:a16="http://schemas.microsoft.com/office/drawing/2014/main" id="{13B99C01-1D51-4B4E-A999-1111DD831AD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15655" y="4027504"/>
                        <a:ext cx="2326" cy="2326"/>
                      </a:xfrm>
                      <a:custGeom>
                        <a:avLst/>
                        <a:gdLst>
                          <a:gd name="connsiteX0" fmla="*/ 1372 w 2326"/>
                          <a:gd name="connsiteY0" fmla="*/ 23 h 2326"/>
                          <a:gd name="connsiteX1" fmla="*/ 1210 w 2326"/>
                          <a:gd name="connsiteY1" fmla="*/ 70 h 2326"/>
                          <a:gd name="connsiteX2" fmla="*/ 1210 w 2326"/>
                          <a:gd name="connsiteY2" fmla="*/ 70 h 2326"/>
                          <a:gd name="connsiteX3" fmla="*/ 0 w 2326"/>
                          <a:gd name="connsiteY3" fmla="*/ 2117 h 2326"/>
                          <a:gd name="connsiteX4" fmla="*/ 0 w 2326"/>
                          <a:gd name="connsiteY4" fmla="*/ 2163 h 2326"/>
                          <a:gd name="connsiteX5" fmla="*/ 4164 w 2326"/>
                          <a:gd name="connsiteY5" fmla="*/ 2489 h 2326"/>
                          <a:gd name="connsiteX6" fmla="*/ 4164 w 2326"/>
                          <a:gd name="connsiteY6" fmla="*/ 2466 h 2326"/>
                          <a:gd name="connsiteX7" fmla="*/ 3699 w 2326"/>
                          <a:gd name="connsiteY7" fmla="*/ 721 h 2326"/>
                          <a:gd name="connsiteX8" fmla="*/ 2722 w 2326"/>
                          <a:gd name="connsiteY8" fmla="*/ 93 h 2326"/>
                          <a:gd name="connsiteX9" fmla="*/ 1652 w 2326"/>
                          <a:gd name="connsiteY9" fmla="*/ 0 h 2326"/>
                          <a:gd name="connsiteX10" fmla="*/ 1582 w 2326"/>
                          <a:gd name="connsiteY10" fmla="*/ 0 h 2326"/>
                          <a:gd name="connsiteX11" fmla="*/ 1582 w 2326"/>
                          <a:gd name="connsiteY11" fmla="*/ 0 h 2326"/>
                          <a:gd name="connsiteX12" fmla="*/ 1535 w 2326"/>
                          <a:gd name="connsiteY12" fmla="*/ 0 h 2326"/>
                          <a:gd name="connsiteX13" fmla="*/ 1372 w 2326"/>
                          <a:gd name="connsiteY13" fmla="*/ 23 h 232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</a:cxnLst>
                        <a:rect l="l" t="t" r="r" b="b"/>
                        <a:pathLst>
                          <a:path w="2326" h="2326">
                            <a:moveTo>
                              <a:pt x="1372" y="23"/>
                            </a:moveTo>
                            <a:cubicBezTo>
                              <a:pt x="1326" y="23"/>
                              <a:pt x="1279" y="46"/>
                              <a:pt x="1210" y="70"/>
                            </a:cubicBezTo>
                            <a:lnTo>
                              <a:pt x="1210" y="70"/>
                            </a:lnTo>
                            <a:cubicBezTo>
                              <a:pt x="535" y="302"/>
                              <a:pt x="23" y="1093"/>
                              <a:pt x="0" y="2117"/>
                            </a:cubicBezTo>
                            <a:lnTo>
                              <a:pt x="0" y="2163"/>
                            </a:lnTo>
                            <a:cubicBezTo>
                              <a:pt x="1396" y="2187"/>
                              <a:pt x="2791" y="2303"/>
                              <a:pt x="4164" y="2489"/>
                            </a:cubicBezTo>
                            <a:lnTo>
                              <a:pt x="4164" y="2466"/>
                            </a:lnTo>
                            <a:cubicBezTo>
                              <a:pt x="4187" y="1768"/>
                              <a:pt x="4001" y="1163"/>
                              <a:pt x="3699" y="721"/>
                            </a:cubicBezTo>
                            <a:cubicBezTo>
                              <a:pt x="3443" y="372"/>
                              <a:pt x="3094" y="116"/>
                              <a:pt x="2722" y="93"/>
                            </a:cubicBezTo>
                            <a:cubicBezTo>
                              <a:pt x="2349" y="46"/>
                              <a:pt x="2001" y="23"/>
                              <a:pt x="1652" y="0"/>
                            </a:cubicBezTo>
                            <a:cubicBezTo>
                              <a:pt x="1628" y="0"/>
                              <a:pt x="1605" y="0"/>
                              <a:pt x="1582" y="0"/>
                            </a:cubicBezTo>
                            <a:lnTo>
                              <a:pt x="1582" y="0"/>
                            </a:lnTo>
                            <a:lnTo>
                              <a:pt x="1535" y="0"/>
                            </a:lnTo>
                            <a:cubicBezTo>
                              <a:pt x="1465" y="0"/>
                              <a:pt x="1419" y="23"/>
                              <a:pt x="1372" y="23"/>
                            </a:cubicBezTo>
                            <a:close/>
                          </a:path>
                        </a:pathLst>
                      </a:custGeom>
                      <a:solidFill>
                        <a:srgbClr val="FAAB3C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796" name="Freeform: Shape 1795">
                        <a:extLst>
                          <a:ext uri="{FF2B5EF4-FFF2-40B4-BE49-F238E27FC236}">
                            <a16:creationId xmlns:a16="http://schemas.microsoft.com/office/drawing/2014/main" id="{3E16AEE9-3C75-40E2-B5F6-BA9FA3C0E71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14841" y="4174588"/>
                        <a:ext cx="2326" cy="2326"/>
                      </a:xfrm>
                      <a:custGeom>
                        <a:avLst/>
                        <a:gdLst>
                          <a:gd name="connsiteX0" fmla="*/ 4141 w 2326"/>
                          <a:gd name="connsiteY0" fmla="*/ 0 h 2326"/>
                          <a:gd name="connsiteX1" fmla="*/ 4141 w 2326"/>
                          <a:gd name="connsiteY1" fmla="*/ 0 h 2326"/>
                          <a:gd name="connsiteX2" fmla="*/ 3117 w 2326"/>
                          <a:gd name="connsiteY2" fmla="*/ 93 h 2326"/>
                          <a:gd name="connsiteX3" fmla="*/ 0 w 2326"/>
                          <a:gd name="connsiteY3" fmla="*/ 256 h 2326"/>
                          <a:gd name="connsiteX4" fmla="*/ 0 w 2326"/>
                          <a:gd name="connsiteY4" fmla="*/ 279 h 2326"/>
                          <a:gd name="connsiteX5" fmla="*/ 605 w 2326"/>
                          <a:gd name="connsiteY5" fmla="*/ 1977 h 2326"/>
                          <a:gd name="connsiteX6" fmla="*/ 651 w 2326"/>
                          <a:gd name="connsiteY6" fmla="*/ 2024 h 2326"/>
                          <a:gd name="connsiteX7" fmla="*/ 1117 w 2326"/>
                          <a:gd name="connsiteY7" fmla="*/ 2349 h 2326"/>
                          <a:gd name="connsiteX8" fmla="*/ 1117 w 2326"/>
                          <a:gd name="connsiteY8" fmla="*/ 2349 h 2326"/>
                          <a:gd name="connsiteX9" fmla="*/ 1559 w 2326"/>
                          <a:gd name="connsiteY9" fmla="*/ 2442 h 2326"/>
                          <a:gd name="connsiteX10" fmla="*/ 1559 w 2326"/>
                          <a:gd name="connsiteY10" fmla="*/ 2442 h 2326"/>
                          <a:gd name="connsiteX11" fmla="*/ 1605 w 2326"/>
                          <a:gd name="connsiteY11" fmla="*/ 2442 h 2326"/>
                          <a:gd name="connsiteX12" fmla="*/ 2675 w 2326"/>
                          <a:gd name="connsiteY12" fmla="*/ 2396 h 2326"/>
                          <a:gd name="connsiteX13" fmla="*/ 3606 w 2326"/>
                          <a:gd name="connsiteY13" fmla="*/ 1861 h 2326"/>
                          <a:gd name="connsiteX14" fmla="*/ 4164 w 2326"/>
                          <a:gd name="connsiteY14" fmla="*/ 70 h 2326"/>
                          <a:gd name="connsiteX15" fmla="*/ 4164 w 2326"/>
                          <a:gd name="connsiteY15" fmla="*/ 0 h 232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</a:cxnLst>
                        <a:rect l="l" t="t" r="r" b="b"/>
                        <a:pathLst>
                          <a:path w="2326" h="2326">
                            <a:moveTo>
                              <a:pt x="4141" y="0"/>
                            </a:moveTo>
                            <a:lnTo>
                              <a:pt x="4141" y="0"/>
                            </a:lnTo>
                            <a:cubicBezTo>
                              <a:pt x="3792" y="46"/>
                              <a:pt x="3443" y="46"/>
                              <a:pt x="3117" y="93"/>
                            </a:cubicBezTo>
                            <a:cubicBezTo>
                              <a:pt x="2070" y="186"/>
                              <a:pt x="1047" y="256"/>
                              <a:pt x="0" y="256"/>
                            </a:cubicBezTo>
                            <a:cubicBezTo>
                              <a:pt x="0" y="279"/>
                              <a:pt x="0" y="279"/>
                              <a:pt x="0" y="279"/>
                            </a:cubicBezTo>
                            <a:cubicBezTo>
                              <a:pt x="0" y="977"/>
                              <a:pt x="256" y="1582"/>
                              <a:pt x="605" y="1977"/>
                            </a:cubicBezTo>
                            <a:cubicBezTo>
                              <a:pt x="605" y="1977"/>
                              <a:pt x="628" y="2000"/>
                              <a:pt x="651" y="2024"/>
                            </a:cubicBezTo>
                            <a:cubicBezTo>
                              <a:pt x="791" y="2163"/>
                              <a:pt x="930" y="2280"/>
                              <a:pt x="1117" y="2349"/>
                            </a:cubicBezTo>
                            <a:lnTo>
                              <a:pt x="1117" y="2349"/>
                            </a:lnTo>
                            <a:cubicBezTo>
                              <a:pt x="1256" y="2396"/>
                              <a:pt x="1396" y="2442"/>
                              <a:pt x="1559" y="2442"/>
                            </a:cubicBezTo>
                            <a:lnTo>
                              <a:pt x="1559" y="2442"/>
                            </a:lnTo>
                            <a:lnTo>
                              <a:pt x="1605" y="2442"/>
                            </a:lnTo>
                            <a:cubicBezTo>
                              <a:pt x="1954" y="2442"/>
                              <a:pt x="2303" y="2419"/>
                              <a:pt x="2675" y="2396"/>
                            </a:cubicBezTo>
                            <a:cubicBezTo>
                              <a:pt x="3024" y="2373"/>
                              <a:pt x="3350" y="2163"/>
                              <a:pt x="3606" y="1861"/>
                            </a:cubicBezTo>
                            <a:cubicBezTo>
                              <a:pt x="3978" y="1419"/>
                              <a:pt x="4187" y="791"/>
                              <a:pt x="4164" y="70"/>
                            </a:cubicBezTo>
                            <a:lnTo>
                              <a:pt x="4164" y="0"/>
                            </a:lnTo>
                            <a:close/>
                          </a:path>
                        </a:pathLst>
                      </a:custGeom>
                      <a:solidFill>
                        <a:srgbClr val="FAAB3C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797" name="Freeform: Shape 1796">
                        <a:extLst>
                          <a:ext uri="{FF2B5EF4-FFF2-40B4-BE49-F238E27FC236}">
                            <a16:creationId xmlns:a16="http://schemas.microsoft.com/office/drawing/2014/main" id="{BC2B89AE-A803-45FE-B956-3E638C73E4B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10444" y="4027411"/>
                        <a:ext cx="2326" cy="2326"/>
                      </a:xfrm>
                      <a:custGeom>
                        <a:avLst/>
                        <a:gdLst>
                          <a:gd name="connsiteX0" fmla="*/ 2024 w 2326"/>
                          <a:gd name="connsiteY0" fmla="*/ 70 h 2326"/>
                          <a:gd name="connsiteX1" fmla="*/ 1955 w 2326"/>
                          <a:gd name="connsiteY1" fmla="*/ 70 h 2326"/>
                          <a:gd name="connsiteX2" fmla="*/ 1489 w 2326"/>
                          <a:gd name="connsiteY2" fmla="*/ 93 h 2326"/>
                          <a:gd name="connsiteX3" fmla="*/ 1 w 2326"/>
                          <a:gd name="connsiteY3" fmla="*/ 2419 h 2326"/>
                          <a:gd name="connsiteX4" fmla="*/ 1 w 2326"/>
                          <a:gd name="connsiteY4" fmla="*/ 2443 h 2326"/>
                          <a:gd name="connsiteX5" fmla="*/ 1 w 2326"/>
                          <a:gd name="connsiteY5" fmla="*/ 2443 h 2326"/>
                          <a:gd name="connsiteX6" fmla="*/ 4164 w 2326"/>
                          <a:gd name="connsiteY6" fmla="*/ 2187 h 2326"/>
                          <a:gd name="connsiteX7" fmla="*/ 4164 w 2326"/>
                          <a:gd name="connsiteY7" fmla="*/ 2187 h 2326"/>
                          <a:gd name="connsiteX8" fmla="*/ 4164 w 2326"/>
                          <a:gd name="connsiteY8" fmla="*/ 2163 h 2326"/>
                          <a:gd name="connsiteX9" fmla="*/ 2908 w 2326"/>
                          <a:gd name="connsiteY9" fmla="*/ 47 h 2326"/>
                          <a:gd name="connsiteX10" fmla="*/ 2629 w 2326"/>
                          <a:gd name="connsiteY10" fmla="*/ 0 h 2326"/>
                          <a:gd name="connsiteX11" fmla="*/ 2559 w 2326"/>
                          <a:gd name="connsiteY11" fmla="*/ 0 h 2326"/>
                          <a:gd name="connsiteX12" fmla="*/ 2024 w 2326"/>
                          <a:gd name="connsiteY12" fmla="*/ 70 h 232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</a:cxnLst>
                        <a:rect l="l" t="t" r="r" b="b"/>
                        <a:pathLst>
                          <a:path w="2326" h="2326">
                            <a:moveTo>
                              <a:pt x="2024" y="70"/>
                            </a:moveTo>
                            <a:cubicBezTo>
                              <a:pt x="2001" y="70"/>
                              <a:pt x="1978" y="70"/>
                              <a:pt x="1955" y="70"/>
                            </a:cubicBezTo>
                            <a:cubicBezTo>
                              <a:pt x="1792" y="70"/>
                              <a:pt x="1652" y="93"/>
                              <a:pt x="1489" y="93"/>
                            </a:cubicBezTo>
                            <a:cubicBezTo>
                              <a:pt x="629" y="163"/>
                              <a:pt x="-23" y="1186"/>
                              <a:pt x="1" y="2419"/>
                            </a:cubicBezTo>
                            <a:lnTo>
                              <a:pt x="1" y="2443"/>
                            </a:lnTo>
                            <a:lnTo>
                              <a:pt x="1" y="2443"/>
                            </a:lnTo>
                            <a:cubicBezTo>
                              <a:pt x="1373" y="2280"/>
                              <a:pt x="2769" y="2187"/>
                              <a:pt x="4164" y="2187"/>
                            </a:cubicBezTo>
                            <a:lnTo>
                              <a:pt x="4164" y="2187"/>
                            </a:lnTo>
                            <a:lnTo>
                              <a:pt x="4164" y="2163"/>
                            </a:lnTo>
                            <a:cubicBezTo>
                              <a:pt x="4141" y="1093"/>
                              <a:pt x="3606" y="233"/>
                              <a:pt x="2908" y="47"/>
                            </a:cubicBezTo>
                            <a:cubicBezTo>
                              <a:pt x="2815" y="23"/>
                              <a:pt x="2722" y="0"/>
                              <a:pt x="2629" y="0"/>
                            </a:cubicBezTo>
                            <a:cubicBezTo>
                              <a:pt x="2629" y="0"/>
                              <a:pt x="2583" y="0"/>
                              <a:pt x="2559" y="0"/>
                            </a:cubicBezTo>
                            <a:cubicBezTo>
                              <a:pt x="2373" y="47"/>
                              <a:pt x="2187" y="70"/>
                              <a:pt x="2024" y="70"/>
                            </a:cubicBezTo>
                            <a:close/>
                          </a:path>
                        </a:pathLst>
                      </a:custGeom>
                      <a:solidFill>
                        <a:srgbClr val="FAAB3C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798" name="Freeform: Shape 1797">
                        <a:extLst>
                          <a:ext uri="{FF2B5EF4-FFF2-40B4-BE49-F238E27FC236}">
                            <a16:creationId xmlns:a16="http://schemas.microsoft.com/office/drawing/2014/main" id="{EE302A86-9F41-4E94-979E-4E82631DEDD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09605" y="4174495"/>
                        <a:ext cx="2326" cy="2326"/>
                      </a:xfrm>
                      <a:custGeom>
                        <a:avLst/>
                        <a:gdLst>
                          <a:gd name="connsiteX0" fmla="*/ 1468 w 2326"/>
                          <a:gd name="connsiteY0" fmla="*/ 2373 h 2326"/>
                          <a:gd name="connsiteX1" fmla="*/ 2538 w 2326"/>
                          <a:gd name="connsiteY1" fmla="*/ 2466 h 2326"/>
                          <a:gd name="connsiteX2" fmla="*/ 2608 w 2326"/>
                          <a:gd name="connsiteY2" fmla="*/ 2466 h 2326"/>
                          <a:gd name="connsiteX3" fmla="*/ 4166 w 2326"/>
                          <a:gd name="connsiteY3" fmla="*/ 372 h 2326"/>
                          <a:gd name="connsiteX4" fmla="*/ 4166 w 2326"/>
                          <a:gd name="connsiteY4" fmla="*/ 349 h 2326"/>
                          <a:gd name="connsiteX5" fmla="*/ 2073 w 2326"/>
                          <a:gd name="connsiteY5" fmla="*/ 233 h 2326"/>
                          <a:gd name="connsiteX6" fmla="*/ 2 w 2326"/>
                          <a:gd name="connsiteY6" fmla="*/ 0 h 2326"/>
                          <a:gd name="connsiteX7" fmla="*/ 2 w 2326"/>
                          <a:gd name="connsiteY7" fmla="*/ 0 h 2326"/>
                          <a:gd name="connsiteX8" fmla="*/ 2 w 2326"/>
                          <a:gd name="connsiteY8" fmla="*/ 46 h 2326"/>
                          <a:gd name="connsiteX9" fmla="*/ 1468 w 2326"/>
                          <a:gd name="connsiteY9" fmla="*/ 2373 h 232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</a:cxnLst>
                        <a:rect l="l" t="t" r="r" b="b"/>
                        <a:pathLst>
                          <a:path w="2326" h="2326">
                            <a:moveTo>
                              <a:pt x="1468" y="2373"/>
                            </a:moveTo>
                            <a:cubicBezTo>
                              <a:pt x="1817" y="2396"/>
                              <a:pt x="2166" y="2419"/>
                              <a:pt x="2538" y="2466"/>
                            </a:cubicBezTo>
                            <a:lnTo>
                              <a:pt x="2608" y="2466"/>
                            </a:lnTo>
                            <a:cubicBezTo>
                              <a:pt x="3445" y="2466"/>
                              <a:pt x="4120" y="1559"/>
                              <a:pt x="4166" y="372"/>
                            </a:cubicBezTo>
                            <a:lnTo>
                              <a:pt x="4166" y="349"/>
                            </a:lnTo>
                            <a:cubicBezTo>
                              <a:pt x="3468" y="326"/>
                              <a:pt x="2770" y="279"/>
                              <a:pt x="2073" y="233"/>
                            </a:cubicBezTo>
                            <a:cubicBezTo>
                              <a:pt x="1375" y="163"/>
                              <a:pt x="677" y="93"/>
                              <a:pt x="2" y="0"/>
                            </a:cubicBezTo>
                            <a:lnTo>
                              <a:pt x="2" y="0"/>
                            </a:lnTo>
                            <a:cubicBezTo>
                              <a:pt x="2" y="0"/>
                              <a:pt x="2" y="23"/>
                              <a:pt x="2" y="46"/>
                            </a:cubicBezTo>
                            <a:cubicBezTo>
                              <a:pt x="-44" y="1233"/>
                              <a:pt x="607" y="2280"/>
                              <a:pt x="1468" y="2373"/>
                            </a:cubicBezTo>
                            <a:close/>
                          </a:path>
                        </a:pathLst>
                      </a:custGeom>
                      <a:solidFill>
                        <a:srgbClr val="FAAB3C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799" name="Freeform: Shape 1798">
                        <a:extLst>
                          <a:ext uri="{FF2B5EF4-FFF2-40B4-BE49-F238E27FC236}">
                            <a16:creationId xmlns:a16="http://schemas.microsoft.com/office/drawing/2014/main" id="{83049FF2-7C62-497B-9FD1-0C42599E485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05260" y="4028062"/>
                        <a:ext cx="2326" cy="2326"/>
                      </a:xfrm>
                      <a:custGeom>
                        <a:avLst/>
                        <a:gdLst>
                          <a:gd name="connsiteX0" fmla="*/ 4161 w 2326"/>
                          <a:gd name="connsiteY0" fmla="*/ 1931 h 2326"/>
                          <a:gd name="connsiteX1" fmla="*/ 4161 w 2326"/>
                          <a:gd name="connsiteY1" fmla="*/ 1931 h 2326"/>
                          <a:gd name="connsiteX2" fmla="*/ 2603 w 2326"/>
                          <a:gd name="connsiteY2" fmla="*/ 0 h 2326"/>
                          <a:gd name="connsiteX3" fmla="*/ 2393 w 2326"/>
                          <a:gd name="connsiteY3" fmla="*/ 23 h 2326"/>
                          <a:gd name="connsiteX4" fmla="*/ 1323 w 2326"/>
                          <a:gd name="connsiteY4" fmla="*/ 256 h 2326"/>
                          <a:gd name="connsiteX5" fmla="*/ 21 w 2326"/>
                          <a:gd name="connsiteY5" fmla="*/ 2768 h 2326"/>
                          <a:gd name="connsiteX6" fmla="*/ 21 w 2326"/>
                          <a:gd name="connsiteY6" fmla="*/ 2791 h 2326"/>
                          <a:gd name="connsiteX7" fmla="*/ 2068 w 2326"/>
                          <a:gd name="connsiteY7" fmla="*/ 2326 h 2326"/>
                          <a:gd name="connsiteX8" fmla="*/ 4138 w 2326"/>
                          <a:gd name="connsiteY8" fmla="*/ 1954 h 2326"/>
                          <a:gd name="connsiteX9" fmla="*/ 4138 w 2326"/>
                          <a:gd name="connsiteY9" fmla="*/ 1931 h 232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</a:cxnLst>
                        <a:rect l="l" t="t" r="r" b="b"/>
                        <a:pathLst>
                          <a:path w="2326" h="2326">
                            <a:moveTo>
                              <a:pt x="4161" y="1931"/>
                            </a:moveTo>
                            <a:lnTo>
                              <a:pt x="4161" y="1931"/>
                            </a:lnTo>
                            <a:cubicBezTo>
                              <a:pt x="4045" y="814"/>
                              <a:pt x="3394" y="0"/>
                              <a:pt x="2603" y="0"/>
                            </a:cubicBezTo>
                            <a:cubicBezTo>
                              <a:pt x="2533" y="0"/>
                              <a:pt x="2463" y="0"/>
                              <a:pt x="2393" y="23"/>
                            </a:cubicBezTo>
                            <a:cubicBezTo>
                              <a:pt x="2044" y="93"/>
                              <a:pt x="1696" y="163"/>
                              <a:pt x="1323" y="256"/>
                            </a:cubicBezTo>
                            <a:cubicBezTo>
                              <a:pt x="463" y="442"/>
                              <a:pt x="-119" y="1559"/>
                              <a:pt x="21" y="2768"/>
                            </a:cubicBezTo>
                            <a:lnTo>
                              <a:pt x="21" y="2791"/>
                            </a:lnTo>
                            <a:cubicBezTo>
                              <a:pt x="695" y="2629"/>
                              <a:pt x="1370" y="2466"/>
                              <a:pt x="2068" y="2326"/>
                            </a:cubicBezTo>
                            <a:cubicBezTo>
                              <a:pt x="2766" y="2187"/>
                              <a:pt x="3463" y="2070"/>
                              <a:pt x="4138" y="1954"/>
                            </a:cubicBezTo>
                            <a:lnTo>
                              <a:pt x="4138" y="1931"/>
                            </a:lnTo>
                            <a:close/>
                          </a:path>
                        </a:pathLst>
                      </a:custGeom>
                      <a:solidFill>
                        <a:srgbClr val="FAAB3C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800" name="Freeform: Shape 1799">
                        <a:extLst>
                          <a:ext uri="{FF2B5EF4-FFF2-40B4-BE49-F238E27FC236}">
                            <a16:creationId xmlns:a16="http://schemas.microsoft.com/office/drawing/2014/main" id="{1E51F5CE-0D38-4BB4-BFB9-695281C9620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04443" y="4173401"/>
                        <a:ext cx="2326" cy="2326"/>
                      </a:xfrm>
                      <a:custGeom>
                        <a:avLst/>
                        <a:gdLst>
                          <a:gd name="connsiteX0" fmla="*/ 23 w 2326"/>
                          <a:gd name="connsiteY0" fmla="*/ 0 h 2326"/>
                          <a:gd name="connsiteX1" fmla="*/ 23 w 2326"/>
                          <a:gd name="connsiteY1" fmla="*/ 0 h 2326"/>
                          <a:gd name="connsiteX2" fmla="*/ 0 w 2326"/>
                          <a:gd name="connsiteY2" fmla="*/ 558 h 2326"/>
                          <a:gd name="connsiteX3" fmla="*/ 23 w 2326"/>
                          <a:gd name="connsiteY3" fmla="*/ 744 h 2326"/>
                          <a:gd name="connsiteX4" fmla="*/ 93 w 2326"/>
                          <a:gd name="connsiteY4" fmla="*/ 1093 h 2326"/>
                          <a:gd name="connsiteX5" fmla="*/ 93 w 2326"/>
                          <a:gd name="connsiteY5" fmla="*/ 1117 h 2326"/>
                          <a:gd name="connsiteX6" fmla="*/ 1303 w 2326"/>
                          <a:gd name="connsiteY6" fmla="*/ 2582 h 2326"/>
                          <a:gd name="connsiteX7" fmla="*/ 2373 w 2326"/>
                          <a:gd name="connsiteY7" fmla="*/ 2815 h 2326"/>
                          <a:gd name="connsiteX8" fmla="*/ 2605 w 2326"/>
                          <a:gd name="connsiteY8" fmla="*/ 2838 h 2326"/>
                          <a:gd name="connsiteX9" fmla="*/ 4117 w 2326"/>
                          <a:gd name="connsiteY9" fmla="*/ 1117 h 2326"/>
                          <a:gd name="connsiteX10" fmla="*/ 4164 w 2326"/>
                          <a:gd name="connsiteY10" fmla="*/ 954 h 2326"/>
                          <a:gd name="connsiteX11" fmla="*/ 4164 w 2326"/>
                          <a:gd name="connsiteY11" fmla="*/ 930 h 2326"/>
                          <a:gd name="connsiteX12" fmla="*/ 4164 w 2326"/>
                          <a:gd name="connsiteY12" fmla="*/ 930 h 2326"/>
                          <a:gd name="connsiteX13" fmla="*/ 23 w 2326"/>
                          <a:gd name="connsiteY13" fmla="*/ 0 h 2326"/>
                          <a:gd name="connsiteX14" fmla="*/ 23 w 2326"/>
                          <a:gd name="connsiteY14" fmla="*/ 0 h 2326"/>
                          <a:gd name="connsiteX15" fmla="*/ 23 w 2326"/>
                          <a:gd name="connsiteY15" fmla="*/ 0 h 232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</a:cxnLst>
                        <a:rect l="l" t="t" r="r" b="b"/>
                        <a:pathLst>
                          <a:path w="2326" h="2326">
                            <a:moveTo>
                              <a:pt x="23" y="0"/>
                            </a:moveTo>
                            <a:lnTo>
                              <a:pt x="23" y="0"/>
                            </a:lnTo>
                            <a:cubicBezTo>
                              <a:pt x="0" y="209"/>
                              <a:pt x="0" y="372"/>
                              <a:pt x="0" y="558"/>
                            </a:cubicBezTo>
                            <a:cubicBezTo>
                              <a:pt x="0" y="628"/>
                              <a:pt x="23" y="698"/>
                              <a:pt x="23" y="744"/>
                            </a:cubicBezTo>
                            <a:cubicBezTo>
                              <a:pt x="47" y="861"/>
                              <a:pt x="70" y="977"/>
                              <a:pt x="93" y="1093"/>
                            </a:cubicBezTo>
                            <a:lnTo>
                              <a:pt x="93" y="1117"/>
                            </a:lnTo>
                            <a:cubicBezTo>
                              <a:pt x="279" y="1861"/>
                              <a:pt x="721" y="2442"/>
                              <a:pt x="1303" y="2582"/>
                            </a:cubicBezTo>
                            <a:cubicBezTo>
                              <a:pt x="1652" y="2652"/>
                              <a:pt x="2000" y="2745"/>
                              <a:pt x="2373" y="2815"/>
                            </a:cubicBezTo>
                            <a:lnTo>
                              <a:pt x="2605" y="2838"/>
                            </a:lnTo>
                            <a:cubicBezTo>
                              <a:pt x="3326" y="2838"/>
                              <a:pt x="3931" y="2117"/>
                              <a:pt x="4117" y="1117"/>
                            </a:cubicBezTo>
                            <a:cubicBezTo>
                              <a:pt x="4117" y="1070"/>
                              <a:pt x="4141" y="1000"/>
                              <a:pt x="4164" y="954"/>
                            </a:cubicBezTo>
                            <a:lnTo>
                              <a:pt x="4164" y="930"/>
                            </a:lnTo>
                            <a:lnTo>
                              <a:pt x="4164" y="930"/>
                            </a:lnTo>
                            <a:cubicBezTo>
                              <a:pt x="2768" y="675"/>
                              <a:pt x="1396" y="372"/>
                              <a:pt x="23" y="0"/>
                            </a:cubicBezTo>
                            <a:lnTo>
                              <a:pt x="23" y="0"/>
                            </a:lnTo>
                            <a:lnTo>
                              <a:pt x="23" y="0"/>
                            </a:lnTo>
                            <a:close/>
                          </a:path>
                        </a:pathLst>
                      </a:custGeom>
                      <a:solidFill>
                        <a:srgbClr val="FAAB3C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801" name="Freeform: Shape 1800">
                        <a:extLst>
                          <a:ext uri="{FF2B5EF4-FFF2-40B4-BE49-F238E27FC236}">
                            <a16:creationId xmlns:a16="http://schemas.microsoft.com/office/drawing/2014/main" id="{36729C3F-71C1-4967-BBBB-42494547324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95190" y="4031482"/>
                        <a:ext cx="2326" cy="2326"/>
                      </a:xfrm>
                      <a:custGeom>
                        <a:avLst/>
                        <a:gdLst>
                          <a:gd name="connsiteX0" fmla="*/ 3902 w 2326"/>
                          <a:gd name="connsiteY0" fmla="*/ 1093 h 2326"/>
                          <a:gd name="connsiteX1" fmla="*/ 2577 w 2326"/>
                          <a:gd name="connsiteY1" fmla="*/ 0 h 2326"/>
                          <a:gd name="connsiteX2" fmla="*/ 2042 w 2326"/>
                          <a:gd name="connsiteY2" fmla="*/ 116 h 2326"/>
                          <a:gd name="connsiteX3" fmla="*/ 1018 w 2326"/>
                          <a:gd name="connsiteY3" fmla="*/ 651 h 2326"/>
                          <a:gd name="connsiteX4" fmla="*/ 111 w 2326"/>
                          <a:gd name="connsiteY4" fmla="*/ 3489 h 2326"/>
                          <a:gd name="connsiteX5" fmla="*/ 111 w 2326"/>
                          <a:gd name="connsiteY5" fmla="*/ 3536 h 2326"/>
                          <a:gd name="connsiteX6" fmla="*/ 111 w 2326"/>
                          <a:gd name="connsiteY6" fmla="*/ 3536 h 2326"/>
                          <a:gd name="connsiteX7" fmla="*/ 2042 w 2326"/>
                          <a:gd name="connsiteY7" fmla="*/ 2466 h 2326"/>
                          <a:gd name="connsiteX8" fmla="*/ 4019 w 2326"/>
                          <a:gd name="connsiteY8" fmla="*/ 1512 h 2326"/>
                          <a:gd name="connsiteX9" fmla="*/ 4019 w 2326"/>
                          <a:gd name="connsiteY9" fmla="*/ 1489 h 2326"/>
                          <a:gd name="connsiteX10" fmla="*/ 3902 w 2326"/>
                          <a:gd name="connsiteY10" fmla="*/ 1093 h 232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</a:cxnLst>
                        <a:rect l="l" t="t" r="r" b="b"/>
                        <a:pathLst>
                          <a:path w="2326" h="2326">
                            <a:moveTo>
                              <a:pt x="3902" y="1093"/>
                            </a:moveTo>
                            <a:cubicBezTo>
                              <a:pt x="3623" y="419"/>
                              <a:pt x="3135" y="0"/>
                              <a:pt x="2577" y="0"/>
                            </a:cubicBezTo>
                            <a:cubicBezTo>
                              <a:pt x="2414" y="0"/>
                              <a:pt x="2228" y="47"/>
                              <a:pt x="2042" y="116"/>
                            </a:cubicBezTo>
                            <a:cubicBezTo>
                              <a:pt x="1716" y="279"/>
                              <a:pt x="1367" y="442"/>
                              <a:pt x="1018" y="651"/>
                            </a:cubicBezTo>
                            <a:cubicBezTo>
                              <a:pt x="204" y="1070"/>
                              <a:pt x="-215" y="2349"/>
                              <a:pt x="111" y="3489"/>
                            </a:cubicBezTo>
                            <a:lnTo>
                              <a:pt x="111" y="3536"/>
                            </a:lnTo>
                            <a:lnTo>
                              <a:pt x="111" y="3536"/>
                            </a:lnTo>
                            <a:cubicBezTo>
                              <a:pt x="762" y="3164"/>
                              <a:pt x="1390" y="2815"/>
                              <a:pt x="2042" y="2466"/>
                            </a:cubicBezTo>
                            <a:cubicBezTo>
                              <a:pt x="2693" y="2140"/>
                              <a:pt x="3344" y="1814"/>
                              <a:pt x="4019" y="1512"/>
                            </a:cubicBezTo>
                            <a:cubicBezTo>
                              <a:pt x="4019" y="1512"/>
                              <a:pt x="4019" y="1489"/>
                              <a:pt x="4019" y="1489"/>
                            </a:cubicBezTo>
                            <a:cubicBezTo>
                              <a:pt x="4019" y="1349"/>
                              <a:pt x="3972" y="1233"/>
                              <a:pt x="3902" y="1093"/>
                            </a:cubicBezTo>
                            <a:close/>
                          </a:path>
                        </a:pathLst>
                      </a:custGeom>
                      <a:solidFill>
                        <a:srgbClr val="FAAB3C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802" name="Freeform: Shape 1801">
                        <a:extLst>
                          <a:ext uri="{FF2B5EF4-FFF2-40B4-BE49-F238E27FC236}">
                            <a16:creationId xmlns:a16="http://schemas.microsoft.com/office/drawing/2014/main" id="{B19391F6-80F6-42E4-B46F-6996E3DDD54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94441" y="4169005"/>
                        <a:ext cx="2326" cy="2326"/>
                      </a:xfrm>
                      <a:custGeom>
                        <a:avLst/>
                        <a:gdLst>
                          <a:gd name="connsiteX0" fmla="*/ 116 w 2326"/>
                          <a:gd name="connsiteY0" fmla="*/ 0 h 2326"/>
                          <a:gd name="connsiteX1" fmla="*/ 116 w 2326"/>
                          <a:gd name="connsiteY1" fmla="*/ 0 h 2326"/>
                          <a:gd name="connsiteX2" fmla="*/ 47 w 2326"/>
                          <a:gd name="connsiteY2" fmla="*/ 395 h 2326"/>
                          <a:gd name="connsiteX3" fmla="*/ 0 w 2326"/>
                          <a:gd name="connsiteY3" fmla="*/ 837 h 2326"/>
                          <a:gd name="connsiteX4" fmla="*/ 209 w 2326"/>
                          <a:gd name="connsiteY4" fmla="*/ 1884 h 2326"/>
                          <a:gd name="connsiteX5" fmla="*/ 465 w 2326"/>
                          <a:gd name="connsiteY5" fmla="*/ 2396 h 2326"/>
                          <a:gd name="connsiteX6" fmla="*/ 512 w 2326"/>
                          <a:gd name="connsiteY6" fmla="*/ 2442 h 2326"/>
                          <a:gd name="connsiteX7" fmla="*/ 605 w 2326"/>
                          <a:gd name="connsiteY7" fmla="*/ 2536 h 2326"/>
                          <a:gd name="connsiteX8" fmla="*/ 977 w 2326"/>
                          <a:gd name="connsiteY8" fmla="*/ 2884 h 2326"/>
                          <a:gd name="connsiteX9" fmla="*/ 2001 w 2326"/>
                          <a:gd name="connsiteY9" fmla="*/ 3419 h 2326"/>
                          <a:gd name="connsiteX10" fmla="*/ 2536 w 2326"/>
                          <a:gd name="connsiteY10" fmla="*/ 3582 h 2326"/>
                          <a:gd name="connsiteX11" fmla="*/ 3838 w 2326"/>
                          <a:gd name="connsiteY11" fmla="*/ 2536 h 2326"/>
                          <a:gd name="connsiteX12" fmla="*/ 4001 w 2326"/>
                          <a:gd name="connsiteY12" fmla="*/ 2117 h 2326"/>
                          <a:gd name="connsiteX13" fmla="*/ 4001 w 2326"/>
                          <a:gd name="connsiteY13" fmla="*/ 2094 h 2326"/>
                          <a:gd name="connsiteX14" fmla="*/ 2024 w 2326"/>
                          <a:gd name="connsiteY14" fmla="*/ 1093 h 2326"/>
                          <a:gd name="connsiteX15" fmla="*/ 116 w 2326"/>
                          <a:gd name="connsiteY15" fmla="*/ 0 h 2326"/>
                          <a:gd name="connsiteX16" fmla="*/ 116 w 2326"/>
                          <a:gd name="connsiteY16" fmla="*/ 0 h 2326"/>
                          <a:gd name="connsiteX17" fmla="*/ 116 w 2326"/>
                          <a:gd name="connsiteY17" fmla="*/ 0 h 232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</a:cxnLst>
                        <a:rect l="l" t="t" r="r" b="b"/>
                        <a:pathLst>
                          <a:path w="2326" h="2326">
                            <a:moveTo>
                              <a:pt x="116" y="0"/>
                            </a:moveTo>
                            <a:lnTo>
                              <a:pt x="116" y="0"/>
                            </a:lnTo>
                            <a:cubicBezTo>
                              <a:pt x="70" y="140"/>
                              <a:pt x="70" y="279"/>
                              <a:pt x="47" y="395"/>
                            </a:cubicBezTo>
                            <a:cubicBezTo>
                              <a:pt x="23" y="535"/>
                              <a:pt x="0" y="698"/>
                              <a:pt x="0" y="837"/>
                            </a:cubicBezTo>
                            <a:cubicBezTo>
                              <a:pt x="0" y="1210"/>
                              <a:pt x="93" y="1558"/>
                              <a:pt x="209" y="1884"/>
                            </a:cubicBezTo>
                            <a:cubicBezTo>
                              <a:pt x="279" y="2070"/>
                              <a:pt x="349" y="2233"/>
                              <a:pt x="465" y="2396"/>
                            </a:cubicBezTo>
                            <a:cubicBezTo>
                              <a:pt x="465" y="2419"/>
                              <a:pt x="488" y="2419"/>
                              <a:pt x="512" y="2442"/>
                            </a:cubicBezTo>
                            <a:cubicBezTo>
                              <a:pt x="535" y="2489"/>
                              <a:pt x="582" y="2489"/>
                              <a:pt x="605" y="2536"/>
                            </a:cubicBezTo>
                            <a:cubicBezTo>
                              <a:pt x="721" y="2675"/>
                              <a:pt x="837" y="2815"/>
                              <a:pt x="977" y="2884"/>
                            </a:cubicBezTo>
                            <a:cubicBezTo>
                              <a:pt x="1326" y="3070"/>
                              <a:pt x="1652" y="3257"/>
                              <a:pt x="2001" y="3419"/>
                            </a:cubicBezTo>
                            <a:cubicBezTo>
                              <a:pt x="2163" y="3512"/>
                              <a:pt x="2373" y="3582"/>
                              <a:pt x="2536" y="3582"/>
                            </a:cubicBezTo>
                            <a:cubicBezTo>
                              <a:pt x="3071" y="3582"/>
                              <a:pt x="3559" y="3187"/>
                              <a:pt x="3838" y="2536"/>
                            </a:cubicBezTo>
                            <a:cubicBezTo>
                              <a:pt x="3885" y="2396"/>
                              <a:pt x="3954" y="2280"/>
                              <a:pt x="4001" y="2117"/>
                            </a:cubicBezTo>
                            <a:lnTo>
                              <a:pt x="4001" y="2094"/>
                            </a:lnTo>
                            <a:cubicBezTo>
                              <a:pt x="3350" y="1768"/>
                              <a:pt x="2675" y="1442"/>
                              <a:pt x="2024" y="1093"/>
                            </a:cubicBezTo>
                            <a:cubicBezTo>
                              <a:pt x="1396" y="744"/>
                              <a:pt x="768" y="372"/>
                              <a:pt x="116" y="0"/>
                            </a:cubicBezTo>
                            <a:lnTo>
                              <a:pt x="116" y="0"/>
                            </a:lnTo>
                            <a:lnTo>
                              <a:pt x="116" y="0"/>
                            </a:lnTo>
                            <a:close/>
                          </a:path>
                        </a:pathLst>
                      </a:custGeom>
                      <a:solidFill>
                        <a:srgbClr val="FAAB3C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803" name="Freeform: Shape 1802">
                        <a:extLst>
                          <a:ext uri="{FF2B5EF4-FFF2-40B4-BE49-F238E27FC236}">
                            <a16:creationId xmlns:a16="http://schemas.microsoft.com/office/drawing/2014/main" id="{9F3C242D-FE90-483A-8D69-A667FAA034F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90478" y="4034273"/>
                        <a:ext cx="2326" cy="2326"/>
                      </a:xfrm>
                      <a:custGeom>
                        <a:avLst/>
                        <a:gdLst>
                          <a:gd name="connsiteX0" fmla="*/ 3660 w 2326"/>
                          <a:gd name="connsiteY0" fmla="*/ 744 h 2326"/>
                          <a:gd name="connsiteX1" fmla="*/ 2497 w 2326"/>
                          <a:gd name="connsiteY1" fmla="*/ 0 h 2326"/>
                          <a:gd name="connsiteX2" fmla="*/ 1822 w 2326"/>
                          <a:gd name="connsiteY2" fmla="*/ 209 h 2326"/>
                          <a:gd name="connsiteX3" fmla="*/ 845 w 2326"/>
                          <a:gd name="connsiteY3" fmla="*/ 884 h 2326"/>
                          <a:gd name="connsiteX4" fmla="*/ 403 w 2326"/>
                          <a:gd name="connsiteY4" fmla="*/ 1372 h 2326"/>
                          <a:gd name="connsiteX5" fmla="*/ 310 w 2326"/>
                          <a:gd name="connsiteY5" fmla="*/ 1535 h 2326"/>
                          <a:gd name="connsiteX6" fmla="*/ 101 w 2326"/>
                          <a:gd name="connsiteY6" fmla="*/ 2070 h 2326"/>
                          <a:gd name="connsiteX7" fmla="*/ 54 w 2326"/>
                          <a:gd name="connsiteY7" fmla="*/ 2233 h 2326"/>
                          <a:gd name="connsiteX8" fmla="*/ 8 w 2326"/>
                          <a:gd name="connsiteY8" fmla="*/ 2652 h 2326"/>
                          <a:gd name="connsiteX9" fmla="*/ 147 w 2326"/>
                          <a:gd name="connsiteY9" fmla="*/ 3861 h 2326"/>
                          <a:gd name="connsiteX10" fmla="*/ 147 w 2326"/>
                          <a:gd name="connsiteY10" fmla="*/ 3885 h 2326"/>
                          <a:gd name="connsiteX11" fmla="*/ 147 w 2326"/>
                          <a:gd name="connsiteY11" fmla="*/ 3885 h 2326"/>
                          <a:gd name="connsiteX12" fmla="*/ 3893 w 2326"/>
                          <a:gd name="connsiteY12" fmla="*/ 1326 h 2326"/>
                          <a:gd name="connsiteX13" fmla="*/ 3893 w 2326"/>
                          <a:gd name="connsiteY13" fmla="*/ 1303 h 2326"/>
                          <a:gd name="connsiteX14" fmla="*/ 3660 w 2326"/>
                          <a:gd name="connsiteY14" fmla="*/ 744 h 232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</a:cxnLst>
                        <a:rect l="l" t="t" r="r" b="b"/>
                        <a:pathLst>
                          <a:path w="2326" h="2326">
                            <a:moveTo>
                              <a:pt x="3660" y="744"/>
                            </a:moveTo>
                            <a:cubicBezTo>
                              <a:pt x="3358" y="256"/>
                              <a:pt x="2939" y="0"/>
                              <a:pt x="2497" y="0"/>
                            </a:cubicBezTo>
                            <a:cubicBezTo>
                              <a:pt x="2264" y="0"/>
                              <a:pt x="2055" y="70"/>
                              <a:pt x="1822" y="209"/>
                            </a:cubicBezTo>
                            <a:cubicBezTo>
                              <a:pt x="1497" y="442"/>
                              <a:pt x="1171" y="651"/>
                              <a:pt x="845" y="884"/>
                            </a:cubicBezTo>
                            <a:cubicBezTo>
                              <a:pt x="682" y="1000"/>
                              <a:pt x="520" y="1186"/>
                              <a:pt x="403" y="1372"/>
                            </a:cubicBezTo>
                            <a:cubicBezTo>
                              <a:pt x="380" y="1419"/>
                              <a:pt x="357" y="1489"/>
                              <a:pt x="310" y="1535"/>
                            </a:cubicBezTo>
                            <a:cubicBezTo>
                              <a:pt x="217" y="1698"/>
                              <a:pt x="147" y="1861"/>
                              <a:pt x="101" y="2070"/>
                            </a:cubicBezTo>
                            <a:cubicBezTo>
                              <a:pt x="78" y="2117"/>
                              <a:pt x="78" y="2163"/>
                              <a:pt x="54" y="2233"/>
                            </a:cubicBezTo>
                            <a:cubicBezTo>
                              <a:pt x="31" y="2373"/>
                              <a:pt x="31" y="2512"/>
                              <a:pt x="8" y="2652"/>
                            </a:cubicBezTo>
                            <a:cubicBezTo>
                              <a:pt x="-15" y="3071"/>
                              <a:pt x="8" y="3466"/>
                              <a:pt x="147" y="3861"/>
                            </a:cubicBezTo>
                            <a:cubicBezTo>
                              <a:pt x="147" y="3885"/>
                              <a:pt x="147" y="3885"/>
                              <a:pt x="147" y="3885"/>
                            </a:cubicBezTo>
                            <a:lnTo>
                              <a:pt x="147" y="3885"/>
                            </a:lnTo>
                            <a:cubicBezTo>
                              <a:pt x="1380" y="2977"/>
                              <a:pt x="2613" y="2094"/>
                              <a:pt x="3893" y="1326"/>
                            </a:cubicBezTo>
                            <a:lnTo>
                              <a:pt x="3893" y="1303"/>
                            </a:lnTo>
                            <a:cubicBezTo>
                              <a:pt x="3846" y="1070"/>
                              <a:pt x="3753" y="884"/>
                              <a:pt x="3660" y="744"/>
                            </a:cubicBezTo>
                            <a:close/>
                          </a:path>
                        </a:pathLst>
                      </a:custGeom>
                      <a:solidFill>
                        <a:srgbClr val="FAAB3C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804" name="Freeform: Shape 1803">
                        <a:extLst>
                          <a:ext uri="{FF2B5EF4-FFF2-40B4-BE49-F238E27FC236}">
                            <a16:creationId xmlns:a16="http://schemas.microsoft.com/office/drawing/2014/main" id="{F0A725C9-897B-482F-9D28-88AE13C51A4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85935" y="4037716"/>
                        <a:ext cx="2326" cy="2326"/>
                      </a:xfrm>
                      <a:custGeom>
                        <a:avLst/>
                        <a:gdLst>
                          <a:gd name="connsiteX0" fmla="*/ 3784 w 2326"/>
                          <a:gd name="connsiteY0" fmla="*/ 1070 h 2326"/>
                          <a:gd name="connsiteX1" fmla="*/ 3318 w 2326"/>
                          <a:gd name="connsiteY1" fmla="*/ 395 h 2326"/>
                          <a:gd name="connsiteX2" fmla="*/ 2435 w 2326"/>
                          <a:gd name="connsiteY2" fmla="*/ 0 h 2326"/>
                          <a:gd name="connsiteX3" fmla="*/ 1620 w 2326"/>
                          <a:gd name="connsiteY3" fmla="*/ 326 h 2326"/>
                          <a:gd name="connsiteX4" fmla="*/ 1527 w 2326"/>
                          <a:gd name="connsiteY4" fmla="*/ 419 h 2326"/>
                          <a:gd name="connsiteX5" fmla="*/ 713 w 2326"/>
                          <a:gd name="connsiteY5" fmla="*/ 1117 h 2326"/>
                          <a:gd name="connsiteX6" fmla="*/ 132 w 2326"/>
                          <a:gd name="connsiteY6" fmla="*/ 2163 h 2326"/>
                          <a:gd name="connsiteX7" fmla="*/ 39 w 2326"/>
                          <a:gd name="connsiteY7" fmla="*/ 2489 h 2326"/>
                          <a:gd name="connsiteX8" fmla="*/ 39 w 2326"/>
                          <a:gd name="connsiteY8" fmla="*/ 2559 h 2326"/>
                          <a:gd name="connsiteX9" fmla="*/ 15 w 2326"/>
                          <a:gd name="connsiteY9" fmla="*/ 3326 h 2326"/>
                          <a:gd name="connsiteX10" fmla="*/ 248 w 2326"/>
                          <a:gd name="connsiteY10" fmla="*/ 4164 h 2326"/>
                          <a:gd name="connsiteX11" fmla="*/ 271 w 2326"/>
                          <a:gd name="connsiteY11" fmla="*/ 4210 h 2326"/>
                          <a:gd name="connsiteX12" fmla="*/ 271 w 2326"/>
                          <a:gd name="connsiteY12" fmla="*/ 4210 h 2326"/>
                          <a:gd name="connsiteX13" fmla="*/ 3505 w 2326"/>
                          <a:gd name="connsiteY13" fmla="*/ 1372 h 2326"/>
                          <a:gd name="connsiteX14" fmla="*/ 3830 w 2326"/>
                          <a:gd name="connsiteY14" fmla="*/ 1117 h 2326"/>
                          <a:gd name="connsiteX15" fmla="*/ 3830 w 2326"/>
                          <a:gd name="connsiteY15" fmla="*/ 1117 h 2326"/>
                          <a:gd name="connsiteX16" fmla="*/ 3784 w 2326"/>
                          <a:gd name="connsiteY16" fmla="*/ 1070 h 232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</a:cxnLst>
                        <a:rect l="l" t="t" r="r" b="b"/>
                        <a:pathLst>
                          <a:path w="2326" h="2326">
                            <a:moveTo>
                              <a:pt x="3784" y="1070"/>
                            </a:moveTo>
                            <a:cubicBezTo>
                              <a:pt x="3667" y="791"/>
                              <a:pt x="3505" y="582"/>
                              <a:pt x="3318" y="395"/>
                            </a:cubicBezTo>
                            <a:cubicBezTo>
                              <a:pt x="3039" y="140"/>
                              <a:pt x="2760" y="0"/>
                              <a:pt x="2435" y="0"/>
                            </a:cubicBezTo>
                            <a:cubicBezTo>
                              <a:pt x="2155" y="0"/>
                              <a:pt x="1876" y="93"/>
                              <a:pt x="1620" y="326"/>
                            </a:cubicBezTo>
                            <a:cubicBezTo>
                              <a:pt x="1597" y="349"/>
                              <a:pt x="1574" y="372"/>
                              <a:pt x="1527" y="419"/>
                            </a:cubicBezTo>
                            <a:cubicBezTo>
                              <a:pt x="1248" y="651"/>
                              <a:pt x="992" y="884"/>
                              <a:pt x="713" y="1117"/>
                            </a:cubicBezTo>
                            <a:cubicBezTo>
                              <a:pt x="434" y="1372"/>
                              <a:pt x="248" y="1745"/>
                              <a:pt x="132" y="2163"/>
                            </a:cubicBezTo>
                            <a:cubicBezTo>
                              <a:pt x="108" y="2280"/>
                              <a:pt x="62" y="2373"/>
                              <a:pt x="39" y="2489"/>
                            </a:cubicBezTo>
                            <a:cubicBezTo>
                              <a:pt x="39" y="2512"/>
                              <a:pt x="39" y="2536"/>
                              <a:pt x="39" y="2559"/>
                            </a:cubicBezTo>
                            <a:cubicBezTo>
                              <a:pt x="-8" y="2815"/>
                              <a:pt x="-8" y="3070"/>
                              <a:pt x="15" y="3326"/>
                            </a:cubicBezTo>
                            <a:cubicBezTo>
                              <a:pt x="62" y="3606"/>
                              <a:pt x="132" y="3908"/>
                              <a:pt x="248" y="4164"/>
                            </a:cubicBezTo>
                            <a:lnTo>
                              <a:pt x="271" y="4210"/>
                            </a:lnTo>
                            <a:lnTo>
                              <a:pt x="271" y="4210"/>
                            </a:lnTo>
                            <a:cubicBezTo>
                              <a:pt x="1318" y="3210"/>
                              <a:pt x="2411" y="2280"/>
                              <a:pt x="3505" y="1372"/>
                            </a:cubicBezTo>
                            <a:cubicBezTo>
                              <a:pt x="3598" y="1303"/>
                              <a:pt x="3714" y="1210"/>
                              <a:pt x="3830" y="1117"/>
                            </a:cubicBezTo>
                            <a:lnTo>
                              <a:pt x="3830" y="1117"/>
                            </a:lnTo>
                            <a:lnTo>
                              <a:pt x="3784" y="1070"/>
                            </a:lnTo>
                            <a:close/>
                          </a:path>
                        </a:pathLst>
                      </a:custGeom>
                      <a:solidFill>
                        <a:srgbClr val="FAAB3C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805" name="Freeform: Shape 1804">
                        <a:extLst>
                          <a:ext uri="{FF2B5EF4-FFF2-40B4-BE49-F238E27FC236}">
                            <a16:creationId xmlns:a16="http://schemas.microsoft.com/office/drawing/2014/main" id="{61B45872-CF6B-4D53-A37E-29CBF8B88A5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81042" y="4157397"/>
                        <a:ext cx="2326" cy="2326"/>
                      </a:xfrm>
                      <a:custGeom>
                        <a:avLst/>
                        <a:gdLst>
                          <a:gd name="connsiteX0" fmla="*/ 326 w 2326"/>
                          <a:gd name="connsiteY0" fmla="*/ 0 h 2326"/>
                          <a:gd name="connsiteX1" fmla="*/ 93 w 2326"/>
                          <a:gd name="connsiteY1" fmla="*/ 605 h 2326"/>
                          <a:gd name="connsiteX2" fmla="*/ 23 w 2326"/>
                          <a:gd name="connsiteY2" fmla="*/ 930 h 2326"/>
                          <a:gd name="connsiteX3" fmla="*/ 0 w 2326"/>
                          <a:gd name="connsiteY3" fmla="*/ 1419 h 2326"/>
                          <a:gd name="connsiteX4" fmla="*/ 0 w 2326"/>
                          <a:gd name="connsiteY4" fmla="*/ 1721 h 2326"/>
                          <a:gd name="connsiteX5" fmla="*/ 93 w 2326"/>
                          <a:gd name="connsiteY5" fmla="*/ 2233 h 2326"/>
                          <a:gd name="connsiteX6" fmla="*/ 186 w 2326"/>
                          <a:gd name="connsiteY6" fmla="*/ 2512 h 2326"/>
                          <a:gd name="connsiteX7" fmla="*/ 535 w 2326"/>
                          <a:gd name="connsiteY7" fmla="*/ 3117 h 2326"/>
                          <a:gd name="connsiteX8" fmla="*/ 1372 w 2326"/>
                          <a:gd name="connsiteY8" fmla="*/ 4048 h 2326"/>
                          <a:gd name="connsiteX9" fmla="*/ 1768 w 2326"/>
                          <a:gd name="connsiteY9" fmla="*/ 4350 h 2326"/>
                          <a:gd name="connsiteX10" fmla="*/ 2163 w 2326"/>
                          <a:gd name="connsiteY10" fmla="*/ 4466 h 2326"/>
                          <a:gd name="connsiteX11" fmla="*/ 2163 w 2326"/>
                          <a:gd name="connsiteY11" fmla="*/ 4466 h 2326"/>
                          <a:gd name="connsiteX12" fmla="*/ 2326 w 2326"/>
                          <a:gd name="connsiteY12" fmla="*/ 4513 h 2326"/>
                          <a:gd name="connsiteX13" fmla="*/ 2559 w 2326"/>
                          <a:gd name="connsiteY13" fmla="*/ 4466 h 2326"/>
                          <a:gd name="connsiteX14" fmla="*/ 3559 w 2326"/>
                          <a:gd name="connsiteY14" fmla="*/ 3652 h 2326"/>
                          <a:gd name="connsiteX15" fmla="*/ 3582 w 2326"/>
                          <a:gd name="connsiteY15" fmla="*/ 3629 h 2326"/>
                          <a:gd name="connsiteX16" fmla="*/ 1931 w 2326"/>
                          <a:gd name="connsiteY16" fmla="*/ 1838 h 2326"/>
                          <a:gd name="connsiteX17" fmla="*/ 326 w 2326"/>
                          <a:gd name="connsiteY17" fmla="*/ 0 h 2326"/>
                          <a:gd name="connsiteX18" fmla="*/ 326 w 2326"/>
                          <a:gd name="connsiteY18" fmla="*/ 0 h 2326"/>
                          <a:gd name="connsiteX19" fmla="*/ 326 w 2326"/>
                          <a:gd name="connsiteY19" fmla="*/ 0 h 2326"/>
                          <a:gd name="connsiteX20" fmla="*/ 326 w 2326"/>
                          <a:gd name="connsiteY20" fmla="*/ 0 h 232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</a:cxnLst>
                        <a:rect l="l" t="t" r="r" b="b"/>
                        <a:pathLst>
                          <a:path w="2326" h="2326">
                            <a:moveTo>
                              <a:pt x="326" y="0"/>
                            </a:moveTo>
                            <a:cubicBezTo>
                              <a:pt x="209" y="186"/>
                              <a:pt x="163" y="395"/>
                              <a:pt x="93" y="605"/>
                            </a:cubicBezTo>
                            <a:cubicBezTo>
                              <a:pt x="70" y="721"/>
                              <a:pt x="47" y="814"/>
                              <a:pt x="23" y="930"/>
                            </a:cubicBezTo>
                            <a:cubicBezTo>
                              <a:pt x="0" y="1093"/>
                              <a:pt x="0" y="1256"/>
                              <a:pt x="0" y="1419"/>
                            </a:cubicBezTo>
                            <a:cubicBezTo>
                              <a:pt x="0" y="1512"/>
                              <a:pt x="0" y="1628"/>
                              <a:pt x="0" y="1721"/>
                            </a:cubicBezTo>
                            <a:cubicBezTo>
                              <a:pt x="23" y="1907"/>
                              <a:pt x="47" y="2070"/>
                              <a:pt x="93" y="2233"/>
                            </a:cubicBezTo>
                            <a:cubicBezTo>
                              <a:pt x="116" y="2326"/>
                              <a:pt x="163" y="2419"/>
                              <a:pt x="186" y="2512"/>
                            </a:cubicBezTo>
                            <a:cubicBezTo>
                              <a:pt x="279" y="2722"/>
                              <a:pt x="395" y="2954"/>
                              <a:pt x="535" y="3117"/>
                            </a:cubicBezTo>
                            <a:cubicBezTo>
                              <a:pt x="791" y="3443"/>
                              <a:pt x="1093" y="3745"/>
                              <a:pt x="1372" y="4048"/>
                            </a:cubicBezTo>
                            <a:cubicBezTo>
                              <a:pt x="1512" y="4187"/>
                              <a:pt x="1628" y="4280"/>
                              <a:pt x="1768" y="4350"/>
                            </a:cubicBezTo>
                            <a:cubicBezTo>
                              <a:pt x="1884" y="4420"/>
                              <a:pt x="2024" y="4466"/>
                              <a:pt x="2163" y="4466"/>
                            </a:cubicBezTo>
                            <a:lnTo>
                              <a:pt x="2163" y="4466"/>
                            </a:lnTo>
                            <a:cubicBezTo>
                              <a:pt x="2210" y="4466"/>
                              <a:pt x="2280" y="4513"/>
                              <a:pt x="2326" y="4513"/>
                            </a:cubicBezTo>
                            <a:cubicBezTo>
                              <a:pt x="2396" y="4513"/>
                              <a:pt x="2489" y="4489"/>
                              <a:pt x="2559" y="4466"/>
                            </a:cubicBezTo>
                            <a:cubicBezTo>
                              <a:pt x="2931" y="4373"/>
                              <a:pt x="3303" y="4117"/>
                              <a:pt x="3559" y="3652"/>
                            </a:cubicBezTo>
                            <a:cubicBezTo>
                              <a:pt x="3559" y="3652"/>
                              <a:pt x="3559" y="3629"/>
                              <a:pt x="3582" y="3629"/>
                            </a:cubicBezTo>
                            <a:cubicBezTo>
                              <a:pt x="3024" y="3047"/>
                              <a:pt x="2466" y="2466"/>
                              <a:pt x="1931" y="1838"/>
                            </a:cubicBezTo>
                            <a:cubicBezTo>
                              <a:pt x="1396" y="1233"/>
                              <a:pt x="861" y="605"/>
                              <a:pt x="326" y="0"/>
                            </a:cubicBezTo>
                            <a:lnTo>
                              <a:pt x="326" y="0"/>
                            </a:lnTo>
                            <a:lnTo>
                              <a:pt x="326" y="0"/>
                            </a:lnTo>
                            <a:lnTo>
                              <a:pt x="326" y="0"/>
                            </a:lnTo>
                            <a:close/>
                          </a:path>
                        </a:pathLst>
                      </a:custGeom>
                      <a:solidFill>
                        <a:srgbClr val="FAAB3C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806" name="Freeform: Shape 1805">
                        <a:extLst>
                          <a:ext uri="{FF2B5EF4-FFF2-40B4-BE49-F238E27FC236}">
                            <a16:creationId xmlns:a16="http://schemas.microsoft.com/office/drawing/2014/main" id="{4F7525B8-2663-43A8-964A-1B2E46CE3CE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77762" y="4046509"/>
                        <a:ext cx="2326" cy="4652"/>
                      </a:xfrm>
                      <a:custGeom>
                        <a:avLst/>
                        <a:gdLst>
                          <a:gd name="connsiteX0" fmla="*/ 3466 w 2326"/>
                          <a:gd name="connsiteY0" fmla="*/ 721 h 4652"/>
                          <a:gd name="connsiteX1" fmla="*/ 2303 w 2326"/>
                          <a:gd name="connsiteY1" fmla="*/ 0 h 4652"/>
                          <a:gd name="connsiteX2" fmla="*/ 2303 w 2326"/>
                          <a:gd name="connsiteY2" fmla="*/ 0 h 4652"/>
                          <a:gd name="connsiteX3" fmla="*/ 1256 w 2326"/>
                          <a:gd name="connsiteY3" fmla="*/ 582 h 4652"/>
                          <a:gd name="connsiteX4" fmla="*/ 465 w 2326"/>
                          <a:gd name="connsiteY4" fmla="*/ 1605 h 4652"/>
                          <a:gd name="connsiteX5" fmla="*/ 0 w 2326"/>
                          <a:gd name="connsiteY5" fmla="*/ 3187 h 4652"/>
                          <a:gd name="connsiteX6" fmla="*/ 47 w 2326"/>
                          <a:gd name="connsiteY6" fmla="*/ 3675 h 4652"/>
                          <a:gd name="connsiteX7" fmla="*/ 419 w 2326"/>
                          <a:gd name="connsiteY7" fmla="*/ 4745 h 4652"/>
                          <a:gd name="connsiteX8" fmla="*/ 419 w 2326"/>
                          <a:gd name="connsiteY8" fmla="*/ 4745 h 4652"/>
                          <a:gd name="connsiteX9" fmla="*/ 419 w 2326"/>
                          <a:gd name="connsiteY9" fmla="*/ 4745 h 4652"/>
                          <a:gd name="connsiteX10" fmla="*/ 419 w 2326"/>
                          <a:gd name="connsiteY10" fmla="*/ 4745 h 4652"/>
                          <a:gd name="connsiteX11" fmla="*/ 3466 w 2326"/>
                          <a:gd name="connsiteY11" fmla="*/ 721 h 4652"/>
                          <a:gd name="connsiteX12" fmla="*/ 3466 w 2326"/>
                          <a:gd name="connsiteY12" fmla="*/ 721 h 4652"/>
                          <a:gd name="connsiteX13" fmla="*/ 3466 w 2326"/>
                          <a:gd name="connsiteY13" fmla="*/ 721 h 465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</a:cxnLst>
                        <a:rect l="l" t="t" r="r" b="b"/>
                        <a:pathLst>
                          <a:path w="2326" h="4652">
                            <a:moveTo>
                              <a:pt x="3466" y="721"/>
                            </a:moveTo>
                            <a:cubicBezTo>
                              <a:pt x="3140" y="233"/>
                              <a:pt x="2722" y="0"/>
                              <a:pt x="2303" y="0"/>
                            </a:cubicBezTo>
                            <a:lnTo>
                              <a:pt x="2303" y="0"/>
                            </a:lnTo>
                            <a:cubicBezTo>
                              <a:pt x="1931" y="0"/>
                              <a:pt x="1559" y="186"/>
                              <a:pt x="1256" y="582"/>
                            </a:cubicBezTo>
                            <a:cubicBezTo>
                              <a:pt x="977" y="930"/>
                              <a:pt x="721" y="1279"/>
                              <a:pt x="465" y="1605"/>
                            </a:cubicBezTo>
                            <a:cubicBezTo>
                              <a:pt x="140" y="2047"/>
                              <a:pt x="0" y="2629"/>
                              <a:pt x="0" y="3187"/>
                            </a:cubicBezTo>
                            <a:cubicBezTo>
                              <a:pt x="0" y="3350"/>
                              <a:pt x="23" y="3512"/>
                              <a:pt x="47" y="3675"/>
                            </a:cubicBezTo>
                            <a:cubicBezTo>
                              <a:pt x="93" y="4048"/>
                              <a:pt x="209" y="4420"/>
                              <a:pt x="419" y="4745"/>
                            </a:cubicBezTo>
                            <a:lnTo>
                              <a:pt x="419" y="4745"/>
                            </a:lnTo>
                            <a:lnTo>
                              <a:pt x="419" y="4745"/>
                            </a:lnTo>
                            <a:lnTo>
                              <a:pt x="419" y="4745"/>
                            </a:lnTo>
                            <a:cubicBezTo>
                              <a:pt x="1396" y="3350"/>
                              <a:pt x="2419" y="2000"/>
                              <a:pt x="3466" y="721"/>
                            </a:cubicBezTo>
                            <a:lnTo>
                              <a:pt x="3466" y="721"/>
                            </a:lnTo>
                            <a:lnTo>
                              <a:pt x="3466" y="721"/>
                            </a:lnTo>
                            <a:close/>
                          </a:path>
                        </a:pathLst>
                      </a:custGeom>
                      <a:solidFill>
                        <a:srgbClr val="FAAB3C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807" name="Freeform: Shape 1806">
                        <a:extLst>
                          <a:ext uri="{FF2B5EF4-FFF2-40B4-BE49-F238E27FC236}">
                            <a16:creationId xmlns:a16="http://schemas.microsoft.com/office/drawing/2014/main" id="{C2465686-2734-41B0-B242-2D50B36E2CD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77135" y="4152303"/>
                        <a:ext cx="2326" cy="4652"/>
                      </a:xfrm>
                      <a:custGeom>
                        <a:avLst/>
                        <a:gdLst>
                          <a:gd name="connsiteX0" fmla="*/ 464 w 2326"/>
                          <a:gd name="connsiteY0" fmla="*/ 0 h 4652"/>
                          <a:gd name="connsiteX1" fmla="*/ 464 w 2326"/>
                          <a:gd name="connsiteY1" fmla="*/ 0 h 4652"/>
                          <a:gd name="connsiteX2" fmla="*/ 464 w 2326"/>
                          <a:gd name="connsiteY2" fmla="*/ 0 h 4652"/>
                          <a:gd name="connsiteX3" fmla="*/ 139 w 2326"/>
                          <a:gd name="connsiteY3" fmla="*/ 698 h 4652"/>
                          <a:gd name="connsiteX4" fmla="*/ 464 w 2326"/>
                          <a:gd name="connsiteY4" fmla="*/ 3164 h 4652"/>
                          <a:gd name="connsiteX5" fmla="*/ 1232 w 2326"/>
                          <a:gd name="connsiteY5" fmla="*/ 4210 h 4652"/>
                          <a:gd name="connsiteX6" fmla="*/ 2302 w 2326"/>
                          <a:gd name="connsiteY6" fmla="*/ 4815 h 4652"/>
                          <a:gd name="connsiteX7" fmla="*/ 2302 w 2326"/>
                          <a:gd name="connsiteY7" fmla="*/ 4815 h 4652"/>
                          <a:gd name="connsiteX8" fmla="*/ 3442 w 2326"/>
                          <a:gd name="connsiteY8" fmla="*/ 4117 h 4652"/>
                          <a:gd name="connsiteX9" fmla="*/ 3442 w 2326"/>
                          <a:gd name="connsiteY9" fmla="*/ 4094 h 4652"/>
                          <a:gd name="connsiteX10" fmla="*/ 3442 w 2326"/>
                          <a:gd name="connsiteY10" fmla="*/ 4094 h 4652"/>
                          <a:gd name="connsiteX11" fmla="*/ 2697 w 2326"/>
                          <a:gd name="connsiteY11" fmla="*/ 3094 h 4652"/>
                          <a:gd name="connsiteX12" fmla="*/ 1581 w 2326"/>
                          <a:gd name="connsiteY12" fmla="*/ 1605 h 4652"/>
                          <a:gd name="connsiteX13" fmla="*/ 464 w 2326"/>
                          <a:gd name="connsiteY13" fmla="*/ 0 h 465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</a:cxnLst>
                        <a:rect l="l" t="t" r="r" b="b"/>
                        <a:pathLst>
                          <a:path w="2326" h="4652">
                            <a:moveTo>
                              <a:pt x="464" y="0"/>
                            </a:moveTo>
                            <a:lnTo>
                              <a:pt x="464" y="0"/>
                            </a:lnTo>
                            <a:lnTo>
                              <a:pt x="464" y="0"/>
                            </a:lnTo>
                            <a:cubicBezTo>
                              <a:pt x="301" y="209"/>
                              <a:pt x="208" y="442"/>
                              <a:pt x="139" y="698"/>
                            </a:cubicBezTo>
                            <a:cubicBezTo>
                              <a:pt x="-117" y="1512"/>
                              <a:pt x="-24" y="2489"/>
                              <a:pt x="464" y="3164"/>
                            </a:cubicBezTo>
                            <a:cubicBezTo>
                              <a:pt x="720" y="3536"/>
                              <a:pt x="999" y="3861"/>
                              <a:pt x="1232" y="4210"/>
                            </a:cubicBezTo>
                            <a:cubicBezTo>
                              <a:pt x="1534" y="4629"/>
                              <a:pt x="1930" y="4815"/>
                              <a:pt x="2302" y="4815"/>
                            </a:cubicBezTo>
                            <a:lnTo>
                              <a:pt x="2302" y="4815"/>
                            </a:lnTo>
                            <a:cubicBezTo>
                              <a:pt x="2721" y="4815"/>
                              <a:pt x="3139" y="4583"/>
                              <a:pt x="3442" y="4117"/>
                            </a:cubicBezTo>
                            <a:lnTo>
                              <a:pt x="3442" y="4094"/>
                            </a:lnTo>
                            <a:lnTo>
                              <a:pt x="3442" y="4094"/>
                            </a:lnTo>
                            <a:cubicBezTo>
                              <a:pt x="3186" y="3768"/>
                              <a:pt x="2930" y="3419"/>
                              <a:pt x="2697" y="3094"/>
                            </a:cubicBezTo>
                            <a:cubicBezTo>
                              <a:pt x="2325" y="2605"/>
                              <a:pt x="1953" y="2117"/>
                              <a:pt x="1581" y="1605"/>
                            </a:cubicBezTo>
                            <a:cubicBezTo>
                              <a:pt x="1209" y="1093"/>
                              <a:pt x="836" y="558"/>
                              <a:pt x="464" y="0"/>
                            </a:cubicBezTo>
                            <a:close/>
                          </a:path>
                        </a:pathLst>
                      </a:custGeom>
                      <a:solidFill>
                        <a:srgbClr val="FAAB3C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808" name="Freeform: Shape 1807">
                        <a:extLst>
                          <a:ext uri="{FF2B5EF4-FFF2-40B4-BE49-F238E27FC236}">
                            <a16:creationId xmlns:a16="http://schemas.microsoft.com/office/drawing/2014/main" id="{7288DAF5-430D-4AAF-ADE7-68475D7D3D2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74177" y="4051743"/>
                        <a:ext cx="2326" cy="4652"/>
                      </a:xfrm>
                      <a:custGeom>
                        <a:avLst/>
                        <a:gdLst>
                          <a:gd name="connsiteX0" fmla="*/ 2236 w 2326"/>
                          <a:gd name="connsiteY0" fmla="*/ 0 h 4652"/>
                          <a:gd name="connsiteX1" fmla="*/ 2236 w 2326"/>
                          <a:gd name="connsiteY1" fmla="*/ 0 h 4652"/>
                          <a:gd name="connsiteX2" fmla="*/ 1538 w 2326"/>
                          <a:gd name="connsiteY2" fmla="*/ 233 h 4652"/>
                          <a:gd name="connsiteX3" fmla="*/ 1515 w 2326"/>
                          <a:gd name="connsiteY3" fmla="*/ 256 h 4652"/>
                          <a:gd name="connsiteX4" fmla="*/ 1073 w 2326"/>
                          <a:gd name="connsiteY4" fmla="*/ 744 h 4652"/>
                          <a:gd name="connsiteX5" fmla="*/ 375 w 2326"/>
                          <a:gd name="connsiteY5" fmla="*/ 1884 h 4652"/>
                          <a:gd name="connsiteX6" fmla="*/ 3 w 2326"/>
                          <a:gd name="connsiteY6" fmla="*/ 3536 h 4652"/>
                          <a:gd name="connsiteX7" fmla="*/ 96 w 2326"/>
                          <a:gd name="connsiteY7" fmla="*/ 4094 h 4652"/>
                          <a:gd name="connsiteX8" fmla="*/ 538 w 2326"/>
                          <a:gd name="connsiteY8" fmla="*/ 5001 h 4652"/>
                          <a:gd name="connsiteX9" fmla="*/ 561 w 2326"/>
                          <a:gd name="connsiteY9" fmla="*/ 5025 h 4652"/>
                          <a:gd name="connsiteX10" fmla="*/ 3306 w 2326"/>
                          <a:gd name="connsiteY10" fmla="*/ 582 h 4652"/>
                          <a:gd name="connsiteX11" fmla="*/ 3306 w 2326"/>
                          <a:gd name="connsiteY11" fmla="*/ 558 h 4652"/>
                          <a:gd name="connsiteX12" fmla="*/ 2236 w 2326"/>
                          <a:gd name="connsiteY12" fmla="*/ 0 h 465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</a:cxnLst>
                        <a:rect l="l" t="t" r="r" b="b"/>
                        <a:pathLst>
                          <a:path w="2326" h="4652">
                            <a:moveTo>
                              <a:pt x="2236" y="0"/>
                            </a:moveTo>
                            <a:lnTo>
                              <a:pt x="2236" y="0"/>
                            </a:lnTo>
                            <a:cubicBezTo>
                              <a:pt x="2003" y="0"/>
                              <a:pt x="1771" y="93"/>
                              <a:pt x="1538" y="233"/>
                            </a:cubicBezTo>
                            <a:lnTo>
                              <a:pt x="1515" y="256"/>
                            </a:lnTo>
                            <a:cubicBezTo>
                              <a:pt x="1352" y="372"/>
                              <a:pt x="1189" y="512"/>
                              <a:pt x="1073" y="744"/>
                            </a:cubicBezTo>
                            <a:cubicBezTo>
                              <a:pt x="840" y="1117"/>
                              <a:pt x="608" y="1489"/>
                              <a:pt x="375" y="1884"/>
                            </a:cubicBezTo>
                            <a:cubicBezTo>
                              <a:pt x="96" y="2373"/>
                              <a:pt x="-20" y="2954"/>
                              <a:pt x="3" y="3536"/>
                            </a:cubicBezTo>
                            <a:cubicBezTo>
                              <a:pt x="3" y="3722"/>
                              <a:pt x="49" y="3908"/>
                              <a:pt x="96" y="4094"/>
                            </a:cubicBezTo>
                            <a:cubicBezTo>
                              <a:pt x="189" y="4443"/>
                              <a:pt x="329" y="4769"/>
                              <a:pt x="538" y="5001"/>
                            </a:cubicBezTo>
                            <a:cubicBezTo>
                              <a:pt x="538" y="5001"/>
                              <a:pt x="538" y="5025"/>
                              <a:pt x="561" y="5025"/>
                            </a:cubicBezTo>
                            <a:cubicBezTo>
                              <a:pt x="1445" y="3489"/>
                              <a:pt x="2352" y="2024"/>
                              <a:pt x="3306" y="582"/>
                            </a:cubicBezTo>
                            <a:lnTo>
                              <a:pt x="3306" y="558"/>
                            </a:lnTo>
                            <a:cubicBezTo>
                              <a:pt x="2980" y="186"/>
                              <a:pt x="2608" y="0"/>
                              <a:pt x="2236" y="0"/>
                            </a:cubicBezTo>
                            <a:close/>
                          </a:path>
                        </a:pathLst>
                      </a:custGeom>
                      <a:solidFill>
                        <a:srgbClr val="FAAB3C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809" name="Freeform: Shape 1808">
                        <a:extLst>
                          <a:ext uri="{FF2B5EF4-FFF2-40B4-BE49-F238E27FC236}">
                            <a16:creationId xmlns:a16="http://schemas.microsoft.com/office/drawing/2014/main" id="{747B1B1E-C521-4249-AB88-39338FB4F58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73627" y="4146744"/>
                        <a:ext cx="2326" cy="4652"/>
                      </a:xfrm>
                      <a:custGeom>
                        <a:avLst/>
                        <a:gdLst>
                          <a:gd name="connsiteX0" fmla="*/ 157 w 2326"/>
                          <a:gd name="connsiteY0" fmla="*/ 768 h 4652"/>
                          <a:gd name="connsiteX1" fmla="*/ 157 w 2326"/>
                          <a:gd name="connsiteY1" fmla="*/ 768 h 4652"/>
                          <a:gd name="connsiteX2" fmla="*/ 367 w 2326"/>
                          <a:gd name="connsiteY2" fmla="*/ 3140 h 4652"/>
                          <a:gd name="connsiteX3" fmla="*/ 1065 w 2326"/>
                          <a:gd name="connsiteY3" fmla="*/ 4280 h 4652"/>
                          <a:gd name="connsiteX4" fmla="*/ 1925 w 2326"/>
                          <a:gd name="connsiteY4" fmla="*/ 5001 h 4652"/>
                          <a:gd name="connsiteX5" fmla="*/ 2251 w 2326"/>
                          <a:gd name="connsiteY5" fmla="*/ 5048 h 4652"/>
                          <a:gd name="connsiteX6" fmla="*/ 3275 w 2326"/>
                          <a:gd name="connsiteY6" fmla="*/ 4513 h 4652"/>
                          <a:gd name="connsiteX7" fmla="*/ 3275 w 2326"/>
                          <a:gd name="connsiteY7" fmla="*/ 4513 h 4652"/>
                          <a:gd name="connsiteX8" fmla="*/ 3275 w 2326"/>
                          <a:gd name="connsiteY8" fmla="*/ 4513 h 4652"/>
                          <a:gd name="connsiteX9" fmla="*/ 599 w 2326"/>
                          <a:gd name="connsiteY9" fmla="*/ 0 h 4652"/>
                          <a:gd name="connsiteX10" fmla="*/ 576 w 2326"/>
                          <a:gd name="connsiteY10" fmla="*/ 23 h 4652"/>
                          <a:gd name="connsiteX11" fmla="*/ 157 w 2326"/>
                          <a:gd name="connsiteY11" fmla="*/ 768 h 465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2326" h="4652">
                            <a:moveTo>
                              <a:pt x="157" y="768"/>
                            </a:moveTo>
                            <a:lnTo>
                              <a:pt x="157" y="768"/>
                            </a:lnTo>
                            <a:cubicBezTo>
                              <a:pt x="-98" y="1512"/>
                              <a:pt x="-52" y="2442"/>
                              <a:pt x="367" y="3140"/>
                            </a:cubicBezTo>
                            <a:cubicBezTo>
                              <a:pt x="599" y="3536"/>
                              <a:pt x="832" y="3931"/>
                              <a:pt x="1065" y="4280"/>
                            </a:cubicBezTo>
                            <a:cubicBezTo>
                              <a:pt x="1297" y="4676"/>
                              <a:pt x="1600" y="4908"/>
                              <a:pt x="1925" y="5001"/>
                            </a:cubicBezTo>
                            <a:cubicBezTo>
                              <a:pt x="2042" y="5025"/>
                              <a:pt x="2135" y="5048"/>
                              <a:pt x="2251" y="5048"/>
                            </a:cubicBezTo>
                            <a:cubicBezTo>
                              <a:pt x="2623" y="5048"/>
                              <a:pt x="2972" y="4885"/>
                              <a:pt x="3275" y="4513"/>
                            </a:cubicBezTo>
                            <a:lnTo>
                              <a:pt x="3275" y="4513"/>
                            </a:lnTo>
                            <a:lnTo>
                              <a:pt x="3275" y="4513"/>
                            </a:lnTo>
                            <a:cubicBezTo>
                              <a:pt x="2344" y="3071"/>
                              <a:pt x="1437" y="1558"/>
                              <a:pt x="599" y="0"/>
                            </a:cubicBezTo>
                            <a:cubicBezTo>
                              <a:pt x="576" y="0"/>
                              <a:pt x="576" y="23"/>
                              <a:pt x="576" y="23"/>
                            </a:cubicBezTo>
                            <a:cubicBezTo>
                              <a:pt x="367" y="233"/>
                              <a:pt x="250" y="488"/>
                              <a:pt x="157" y="768"/>
                            </a:cubicBezTo>
                            <a:close/>
                          </a:path>
                        </a:pathLst>
                      </a:custGeom>
                      <a:solidFill>
                        <a:srgbClr val="FAAB3C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810" name="Freeform: Shape 1809">
                        <a:extLst>
                          <a:ext uri="{FF2B5EF4-FFF2-40B4-BE49-F238E27FC236}">
                            <a16:creationId xmlns:a16="http://schemas.microsoft.com/office/drawing/2014/main" id="{0635B14F-D370-4784-82FE-7E91A63FFF8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71008" y="4057465"/>
                        <a:ext cx="2326" cy="4652"/>
                      </a:xfrm>
                      <a:custGeom>
                        <a:avLst/>
                        <a:gdLst>
                          <a:gd name="connsiteX0" fmla="*/ 2148 w 2326"/>
                          <a:gd name="connsiteY0" fmla="*/ 0 h 4652"/>
                          <a:gd name="connsiteX1" fmla="*/ 1823 w 2326"/>
                          <a:gd name="connsiteY1" fmla="*/ 46 h 4652"/>
                          <a:gd name="connsiteX2" fmla="*/ 1450 w 2326"/>
                          <a:gd name="connsiteY2" fmla="*/ 233 h 4652"/>
                          <a:gd name="connsiteX3" fmla="*/ 1241 w 2326"/>
                          <a:gd name="connsiteY3" fmla="*/ 419 h 4652"/>
                          <a:gd name="connsiteX4" fmla="*/ 1008 w 2326"/>
                          <a:gd name="connsiteY4" fmla="*/ 744 h 4652"/>
                          <a:gd name="connsiteX5" fmla="*/ 892 w 2326"/>
                          <a:gd name="connsiteY5" fmla="*/ 907 h 4652"/>
                          <a:gd name="connsiteX6" fmla="*/ 264 w 2326"/>
                          <a:gd name="connsiteY6" fmla="*/ 2140 h 4652"/>
                          <a:gd name="connsiteX7" fmla="*/ 31 w 2326"/>
                          <a:gd name="connsiteY7" fmla="*/ 2908 h 4652"/>
                          <a:gd name="connsiteX8" fmla="*/ 171 w 2326"/>
                          <a:gd name="connsiteY8" fmla="*/ 4327 h 4652"/>
                          <a:gd name="connsiteX9" fmla="*/ 194 w 2326"/>
                          <a:gd name="connsiteY9" fmla="*/ 4420 h 4652"/>
                          <a:gd name="connsiteX10" fmla="*/ 659 w 2326"/>
                          <a:gd name="connsiteY10" fmla="*/ 5211 h 4652"/>
                          <a:gd name="connsiteX11" fmla="*/ 683 w 2326"/>
                          <a:gd name="connsiteY11" fmla="*/ 5234 h 4652"/>
                          <a:gd name="connsiteX12" fmla="*/ 3102 w 2326"/>
                          <a:gd name="connsiteY12" fmla="*/ 442 h 4652"/>
                          <a:gd name="connsiteX13" fmla="*/ 3079 w 2326"/>
                          <a:gd name="connsiteY13" fmla="*/ 419 h 4652"/>
                          <a:gd name="connsiteX14" fmla="*/ 2148 w 2326"/>
                          <a:gd name="connsiteY14" fmla="*/ 0 h 465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</a:cxnLst>
                        <a:rect l="l" t="t" r="r" b="b"/>
                        <a:pathLst>
                          <a:path w="2326" h="4652">
                            <a:moveTo>
                              <a:pt x="2148" y="0"/>
                            </a:moveTo>
                            <a:cubicBezTo>
                              <a:pt x="2032" y="0"/>
                              <a:pt x="1939" y="23"/>
                              <a:pt x="1823" y="46"/>
                            </a:cubicBezTo>
                            <a:cubicBezTo>
                              <a:pt x="1683" y="93"/>
                              <a:pt x="1543" y="140"/>
                              <a:pt x="1450" y="233"/>
                            </a:cubicBezTo>
                            <a:cubicBezTo>
                              <a:pt x="1381" y="279"/>
                              <a:pt x="1311" y="349"/>
                              <a:pt x="1241" y="419"/>
                            </a:cubicBezTo>
                            <a:cubicBezTo>
                              <a:pt x="1148" y="512"/>
                              <a:pt x="1078" y="628"/>
                              <a:pt x="1008" y="744"/>
                            </a:cubicBezTo>
                            <a:cubicBezTo>
                              <a:pt x="962" y="814"/>
                              <a:pt x="939" y="861"/>
                              <a:pt x="892" y="907"/>
                            </a:cubicBezTo>
                            <a:cubicBezTo>
                              <a:pt x="683" y="1326"/>
                              <a:pt x="473" y="1721"/>
                              <a:pt x="264" y="2140"/>
                            </a:cubicBezTo>
                            <a:cubicBezTo>
                              <a:pt x="148" y="2373"/>
                              <a:pt x="78" y="2652"/>
                              <a:pt x="31" y="2908"/>
                            </a:cubicBezTo>
                            <a:cubicBezTo>
                              <a:pt x="-38" y="3396"/>
                              <a:pt x="8" y="3885"/>
                              <a:pt x="171" y="4327"/>
                            </a:cubicBezTo>
                            <a:cubicBezTo>
                              <a:pt x="171" y="4350"/>
                              <a:pt x="171" y="4396"/>
                              <a:pt x="194" y="4420"/>
                            </a:cubicBezTo>
                            <a:cubicBezTo>
                              <a:pt x="311" y="4722"/>
                              <a:pt x="450" y="5001"/>
                              <a:pt x="659" y="5211"/>
                            </a:cubicBezTo>
                            <a:lnTo>
                              <a:pt x="683" y="5234"/>
                            </a:lnTo>
                            <a:cubicBezTo>
                              <a:pt x="1450" y="3582"/>
                              <a:pt x="2241" y="1977"/>
                              <a:pt x="3102" y="442"/>
                            </a:cubicBezTo>
                            <a:lnTo>
                              <a:pt x="3079" y="419"/>
                            </a:lnTo>
                            <a:cubicBezTo>
                              <a:pt x="2776" y="140"/>
                              <a:pt x="2474" y="0"/>
                              <a:pt x="2148" y="0"/>
                            </a:cubicBezTo>
                            <a:close/>
                          </a:path>
                        </a:pathLst>
                      </a:custGeom>
                      <a:solidFill>
                        <a:srgbClr val="FAAB3C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811" name="Freeform: Shape 1810">
                        <a:extLst>
                          <a:ext uri="{FF2B5EF4-FFF2-40B4-BE49-F238E27FC236}">
                            <a16:creationId xmlns:a16="http://schemas.microsoft.com/office/drawing/2014/main" id="{DA5D1FB8-723B-4FAA-8DEE-C69E0CE75E9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70510" y="4140719"/>
                        <a:ext cx="2326" cy="4652"/>
                      </a:xfrm>
                      <a:custGeom>
                        <a:avLst/>
                        <a:gdLst>
                          <a:gd name="connsiteX0" fmla="*/ 17 w 2326"/>
                          <a:gd name="connsiteY0" fmla="*/ 1489 h 4652"/>
                          <a:gd name="connsiteX1" fmla="*/ 17 w 2326"/>
                          <a:gd name="connsiteY1" fmla="*/ 2140 h 4652"/>
                          <a:gd name="connsiteX2" fmla="*/ 250 w 2326"/>
                          <a:gd name="connsiteY2" fmla="*/ 3094 h 4652"/>
                          <a:gd name="connsiteX3" fmla="*/ 855 w 2326"/>
                          <a:gd name="connsiteY3" fmla="*/ 4327 h 4652"/>
                          <a:gd name="connsiteX4" fmla="*/ 1436 w 2326"/>
                          <a:gd name="connsiteY4" fmla="*/ 5025 h 4652"/>
                          <a:gd name="connsiteX5" fmla="*/ 2134 w 2326"/>
                          <a:gd name="connsiteY5" fmla="*/ 5257 h 4652"/>
                          <a:gd name="connsiteX6" fmla="*/ 2134 w 2326"/>
                          <a:gd name="connsiteY6" fmla="*/ 5257 h 4652"/>
                          <a:gd name="connsiteX7" fmla="*/ 3041 w 2326"/>
                          <a:gd name="connsiteY7" fmla="*/ 4862 h 4652"/>
                          <a:gd name="connsiteX8" fmla="*/ 3065 w 2326"/>
                          <a:gd name="connsiteY8" fmla="*/ 4862 h 4652"/>
                          <a:gd name="connsiteX9" fmla="*/ 715 w 2326"/>
                          <a:gd name="connsiteY9" fmla="*/ 0 h 4652"/>
                          <a:gd name="connsiteX10" fmla="*/ 715 w 2326"/>
                          <a:gd name="connsiteY10" fmla="*/ 0 h 4652"/>
                          <a:gd name="connsiteX11" fmla="*/ 692 w 2326"/>
                          <a:gd name="connsiteY11" fmla="*/ 23 h 4652"/>
                          <a:gd name="connsiteX12" fmla="*/ 17 w 2326"/>
                          <a:gd name="connsiteY12" fmla="*/ 1489 h 465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</a:cxnLst>
                        <a:rect l="l" t="t" r="r" b="b"/>
                        <a:pathLst>
                          <a:path w="2326" h="4652">
                            <a:moveTo>
                              <a:pt x="17" y="1489"/>
                            </a:moveTo>
                            <a:cubicBezTo>
                              <a:pt x="-6" y="1698"/>
                              <a:pt x="-6" y="1931"/>
                              <a:pt x="17" y="2140"/>
                            </a:cubicBezTo>
                            <a:cubicBezTo>
                              <a:pt x="41" y="2466"/>
                              <a:pt x="110" y="2791"/>
                              <a:pt x="250" y="3094"/>
                            </a:cubicBezTo>
                            <a:cubicBezTo>
                              <a:pt x="459" y="3512"/>
                              <a:pt x="669" y="3931"/>
                              <a:pt x="855" y="4327"/>
                            </a:cubicBezTo>
                            <a:cubicBezTo>
                              <a:pt x="1018" y="4652"/>
                              <a:pt x="1204" y="4862"/>
                              <a:pt x="1436" y="5025"/>
                            </a:cubicBezTo>
                            <a:cubicBezTo>
                              <a:pt x="1646" y="5187"/>
                              <a:pt x="1902" y="5257"/>
                              <a:pt x="2134" y="5257"/>
                            </a:cubicBezTo>
                            <a:lnTo>
                              <a:pt x="2134" y="5257"/>
                            </a:lnTo>
                            <a:cubicBezTo>
                              <a:pt x="2437" y="5257"/>
                              <a:pt x="2762" y="5141"/>
                              <a:pt x="3041" y="4862"/>
                            </a:cubicBezTo>
                            <a:lnTo>
                              <a:pt x="3065" y="4862"/>
                            </a:lnTo>
                            <a:cubicBezTo>
                              <a:pt x="2251" y="3280"/>
                              <a:pt x="1460" y="1652"/>
                              <a:pt x="715" y="0"/>
                            </a:cubicBezTo>
                            <a:lnTo>
                              <a:pt x="715" y="0"/>
                            </a:lnTo>
                            <a:lnTo>
                              <a:pt x="692" y="23"/>
                            </a:lnTo>
                            <a:cubicBezTo>
                              <a:pt x="320" y="372"/>
                              <a:pt x="87" y="907"/>
                              <a:pt x="17" y="1489"/>
                            </a:cubicBezTo>
                            <a:close/>
                          </a:path>
                        </a:pathLst>
                      </a:custGeom>
                      <a:solidFill>
                        <a:srgbClr val="FAAB3C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812" name="Freeform: Shape 1811">
                        <a:extLst>
                          <a:ext uri="{FF2B5EF4-FFF2-40B4-BE49-F238E27FC236}">
                            <a16:creationId xmlns:a16="http://schemas.microsoft.com/office/drawing/2014/main" id="{61347FCB-9FE2-4A33-9923-93532B8C349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68248" y="4063629"/>
                        <a:ext cx="2326" cy="4652"/>
                      </a:xfrm>
                      <a:custGeom>
                        <a:avLst/>
                        <a:gdLst>
                          <a:gd name="connsiteX0" fmla="*/ 2070 w 2326"/>
                          <a:gd name="connsiteY0" fmla="*/ 0 h 4652"/>
                          <a:gd name="connsiteX1" fmla="*/ 1698 w 2326"/>
                          <a:gd name="connsiteY1" fmla="*/ 70 h 4652"/>
                          <a:gd name="connsiteX2" fmla="*/ 1535 w 2326"/>
                          <a:gd name="connsiteY2" fmla="*/ 163 h 4652"/>
                          <a:gd name="connsiteX3" fmla="*/ 1326 w 2326"/>
                          <a:gd name="connsiteY3" fmla="*/ 279 h 4652"/>
                          <a:gd name="connsiteX4" fmla="*/ 721 w 2326"/>
                          <a:gd name="connsiteY4" fmla="*/ 1093 h 4652"/>
                          <a:gd name="connsiteX5" fmla="*/ 721 w 2326"/>
                          <a:gd name="connsiteY5" fmla="*/ 1117 h 4652"/>
                          <a:gd name="connsiteX6" fmla="*/ 186 w 2326"/>
                          <a:gd name="connsiteY6" fmla="*/ 2443 h 4652"/>
                          <a:gd name="connsiteX7" fmla="*/ 0 w 2326"/>
                          <a:gd name="connsiteY7" fmla="*/ 3233 h 4652"/>
                          <a:gd name="connsiteX8" fmla="*/ 0 w 2326"/>
                          <a:gd name="connsiteY8" fmla="*/ 3489 h 4652"/>
                          <a:gd name="connsiteX9" fmla="*/ 23 w 2326"/>
                          <a:gd name="connsiteY9" fmla="*/ 4024 h 4652"/>
                          <a:gd name="connsiteX10" fmla="*/ 93 w 2326"/>
                          <a:gd name="connsiteY10" fmla="*/ 4303 h 4652"/>
                          <a:gd name="connsiteX11" fmla="*/ 209 w 2326"/>
                          <a:gd name="connsiteY11" fmla="*/ 4629 h 4652"/>
                          <a:gd name="connsiteX12" fmla="*/ 395 w 2326"/>
                          <a:gd name="connsiteY12" fmla="*/ 4978 h 4652"/>
                          <a:gd name="connsiteX13" fmla="*/ 744 w 2326"/>
                          <a:gd name="connsiteY13" fmla="*/ 5420 h 4652"/>
                          <a:gd name="connsiteX14" fmla="*/ 744 w 2326"/>
                          <a:gd name="connsiteY14" fmla="*/ 5420 h 4652"/>
                          <a:gd name="connsiteX15" fmla="*/ 768 w 2326"/>
                          <a:gd name="connsiteY15" fmla="*/ 5443 h 4652"/>
                          <a:gd name="connsiteX16" fmla="*/ 2815 w 2326"/>
                          <a:gd name="connsiteY16" fmla="*/ 326 h 4652"/>
                          <a:gd name="connsiteX17" fmla="*/ 2815 w 2326"/>
                          <a:gd name="connsiteY17" fmla="*/ 326 h 4652"/>
                          <a:gd name="connsiteX18" fmla="*/ 2815 w 2326"/>
                          <a:gd name="connsiteY18" fmla="*/ 326 h 4652"/>
                          <a:gd name="connsiteX19" fmla="*/ 2070 w 2326"/>
                          <a:gd name="connsiteY19" fmla="*/ 0 h 465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</a:cxnLst>
                        <a:rect l="l" t="t" r="r" b="b"/>
                        <a:pathLst>
                          <a:path w="2326" h="4652">
                            <a:moveTo>
                              <a:pt x="2070" y="0"/>
                            </a:moveTo>
                            <a:cubicBezTo>
                              <a:pt x="1954" y="0"/>
                              <a:pt x="1814" y="23"/>
                              <a:pt x="1698" y="70"/>
                            </a:cubicBezTo>
                            <a:cubicBezTo>
                              <a:pt x="1628" y="93"/>
                              <a:pt x="1582" y="140"/>
                              <a:pt x="1535" y="163"/>
                            </a:cubicBezTo>
                            <a:cubicBezTo>
                              <a:pt x="1465" y="209"/>
                              <a:pt x="1396" y="209"/>
                              <a:pt x="1326" y="279"/>
                            </a:cubicBezTo>
                            <a:cubicBezTo>
                              <a:pt x="1093" y="465"/>
                              <a:pt x="884" y="721"/>
                              <a:pt x="721" y="1093"/>
                            </a:cubicBezTo>
                            <a:lnTo>
                              <a:pt x="721" y="1117"/>
                            </a:lnTo>
                            <a:cubicBezTo>
                              <a:pt x="535" y="1559"/>
                              <a:pt x="372" y="2001"/>
                              <a:pt x="186" y="2443"/>
                            </a:cubicBezTo>
                            <a:cubicBezTo>
                              <a:pt x="93" y="2698"/>
                              <a:pt x="23" y="2977"/>
                              <a:pt x="0" y="3233"/>
                            </a:cubicBezTo>
                            <a:cubicBezTo>
                              <a:pt x="0" y="3326"/>
                              <a:pt x="0" y="3419"/>
                              <a:pt x="0" y="3489"/>
                            </a:cubicBezTo>
                            <a:cubicBezTo>
                              <a:pt x="0" y="3675"/>
                              <a:pt x="0" y="3861"/>
                              <a:pt x="23" y="4024"/>
                            </a:cubicBezTo>
                            <a:cubicBezTo>
                              <a:pt x="47" y="4141"/>
                              <a:pt x="70" y="4210"/>
                              <a:pt x="93" y="4303"/>
                            </a:cubicBezTo>
                            <a:cubicBezTo>
                              <a:pt x="140" y="4420"/>
                              <a:pt x="163" y="4536"/>
                              <a:pt x="209" y="4629"/>
                            </a:cubicBezTo>
                            <a:cubicBezTo>
                              <a:pt x="256" y="4745"/>
                              <a:pt x="326" y="4862"/>
                              <a:pt x="395" y="4978"/>
                            </a:cubicBezTo>
                            <a:cubicBezTo>
                              <a:pt x="512" y="5141"/>
                              <a:pt x="605" y="5304"/>
                              <a:pt x="744" y="5420"/>
                            </a:cubicBezTo>
                            <a:lnTo>
                              <a:pt x="744" y="5420"/>
                            </a:lnTo>
                            <a:lnTo>
                              <a:pt x="768" y="5443"/>
                            </a:lnTo>
                            <a:cubicBezTo>
                              <a:pt x="1396" y="3699"/>
                              <a:pt x="2094" y="1977"/>
                              <a:pt x="2815" y="326"/>
                            </a:cubicBezTo>
                            <a:lnTo>
                              <a:pt x="2815" y="326"/>
                            </a:lnTo>
                            <a:lnTo>
                              <a:pt x="2815" y="326"/>
                            </a:lnTo>
                            <a:cubicBezTo>
                              <a:pt x="2605" y="93"/>
                              <a:pt x="2349" y="0"/>
                              <a:pt x="2070" y="0"/>
                            </a:cubicBezTo>
                            <a:close/>
                          </a:path>
                        </a:pathLst>
                      </a:custGeom>
                      <a:solidFill>
                        <a:srgbClr val="FAAB3C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813" name="Freeform: Shape 1812">
                        <a:extLst>
                          <a:ext uri="{FF2B5EF4-FFF2-40B4-BE49-F238E27FC236}">
                            <a16:creationId xmlns:a16="http://schemas.microsoft.com/office/drawing/2014/main" id="{E8F7D423-3314-40D1-ABEB-68C31366CF2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67843" y="4134345"/>
                        <a:ext cx="2326" cy="4652"/>
                      </a:xfrm>
                      <a:custGeom>
                        <a:avLst/>
                        <a:gdLst>
                          <a:gd name="connsiteX0" fmla="*/ 381 w 2326"/>
                          <a:gd name="connsiteY0" fmla="*/ 489 h 4652"/>
                          <a:gd name="connsiteX1" fmla="*/ 195 w 2326"/>
                          <a:gd name="connsiteY1" fmla="*/ 931 h 4652"/>
                          <a:gd name="connsiteX2" fmla="*/ 79 w 2326"/>
                          <a:gd name="connsiteY2" fmla="*/ 1210 h 4652"/>
                          <a:gd name="connsiteX3" fmla="*/ 56 w 2326"/>
                          <a:gd name="connsiteY3" fmla="*/ 1326 h 4652"/>
                          <a:gd name="connsiteX4" fmla="*/ 9 w 2326"/>
                          <a:gd name="connsiteY4" fmla="*/ 2094 h 4652"/>
                          <a:gd name="connsiteX5" fmla="*/ 195 w 2326"/>
                          <a:gd name="connsiteY5" fmla="*/ 2977 h 4652"/>
                          <a:gd name="connsiteX6" fmla="*/ 707 w 2326"/>
                          <a:gd name="connsiteY6" fmla="*/ 4303 h 4652"/>
                          <a:gd name="connsiteX7" fmla="*/ 1289 w 2326"/>
                          <a:gd name="connsiteY7" fmla="*/ 5164 h 4652"/>
                          <a:gd name="connsiteX8" fmla="*/ 2079 w 2326"/>
                          <a:gd name="connsiteY8" fmla="*/ 5467 h 4652"/>
                          <a:gd name="connsiteX9" fmla="*/ 2079 w 2326"/>
                          <a:gd name="connsiteY9" fmla="*/ 5467 h 4652"/>
                          <a:gd name="connsiteX10" fmla="*/ 2847 w 2326"/>
                          <a:gd name="connsiteY10" fmla="*/ 5164 h 4652"/>
                          <a:gd name="connsiteX11" fmla="*/ 2847 w 2326"/>
                          <a:gd name="connsiteY11" fmla="*/ 5164 h 4652"/>
                          <a:gd name="connsiteX12" fmla="*/ 2847 w 2326"/>
                          <a:gd name="connsiteY12" fmla="*/ 5164 h 4652"/>
                          <a:gd name="connsiteX13" fmla="*/ 847 w 2326"/>
                          <a:gd name="connsiteY13" fmla="*/ 0 h 4652"/>
                          <a:gd name="connsiteX14" fmla="*/ 823 w 2326"/>
                          <a:gd name="connsiteY14" fmla="*/ 23 h 4652"/>
                          <a:gd name="connsiteX15" fmla="*/ 381 w 2326"/>
                          <a:gd name="connsiteY15" fmla="*/ 489 h 465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</a:cxnLst>
                        <a:rect l="l" t="t" r="r" b="b"/>
                        <a:pathLst>
                          <a:path w="2326" h="4652">
                            <a:moveTo>
                              <a:pt x="381" y="489"/>
                            </a:moveTo>
                            <a:cubicBezTo>
                              <a:pt x="288" y="628"/>
                              <a:pt x="242" y="768"/>
                              <a:pt x="195" y="931"/>
                            </a:cubicBezTo>
                            <a:cubicBezTo>
                              <a:pt x="149" y="1024"/>
                              <a:pt x="125" y="1093"/>
                              <a:pt x="79" y="1210"/>
                            </a:cubicBezTo>
                            <a:cubicBezTo>
                              <a:pt x="79" y="1256"/>
                              <a:pt x="56" y="1279"/>
                              <a:pt x="56" y="1326"/>
                            </a:cubicBezTo>
                            <a:cubicBezTo>
                              <a:pt x="9" y="1582"/>
                              <a:pt x="-14" y="1838"/>
                              <a:pt x="9" y="2094"/>
                            </a:cubicBezTo>
                            <a:cubicBezTo>
                              <a:pt x="9" y="2396"/>
                              <a:pt x="79" y="2675"/>
                              <a:pt x="195" y="2977"/>
                            </a:cubicBezTo>
                            <a:cubicBezTo>
                              <a:pt x="358" y="3419"/>
                              <a:pt x="521" y="3861"/>
                              <a:pt x="707" y="4303"/>
                            </a:cubicBezTo>
                            <a:cubicBezTo>
                              <a:pt x="847" y="4676"/>
                              <a:pt x="1056" y="4955"/>
                              <a:pt x="1289" y="5164"/>
                            </a:cubicBezTo>
                            <a:cubicBezTo>
                              <a:pt x="1521" y="5350"/>
                              <a:pt x="1800" y="5467"/>
                              <a:pt x="2079" y="5467"/>
                            </a:cubicBezTo>
                            <a:lnTo>
                              <a:pt x="2079" y="5467"/>
                            </a:lnTo>
                            <a:cubicBezTo>
                              <a:pt x="2335" y="5467"/>
                              <a:pt x="2591" y="5373"/>
                              <a:pt x="2847" y="5164"/>
                            </a:cubicBezTo>
                            <a:lnTo>
                              <a:pt x="2847" y="5164"/>
                            </a:lnTo>
                            <a:lnTo>
                              <a:pt x="2847" y="5164"/>
                            </a:lnTo>
                            <a:cubicBezTo>
                              <a:pt x="2126" y="3489"/>
                              <a:pt x="1475" y="1745"/>
                              <a:pt x="847" y="0"/>
                            </a:cubicBezTo>
                            <a:cubicBezTo>
                              <a:pt x="847" y="0"/>
                              <a:pt x="847" y="0"/>
                              <a:pt x="823" y="23"/>
                            </a:cubicBezTo>
                            <a:cubicBezTo>
                              <a:pt x="660" y="116"/>
                              <a:pt x="521" y="279"/>
                              <a:pt x="381" y="489"/>
                            </a:cubicBezTo>
                            <a:close/>
                          </a:path>
                        </a:pathLst>
                      </a:custGeom>
                      <a:solidFill>
                        <a:srgbClr val="FAAB3C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814" name="Freeform: Shape 1813">
                        <a:extLst>
                          <a:ext uri="{FF2B5EF4-FFF2-40B4-BE49-F238E27FC236}">
                            <a16:creationId xmlns:a16="http://schemas.microsoft.com/office/drawing/2014/main" id="{5F3B82FF-B0CC-43D5-9304-C6D36CE3239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65964" y="4070166"/>
                        <a:ext cx="2326" cy="4652"/>
                      </a:xfrm>
                      <a:custGeom>
                        <a:avLst/>
                        <a:gdLst>
                          <a:gd name="connsiteX0" fmla="*/ 1982 w 2326"/>
                          <a:gd name="connsiteY0" fmla="*/ 0 h 4652"/>
                          <a:gd name="connsiteX1" fmla="*/ 1982 w 2326"/>
                          <a:gd name="connsiteY1" fmla="*/ 0 h 4652"/>
                          <a:gd name="connsiteX2" fmla="*/ 563 w 2326"/>
                          <a:gd name="connsiteY2" fmla="*/ 1303 h 4652"/>
                          <a:gd name="connsiteX3" fmla="*/ 121 w 2326"/>
                          <a:gd name="connsiteY3" fmla="*/ 2698 h 4652"/>
                          <a:gd name="connsiteX4" fmla="*/ 354 w 2326"/>
                          <a:gd name="connsiteY4" fmla="*/ 4931 h 4652"/>
                          <a:gd name="connsiteX5" fmla="*/ 423 w 2326"/>
                          <a:gd name="connsiteY5" fmla="*/ 5094 h 4652"/>
                          <a:gd name="connsiteX6" fmla="*/ 447 w 2326"/>
                          <a:gd name="connsiteY6" fmla="*/ 5141 h 4652"/>
                          <a:gd name="connsiteX7" fmla="*/ 586 w 2326"/>
                          <a:gd name="connsiteY7" fmla="*/ 5280 h 4652"/>
                          <a:gd name="connsiteX8" fmla="*/ 935 w 2326"/>
                          <a:gd name="connsiteY8" fmla="*/ 5606 h 4652"/>
                          <a:gd name="connsiteX9" fmla="*/ 958 w 2326"/>
                          <a:gd name="connsiteY9" fmla="*/ 5606 h 4652"/>
                          <a:gd name="connsiteX10" fmla="*/ 958 w 2326"/>
                          <a:gd name="connsiteY10" fmla="*/ 5606 h 4652"/>
                          <a:gd name="connsiteX11" fmla="*/ 2633 w 2326"/>
                          <a:gd name="connsiteY11" fmla="*/ 209 h 4652"/>
                          <a:gd name="connsiteX12" fmla="*/ 2633 w 2326"/>
                          <a:gd name="connsiteY12" fmla="*/ 209 h 4652"/>
                          <a:gd name="connsiteX13" fmla="*/ 2610 w 2326"/>
                          <a:gd name="connsiteY13" fmla="*/ 186 h 4652"/>
                          <a:gd name="connsiteX14" fmla="*/ 1982 w 2326"/>
                          <a:gd name="connsiteY14" fmla="*/ 0 h 465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</a:cxnLst>
                        <a:rect l="l" t="t" r="r" b="b"/>
                        <a:pathLst>
                          <a:path w="2326" h="4652">
                            <a:moveTo>
                              <a:pt x="1982" y="0"/>
                            </a:moveTo>
                            <a:lnTo>
                              <a:pt x="1982" y="0"/>
                            </a:lnTo>
                            <a:cubicBezTo>
                              <a:pt x="1377" y="0"/>
                              <a:pt x="819" y="488"/>
                              <a:pt x="563" y="1303"/>
                            </a:cubicBezTo>
                            <a:cubicBezTo>
                              <a:pt x="423" y="1768"/>
                              <a:pt x="261" y="2233"/>
                              <a:pt x="121" y="2698"/>
                            </a:cubicBezTo>
                            <a:cubicBezTo>
                              <a:pt x="-112" y="3466"/>
                              <a:pt x="5" y="4303"/>
                              <a:pt x="354" y="4931"/>
                            </a:cubicBezTo>
                            <a:cubicBezTo>
                              <a:pt x="377" y="4978"/>
                              <a:pt x="400" y="5048"/>
                              <a:pt x="423" y="5094"/>
                            </a:cubicBezTo>
                            <a:cubicBezTo>
                              <a:pt x="423" y="5094"/>
                              <a:pt x="447" y="5118"/>
                              <a:pt x="447" y="5141"/>
                            </a:cubicBezTo>
                            <a:cubicBezTo>
                              <a:pt x="493" y="5187"/>
                              <a:pt x="540" y="5234"/>
                              <a:pt x="586" y="5280"/>
                            </a:cubicBezTo>
                            <a:cubicBezTo>
                              <a:pt x="703" y="5397"/>
                              <a:pt x="796" y="5536"/>
                              <a:pt x="935" y="5606"/>
                            </a:cubicBezTo>
                            <a:cubicBezTo>
                              <a:pt x="935" y="5606"/>
                              <a:pt x="958" y="5606"/>
                              <a:pt x="958" y="5606"/>
                            </a:cubicBezTo>
                            <a:lnTo>
                              <a:pt x="958" y="5606"/>
                            </a:lnTo>
                            <a:cubicBezTo>
                              <a:pt x="1470" y="3768"/>
                              <a:pt x="2028" y="1954"/>
                              <a:pt x="2633" y="209"/>
                            </a:cubicBezTo>
                            <a:lnTo>
                              <a:pt x="2633" y="209"/>
                            </a:lnTo>
                            <a:lnTo>
                              <a:pt x="2610" y="186"/>
                            </a:lnTo>
                            <a:cubicBezTo>
                              <a:pt x="2401" y="70"/>
                              <a:pt x="2191" y="0"/>
                              <a:pt x="1982" y="0"/>
                            </a:cubicBezTo>
                            <a:close/>
                          </a:path>
                        </a:pathLst>
                      </a:custGeom>
                      <a:solidFill>
                        <a:srgbClr val="FAAB3C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815" name="Freeform: Shape 1814">
                        <a:extLst>
                          <a:ext uri="{FF2B5EF4-FFF2-40B4-BE49-F238E27FC236}">
                            <a16:creationId xmlns:a16="http://schemas.microsoft.com/office/drawing/2014/main" id="{4FC1F2E1-806B-4B7C-A560-FF3077795DE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65627" y="4127576"/>
                        <a:ext cx="2326" cy="4652"/>
                      </a:xfrm>
                      <a:custGeom>
                        <a:avLst/>
                        <a:gdLst>
                          <a:gd name="connsiteX0" fmla="*/ 1016 w 2326"/>
                          <a:gd name="connsiteY0" fmla="*/ 0 h 4652"/>
                          <a:gd name="connsiteX1" fmla="*/ 1016 w 2326"/>
                          <a:gd name="connsiteY1" fmla="*/ 0 h 4652"/>
                          <a:gd name="connsiteX2" fmla="*/ 1016 w 2326"/>
                          <a:gd name="connsiteY2" fmla="*/ 0 h 4652"/>
                          <a:gd name="connsiteX3" fmla="*/ 574 w 2326"/>
                          <a:gd name="connsiteY3" fmla="*/ 372 h 4652"/>
                          <a:gd name="connsiteX4" fmla="*/ 458 w 2326"/>
                          <a:gd name="connsiteY4" fmla="*/ 489 h 4652"/>
                          <a:gd name="connsiteX5" fmla="*/ 458 w 2326"/>
                          <a:gd name="connsiteY5" fmla="*/ 512 h 4652"/>
                          <a:gd name="connsiteX6" fmla="*/ 155 w 2326"/>
                          <a:gd name="connsiteY6" fmla="*/ 1117 h 4652"/>
                          <a:gd name="connsiteX7" fmla="*/ 109 w 2326"/>
                          <a:gd name="connsiteY7" fmla="*/ 2885 h 4652"/>
                          <a:gd name="connsiteX8" fmla="*/ 528 w 2326"/>
                          <a:gd name="connsiteY8" fmla="*/ 4280 h 4652"/>
                          <a:gd name="connsiteX9" fmla="*/ 1970 w 2326"/>
                          <a:gd name="connsiteY9" fmla="*/ 5606 h 4652"/>
                          <a:gd name="connsiteX10" fmla="*/ 2598 w 2326"/>
                          <a:gd name="connsiteY10" fmla="*/ 5420 h 4652"/>
                          <a:gd name="connsiteX11" fmla="*/ 2621 w 2326"/>
                          <a:gd name="connsiteY11" fmla="*/ 5397 h 4652"/>
                          <a:gd name="connsiteX12" fmla="*/ 2621 w 2326"/>
                          <a:gd name="connsiteY12" fmla="*/ 5397 h 4652"/>
                          <a:gd name="connsiteX13" fmla="*/ 2249 w 2326"/>
                          <a:gd name="connsiteY13" fmla="*/ 4117 h 4652"/>
                          <a:gd name="connsiteX14" fmla="*/ 1016 w 2326"/>
                          <a:gd name="connsiteY14" fmla="*/ 0 h 465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</a:cxnLst>
                        <a:rect l="l" t="t" r="r" b="b"/>
                        <a:pathLst>
                          <a:path w="2326" h="4652">
                            <a:moveTo>
                              <a:pt x="1016" y="0"/>
                            </a:moveTo>
                            <a:lnTo>
                              <a:pt x="1016" y="0"/>
                            </a:lnTo>
                            <a:cubicBezTo>
                              <a:pt x="993" y="0"/>
                              <a:pt x="993" y="0"/>
                              <a:pt x="1016" y="0"/>
                            </a:cubicBezTo>
                            <a:cubicBezTo>
                              <a:pt x="830" y="116"/>
                              <a:pt x="714" y="256"/>
                              <a:pt x="574" y="372"/>
                            </a:cubicBezTo>
                            <a:cubicBezTo>
                              <a:pt x="528" y="419"/>
                              <a:pt x="481" y="442"/>
                              <a:pt x="458" y="489"/>
                            </a:cubicBezTo>
                            <a:cubicBezTo>
                              <a:pt x="458" y="489"/>
                              <a:pt x="458" y="512"/>
                              <a:pt x="458" y="512"/>
                            </a:cubicBezTo>
                            <a:cubicBezTo>
                              <a:pt x="318" y="698"/>
                              <a:pt x="225" y="907"/>
                              <a:pt x="155" y="1117"/>
                            </a:cubicBezTo>
                            <a:cubicBezTo>
                              <a:pt x="-31" y="1652"/>
                              <a:pt x="-54" y="2280"/>
                              <a:pt x="109" y="2885"/>
                            </a:cubicBezTo>
                            <a:cubicBezTo>
                              <a:pt x="248" y="3350"/>
                              <a:pt x="388" y="3815"/>
                              <a:pt x="528" y="4280"/>
                            </a:cubicBezTo>
                            <a:cubicBezTo>
                              <a:pt x="783" y="5118"/>
                              <a:pt x="1365" y="5606"/>
                              <a:pt x="1970" y="5606"/>
                            </a:cubicBezTo>
                            <a:cubicBezTo>
                              <a:pt x="2179" y="5606"/>
                              <a:pt x="2389" y="5536"/>
                              <a:pt x="2598" y="5420"/>
                            </a:cubicBezTo>
                            <a:lnTo>
                              <a:pt x="2621" y="5397"/>
                            </a:lnTo>
                            <a:lnTo>
                              <a:pt x="2621" y="5397"/>
                            </a:lnTo>
                            <a:cubicBezTo>
                              <a:pt x="2482" y="4978"/>
                              <a:pt x="2365" y="4536"/>
                              <a:pt x="2249" y="4117"/>
                            </a:cubicBezTo>
                            <a:cubicBezTo>
                              <a:pt x="1807" y="2768"/>
                              <a:pt x="1388" y="1396"/>
                              <a:pt x="1016" y="0"/>
                            </a:cubicBezTo>
                            <a:close/>
                          </a:path>
                        </a:pathLst>
                      </a:custGeom>
                      <a:solidFill>
                        <a:srgbClr val="FAAB3C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816" name="Freeform: Shape 1815">
                        <a:extLst>
                          <a:ext uri="{FF2B5EF4-FFF2-40B4-BE49-F238E27FC236}">
                            <a16:creationId xmlns:a16="http://schemas.microsoft.com/office/drawing/2014/main" id="{F3B48603-8791-401E-97AF-2633EC8A5F6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64182" y="4077028"/>
                        <a:ext cx="2326" cy="4652"/>
                      </a:xfrm>
                      <a:custGeom>
                        <a:avLst/>
                        <a:gdLst>
                          <a:gd name="connsiteX0" fmla="*/ 1856 w 2326"/>
                          <a:gd name="connsiteY0" fmla="*/ 0 h 4652"/>
                          <a:gd name="connsiteX1" fmla="*/ 1437 w 2326"/>
                          <a:gd name="connsiteY1" fmla="*/ 93 h 4652"/>
                          <a:gd name="connsiteX2" fmla="*/ 1297 w 2326"/>
                          <a:gd name="connsiteY2" fmla="*/ 163 h 4652"/>
                          <a:gd name="connsiteX3" fmla="*/ 1158 w 2326"/>
                          <a:gd name="connsiteY3" fmla="*/ 256 h 4652"/>
                          <a:gd name="connsiteX4" fmla="*/ 576 w 2326"/>
                          <a:gd name="connsiteY4" fmla="*/ 1000 h 4652"/>
                          <a:gd name="connsiteX5" fmla="*/ 530 w 2326"/>
                          <a:gd name="connsiteY5" fmla="*/ 1163 h 4652"/>
                          <a:gd name="connsiteX6" fmla="*/ 390 w 2326"/>
                          <a:gd name="connsiteY6" fmla="*/ 1512 h 4652"/>
                          <a:gd name="connsiteX7" fmla="*/ 65 w 2326"/>
                          <a:gd name="connsiteY7" fmla="*/ 2954 h 4652"/>
                          <a:gd name="connsiteX8" fmla="*/ 158 w 2326"/>
                          <a:gd name="connsiteY8" fmla="*/ 4513 h 4652"/>
                          <a:gd name="connsiteX9" fmla="*/ 158 w 2326"/>
                          <a:gd name="connsiteY9" fmla="*/ 4559 h 4652"/>
                          <a:gd name="connsiteX10" fmla="*/ 1088 w 2326"/>
                          <a:gd name="connsiteY10" fmla="*/ 5746 h 4652"/>
                          <a:gd name="connsiteX11" fmla="*/ 1135 w 2326"/>
                          <a:gd name="connsiteY11" fmla="*/ 5746 h 4652"/>
                          <a:gd name="connsiteX12" fmla="*/ 1135 w 2326"/>
                          <a:gd name="connsiteY12" fmla="*/ 5746 h 4652"/>
                          <a:gd name="connsiteX13" fmla="*/ 2414 w 2326"/>
                          <a:gd name="connsiteY13" fmla="*/ 140 h 4652"/>
                          <a:gd name="connsiteX14" fmla="*/ 2391 w 2326"/>
                          <a:gd name="connsiteY14" fmla="*/ 140 h 4652"/>
                          <a:gd name="connsiteX15" fmla="*/ 1856 w 2326"/>
                          <a:gd name="connsiteY15" fmla="*/ 0 h 465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</a:cxnLst>
                        <a:rect l="l" t="t" r="r" b="b"/>
                        <a:pathLst>
                          <a:path w="2326" h="4652">
                            <a:moveTo>
                              <a:pt x="1856" y="0"/>
                            </a:moveTo>
                            <a:cubicBezTo>
                              <a:pt x="1716" y="0"/>
                              <a:pt x="1577" y="46"/>
                              <a:pt x="1437" y="93"/>
                            </a:cubicBezTo>
                            <a:cubicBezTo>
                              <a:pt x="1391" y="116"/>
                              <a:pt x="1344" y="140"/>
                              <a:pt x="1297" y="163"/>
                            </a:cubicBezTo>
                            <a:cubicBezTo>
                              <a:pt x="1251" y="186"/>
                              <a:pt x="1204" y="233"/>
                              <a:pt x="1158" y="256"/>
                            </a:cubicBezTo>
                            <a:cubicBezTo>
                              <a:pt x="925" y="419"/>
                              <a:pt x="716" y="675"/>
                              <a:pt x="576" y="1000"/>
                            </a:cubicBezTo>
                            <a:cubicBezTo>
                              <a:pt x="553" y="1047"/>
                              <a:pt x="530" y="1117"/>
                              <a:pt x="530" y="1163"/>
                            </a:cubicBezTo>
                            <a:cubicBezTo>
                              <a:pt x="483" y="1279"/>
                              <a:pt x="414" y="1372"/>
                              <a:pt x="390" y="1512"/>
                            </a:cubicBezTo>
                            <a:cubicBezTo>
                              <a:pt x="274" y="2000"/>
                              <a:pt x="181" y="2466"/>
                              <a:pt x="65" y="2954"/>
                            </a:cubicBezTo>
                            <a:cubicBezTo>
                              <a:pt x="-52" y="3489"/>
                              <a:pt x="-5" y="4024"/>
                              <a:pt x="158" y="4513"/>
                            </a:cubicBezTo>
                            <a:lnTo>
                              <a:pt x="158" y="4559"/>
                            </a:lnTo>
                            <a:cubicBezTo>
                              <a:pt x="344" y="5118"/>
                              <a:pt x="669" y="5536"/>
                              <a:pt x="1088" y="5746"/>
                            </a:cubicBezTo>
                            <a:lnTo>
                              <a:pt x="1135" y="5746"/>
                            </a:lnTo>
                            <a:lnTo>
                              <a:pt x="1135" y="5746"/>
                            </a:lnTo>
                            <a:cubicBezTo>
                              <a:pt x="1507" y="3838"/>
                              <a:pt x="1926" y="1977"/>
                              <a:pt x="2414" y="140"/>
                            </a:cubicBezTo>
                            <a:cubicBezTo>
                              <a:pt x="2414" y="140"/>
                              <a:pt x="2391" y="140"/>
                              <a:pt x="2391" y="140"/>
                            </a:cubicBezTo>
                            <a:cubicBezTo>
                              <a:pt x="2205" y="46"/>
                              <a:pt x="2042" y="0"/>
                              <a:pt x="1856" y="0"/>
                            </a:cubicBezTo>
                            <a:close/>
                          </a:path>
                        </a:pathLst>
                      </a:custGeom>
                      <a:solidFill>
                        <a:srgbClr val="FAAB3C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817" name="Freeform: Shape 1816">
                        <a:extLst>
                          <a:ext uri="{FF2B5EF4-FFF2-40B4-BE49-F238E27FC236}">
                            <a16:creationId xmlns:a16="http://schemas.microsoft.com/office/drawing/2014/main" id="{E8356501-F129-4F78-9F7A-57994213261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63931" y="4120551"/>
                        <a:ext cx="2326" cy="4652"/>
                      </a:xfrm>
                      <a:custGeom>
                        <a:avLst/>
                        <a:gdLst>
                          <a:gd name="connsiteX0" fmla="*/ 1107 w 2326"/>
                          <a:gd name="connsiteY0" fmla="*/ 23 h 4652"/>
                          <a:gd name="connsiteX1" fmla="*/ 642 w 2326"/>
                          <a:gd name="connsiteY1" fmla="*/ 372 h 4652"/>
                          <a:gd name="connsiteX2" fmla="*/ 177 w 2326"/>
                          <a:gd name="connsiteY2" fmla="*/ 1093 h 4652"/>
                          <a:gd name="connsiteX3" fmla="*/ 14 w 2326"/>
                          <a:gd name="connsiteY3" fmla="*/ 1838 h 4652"/>
                          <a:gd name="connsiteX4" fmla="*/ 60 w 2326"/>
                          <a:gd name="connsiteY4" fmla="*/ 2768 h 4652"/>
                          <a:gd name="connsiteX5" fmla="*/ 363 w 2326"/>
                          <a:gd name="connsiteY5" fmla="*/ 4210 h 4652"/>
                          <a:gd name="connsiteX6" fmla="*/ 1852 w 2326"/>
                          <a:gd name="connsiteY6" fmla="*/ 5746 h 4652"/>
                          <a:gd name="connsiteX7" fmla="*/ 1852 w 2326"/>
                          <a:gd name="connsiteY7" fmla="*/ 5746 h 4652"/>
                          <a:gd name="connsiteX8" fmla="*/ 2317 w 2326"/>
                          <a:gd name="connsiteY8" fmla="*/ 5653 h 4652"/>
                          <a:gd name="connsiteX9" fmla="*/ 2340 w 2326"/>
                          <a:gd name="connsiteY9" fmla="*/ 5653 h 4652"/>
                          <a:gd name="connsiteX10" fmla="*/ 1130 w 2326"/>
                          <a:gd name="connsiteY10" fmla="*/ 0 h 4652"/>
                          <a:gd name="connsiteX11" fmla="*/ 1107 w 2326"/>
                          <a:gd name="connsiteY11" fmla="*/ 23 h 4652"/>
                          <a:gd name="connsiteX12" fmla="*/ 1107 w 2326"/>
                          <a:gd name="connsiteY12" fmla="*/ 23 h 465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</a:cxnLst>
                        <a:rect l="l" t="t" r="r" b="b"/>
                        <a:pathLst>
                          <a:path w="2326" h="4652">
                            <a:moveTo>
                              <a:pt x="1107" y="23"/>
                            </a:moveTo>
                            <a:cubicBezTo>
                              <a:pt x="944" y="93"/>
                              <a:pt x="782" y="233"/>
                              <a:pt x="642" y="372"/>
                            </a:cubicBezTo>
                            <a:cubicBezTo>
                              <a:pt x="456" y="558"/>
                              <a:pt x="270" y="814"/>
                              <a:pt x="177" y="1093"/>
                            </a:cubicBezTo>
                            <a:cubicBezTo>
                              <a:pt x="84" y="1326"/>
                              <a:pt x="14" y="1582"/>
                              <a:pt x="14" y="1838"/>
                            </a:cubicBezTo>
                            <a:cubicBezTo>
                              <a:pt x="-9" y="2140"/>
                              <a:pt x="-9" y="2466"/>
                              <a:pt x="60" y="2768"/>
                            </a:cubicBezTo>
                            <a:cubicBezTo>
                              <a:pt x="153" y="3257"/>
                              <a:pt x="247" y="3722"/>
                              <a:pt x="363" y="4210"/>
                            </a:cubicBezTo>
                            <a:cubicBezTo>
                              <a:pt x="572" y="5164"/>
                              <a:pt x="1177" y="5746"/>
                              <a:pt x="1852" y="5746"/>
                            </a:cubicBezTo>
                            <a:lnTo>
                              <a:pt x="1852" y="5746"/>
                            </a:lnTo>
                            <a:cubicBezTo>
                              <a:pt x="2014" y="5746"/>
                              <a:pt x="2154" y="5722"/>
                              <a:pt x="2317" y="5653"/>
                            </a:cubicBezTo>
                            <a:lnTo>
                              <a:pt x="2340" y="5653"/>
                            </a:lnTo>
                            <a:cubicBezTo>
                              <a:pt x="1875" y="3815"/>
                              <a:pt x="1479" y="1931"/>
                              <a:pt x="1130" y="0"/>
                            </a:cubicBezTo>
                            <a:cubicBezTo>
                              <a:pt x="1130" y="23"/>
                              <a:pt x="1130" y="23"/>
                              <a:pt x="1107" y="23"/>
                            </a:cubicBezTo>
                            <a:lnTo>
                              <a:pt x="1107" y="23"/>
                            </a:lnTo>
                            <a:close/>
                          </a:path>
                        </a:pathLst>
                      </a:custGeom>
                      <a:solidFill>
                        <a:srgbClr val="FAAB3C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818" name="Freeform: Shape 1817">
                        <a:extLst>
                          <a:ext uri="{FF2B5EF4-FFF2-40B4-BE49-F238E27FC236}">
                            <a16:creationId xmlns:a16="http://schemas.microsoft.com/office/drawing/2014/main" id="{4133F104-166B-46AF-912D-0BAB4F1E45D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62897" y="4084123"/>
                        <a:ext cx="2326" cy="4652"/>
                      </a:xfrm>
                      <a:custGeom>
                        <a:avLst/>
                        <a:gdLst>
                          <a:gd name="connsiteX0" fmla="*/ 1746 w 0"/>
                          <a:gd name="connsiteY0" fmla="*/ 0 h 4652"/>
                          <a:gd name="connsiteX1" fmla="*/ 1746 w 0"/>
                          <a:gd name="connsiteY1" fmla="*/ 0 h 4652"/>
                          <a:gd name="connsiteX2" fmla="*/ 1420 w 0"/>
                          <a:gd name="connsiteY2" fmla="*/ 70 h 4652"/>
                          <a:gd name="connsiteX3" fmla="*/ 1304 w 0"/>
                          <a:gd name="connsiteY3" fmla="*/ 93 h 4652"/>
                          <a:gd name="connsiteX4" fmla="*/ 1164 w 0"/>
                          <a:gd name="connsiteY4" fmla="*/ 186 h 4652"/>
                          <a:gd name="connsiteX5" fmla="*/ 908 w 0"/>
                          <a:gd name="connsiteY5" fmla="*/ 395 h 4652"/>
                          <a:gd name="connsiteX6" fmla="*/ 745 w 0"/>
                          <a:gd name="connsiteY6" fmla="*/ 558 h 4652"/>
                          <a:gd name="connsiteX7" fmla="*/ 536 w 0"/>
                          <a:gd name="connsiteY7" fmla="*/ 884 h 4652"/>
                          <a:gd name="connsiteX8" fmla="*/ 234 w 0"/>
                          <a:gd name="connsiteY8" fmla="*/ 1745 h 4652"/>
                          <a:gd name="connsiteX9" fmla="*/ 24 w 0"/>
                          <a:gd name="connsiteY9" fmla="*/ 3233 h 4652"/>
                          <a:gd name="connsiteX10" fmla="*/ 71 w 0"/>
                          <a:gd name="connsiteY10" fmla="*/ 4257 h 4652"/>
                          <a:gd name="connsiteX11" fmla="*/ 94 w 0"/>
                          <a:gd name="connsiteY11" fmla="*/ 4373 h 4652"/>
                          <a:gd name="connsiteX12" fmla="*/ 513 w 0"/>
                          <a:gd name="connsiteY12" fmla="*/ 5280 h 4652"/>
                          <a:gd name="connsiteX13" fmla="*/ 513 w 0"/>
                          <a:gd name="connsiteY13" fmla="*/ 5280 h 4652"/>
                          <a:gd name="connsiteX14" fmla="*/ 815 w 0"/>
                          <a:gd name="connsiteY14" fmla="*/ 5583 h 4652"/>
                          <a:gd name="connsiteX15" fmla="*/ 838 w 0"/>
                          <a:gd name="connsiteY15" fmla="*/ 5606 h 4652"/>
                          <a:gd name="connsiteX16" fmla="*/ 1257 w 0"/>
                          <a:gd name="connsiteY16" fmla="*/ 5839 h 4652"/>
                          <a:gd name="connsiteX17" fmla="*/ 1280 w 0"/>
                          <a:gd name="connsiteY17" fmla="*/ 5839 h 4652"/>
                          <a:gd name="connsiteX18" fmla="*/ 2164 w 0"/>
                          <a:gd name="connsiteY18" fmla="*/ 93 h 4652"/>
                          <a:gd name="connsiteX19" fmla="*/ 2141 w 0"/>
                          <a:gd name="connsiteY19" fmla="*/ 93 h 4652"/>
                          <a:gd name="connsiteX20" fmla="*/ 1746 w 0"/>
                          <a:gd name="connsiteY20" fmla="*/ 0 h 465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</a:cxnLst>
                        <a:rect l="l" t="t" r="r" b="b"/>
                        <a:pathLst>
                          <a:path h="4652">
                            <a:moveTo>
                              <a:pt x="1746" y="0"/>
                            </a:moveTo>
                            <a:lnTo>
                              <a:pt x="1746" y="0"/>
                            </a:lnTo>
                            <a:cubicBezTo>
                              <a:pt x="1629" y="0"/>
                              <a:pt x="1513" y="47"/>
                              <a:pt x="1420" y="70"/>
                            </a:cubicBezTo>
                            <a:cubicBezTo>
                              <a:pt x="1373" y="93"/>
                              <a:pt x="1327" y="93"/>
                              <a:pt x="1304" y="93"/>
                            </a:cubicBezTo>
                            <a:cubicBezTo>
                              <a:pt x="1257" y="116"/>
                              <a:pt x="1211" y="140"/>
                              <a:pt x="1164" y="186"/>
                            </a:cubicBezTo>
                            <a:cubicBezTo>
                              <a:pt x="1071" y="233"/>
                              <a:pt x="1001" y="302"/>
                              <a:pt x="908" y="395"/>
                            </a:cubicBezTo>
                            <a:cubicBezTo>
                              <a:pt x="862" y="465"/>
                              <a:pt x="792" y="512"/>
                              <a:pt x="745" y="558"/>
                            </a:cubicBezTo>
                            <a:cubicBezTo>
                              <a:pt x="676" y="651"/>
                              <a:pt x="606" y="768"/>
                              <a:pt x="536" y="884"/>
                            </a:cubicBezTo>
                            <a:cubicBezTo>
                              <a:pt x="396" y="1140"/>
                              <a:pt x="280" y="1419"/>
                              <a:pt x="234" y="1745"/>
                            </a:cubicBezTo>
                            <a:cubicBezTo>
                              <a:pt x="164" y="2233"/>
                              <a:pt x="71" y="2722"/>
                              <a:pt x="24" y="3233"/>
                            </a:cubicBezTo>
                            <a:cubicBezTo>
                              <a:pt x="-22" y="3582"/>
                              <a:pt x="1" y="3931"/>
                              <a:pt x="71" y="4257"/>
                            </a:cubicBezTo>
                            <a:cubicBezTo>
                              <a:pt x="71" y="4303"/>
                              <a:pt x="71" y="4327"/>
                              <a:pt x="94" y="4373"/>
                            </a:cubicBezTo>
                            <a:cubicBezTo>
                              <a:pt x="187" y="4722"/>
                              <a:pt x="327" y="5025"/>
                              <a:pt x="513" y="5280"/>
                            </a:cubicBezTo>
                            <a:lnTo>
                              <a:pt x="513" y="5280"/>
                            </a:lnTo>
                            <a:cubicBezTo>
                              <a:pt x="606" y="5397"/>
                              <a:pt x="699" y="5513"/>
                              <a:pt x="815" y="5583"/>
                            </a:cubicBezTo>
                            <a:cubicBezTo>
                              <a:pt x="815" y="5583"/>
                              <a:pt x="838" y="5606"/>
                              <a:pt x="838" y="5606"/>
                            </a:cubicBezTo>
                            <a:cubicBezTo>
                              <a:pt x="978" y="5699"/>
                              <a:pt x="1118" y="5769"/>
                              <a:pt x="1257" y="5839"/>
                            </a:cubicBezTo>
                            <a:cubicBezTo>
                              <a:pt x="1257" y="5839"/>
                              <a:pt x="1280" y="5839"/>
                              <a:pt x="1280" y="5839"/>
                            </a:cubicBezTo>
                            <a:cubicBezTo>
                              <a:pt x="1536" y="3908"/>
                              <a:pt x="1815" y="1977"/>
                              <a:pt x="2164" y="93"/>
                            </a:cubicBezTo>
                            <a:lnTo>
                              <a:pt x="2141" y="93"/>
                            </a:lnTo>
                            <a:cubicBezTo>
                              <a:pt x="1978" y="0"/>
                              <a:pt x="1862" y="0"/>
                              <a:pt x="1746" y="0"/>
                            </a:cubicBezTo>
                            <a:close/>
                          </a:path>
                        </a:pathLst>
                      </a:custGeom>
                      <a:solidFill>
                        <a:srgbClr val="FAAB3C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819" name="Freeform: Shape 1818">
                        <a:extLst>
                          <a:ext uri="{FF2B5EF4-FFF2-40B4-BE49-F238E27FC236}">
                            <a16:creationId xmlns:a16="http://schemas.microsoft.com/office/drawing/2014/main" id="{5B130D64-532E-47C1-BB3C-10FA7C3CF5C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62723" y="4113316"/>
                        <a:ext cx="2326" cy="4652"/>
                      </a:xfrm>
                      <a:custGeom>
                        <a:avLst/>
                        <a:gdLst>
                          <a:gd name="connsiteX0" fmla="*/ 1267 w 0"/>
                          <a:gd name="connsiteY0" fmla="*/ 46 h 4652"/>
                          <a:gd name="connsiteX1" fmla="*/ 453 w 0"/>
                          <a:gd name="connsiteY1" fmla="*/ 651 h 4652"/>
                          <a:gd name="connsiteX2" fmla="*/ 453 w 0"/>
                          <a:gd name="connsiteY2" fmla="*/ 651 h 4652"/>
                          <a:gd name="connsiteX3" fmla="*/ 35 w 0"/>
                          <a:gd name="connsiteY3" fmla="*/ 2629 h 4652"/>
                          <a:gd name="connsiteX4" fmla="*/ 244 w 0"/>
                          <a:gd name="connsiteY4" fmla="*/ 4117 h 4652"/>
                          <a:gd name="connsiteX5" fmla="*/ 849 w 0"/>
                          <a:gd name="connsiteY5" fmla="*/ 5420 h 4652"/>
                          <a:gd name="connsiteX6" fmla="*/ 1151 w 0"/>
                          <a:gd name="connsiteY6" fmla="*/ 5653 h 4652"/>
                          <a:gd name="connsiteX7" fmla="*/ 1291 w 0"/>
                          <a:gd name="connsiteY7" fmla="*/ 5746 h 4652"/>
                          <a:gd name="connsiteX8" fmla="*/ 1779 w 0"/>
                          <a:gd name="connsiteY8" fmla="*/ 5862 h 4652"/>
                          <a:gd name="connsiteX9" fmla="*/ 2105 w 0"/>
                          <a:gd name="connsiteY9" fmla="*/ 5815 h 4652"/>
                          <a:gd name="connsiteX10" fmla="*/ 2128 w 0"/>
                          <a:gd name="connsiteY10" fmla="*/ 5792 h 4652"/>
                          <a:gd name="connsiteX11" fmla="*/ 1314 w 0"/>
                          <a:gd name="connsiteY11" fmla="*/ 0 h 4652"/>
                          <a:gd name="connsiteX12" fmla="*/ 1314 w 0"/>
                          <a:gd name="connsiteY12" fmla="*/ 0 h 4652"/>
                          <a:gd name="connsiteX13" fmla="*/ 1267 w 0"/>
                          <a:gd name="connsiteY13" fmla="*/ 46 h 465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</a:cxnLst>
                        <a:rect l="l" t="t" r="r" b="b"/>
                        <a:pathLst>
                          <a:path h="4652">
                            <a:moveTo>
                              <a:pt x="1267" y="46"/>
                            </a:moveTo>
                            <a:cubicBezTo>
                              <a:pt x="942" y="140"/>
                              <a:pt x="663" y="349"/>
                              <a:pt x="453" y="651"/>
                            </a:cubicBezTo>
                            <a:lnTo>
                              <a:pt x="453" y="651"/>
                            </a:lnTo>
                            <a:cubicBezTo>
                              <a:pt x="104" y="1163"/>
                              <a:pt x="-82" y="1884"/>
                              <a:pt x="35" y="2629"/>
                            </a:cubicBezTo>
                            <a:cubicBezTo>
                              <a:pt x="104" y="3117"/>
                              <a:pt x="174" y="3629"/>
                              <a:pt x="244" y="4117"/>
                            </a:cubicBezTo>
                            <a:cubicBezTo>
                              <a:pt x="337" y="4652"/>
                              <a:pt x="546" y="5118"/>
                              <a:pt x="849" y="5420"/>
                            </a:cubicBezTo>
                            <a:cubicBezTo>
                              <a:pt x="942" y="5513"/>
                              <a:pt x="1035" y="5583"/>
                              <a:pt x="1151" y="5653"/>
                            </a:cubicBezTo>
                            <a:cubicBezTo>
                              <a:pt x="1198" y="5676"/>
                              <a:pt x="1244" y="5722"/>
                              <a:pt x="1291" y="5746"/>
                            </a:cubicBezTo>
                            <a:cubicBezTo>
                              <a:pt x="1454" y="5815"/>
                              <a:pt x="1616" y="5862"/>
                              <a:pt x="1779" y="5862"/>
                            </a:cubicBezTo>
                            <a:cubicBezTo>
                              <a:pt x="1872" y="5862"/>
                              <a:pt x="1989" y="5839"/>
                              <a:pt x="2105" y="5815"/>
                            </a:cubicBezTo>
                            <a:cubicBezTo>
                              <a:pt x="2105" y="5815"/>
                              <a:pt x="2128" y="5815"/>
                              <a:pt x="2128" y="5792"/>
                            </a:cubicBezTo>
                            <a:cubicBezTo>
                              <a:pt x="1803" y="3908"/>
                              <a:pt x="1547" y="1977"/>
                              <a:pt x="1314" y="0"/>
                            </a:cubicBezTo>
                            <a:lnTo>
                              <a:pt x="1314" y="0"/>
                            </a:lnTo>
                            <a:lnTo>
                              <a:pt x="1267" y="46"/>
                            </a:lnTo>
                            <a:close/>
                          </a:path>
                        </a:pathLst>
                      </a:custGeom>
                      <a:solidFill>
                        <a:srgbClr val="FAAB3C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820" name="Freeform: Shape 1819">
                        <a:extLst>
                          <a:ext uri="{FF2B5EF4-FFF2-40B4-BE49-F238E27FC236}">
                            <a16:creationId xmlns:a16="http://schemas.microsoft.com/office/drawing/2014/main" id="{652F6B7A-B567-4A8D-802D-72004727C16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62107" y="4091381"/>
                        <a:ext cx="2326" cy="4652"/>
                      </a:xfrm>
                      <a:custGeom>
                        <a:avLst/>
                        <a:gdLst>
                          <a:gd name="connsiteX0" fmla="*/ 1698 w 0"/>
                          <a:gd name="connsiteY0" fmla="*/ 0 h 4652"/>
                          <a:gd name="connsiteX1" fmla="*/ 628 w 0"/>
                          <a:gd name="connsiteY1" fmla="*/ 605 h 4652"/>
                          <a:gd name="connsiteX2" fmla="*/ 302 w 0"/>
                          <a:gd name="connsiteY2" fmla="*/ 1140 h 4652"/>
                          <a:gd name="connsiteX3" fmla="*/ 116 w 0"/>
                          <a:gd name="connsiteY3" fmla="*/ 1931 h 4652"/>
                          <a:gd name="connsiteX4" fmla="*/ 0 w 0"/>
                          <a:gd name="connsiteY4" fmla="*/ 3443 h 4652"/>
                          <a:gd name="connsiteX5" fmla="*/ 0 w 0"/>
                          <a:gd name="connsiteY5" fmla="*/ 3768 h 4652"/>
                          <a:gd name="connsiteX6" fmla="*/ 1000 w 0"/>
                          <a:gd name="connsiteY6" fmla="*/ 5722 h 4652"/>
                          <a:gd name="connsiteX7" fmla="*/ 1000 w 0"/>
                          <a:gd name="connsiteY7" fmla="*/ 5722 h 4652"/>
                          <a:gd name="connsiteX8" fmla="*/ 1396 w 0"/>
                          <a:gd name="connsiteY8" fmla="*/ 5862 h 4652"/>
                          <a:gd name="connsiteX9" fmla="*/ 1419 w 0"/>
                          <a:gd name="connsiteY9" fmla="*/ 5862 h 4652"/>
                          <a:gd name="connsiteX10" fmla="*/ 1861 w 0"/>
                          <a:gd name="connsiteY10" fmla="*/ 0 h 4652"/>
                          <a:gd name="connsiteX11" fmla="*/ 1861 w 0"/>
                          <a:gd name="connsiteY11" fmla="*/ 0 h 4652"/>
                          <a:gd name="connsiteX12" fmla="*/ 1838 w 0"/>
                          <a:gd name="connsiteY12" fmla="*/ 0 h 4652"/>
                          <a:gd name="connsiteX13" fmla="*/ 1698 w 0"/>
                          <a:gd name="connsiteY13" fmla="*/ 0 h 465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</a:cxnLst>
                        <a:rect l="l" t="t" r="r" b="b"/>
                        <a:pathLst>
                          <a:path h="4652">
                            <a:moveTo>
                              <a:pt x="1698" y="0"/>
                            </a:moveTo>
                            <a:cubicBezTo>
                              <a:pt x="1303" y="0"/>
                              <a:pt x="907" y="233"/>
                              <a:pt x="628" y="605"/>
                            </a:cubicBezTo>
                            <a:cubicBezTo>
                              <a:pt x="512" y="768"/>
                              <a:pt x="395" y="954"/>
                              <a:pt x="302" y="1140"/>
                            </a:cubicBezTo>
                            <a:cubicBezTo>
                              <a:pt x="209" y="1372"/>
                              <a:pt x="140" y="1652"/>
                              <a:pt x="116" y="1931"/>
                            </a:cubicBezTo>
                            <a:cubicBezTo>
                              <a:pt x="70" y="2443"/>
                              <a:pt x="47" y="2954"/>
                              <a:pt x="0" y="3443"/>
                            </a:cubicBezTo>
                            <a:cubicBezTo>
                              <a:pt x="0" y="3536"/>
                              <a:pt x="0" y="3652"/>
                              <a:pt x="0" y="3768"/>
                            </a:cubicBezTo>
                            <a:cubicBezTo>
                              <a:pt x="23" y="4652"/>
                              <a:pt x="442" y="5420"/>
                              <a:pt x="1000" y="5722"/>
                            </a:cubicBezTo>
                            <a:lnTo>
                              <a:pt x="1000" y="5722"/>
                            </a:lnTo>
                            <a:cubicBezTo>
                              <a:pt x="1117" y="5792"/>
                              <a:pt x="1256" y="5839"/>
                              <a:pt x="1396" y="5862"/>
                            </a:cubicBezTo>
                            <a:lnTo>
                              <a:pt x="1419" y="5862"/>
                            </a:lnTo>
                            <a:cubicBezTo>
                              <a:pt x="1512" y="3885"/>
                              <a:pt x="1675" y="1931"/>
                              <a:pt x="1861" y="0"/>
                            </a:cubicBezTo>
                            <a:lnTo>
                              <a:pt x="1861" y="0"/>
                            </a:lnTo>
                            <a:lnTo>
                              <a:pt x="1838" y="0"/>
                            </a:lnTo>
                            <a:cubicBezTo>
                              <a:pt x="1791" y="0"/>
                              <a:pt x="1745" y="0"/>
                              <a:pt x="1698" y="0"/>
                            </a:cubicBezTo>
                            <a:close/>
                          </a:path>
                        </a:pathLst>
                      </a:custGeom>
                      <a:solidFill>
                        <a:srgbClr val="FAAB3C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821" name="Freeform: Shape 1820">
                        <a:extLst>
                          <a:ext uri="{FF2B5EF4-FFF2-40B4-BE49-F238E27FC236}">
                            <a16:creationId xmlns:a16="http://schemas.microsoft.com/office/drawing/2014/main" id="{50E784D8-A9A8-4A80-AC0A-418E55E1474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61851" y="4098685"/>
                        <a:ext cx="2326" cy="4652"/>
                      </a:xfrm>
                      <a:custGeom>
                        <a:avLst/>
                        <a:gdLst>
                          <a:gd name="connsiteX0" fmla="*/ 1582 w 0"/>
                          <a:gd name="connsiteY0" fmla="*/ 0 h 4652"/>
                          <a:gd name="connsiteX1" fmla="*/ 1372 w 0"/>
                          <a:gd name="connsiteY1" fmla="*/ 46 h 4652"/>
                          <a:gd name="connsiteX2" fmla="*/ 1256 w 0"/>
                          <a:gd name="connsiteY2" fmla="*/ 70 h 4652"/>
                          <a:gd name="connsiteX3" fmla="*/ 1186 w 0"/>
                          <a:gd name="connsiteY3" fmla="*/ 93 h 4652"/>
                          <a:gd name="connsiteX4" fmla="*/ 488 w 0"/>
                          <a:gd name="connsiteY4" fmla="*/ 651 h 4652"/>
                          <a:gd name="connsiteX5" fmla="*/ 488 w 0"/>
                          <a:gd name="connsiteY5" fmla="*/ 651 h 4652"/>
                          <a:gd name="connsiteX6" fmla="*/ 23 w 0"/>
                          <a:gd name="connsiteY6" fmla="*/ 2187 h 4652"/>
                          <a:gd name="connsiteX7" fmla="*/ 0 w 0"/>
                          <a:gd name="connsiteY7" fmla="*/ 3536 h 4652"/>
                          <a:gd name="connsiteX8" fmla="*/ 0 w 0"/>
                          <a:gd name="connsiteY8" fmla="*/ 3675 h 4652"/>
                          <a:gd name="connsiteX9" fmla="*/ 1093 w 0"/>
                          <a:gd name="connsiteY9" fmla="*/ 5722 h 4652"/>
                          <a:gd name="connsiteX10" fmla="*/ 1117 w 0"/>
                          <a:gd name="connsiteY10" fmla="*/ 5722 h 4652"/>
                          <a:gd name="connsiteX11" fmla="*/ 1559 w 0"/>
                          <a:gd name="connsiteY11" fmla="*/ 5815 h 4652"/>
                          <a:gd name="connsiteX12" fmla="*/ 1559 w 0"/>
                          <a:gd name="connsiteY12" fmla="*/ 5815 h 4652"/>
                          <a:gd name="connsiteX13" fmla="*/ 1582 w 0"/>
                          <a:gd name="connsiteY13" fmla="*/ 5815 h 4652"/>
                          <a:gd name="connsiteX14" fmla="*/ 1582 w 0"/>
                          <a:gd name="connsiteY14" fmla="*/ 5815 h 4652"/>
                          <a:gd name="connsiteX15" fmla="*/ 1559 w 0"/>
                          <a:gd name="connsiteY15" fmla="*/ 3536 h 4652"/>
                          <a:gd name="connsiteX16" fmla="*/ 1628 w 0"/>
                          <a:gd name="connsiteY16" fmla="*/ 0 h 4652"/>
                          <a:gd name="connsiteX17" fmla="*/ 1628 w 0"/>
                          <a:gd name="connsiteY17" fmla="*/ 0 h 4652"/>
                          <a:gd name="connsiteX18" fmla="*/ 1582 w 0"/>
                          <a:gd name="connsiteY18" fmla="*/ 0 h 4652"/>
                          <a:gd name="connsiteX19" fmla="*/ 1582 w 0"/>
                          <a:gd name="connsiteY19" fmla="*/ 0 h 465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</a:cxnLst>
                        <a:rect l="l" t="t" r="r" b="b"/>
                        <a:pathLst>
                          <a:path h="4652">
                            <a:moveTo>
                              <a:pt x="1582" y="0"/>
                            </a:moveTo>
                            <a:cubicBezTo>
                              <a:pt x="1512" y="0"/>
                              <a:pt x="1442" y="23"/>
                              <a:pt x="1372" y="46"/>
                            </a:cubicBezTo>
                            <a:cubicBezTo>
                              <a:pt x="1326" y="46"/>
                              <a:pt x="1279" y="46"/>
                              <a:pt x="1256" y="70"/>
                            </a:cubicBezTo>
                            <a:cubicBezTo>
                              <a:pt x="1233" y="70"/>
                              <a:pt x="1210" y="93"/>
                              <a:pt x="1186" y="93"/>
                            </a:cubicBezTo>
                            <a:cubicBezTo>
                              <a:pt x="930" y="209"/>
                              <a:pt x="675" y="372"/>
                              <a:pt x="488" y="651"/>
                            </a:cubicBezTo>
                            <a:lnTo>
                              <a:pt x="488" y="651"/>
                            </a:lnTo>
                            <a:cubicBezTo>
                              <a:pt x="209" y="1047"/>
                              <a:pt x="23" y="1582"/>
                              <a:pt x="23" y="2187"/>
                            </a:cubicBezTo>
                            <a:cubicBezTo>
                              <a:pt x="0" y="2652"/>
                              <a:pt x="0" y="3094"/>
                              <a:pt x="0" y="3536"/>
                            </a:cubicBezTo>
                            <a:lnTo>
                              <a:pt x="0" y="3675"/>
                            </a:lnTo>
                            <a:cubicBezTo>
                              <a:pt x="0" y="4676"/>
                              <a:pt x="465" y="5443"/>
                              <a:pt x="1093" y="5722"/>
                            </a:cubicBezTo>
                            <a:lnTo>
                              <a:pt x="1117" y="5722"/>
                            </a:lnTo>
                            <a:cubicBezTo>
                              <a:pt x="1256" y="5769"/>
                              <a:pt x="1396" y="5815"/>
                              <a:pt x="1559" y="5815"/>
                            </a:cubicBezTo>
                            <a:lnTo>
                              <a:pt x="1559" y="5815"/>
                            </a:lnTo>
                            <a:cubicBezTo>
                              <a:pt x="1582" y="5815"/>
                              <a:pt x="1582" y="5815"/>
                              <a:pt x="1582" y="5815"/>
                            </a:cubicBezTo>
                            <a:lnTo>
                              <a:pt x="1582" y="5815"/>
                            </a:lnTo>
                            <a:cubicBezTo>
                              <a:pt x="1582" y="5071"/>
                              <a:pt x="1559" y="4303"/>
                              <a:pt x="1559" y="3536"/>
                            </a:cubicBezTo>
                            <a:cubicBezTo>
                              <a:pt x="1559" y="2349"/>
                              <a:pt x="1582" y="1163"/>
                              <a:pt x="1628" y="0"/>
                            </a:cubicBezTo>
                            <a:lnTo>
                              <a:pt x="1628" y="0"/>
                            </a:lnTo>
                            <a:lnTo>
                              <a:pt x="1582" y="0"/>
                            </a:lnTo>
                            <a:lnTo>
                              <a:pt x="1582" y="0"/>
                            </a:lnTo>
                            <a:close/>
                          </a:path>
                        </a:pathLst>
                      </a:custGeom>
                      <a:solidFill>
                        <a:srgbClr val="FAAB3C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grpSp>
                  <p:nvGrpSpPr>
                    <p:cNvPr id="1822" name="Graphic 174">
                      <a:extLst>
                        <a:ext uri="{FF2B5EF4-FFF2-40B4-BE49-F238E27FC236}">
                          <a16:creationId xmlns:a16="http://schemas.microsoft.com/office/drawing/2014/main" id="{4045A780-E4ED-4946-BB38-1D6737CA17D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6196837" y="4051231"/>
                      <a:ext cx="34893" cy="100025"/>
                      <a:chOff x="6196837" y="4051231"/>
                      <a:chExt cx="34893" cy="100025"/>
                    </a:xfrm>
                    <a:solidFill>
                      <a:srgbClr val="F19439"/>
                    </a:solidFill>
                  </p:grpSpPr>
                  <p:sp>
                    <p:nvSpPr>
                      <p:cNvPr id="1823" name="Freeform: Shape 1822">
                        <a:extLst>
                          <a:ext uri="{FF2B5EF4-FFF2-40B4-BE49-F238E27FC236}">
                            <a16:creationId xmlns:a16="http://schemas.microsoft.com/office/drawing/2014/main" id="{7A23736B-4202-4D19-A18B-A945421DE03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96837" y="4061350"/>
                        <a:ext cx="32566" cy="44197"/>
                      </a:xfrm>
                      <a:custGeom>
                        <a:avLst/>
                        <a:gdLst>
                          <a:gd name="connsiteX0" fmla="*/ 17981 w 32566"/>
                          <a:gd name="connsiteY0" fmla="*/ 44523 h 44197"/>
                          <a:gd name="connsiteX1" fmla="*/ 17772 w 32566"/>
                          <a:gd name="connsiteY1" fmla="*/ 44500 h 44197"/>
                          <a:gd name="connsiteX2" fmla="*/ 0 w 32566"/>
                          <a:gd name="connsiteY2" fmla="*/ 23448 h 44197"/>
                          <a:gd name="connsiteX3" fmla="*/ 18353 w 32566"/>
                          <a:gd name="connsiteY3" fmla="*/ 0 h 44197"/>
                          <a:gd name="connsiteX4" fmla="*/ 33846 w 32566"/>
                          <a:gd name="connsiteY4" fmla="*/ 9026 h 44197"/>
                          <a:gd name="connsiteX5" fmla="*/ 33567 w 32566"/>
                          <a:gd name="connsiteY5" fmla="*/ 14306 h 44197"/>
                          <a:gd name="connsiteX6" fmla="*/ 29822 w 32566"/>
                          <a:gd name="connsiteY6" fmla="*/ 13911 h 44197"/>
                          <a:gd name="connsiteX7" fmla="*/ 18377 w 32566"/>
                          <a:gd name="connsiteY7" fmla="*/ 7490 h 44197"/>
                          <a:gd name="connsiteX8" fmla="*/ 5327 w 32566"/>
                          <a:gd name="connsiteY8" fmla="*/ 23448 h 44197"/>
                          <a:gd name="connsiteX9" fmla="*/ 18191 w 32566"/>
                          <a:gd name="connsiteY9" fmla="*/ 37009 h 44197"/>
                          <a:gd name="connsiteX10" fmla="*/ 20633 w 32566"/>
                          <a:gd name="connsiteY10" fmla="*/ 41034 h 44197"/>
                          <a:gd name="connsiteX11" fmla="*/ 17981 w 32566"/>
                          <a:gd name="connsiteY11" fmla="*/ 44523 h 4419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</a:cxnLst>
                        <a:rect l="l" t="t" r="r" b="b"/>
                        <a:pathLst>
                          <a:path w="32566" h="44197">
                            <a:moveTo>
                              <a:pt x="17981" y="44523"/>
                            </a:moveTo>
                            <a:cubicBezTo>
                              <a:pt x="17912" y="44523"/>
                              <a:pt x="17842" y="44523"/>
                              <a:pt x="17772" y="44500"/>
                            </a:cubicBezTo>
                            <a:cubicBezTo>
                              <a:pt x="6327" y="43290"/>
                              <a:pt x="0" y="35823"/>
                              <a:pt x="0" y="23448"/>
                            </a:cubicBezTo>
                            <a:cubicBezTo>
                              <a:pt x="0" y="12631"/>
                              <a:pt x="4792" y="0"/>
                              <a:pt x="18353" y="0"/>
                            </a:cubicBezTo>
                            <a:cubicBezTo>
                              <a:pt x="27053" y="0"/>
                              <a:pt x="31799" y="5653"/>
                              <a:pt x="33846" y="9026"/>
                            </a:cubicBezTo>
                            <a:cubicBezTo>
                              <a:pt x="34800" y="10584"/>
                              <a:pt x="34660" y="12957"/>
                              <a:pt x="33567" y="14306"/>
                            </a:cubicBezTo>
                            <a:cubicBezTo>
                              <a:pt x="32450" y="15655"/>
                              <a:pt x="30775" y="15469"/>
                              <a:pt x="29822" y="13911"/>
                            </a:cubicBezTo>
                            <a:cubicBezTo>
                              <a:pt x="28054" y="10980"/>
                              <a:pt x="24611" y="7490"/>
                              <a:pt x="18377" y="7490"/>
                            </a:cubicBezTo>
                            <a:cubicBezTo>
                              <a:pt x="6606" y="7490"/>
                              <a:pt x="5327" y="18656"/>
                              <a:pt x="5327" y="23448"/>
                            </a:cubicBezTo>
                            <a:cubicBezTo>
                              <a:pt x="5327" y="26472"/>
                              <a:pt x="5327" y="35637"/>
                              <a:pt x="18191" y="37009"/>
                            </a:cubicBezTo>
                            <a:cubicBezTo>
                              <a:pt x="19633" y="37172"/>
                              <a:pt x="20749" y="38963"/>
                              <a:pt x="20633" y="41034"/>
                            </a:cubicBezTo>
                            <a:cubicBezTo>
                              <a:pt x="20540" y="43034"/>
                              <a:pt x="19377" y="44523"/>
                              <a:pt x="17981" y="44523"/>
                            </a:cubicBezTo>
                            <a:close/>
                          </a:path>
                        </a:pathLst>
                      </a:custGeom>
                      <a:solidFill>
                        <a:srgbClr val="F19439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824" name="Freeform: Shape 1823">
                        <a:extLst>
                          <a:ext uri="{FF2B5EF4-FFF2-40B4-BE49-F238E27FC236}">
                            <a16:creationId xmlns:a16="http://schemas.microsoft.com/office/drawing/2014/main" id="{13DAEC3E-4D40-4D3F-9313-766CB3C8C9E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98317" y="4098371"/>
                        <a:ext cx="32566" cy="44197"/>
                      </a:xfrm>
                      <a:custGeom>
                        <a:avLst/>
                        <a:gdLst>
                          <a:gd name="connsiteX0" fmla="*/ 16128 w 32566"/>
                          <a:gd name="connsiteY0" fmla="*/ 44511 h 44197"/>
                          <a:gd name="connsiteX1" fmla="*/ 636 w 32566"/>
                          <a:gd name="connsiteY1" fmla="*/ 35486 h 44197"/>
                          <a:gd name="connsiteX2" fmla="*/ 915 w 32566"/>
                          <a:gd name="connsiteY2" fmla="*/ 30205 h 44197"/>
                          <a:gd name="connsiteX3" fmla="*/ 4660 w 32566"/>
                          <a:gd name="connsiteY3" fmla="*/ 30601 h 44197"/>
                          <a:gd name="connsiteX4" fmla="*/ 16128 w 32566"/>
                          <a:gd name="connsiteY4" fmla="*/ 37021 h 44197"/>
                          <a:gd name="connsiteX5" fmla="*/ 29178 w 32566"/>
                          <a:gd name="connsiteY5" fmla="*/ 21064 h 44197"/>
                          <a:gd name="connsiteX6" fmla="*/ 16314 w 32566"/>
                          <a:gd name="connsiteY6" fmla="*/ 7502 h 44197"/>
                          <a:gd name="connsiteX7" fmla="*/ 13872 w 32566"/>
                          <a:gd name="connsiteY7" fmla="*/ 3478 h 44197"/>
                          <a:gd name="connsiteX8" fmla="*/ 16710 w 32566"/>
                          <a:gd name="connsiteY8" fmla="*/ 12 h 44197"/>
                          <a:gd name="connsiteX9" fmla="*/ 34482 w 32566"/>
                          <a:gd name="connsiteY9" fmla="*/ 21064 h 44197"/>
                          <a:gd name="connsiteX10" fmla="*/ 16128 w 32566"/>
                          <a:gd name="connsiteY10" fmla="*/ 44511 h 4419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</a:cxnLst>
                        <a:rect l="l" t="t" r="r" b="b"/>
                        <a:pathLst>
                          <a:path w="32566" h="44197">
                            <a:moveTo>
                              <a:pt x="16128" y="44511"/>
                            </a:moveTo>
                            <a:cubicBezTo>
                              <a:pt x="7405" y="44511"/>
                              <a:pt x="2683" y="38859"/>
                              <a:pt x="636" y="35486"/>
                            </a:cubicBezTo>
                            <a:cubicBezTo>
                              <a:pt x="-318" y="33927"/>
                              <a:pt x="-178" y="31555"/>
                              <a:pt x="915" y="30205"/>
                            </a:cubicBezTo>
                            <a:cubicBezTo>
                              <a:pt x="2032" y="28856"/>
                              <a:pt x="3707" y="29042"/>
                              <a:pt x="4660" y="30601"/>
                            </a:cubicBezTo>
                            <a:cubicBezTo>
                              <a:pt x="6428" y="33532"/>
                              <a:pt x="9871" y="37021"/>
                              <a:pt x="16128" y="37021"/>
                            </a:cubicBezTo>
                            <a:cubicBezTo>
                              <a:pt x="27899" y="37021"/>
                              <a:pt x="29178" y="25855"/>
                              <a:pt x="29178" y="21064"/>
                            </a:cubicBezTo>
                            <a:cubicBezTo>
                              <a:pt x="29178" y="18040"/>
                              <a:pt x="29178" y="8874"/>
                              <a:pt x="16314" y="7502"/>
                            </a:cubicBezTo>
                            <a:cubicBezTo>
                              <a:pt x="14872" y="7339"/>
                              <a:pt x="13756" y="5548"/>
                              <a:pt x="13872" y="3478"/>
                            </a:cubicBezTo>
                            <a:cubicBezTo>
                              <a:pt x="13988" y="1407"/>
                              <a:pt x="15268" y="-151"/>
                              <a:pt x="16710" y="12"/>
                            </a:cubicBezTo>
                            <a:cubicBezTo>
                              <a:pt x="28155" y="1221"/>
                              <a:pt x="34482" y="8688"/>
                              <a:pt x="34482" y="21064"/>
                            </a:cubicBezTo>
                            <a:cubicBezTo>
                              <a:pt x="34482" y="31880"/>
                              <a:pt x="29667" y="44511"/>
                              <a:pt x="16128" y="44511"/>
                            </a:cubicBezTo>
                            <a:close/>
                          </a:path>
                        </a:pathLst>
                      </a:custGeom>
                      <a:solidFill>
                        <a:srgbClr val="F19439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825" name="Freeform: Shape 1824">
                        <a:extLst>
                          <a:ext uri="{FF2B5EF4-FFF2-40B4-BE49-F238E27FC236}">
                            <a16:creationId xmlns:a16="http://schemas.microsoft.com/office/drawing/2014/main" id="{75590CC8-83E0-4AD7-BD18-4802D76547F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12166" y="4051231"/>
                        <a:ext cx="4652" cy="100025"/>
                      </a:xfrm>
                      <a:custGeom>
                        <a:avLst/>
                        <a:gdLst>
                          <a:gd name="connsiteX0" fmla="*/ 2652 w 4652"/>
                          <a:gd name="connsiteY0" fmla="*/ 101979 h 100025"/>
                          <a:gd name="connsiteX1" fmla="*/ 0 w 4652"/>
                          <a:gd name="connsiteY1" fmla="*/ 98211 h 100025"/>
                          <a:gd name="connsiteX2" fmla="*/ 0 w 4652"/>
                          <a:gd name="connsiteY2" fmla="*/ 3768 h 100025"/>
                          <a:gd name="connsiteX3" fmla="*/ 2652 w 4652"/>
                          <a:gd name="connsiteY3" fmla="*/ 0 h 100025"/>
                          <a:gd name="connsiteX4" fmla="*/ 5304 w 4652"/>
                          <a:gd name="connsiteY4" fmla="*/ 3768 h 100025"/>
                          <a:gd name="connsiteX5" fmla="*/ 5304 w 4652"/>
                          <a:gd name="connsiteY5" fmla="*/ 98211 h 100025"/>
                          <a:gd name="connsiteX6" fmla="*/ 2652 w 4652"/>
                          <a:gd name="connsiteY6" fmla="*/ 101979 h 100025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4652" h="100025">
                            <a:moveTo>
                              <a:pt x="2652" y="101979"/>
                            </a:moveTo>
                            <a:cubicBezTo>
                              <a:pt x="1186" y="101979"/>
                              <a:pt x="0" y="100305"/>
                              <a:pt x="0" y="98211"/>
                            </a:cubicBezTo>
                            <a:lnTo>
                              <a:pt x="0" y="3768"/>
                            </a:lnTo>
                            <a:cubicBezTo>
                              <a:pt x="0" y="1698"/>
                              <a:pt x="1186" y="0"/>
                              <a:pt x="2652" y="0"/>
                            </a:cubicBezTo>
                            <a:cubicBezTo>
                              <a:pt x="4117" y="0"/>
                              <a:pt x="5304" y="1675"/>
                              <a:pt x="5304" y="3768"/>
                            </a:cubicBezTo>
                            <a:lnTo>
                              <a:pt x="5304" y="98211"/>
                            </a:lnTo>
                            <a:cubicBezTo>
                              <a:pt x="5327" y="100305"/>
                              <a:pt x="4117" y="101979"/>
                              <a:pt x="2652" y="101979"/>
                            </a:cubicBezTo>
                            <a:close/>
                          </a:path>
                        </a:pathLst>
                      </a:custGeom>
                      <a:solidFill>
                        <a:srgbClr val="F19439"/>
                      </a:solidFill>
                      <a:ln w="232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</p:grpSp>
            </p:grpSp>
          </p:grpSp>
          <p:grpSp>
            <p:nvGrpSpPr>
              <p:cNvPr id="2009" name="Group 2008">
                <a:extLst>
                  <a:ext uri="{FF2B5EF4-FFF2-40B4-BE49-F238E27FC236}">
                    <a16:creationId xmlns:a16="http://schemas.microsoft.com/office/drawing/2014/main" id="{8D11B558-DBCF-40FD-B3D5-F1E739BFF746}"/>
                  </a:ext>
                </a:extLst>
              </p:cNvPr>
              <p:cNvGrpSpPr/>
              <p:nvPr/>
            </p:nvGrpSpPr>
            <p:grpSpPr>
              <a:xfrm>
                <a:off x="8125436" y="2945844"/>
                <a:ext cx="1914733" cy="1550010"/>
                <a:chOff x="8125436" y="2945844"/>
                <a:chExt cx="1914733" cy="1550010"/>
              </a:xfrm>
            </p:grpSpPr>
            <p:pic>
              <p:nvPicPr>
                <p:cNvPr id="47" name="Graphic 46">
                  <a:extLst>
                    <a:ext uri="{FF2B5EF4-FFF2-40B4-BE49-F238E27FC236}">
                      <a16:creationId xmlns:a16="http://schemas.microsoft.com/office/drawing/2014/main" id="{2AB7F88B-71EC-42F3-9C3B-2423CEDB703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9">
                  <a:extLst>
                    <a:ext uri="{96DAC541-7B7A-43D3-8B79-37D633B846F1}">
                      <asvg:svgBlip xmlns:asvg="http://schemas.microsoft.com/office/drawing/2016/SVG/main" xmlns="" r:embed="rId2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178031" y="2945844"/>
                  <a:ext cx="1862138" cy="1462088"/>
                </a:xfrm>
                <a:prstGeom prst="rect">
                  <a:avLst/>
                </a:prstGeom>
              </p:spPr>
            </p:pic>
            <p:grpSp>
              <p:nvGrpSpPr>
                <p:cNvPr id="2008" name="Group 2007">
                  <a:extLst>
                    <a:ext uri="{FF2B5EF4-FFF2-40B4-BE49-F238E27FC236}">
                      <a16:creationId xmlns:a16="http://schemas.microsoft.com/office/drawing/2014/main" id="{F1E11F98-C02F-4E6B-9B05-37CAD4D5D3E2}"/>
                    </a:ext>
                  </a:extLst>
                </p:cNvPr>
                <p:cNvGrpSpPr/>
                <p:nvPr/>
              </p:nvGrpSpPr>
              <p:grpSpPr>
                <a:xfrm>
                  <a:off x="8125436" y="3052835"/>
                  <a:ext cx="1723398" cy="1443019"/>
                  <a:chOff x="12818952" y="1475232"/>
                  <a:chExt cx="5335208" cy="4467225"/>
                </a:xfrm>
              </p:grpSpPr>
              <p:sp>
                <p:nvSpPr>
                  <p:cNvPr id="1831" name="Freeform: Shape 1830">
                    <a:extLst>
                      <a:ext uri="{FF2B5EF4-FFF2-40B4-BE49-F238E27FC236}">
                        <a16:creationId xmlns:a16="http://schemas.microsoft.com/office/drawing/2014/main" id="{394067C4-8713-4BC6-BA89-CC589CEF7189}"/>
                      </a:ext>
                    </a:extLst>
                  </p:cNvPr>
                  <p:cNvSpPr/>
                  <p:nvPr/>
                </p:nvSpPr>
                <p:spPr>
                  <a:xfrm>
                    <a:off x="14216623" y="1475232"/>
                    <a:ext cx="3562350" cy="4467225"/>
                  </a:xfrm>
                  <a:custGeom>
                    <a:avLst/>
                    <a:gdLst>
                      <a:gd name="connsiteX0" fmla="*/ 0 w 3562350"/>
                      <a:gd name="connsiteY0" fmla="*/ 549814 h 4467225"/>
                      <a:gd name="connsiteX1" fmla="*/ 2790597 w 3562350"/>
                      <a:gd name="connsiteY1" fmla="*/ 0 h 4467225"/>
                      <a:gd name="connsiteX2" fmla="*/ 3563231 w 3562350"/>
                      <a:gd name="connsiteY2" fmla="*/ 3921526 h 4467225"/>
                      <a:gd name="connsiteX3" fmla="*/ 772634 w 3562350"/>
                      <a:gd name="connsiteY3" fmla="*/ 4471340 h 44672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3562350" h="4467225">
                        <a:moveTo>
                          <a:pt x="0" y="549814"/>
                        </a:moveTo>
                        <a:lnTo>
                          <a:pt x="2790597" y="0"/>
                        </a:lnTo>
                        <a:lnTo>
                          <a:pt x="3563231" y="3921526"/>
                        </a:lnTo>
                        <a:lnTo>
                          <a:pt x="772634" y="4471340"/>
                        </a:lnTo>
                        <a:close/>
                      </a:path>
                    </a:pathLst>
                  </a:custGeom>
                  <a:solidFill>
                    <a:srgbClr val="F4F1F3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832" name="Freeform: Shape 1831">
                    <a:extLst>
                      <a:ext uri="{FF2B5EF4-FFF2-40B4-BE49-F238E27FC236}">
                        <a16:creationId xmlns:a16="http://schemas.microsoft.com/office/drawing/2014/main" id="{4AFD8E4B-2E05-4069-94DB-175BE645C330}"/>
                      </a:ext>
                    </a:extLst>
                  </p:cNvPr>
                  <p:cNvSpPr/>
                  <p:nvPr/>
                </p:nvSpPr>
                <p:spPr>
                  <a:xfrm>
                    <a:off x="14573269" y="2327014"/>
                    <a:ext cx="2409825" cy="533400"/>
                  </a:xfrm>
                  <a:custGeom>
                    <a:avLst/>
                    <a:gdLst>
                      <a:gd name="connsiteX0" fmla="*/ 2399696 w 2409825"/>
                      <a:gd name="connsiteY0" fmla="*/ 68452 h 533400"/>
                      <a:gd name="connsiteX1" fmla="*/ 24352 w 2409825"/>
                      <a:gd name="connsiteY1" fmla="*/ 536416 h 533400"/>
                      <a:gd name="connsiteX2" fmla="*/ 8540 w 2409825"/>
                      <a:gd name="connsiteY2" fmla="*/ 525843 h 533400"/>
                      <a:gd name="connsiteX3" fmla="*/ 253 w 2409825"/>
                      <a:gd name="connsiteY3" fmla="*/ 484028 h 533400"/>
                      <a:gd name="connsiteX4" fmla="*/ 10826 w 2409825"/>
                      <a:gd name="connsiteY4" fmla="*/ 468217 h 533400"/>
                      <a:gd name="connsiteX5" fmla="*/ 2386171 w 2409825"/>
                      <a:gd name="connsiteY5" fmla="*/ 253 h 533400"/>
                      <a:gd name="connsiteX6" fmla="*/ 2401982 w 2409825"/>
                      <a:gd name="connsiteY6" fmla="*/ 10826 h 533400"/>
                      <a:gd name="connsiteX7" fmla="*/ 2410269 w 2409825"/>
                      <a:gd name="connsiteY7" fmla="*/ 52641 h 533400"/>
                      <a:gd name="connsiteX8" fmla="*/ 2399696 w 2409825"/>
                      <a:gd name="connsiteY8" fmla="*/ 68452 h 5334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2409825" h="533400">
                        <a:moveTo>
                          <a:pt x="2399696" y="68452"/>
                        </a:moveTo>
                        <a:lnTo>
                          <a:pt x="24352" y="536416"/>
                        </a:lnTo>
                        <a:cubicBezTo>
                          <a:pt x="17017" y="537844"/>
                          <a:pt x="9969" y="533082"/>
                          <a:pt x="8540" y="525843"/>
                        </a:cubicBezTo>
                        <a:lnTo>
                          <a:pt x="253" y="484028"/>
                        </a:lnTo>
                        <a:cubicBezTo>
                          <a:pt x="-1176" y="476694"/>
                          <a:pt x="3587" y="469645"/>
                          <a:pt x="10826" y="468217"/>
                        </a:cubicBezTo>
                        <a:lnTo>
                          <a:pt x="2386171" y="253"/>
                        </a:lnTo>
                        <a:cubicBezTo>
                          <a:pt x="2393505" y="-1175"/>
                          <a:pt x="2400553" y="3587"/>
                          <a:pt x="2401982" y="10826"/>
                        </a:cubicBezTo>
                        <a:lnTo>
                          <a:pt x="2410269" y="52641"/>
                        </a:lnTo>
                        <a:cubicBezTo>
                          <a:pt x="2411698" y="59975"/>
                          <a:pt x="2406935" y="67024"/>
                          <a:pt x="2399696" y="68452"/>
                        </a:cubicBezTo>
                        <a:close/>
                      </a:path>
                    </a:pathLst>
                  </a:custGeom>
                  <a:solidFill>
                    <a:schemeClr val="bg1">
                      <a:lumMod val="85000"/>
                    </a:schemeClr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833" name="Freeform: Shape 1832">
                    <a:extLst>
                      <a:ext uri="{FF2B5EF4-FFF2-40B4-BE49-F238E27FC236}">
                        <a16:creationId xmlns:a16="http://schemas.microsoft.com/office/drawing/2014/main" id="{4BD5017B-795F-4F35-8354-F0DAD98FC401}"/>
                      </a:ext>
                    </a:extLst>
                  </p:cNvPr>
                  <p:cNvSpPr/>
                  <p:nvPr/>
                </p:nvSpPr>
                <p:spPr>
                  <a:xfrm>
                    <a:off x="14595272" y="2438742"/>
                    <a:ext cx="2409825" cy="533400"/>
                  </a:xfrm>
                  <a:custGeom>
                    <a:avLst/>
                    <a:gdLst>
                      <a:gd name="connsiteX0" fmla="*/ 2399696 w 2409825"/>
                      <a:gd name="connsiteY0" fmla="*/ 68452 h 533400"/>
                      <a:gd name="connsiteX1" fmla="*/ 24352 w 2409825"/>
                      <a:gd name="connsiteY1" fmla="*/ 536416 h 533400"/>
                      <a:gd name="connsiteX2" fmla="*/ 8540 w 2409825"/>
                      <a:gd name="connsiteY2" fmla="*/ 525843 h 533400"/>
                      <a:gd name="connsiteX3" fmla="*/ 253 w 2409825"/>
                      <a:gd name="connsiteY3" fmla="*/ 484028 h 533400"/>
                      <a:gd name="connsiteX4" fmla="*/ 10826 w 2409825"/>
                      <a:gd name="connsiteY4" fmla="*/ 468217 h 533400"/>
                      <a:gd name="connsiteX5" fmla="*/ 2386171 w 2409825"/>
                      <a:gd name="connsiteY5" fmla="*/ 253 h 533400"/>
                      <a:gd name="connsiteX6" fmla="*/ 2401982 w 2409825"/>
                      <a:gd name="connsiteY6" fmla="*/ 10826 h 533400"/>
                      <a:gd name="connsiteX7" fmla="*/ 2410269 w 2409825"/>
                      <a:gd name="connsiteY7" fmla="*/ 52641 h 533400"/>
                      <a:gd name="connsiteX8" fmla="*/ 2399696 w 2409825"/>
                      <a:gd name="connsiteY8" fmla="*/ 68452 h 5334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2409825" h="533400">
                        <a:moveTo>
                          <a:pt x="2399696" y="68452"/>
                        </a:moveTo>
                        <a:lnTo>
                          <a:pt x="24352" y="536416"/>
                        </a:lnTo>
                        <a:cubicBezTo>
                          <a:pt x="17017" y="537844"/>
                          <a:pt x="9969" y="533082"/>
                          <a:pt x="8540" y="525843"/>
                        </a:cubicBezTo>
                        <a:lnTo>
                          <a:pt x="253" y="484028"/>
                        </a:lnTo>
                        <a:cubicBezTo>
                          <a:pt x="-1176" y="476694"/>
                          <a:pt x="3587" y="469645"/>
                          <a:pt x="10826" y="468217"/>
                        </a:cubicBezTo>
                        <a:lnTo>
                          <a:pt x="2386171" y="253"/>
                        </a:lnTo>
                        <a:cubicBezTo>
                          <a:pt x="2393505" y="-1175"/>
                          <a:pt x="2400553" y="3587"/>
                          <a:pt x="2401982" y="10826"/>
                        </a:cubicBezTo>
                        <a:lnTo>
                          <a:pt x="2410269" y="52641"/>
                        </a:lnTo>
                        <a:cubicBezTo>
                          <a:pt x="2411698" y="59880"/>
                          <a:pt x="2406935" y="67024"/>
                          <a:pt x="2399696" y="68452"/>
                        </a:cubicBezTo>
                        <a:close/>
                      </a:path>
                    </a:pathLst>
                  </a:custGeom>
                  <a:solidFill>
                    <a:schemeClr val="bg1">
                      <a:lumMod val="85000"/>
                    </a:schemeClr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834" name="Freeform: Shape 1833">
                    <a:extLst>
                      <a:ext uri="{FF2B5EF4-FFF2-40B4-BE49-F238E27FC236}">
                        <a16:creationId xmlns:a16="http://schemas.microsoft.com/office/drawing/2014/main" id="{422CC226-C273-40B9-BCB3-FAF3ABD11CCF}"/>
                      </a:ext>
                    </a:extLst>
                  </p:cNvPr>
                  <p:cNvSpPr/>
                  <p:nvPr/>
                </p:nvSpPr>
                <p:spPr>
                  <a:xfrm>
                    <a:off x="14617275" y="2550375"/>
                    <a:ext cx="2409825" cy="533400"/>
                  </a:xfrm>
                  <a:custGeom>
                    <a:avLst/>
                    <a:gdLst>
                      <a:gd name="connsiteX0" fmla="*/ 2399696 w 2409825"/>
                      <a:gd name="connsiteY0" fmla="*/ 68452 h 533400"/>
                      <a:gd name="connsiteX1" fmla="*/ 24352 w 2409825"/>
                      <a:gd name="connsiteY1" fmla="*/ 536416 h 533400"/>
                      <a:gd name="connsiteX2" fmla="*/ 8540 w 2409825"/>
                      <a:gd name="connsiteY2" fmla="*/ 525843 h 533400"/>
                      <a:gd name="connsiteX3" fmla="*/ 253 w 2409825"/>
                      <a:gd name="connsiteY3" fmla="*/ 484028 h 533400"/>
                      <a:gd name="connsiteX4" fmla="*/ 10826 w 2409825"/>
                      <a:gd name="connsiteY4" fmla="*/ 468216 h 533400"/>
                      <a:gd name="connsiteX5" fmla="*/ 2386171 w 2409825"/>
                      <a:gd name="connsiteY5" fmla="*/ 253 h 533400"/>
                      <a:gd name="connsiteX6" fmla="*/ 2401982 w 2409825"/>
                      <a:gd name="connsiteY6" fmla="*/ 10826 h 533400"/>
                      <a:gd name="connsiteX7" fmla="*/ 2410269 w 2409825"/>
                      <a:gd name="connsiteY7" fmla="*/ 52641 h 533400"/>
                      <a:gd name="connsiteX8" fmla="*/ 2399696 w 2409825"/>
                      <a:gd name="connsiteY8" fmla="*/ 68452 h 5334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2409825" h="533400">
                        <a:moveTo>
                          <a:pt x="2399696" y="68452"/>
                        </a:moveTo>
                        <a:lnTo>
                          <a:pt x="24352" y="536416"/>
                        </a:lnTo>
                        <a:cubicBezTo>
                          <a:pt x="17017" y="537844"/>
                          <a:pt x="9969" y="533082"/>
                          <a:pt x="8540" y="525843"/>
                        </a:cubicBezTo>
                        <a:lnTo>
                          <a:pt x="253" y="484028"/>
                        </a:lnTo>
                        <a:cubicBezTo>
                          <a:pt x="-1175" y="476694"/>
                          <a:pt x="3587" y="469645"/>
                          <a:pt x="10826" y="468216"/>
                        </a:cubicBezTo>
                        <a:lnTo>
                          <a:pt x="2386171" y="253"/>
                        </a:lnTo>
                        <a:cubicBezTo>
                          <a:pt x="2393505" y="-1175"/>
                          <a:pt x="2400553" y="3587"/>
                          <a:pt x="2401982" y="10826"/>
                        </a:cubicBezTo>
                        <a:lnTo>
                          <a:pt x="2410269" y="52641"/>
                        </a:lnTo>
                        <a:cubicBezTo>
                          <a:pt x="2411698" y="59975"/>
                          <a:pt x="2406935" y="67024"/>
                          <a:pt x="2399696" y="68452"/>
                        </a:cubicBezTo>
                        <a:close/>
                      </a:path>
                    </a:pathLst>
                  </a:custGeom>
                  <a:solidFill>
                    <a:schemeClr val="bg1">
                      <a:lumMod val="85000"/>
                    </a:schemeClr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835" name="Freeform: Shape 1834">
                    <a:extLst>
                      <a:ext uri="{FF2B5EF4-FFF2-40B4-BE49-F238E27FC236}">
                        <a16:creationId xmlns:a16="http://schemas.microsoft.com/office/drawing/2014/main" id="{F070A225-D8FE-4122-97BB-76D60CBC9E39}"/>
                      </a:ext>
                    </a:extLst>
                  </p:cNvPr>
                  <p:cNvSpPr/>
                  <p:nvPr/>
                </p:nvSpPr>
                <p:spPr>
                  <a:xfrm>
                    <a:off x="14658137" y="2757925"/>
                    <a:ext cx="2400300" cy="514350"/>
                  </a:xfrm>
                  <a:custGeom>
                    <a:avLst/>
                    <a:gdLst>
                      <a:gd name="connsiteX0" fmla="*/ 2396267 w 2400300"/>
                      <a:gd name="connsiteY0" fmla="*/ 51307 h 514350"/>
                      <a:gd name="connsiteX1" fmla="*/ 20923 w 2400300"/>
                      <a:gd name="connsiteY1" fmla="*/ 519271 h 514350"/>
                      <a:gd name="connsiteX2" fmla="*/ 5111 w 2400300"/>
                      <a:gd name="connsiteY2" fmla="*/ 508698 h 514350"/>
                      <a:gd name="connsiteX3" fmla="*/ 253 w 2400300"/>
                      <a:gd name="connsiteY3" fmla="*/ 484028 h 514350"/>
                      <a:gd name="connsiteX4" fmla="*/ 10826 w 2400300"/>
                      <a:gd name="connsiteY4" fmla="*/ 468217 h 514350"/>
                      <a:gd name="connsiteX5" fmla="*/ 2386171 w 2400300"/>
                      <a:gd name="connsiteY5" fmla="*/ 253 h 514350"/>
                      <a:gd name="connsiteX6" fmla="*/ 2401982 w 2400300"/>
                      <a:gd name="connsiteY6" fmla="*/ 10826 h 514350"/>
                      <a:gd name="connsiteX7" fmla="*/ 2406840 w 2400300"/>
                      <a:gd name="connsiteY7" fmla="*/ 35496 h 514350"/>
                      <a:gd name="connsiteX8" fmla="*/ 2396267 w 2400300"/>
                      <a:gd name="connsiteY8" fmla="*/ 51307 h 5143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2400300" h="514350">
                        <a:moveTo>
                          <a:pt x="2396267" y="51307"/>
                        </a:moveTo>
                        <a:lnTo>
                          <a:pt x="20923" y="519271"/>
                        </a:lnTo>
                        <a:cubicBezTo>
                          <a:pt x="13588" y="520699"/>
                          <a:pt x="6540" y="515937"/>
                          <a:pt x="5111" y="508698"/>
                        </a:cubicBezTo>
                        <a:lnTo>
                          <a:pt x="253" y="484028"/>
                        </a:lnTo>
                        <a:cubicBezTo>
                          <a:pt x="-1175" y="476694"/>
                          <a:pt x="3587" y="469645"/>
                          <a:pt x="10826" y="468217"/>
                        </a:cubicBezTo>
                        <a:lnTo>
                          <a:pt x="2386171" y="253"/>
                        </a:lnTo>
                        <a:cubicBezTo>
                          <a:pt x="2393505" y="-1175"/>
                          <a:pt x="2400553" y="3587"/>
                          <a:pt x="2401982" y="10826"/>
                        </a:cubicBezTo>
                        <a:lnTo>
                          <a:pt x="2406840" y="35496"/>
                        </a:lnTo>
                        <a:cubicBezTo>
                          <a:pt x="2408364" y="42735"/>
                          <a:pt x="2403601" y="49879"/>
                          <a:pt x="2396267" y="51307"/>
                        </a:cubicBezTo>
                        <a:close/>
                      </a:path>
                    </a:pathLst>
                  </a:custGeom>
                  <a:solidFill>
                    <a:schemeClr val="bg1">
                      <a:lumMod val="85000"/>
                    </a:schemeClr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836" name="Freeform: Shape 1835">
                    <a:extLst>
                      <a:ext uri="{FF2B5EF4-FFF2-40B4-BE49-F238E27FC236}">
                        <a16:creationId xmlns:a16="http://schemas.microsoft.com/office/drawing/2014/main" id="{D676743D-136A-47C2-99D7-52C699A0805F}"/>
                      </a:ext>
                    </a:extLst>
                  </p:cNvPr>
                  <p:cNvSpPr/>
                  <p:nvPr/>
                </p:nvSpPr>
                <p:spPr>
                  <a:xfrm>
                    <a:off x="15510624" y="3022720"/>
                    <a:ext cx="733425" cy="190500"/>
                  </a:xfrm>
                  <a:custGeom>
                    <a:avLst/>
                    <a:gdLst>
                      <a:gd name="connsiteX0" fmla="*/ 731202 w 733425"/>
                      <a:gd name="connsiteY0" fmla="*/ 51307 h 190500"/>
                      <a:gd name="connsiteX1" fmla="*/ 20923 w 733425"/>
                      <a:gd name="connsiteY1" fmla="*/ 191230 h 190500"/>
                      <a:gd name="connsiteX2" fmla="*/ 5111 w 733425"/>
                      <a:gd name="connsiteY2" fmla="*/ 180657 h 190500"/>
                      <a:gd name="connsiteX3" fmla="*/ 253 w 733425"/>
                      <a:gd name="connsiteY3" fmla="*/ 155987 h 190500"/>
                      <a:gd name="connsiteX4" fmla="*/ 10826 w 733425"/>
                      <a:gd name="connsiteY4" fmla="*/ 140176 h 190500"/>
                      <a:gd name="connsiteX5" fmla="*/ 721105 w 733425"/>
                      <a:gd name="connsiteY5" fmla="*/ 253 h 190500"/>
                      <a:gd name="connsiteX6" fmla="*/ 736917 w 733425"/>
                      <a:gd name="connsiteY6" fmla="*/ 10826 h 190500"/>
                      <a:gd name="connsiteX7" fmla="*/ 741775 w 733425"/>
                      <a:gd name="connsiteY7" fmla="*/ 35496 h 190500"/>
                      <a:gd name="connsiteX8" fmla="*/ 731202 w 733425"/>
                      <a:gd name="connsiteY8" fmla="*/ 51307 h 1905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733425" h="190500">
                        <a:moveTo>
                          <a:pt x="731202" y="51307"/>
                        </a:moveTo>
                        <a:lnTo>
                          <a:pt x="20923" y="191230"/>
                        </a:lnTo>
                        <a:cubicBezTo>
                          <a:pt x="13588" y="192658"/>
                          <a:pt x="6540" y="187896"/>
                          <a:pt x="5111" y="180657"/>
                        </a:cubicBezTo>
                        <a:lnTo>
                          <a:pt x="253" y="155987"/>
                        </a:lnTo>
                        <a:cubicBezTo>
                          <a:pt x="-1175" y="148653"/>
                          <a:pt x="3587" y="141604"/>
                          <a:pt x="10826" y="140176"/>
                        </a:cubicBezTo>
                        <a:lnTo>
                          <a:pt x="721105" y="253"/>
                        </a:lnTo>
                        <a:cubicBezTo>
                          <a:pt x="728440" y="-1175"/>
                          <a:pt x="735488" y="3587"/>
                          <a:pt x="736917" y="10826"/>
                        </a:cubicBezTo>
                        <a:lnTo>
                          <a:pt x="741775" y="35496"/>
                        </a:lnTo>
                        <a:cubicBezTo>
                          <a:pt x="743203" y="42830"/>
                          <a:pt x="738441" y="49879"/>
                          <a:pt x="731202" y="51307"/>
                        </a:cubicBezTo>
                        <a:close/>
                      </a:path>
                    </a:pathLst>
                  </a:custGeom>
                  <a:solidFill>
                    <a:schemeClr val="bg1">
                      <a:lumMod val="85000"/>
                    </a:schemeClr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837" name="Freeform: Shape 1836">
                    <a:extLst>
                      <a:ext uri="{FF2B5EF4-FFF2-40B4-BE49-F238E27FC236}">
                        <a16:creationId xmlns:a16="http://schemas.microsoft.com/office/drawing/2014/main" id="{E31BDB33-B321-42F0-BE7A-3DA7546134DF}"/>
                      </a:ext>
                    </a:extLst>
                  </p:cNvPr>
                  <p:cNvSpPr/>
                  <p:nvPr/>
                </p:nvSpPr>
                <p:spPr>
                  <a:xfrm>
                    <a:off x="14705377" y="3125968"/>
                    <a:ext cx="1752600" cy="400050"/>
                  </a:xfrm>
                  <a:custGeom>
                    <a:avLst/>
                    <a:gdLst>
                      <a:gd name="connsiteX0" fmla="*/ 24355 w 1752600"/>
                      <a:gd name="connsiteY0" fmla="*/ 407927 h 400050"/>
                      <a:gd name="connsiteX1" fmla="*/ 1747237 w 1752600"/>
                      <a:gd name="connsiteY1" fmla="*/ 68456 h 400050"/>
                      <a:gd name="connsiteX2" fmla="*/ 1757810 w 1752600"/>
                      <a:gd name="connsiteY2" fmla="*/ 52644 h 400050"/>
                      <a:gd name="connsiteX3" fmla="*/ 1749523 w 1752600"/>
                      <a:gd name="connsiteY3" fmla="*/ 10830 h 400050"/>
                      <a:gd name="connsiteX4" fmla="*/ 1733712 w 1752600"/>
                      <a:gd name="connsiteY4" fmla="*/ 257 h 400050"/>
                      <a:gd name="connsiteX5" fmla="*/ 10830 w 1752600"/>
                      <a:gd name="connsiteY5" fmla="*/ 339728 h 400050"/>
                      <a:gd name="connsiteX6" fmla="*/ 257 w 1752600"/>
                      <a:gd name="connsiteY6" fmla="*/ 355539 h 400050"/>
                      <a:gd name="connsiteX7" fmla="*/ 8544 w 1752600"/>
                      <a:gd name="connsiteY7" fmla="*/ 397354 h 400050"/>
                      <a:gd name="connsiteX8" fmla="*/ 24355 w 1752600"/>
                      <a:gd name="connsiteY8" fmla="*/ 407927 h 4000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752600" h="400050">
                        <a:moveTo>
                          <a:pt x="24355" y="407927"/>
                        </a:moveTo>
                        <a:lnTo>
                          <a:pt x="1747237" y="68456"/>
                        </a:lnTo>
                        <a:cubicBezTo>
                          <a:pt x="1754572" y="67027"/>
                          <a:pt x="1759239" y="59979"/>
                          <a:pt x="1757810" y="52644"/>
                        </a:cubicBezTo>
                        <a:lnTo>
                          <a:pt x="1749523" y="10830"/>
                        </a:lnTo>
                        <a:cubicBezTo>
                          <a:pt x="1748094" y="3495"/>
                          <a:pt x="1741046" y="-1172"/>
                          <a:pt x="1733712" y="257"/>
                        </a:cubicBezTo>
                        <a:lnTo>
                          <a:pt x="10830" y="339728"/>
                        </a:lnTo>
                        <a:cubicBezTo>
                          <a:pt x="3495" y="341157"/>
                          <a:pt x="-1172" y="348205"/>
                          <a:pt x="257" y="355539"/>
                        </a:cubicBezTo>
                        <a:lnTo>
                          <a:pt x="8544" y="397354"/>
                        </a:lnTo>
                        <a:cubicBezTo>
                          <a:pt x="9972" y="404689"/>
                          <a:pt x="17021" y="409356"/>
                          <a:pt x="24355" y="407927"/>
                        </a:cubicBezTo>
                        <a:close/>
                      </a:path>
                    </a:pathLst>
                  </a:custGeom>
                  <a:solidFill>
                    <a:schemeClr val="bg1">
                      <a:lumMod val="85000"/>
                    </a:schemeClr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838" name="Freeform: Shape 1837">
                    <a:extLst>
                      <a:ext uri="{FF2B5EF4-FFF2-40B4-BE49-F238E27FC236}">
                        <a16:creationId xmlns:a16="http://schemas.microsoft.com/office/drawing/2014/main" id="{D699868C-4B8A-4412-9EE2-940EBF685232}"/>
                      </a:ext>
                    </a:extLst>
                  </p:cNvPr>
                  <p:cNvSpPr/>
                  <p:nvPr/>
                </p:nvSpPr>
                <p:spPr>
                  <a:xfrm>
                    <a:off x="14729095" y="3246554"/>
                    <a:ext cx="1752600" cy="400050"/>
                  </a:xfrm>
                  <a:custGeom>
                    <a:avLst/>
                    <a:gdLst>
                      <a:gd name="connsiteX0" fmla="*/ 24355 w 1752600"/>
                      <a:gd name="connsiteY0" fmla="*/ 407927 h 400050"/>
                      <a:gd name="connsiteX1" fmla="*/ 1747237 w 1752600"/>
                      <a:gd name="connsiteY1" fmla="*/ 68456 h 400050"/>
                      <a:gd name="connsiteX2" fmla="*/ 1757810 w 1752600"/>
                      <a:gd name="connsiteY2" fmla="*/ 52644 h 400050"/>
                      <a:gd name="connsiteX3" fmla="*/ 1749523 w 1752600"/>
                      <a:gd name="connsiteY3" fmla="*/ 10830 h 400050"/>
                      <a:gd name="connsiteX4" fmla="*/ 1733712 w 1752600"/>
                      <a:gd name="connsiteY4" fmla="*/ 257 h 400050"/>
                      <a:gd name="connsiteX5" fmla="*/ 10830 w 1752600"/>
                      <a:gd name="connsiteY5" fmla="*/ 339728 h 400050"/>
                      <a:gd name="connsiteX6" fmla="*/ 257 w 1752600"/>
                      <a:gd name="connsiteY6" fmla="*/ 355539 h 400050"/>
                      <a:gd name="connsiteX7" fmla="*/ 8544 w 1752600"/>
                      <a:gd name="connsiteY7" fmla="*/ 397354 h 400050"/>
                      <a:gd name="connsiteX8" fmla="*/ 24355 w 1752600"/>
                      <a:gd name="connsiteY8" fmla="*/ 407927 h 4000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752600" h="400050">
                        <a:moveTo>
                          <a:pt x="24355" y="407927"/>
                        </a:moveTo>
                        <a:lnTo>
                          <a:pt x="1747237" y="68456"/>
                        </a:lnTo>
                        <a:cubicBezTo>
                          <a:pt x="1754571" y="67027"/>
                          <a:pt x="1759239" y="59979"/>
                          <a:pt x="1757810" y="52644"/>
                        </a:cubicBezTo>
                        <a:lnTo>
                          <a:pt x="1749523" y="10830"/>
                        </a:lnTo>
                        <a:cubicBezTo>
                          <a:pt x="1748095" y="3495"/>
                          <a:pt x="1741046" y="-1172"/>
                          <a:pt x="1733712" y="257"/>
                        </a:cubicBezTo>
                        <a:lnTo>
                          <a:pt x="10830" y="339728"/>
                        </a:lnTo>
                        <a:cubicBezTo>
                          <a:pt x="3495" y="341157"/>
                          <a:pt x="-1172" y="348205"/>
                          <a:pt x="257" y="355539"/>
                        </a:cubicBezTo>
                        <a:lnTo>
                          <a:pt x="8544" y="397354"/>
                        </a:lnTo>
                        <a:cubicBezTo>
                          <a:pt x="9972" y="404689"/>
                          <a:pt x="17116" y="409356"/>
                          <a:pt x="24355" y="407927"/>
                        </a:cubicBezTo>
                        <a:close/>
                      </a:path>
                    </a:pathLst>
                  </a:custGeom>
                  <a:solidFill>
                    <a:schemeClr val="bg1">
                      <a:lumMod val="85000"/>
                    </a:schemeClr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839" name="Freeform: Shape 1838">
                    <a:extLst>
                      <a:ext uri="{FF2B5EF4-FFF2-40B4-BE49-F238E27FC236}">
                        <a16:creationId xmlns:a16="http://schemas.microsoft.com/office/drawing/2014/main" id="{2C035165-3C5F-4A2E-A595-3938AE2FBE17}"/>
                      </a:ext>
                    </a:extLst>
                  </p:cNvPr>
                  <p:cNvSpPr/>
                  <p:nvPr/>
                </p:nvSpPr>
                <p:spPr>
                  <a:xfrm>
                    <a:off x="14752812" y="3367236"/>
                    <a:ext cx="1752600" cy="400050"/>
                  </a:xfrm>
                  <a:custGeom>
                    <a:avLst/>
                    <a:gdLst>
                      <a:gd name="connsiteX0" fmla="*/ 24451 w 1752600"/>
                      <a:gd name="connsiteY0" fmla="*/ 407832 h 400050"/>
                      <a:gd name="connsiteX1" fmla="*/ 1747237 w 1752600"/>
                      <a:gd name="connsiteY1" fmla="*/ 68456 h 400050"/>
                      <a:gd name="connsiteX2" fmla="*/ 1757810 w 1752600"/>
                      <a:gd name="connsiteY2" fmla="*/ 52644 h 400050"/>
                      <a:gd name="connsiteX3" fmla="*/ 1749523 w 1752600"/>
                      <a:gd name="connsiteY3" fmla="*/ 10830 h 400050"/>
                      <a:gd name="connsiteX4" fmla="*/ 1733712 w 1752600"/>
                      <a:gd name="connsiteY4" fmla="*/ 257 h 400050"/>
                      <a:gd name="connsiteX5" fmla="*/ 10830 w 1752600"/>
                      <a:gd name="connsiteY5" fmla="*/ 339728 h 400050"/>
                      <a:gd name="connsiteX6" fmla="*/ 257 w 1752600"/>
                      <a:gd name="connsiteY6" fmla="*/ 355539 h 400050"/>
                      <a:gd name="connsiteX7" fmla="*/ 8544 w 1752600"/>
                      <a:gd name="connsiteY7" fmla="*/ 397354 h 400050"/>
                      <a:gd name="connsiteX8" fmla="*/ 24451 w 1752600"/>
                      <a:gd name="connsiteY8" fmla="*/ 407832 h 4000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752600" h="400050">
                        <a:moveTo>
                          <a:pt x="24451" y="407832"/>
                        </a:moveTo>
                        <a:lnTo>
                          <a:pt x="1747237" y="68456"/>
                        </a:lnTo>
                        <a:cubicBezTo>
                          <a:pt x="1754571" y="67027"/>
                          <a:pt x="1759239" y="59979"/>
                          <a:pt x="1757810" y="52644"/>
                        </a:cubicBezTo>
                        <a:lnTo>
                          <a:pt x="1749523" y="10830"/>
                        </a:lnTo>
                        <a:cubicBezTo>
                          <a:pt x="1748095" y="3495"/>
                          <a:pt x="1741046" y="-1172"/>
                          <a:pt x="1733712" y="257"/>
                        </a:cubicBezTo>
                        <a:lnTo>
                          <a:pt x="10830" y="339728"/>
                        </a:lnTo>
                        <a:cubicBezTo>
                          <a:pt x="3495" y="341157"/>
                          <a:pt x="-1172" y="348205"/>
                          <a:pt x="257" y="355539"/>
                        </a:cubicBezTo>
                        <a:lnTo>
                          <a:pt x="8544" y="397354"/>
                        </a:lnTo>
                        <a:cubicBezTo>
                          <a:pt x="10068" y="404498"/>
                          <a:pt x="17116" y="409260"/>
                          <a:pt x="24451" y="407832"/>
                        </a:cubicBezTo>
                        <a:close/>
                      </a:path>
                    </a:pathLst>
                  </a:custGeom>
                  <a:solidFill>
                    <a:schemeClr val="bg1">
                      <a:lumMod val="85000"/>
                    </a:schemeClr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840" name="Freeform: Shape 1839">
                    <a:extLst>
                      <a:ext uri="{FF2B5EF4-FFF2-40B4-BE49-F238E27FC236}">
                        <a16:creationId xmlns:a16="http://schemas.microsoft.com/office/drawing/2014/main" id="{84E95131-C55E-4C3B-92AB-527DB8F2C5C6}"/>
                      </a:ext>
                    </a:extLst>
                  </p:cNvPr>
                  <p:cNvSpPr/>
                  <p:nvPr/>
                </p:nvSpPr>
                <p:spPr>
                  <a:xfrm>
                    <a:off x="14776624" y="3487727"/>
                    <a:ext cx="1752600" cy="400050"/>
                  </a:xfrm>
                  <a:custGeom>
                    <a:avLst/>
                    <a:gdLst>
                      <a:gd name="connsiteX0" fmla="*/ 24355 w 1752600"/>
                      <a:gd name="connsiteY0" fmla="*/ 407927 h 400050"/>
                      <a:gd name="connsiteX1" fmla="*/ 1747237 w 1752600"/>
                      <a:gd name="connsiteY1" fmla="*/ 68456 h 400050"/>
                      <a:gd name="connsiteX2" fmla="*/ 1757810 w 1752600"/>
                      <a:gd name="connsiteY2" fmla="*/ 52644 h 400050"/>
                      <a:gd name="connsiteX3" fmla="*/ 1749523 w 1752600"/>
                      <a:gd name="connsiteY3" fmla="*/ 10830 h 400050"/>
                      <a:gd name="connsiteX4" fmla="*/ 1733712 w 1752600"/>
                      <a:gd name="connsiteY4" fmla="*/ 257 h 400050"/>
                      <a:gd name="connsiteX5" fmla="*/ 10830 w 1752600"/>
                      <a:gd name="connsiteY5" fmla="*/ 339728 h 400050"/>
                      <a:gd name="connsiteX6" fmla="*/ 257 w 1752600"/>
                      <a:gd name="connsiteY6" fmla="*/ 355539 h 400050"/>
                      <a:gd name="connsiteX7" fmla="*/ 8544 w 1752600"/>
                      <a:gd name="connsiteY7" fmla="*/ 397354 h 400050"/>
                      <a:gd name="connsiteX8" fmla="*/ 24355 w 1752600"/>
                      <a:gd name="connsiteY8" fmla="*/ 407927 h 4000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752600" h="400050">
                        <a:moveTo>
                          <a:pt x="24355" y="407927"/>
                        </a:moveTo>
                        <a:lnTo>
                          <a:pt x="1747237" y="68456"/>
                        </a:lnTo>
                        <a:cubicBezTo>
                          <a:pt x="1754571" y="67027"/>
                          <a:pt x="1759239" y="59979"/>
                          <a:pt x="1757810" y="52644"/>
                        </a:cubicBezTo>
                        <a:lnTo>
                          <a:pt x="1749523" y="10830"/>
                        </a:lnTo>
                        <a:cubicBezTo>
                          <a:pt x="1748095" y="3495"/>
                          <a:pt x="1741046" y="-1172"/>
                          <a:pt x="1733712" y="257"/>
                        </a:cubicBezTo>
                        <a:lnTo>
                          <a:pt x="10830" y="339728"/>
                        </a:lnTo>
                        <a:cubicBezTo>
                          <a:pt x="3495" y="341157"/>
                          <a:pt x="-1172" y="348205"/>
                          <a:pt x="257" y="355539"/>
                        </a:cubicBezTo>
                        <a:lnTo>
                          <a:pt x="8544" y="397354"/>
                        </a:lnTo>
                        <a:cubicBezTo>
                          <a:pt x="9972" y="404593"/>
                          <a:pt x="17021" y="409356"/>
                          <a:pt x="24355" y="407927"/>
                        </a:cubicBezTo>
                        <a:close/>
                      </a:path>
                    </a:pathLst>
                  </a:custGeom>
                  <a:solidFill>
                    <a:schemeClr val="bg1">
                      <a:lumMod val="85000"/>
                    </a:schemeClr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841" name="Freeform: Shape 1840">
                    <a:extLst>
                      <a:ext uri="{FF2B5EF4-FFF2-40B4-BE49-F238E27FC236}">
                        <a16:creationId xmlns:a16="http://schemas.microsoft.com/office/drawing/2014/main" id="{957DE35A-16BF-4EE2-BCD3-624A9A6B25D7}"/>
                      </a:ext>
                    </a:extLst>
                  </p:cNvPr>
                  <p:cNvSpPr/>
                  <p:nvPr/>
                </p:nvSpPr>
                <p:spPr>
                  <a:xfrm>
                    <a:off x="14800437" y="3608314"/>
                    <a:ext cx="1752600" cy="400050"/>
                  </a:xfrm>
                  <a:custGeom>
                    <a:avLst/>
                    <a:gdLst>
                      <a:gd name="connsiteX0" fmla="*/ 24355 w 1752600"/>
                      <a:gd name="connsiteY0" fmla="*/ 407927 h 400050"/>
                      <a:gd name="connsiteX1" fmla="*/ 1747237 w 1752600"/>
                      <a:gd name="connsiteY1" fmla="*/ 68456 h 400050"/>
                      <a:gd name="connsiteX2" fmla="*/ 1757810 w 1752600"/>
                      <a:gd name="connsiteY2" fmla="*/ 52644 h 400050"/>
                      <a:gd name="connsiteX3" fmla="*/ 1749523 w 1752600"/>
                      <a:gd name="connsiteY3" fmla="*/ 10830 h 400050"/>
                      <a:gd name="connsiteX4" fmla="*/ 1733712 w 1752600"/>
                      <a:gd name="connsiteY4" fmla="*/ 257 h 400050"/>
                      <a:gd name="connsiteX5" fmla="*/ 10830 w 1752600"/>
                      <a:gd name="connsiteY5" fmla="*/ 339633 h 400050"/>
                      <a:gd name="connsiteX6" fmla="*/ 257 w 1752600"/>
                      <a:gd name="connsiteY6" fmla="*/ 355444 h 400050"/>
                      <a:gd name="connsiteX7" fmla="*/ 8544 w 1752600"/>
                      <a:gd name="connsiteY7" fmla="*/ 397259 h 400050"/>
                      <a:gd name="connsiteX8" fmla="*/ 24355 w 1752600"/>
                      <a:gd name="connsiteY8" fmla="*/ 407927 h 4000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752600" h="400050">
                        <a:moveTo>
                          <a:pt x="24355" y="407927"/>
                        </a:moveTo>
                        <a:lnTo>
                          <a:pt x="1747237" y="68456"/>
                        </a:lnTo>
                        <a:cubicBezTo>
                          <a:pt x="1754571" y="67027"/>
                          <a:pt x="1759239" y="59979"/>
                          <a:pt x="1757810" y="52644"/>
                        </a:cubicBezTo>
                        <a:lnTo>
                          <a:pt x="1749523" y="10830"/>
                        </a:lnTo>
                        <a:cubicBezTo>
                          <a:pt x="1748095" y="3496"/>
                          <a:pt x="1741046" y="-1172"/>
                          <a:pt x="1733712" y="257"/>
                        </a:cubicBezTo>
                        <a:lnTo>
                          <a:pt x="10830" y="339633"/>
                        </a:lnTo>
                        <a:cubicBezTo>
                          <a:pt x="3495" y="341062"/>
                          <a:pt x="-1172" y="348110"/>
                          <a:pt x="257" y="355444"/>
                        </a:cubicBezTo>
                        <a:lnTo>
                          <a:pt x="8544" y="397259"/>
                        </a:lnTo>
                        <a:cubicBezTo>
                          <a:pt x="9972" y="404593"/>
                          <a:pt x="17021" y="409356"/>
                          <a:pt x="24355" y="407927"/>
                        </a:cubicBezTo>
                        <a:close/>
                      </a:path>
                    </a:pathLst>
                  </a:custGeom>
                  <a:solidFill>
                    <a:schemeClr val="bg1">
                      <a:lumMod val="85000"/>
                    </a:schemeClr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842" name="Freeform: Shape 1841">
                    <a:extLst>
                      <a:ext uri="{FF2B5EF4-FFF2-40B4-BE49-F238E27FC236}">
                        <a16:creationId xmlns:a16="http://schemas.microsoft.com/office/drawing/2014/main" id="{5B645537-AF88-48E5-80B4-163A8544D0BF}"/>
                      </a:ext>
                    </a:extLst>
                  </p:cNvPr>
                  <p:cNvSpPr/>
                  <p:nvPr/>
                </p:nvSpPr>
                <p:spPr>
                  <a:xfrm>
                    <a:off x="14824249" y="3728900"/>
                    <a:ext cx="1752600" cy="400050"/>
                  </a:xfrm>
                  <a:custGeom>
                    <a:avLst/>
                    <a:gdLst>
                      <a:gd name="connsiteX0" fmla="*/ 24260 w 1752600"/>
                      <a:gd name="connsiteY0" fmla="*/ 407927 h 400050"/>
                      <a:gd name="connsiteX1" fmla="*/ 1747142 w 1752600"/>
                      <a:gd name="connsiteY1" fmla="*/ 68456 h 400050"/>
                      <a:gd name="connsiteX2" fmla="*/ 1757715 w 1752600"/>
                      <a:gd name="connsiteY2" fmla="*/ 52644 h 400050"/>
                      <a:gd name="connsiteX3" fmla="*/ 1749428 w 1752600"/>
                      <a:gd name="connsiteY3" fmla="*/ 10830 h 400050"/>
                      <a:gd name="connsiteX4" fmla="*/ 1733617 w 1752600"/>
                      <a:gd name="connsiteY4" fmla="*/ 257 h 400050"/>
                      <a:gd name="connsiteX5" fmla="*/ 10830 w 1752600"/>
                      <a:gd name="connsiteY5" fmla="*/ 339633 h 400050"/>
                      <a:gd name="connsiteX6" fmla="*/ 257 w 1752600"/>
                      <a:gd name="connsiteY6" fmla="*/ 355444 h 400050"/>
                      <a:gd name="connsiteX7" fmla="*/ 8544 w 1752600"/>
                      <a:gd name="connsiteY7" fmla="*/ 397259 h 400050"/>
                      <a:gd name="connsiteX8" fmla="*/ 24260 w 1752600"/>
                      <a:gd name="connsiteY8" fmla="*/ 407927 h 4000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752600" h="400050">
                        <a:moveTo>
                          <a:pt x="24260" y="407927"/>
                        </a:moveTo>
                        <a:lnTo>
                          <a:pt x="1747142" y="68456"/>
                        </a:lnTo>
                        <a:cubicBezTo>
                          <a:pt x="1754476" y="67027"/>
                          <a:pt x="1759239" y="59979"/>
                          <a:pt x="1757715" y="52644"/>
                        </a:cubicBezTo>
                        <a:lnTo>
                          <a:pt x="1749428" y="10830"/>
                        </a:lnTo>
                        <a:cubicBezTo>
                          <a:pt x="1747999" y="3495"/>
                          <a:pt x="1740951" y="-1172"/>
                          <a:pt x="1733617" y="257"/>
                        </a:cubicBezTo>
                        <a:lnTo>
                          <a:pt x="10830" y="339633"/>
                        </a:lnTo>
                        <a:cubicBezTo>
                          <a:pt x="3495" y="341062"/>
                          <a:pt x="-1172" y="348110"/>
                          <a:pt x="257" y="355444"/>
                        </a:cubicBezTo>
                        <a:lnTo>
                          <a:pt x="8544" y="397259"/>
                        </a:lnTo>
                        <a:cubicBezTo>
                          <a:pt x="9877" y="404593"/>
                          <a:pt x="16926" y="409356"/>
                          <a:pt x="24260" y="407927"/>
                        </a:cubicBezTo>
                        <a:close/>
                      </a:path>
                    </a:pathLst>
                  </a:custGeom>
                  <a:solidFill>
                    <a:schemeClr val="bg1">
                      <a:lumMod val="85000"/>
                    </a:schemeClr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843" name="Freeform: Shape 1842">
                    <a:extLst>
                      <a:ext uri="{FF2B5EF4-FFF2-40B4-BE49-F238E27FC236}">
                        <a16:creationId xmlns:a16="http://schemas.microsoft.com/office/drawing/2014/main" id="{4FD5F08B-2236-4472-A179-67290FD20D72}"/>
                      </a:ext>
                    </a:extLst>
                  </p:cNvPr>
                  <p:cNvSpPr/>
                  <p:nvPr/>
                </p:nvSpPr>
                <p:spPr>
                  <a:xfrm>
                    <a:off x="16550465" y="2997475"/>
                    <a:ext cx="561975" cy="171450"/>
                  </a:xfrm>
                  <a:custGeom>
                    <a:avLst/>
                    <a:gdLst>
                      <a:gd name="connsiteX0" fmla="*/ 24355 w 561975"/>
                      <a:gd name="connsiteY0" fmla="*/ 172945 h 171450"/>
                      <a:gd name="connsiteX1" fmla="*/ 554612 w 561975"/>
                      <a:gd name="connsiteY1" fmla="*/ 68456 h 171450"/>
                      <a:gd name="connsiteX2" fmla="*/ 565185 w 561975"/>
                      <a:gd name="connsiteY2" fmla="*/ 52644 h 171450"/>
                      <a:gd name="connsiteX3" fmla="*/ 556898 w 561975"/>
                      <a:gd name="connsiteY3" fmla="*/ 10830 h 171450"/>
                      <a:gd name="connsiteX4" fmla="*/ 541086 w 561975"/>
                      <a:gd name="connsiteY4" fmla="*/ 257 h 171450"/>
                      <a:gd name="connsiteX5" fmla="*/ 10830 w 561975"/>
                      <a:gd name="connsiteY5" fmla="*/ 104746 h 171450"/>
                      <a:gd name="connsiteX6" fmla="*/ 257 w 561975"/>
                      <a:gd name="connsiteY6" fmla="*/ 120558 h 171450"/>
                      <a:gd name="connsiteX7" fmla="*/ 8544 w 561975"/>
                      <a:gd name="connsiteY7" fmla="*/ 162372 h 171450"/>
                      <a:gd name="connsiteX8" fmla="*/ 24355 w 561975"/>
                      <a:gd name="connsiteY8" fmla="*/ 172945 h 1714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561975" h="171450">
                        <a:moveTo>
                          <a:pt x="24355" y="172945"/>
                        </a:moveTo>
                        <a:lnTo>
                          <a:pt x="554612" y="68456"/>
                        </a:lnTo>
                        <a:cubicBezTo>
                          <a:pt x="561946" y="67027"/>
                          <a:pt x="566709" y="59979"/>
                          <a:pt x="565185" y="52644"/>
                        </a:cubicBezTo>
                        <a:lnTo>
                          <a:pt x="556898" y="10830"/>
                        </a:lnTo>
                        <a:cubicBezTo>
                          <a:pt x="555469" y="3495"/>
                          <a:pt x="548421" y="-1172"/>
                          <a:pt x="541086" y="257"/>
                        </a:cubicBezTo>
                        <a:lnTo>
                          <a:pt x="10830" y="104746"/>
                        </a:lnTo>
                        <a:cubicBezTo>
                          <a:pt x="3495" y="106175"/>
                          <a:pt x="-1172" y="113223"/>
                          <a:pt x="257" y="120558"/>
                        </a:cubicBezTo>
                        <a:lnTo>
                          <a:pt x="8544" y="162372"/>
                        </a:lnTo>
                        <a:cubicBezTo>
                          <a:pt x="9972" y="169611"/>
                          <a:pt x="17021" y="174374"/>
                          <a:pt x="24355" y="172945"/>
                        </a:cubicBezTo>
                        <a:close/>
                      </a:path>
                    </a:pathLst>
                  </a:custGeom>
                  <a:solidFill>
                    <a:schemeClr val="bg1">
                      <a:lumMod val="85000"/>
                    </a:schemeClr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844" name="Freeform: Shape 1843">
                    <a:extLst>
                      <a:ext uri="{FF2B5EF4-FFF2-40B4-BE49-F238E27FC236}">
                        <a16:creationId xmlns:a16="http://schemas.microsoft.com/office/drawing/2014/main" id="{7FAE96B1-7148-4B35-9375-40B62D8ED028}"/>
                      </a:ext>
                    </a:extLst>
                  </p:cNvPr>
                  <p:cNvSpPr/>
                  <p:nvPr/>
                </p:nvSpPr>
                <p:spPr>
                  <a:xfrm>
                    <a:off x="16574182" y="3118062"/>
                    <a:ext cx="561975" cy="171450"/>
                  </a:xfrm>
                  <a:custGeom>
                    <a:avLst/>
                    <a:gdLst>
                      <a:gd name="connsiteX0" fmla="*/ 24355 w 561975"/>
                      <a:gd name="connsiteY0" fmla="*/ 172945 h 171450"/>
                      <a:gd name="connsiteX1" fmla="*/ 554612 w 561975"/>
                      <a:gd name="connsiteY1" fmla="*/ 68456 h 171450"/>
                      <a:gd name="connsiteX2" fmla="*/ 565185 w 561975"/>
                      <a:gd name="connsiteY2" fmla="*/ 52644 h 171450"/>
                      <a:gd name="connsiteX3" fmla="*/ 556898 w 561975"/>
                      <a:gd name="connsiteY3" fmla="*/ 10830 h 171450"/>
                      <a:gd name="connsiteX4" fmla="*/ 541086 w 561975"/>
                      <a:gd name="connsiteY4" fmla="*/ 257 h 171450"/>
                      <a:gd name="connsiteX5" fmla="*/ 10830 w 561975"/>
                      <a:gd name="connsiteY5" fmla="*/ 104746 h 171450"/>
                      <a:gd name="connsiteX6" fmla="*/ 257 w 561975"/>
                      <a:gd name="connsiteY6" fmla="*/ 120558 h 171450"/>
                      <a:gd name="connsiteX7" fmla="*/ 8544 w 561975"/>
                      <a:gd name="connsiteY7" fmla="*/ 162372 h 171450"/>
                      <a:gd name="connsiteX8" fmla="*/ 24355 w 561975"/>
                      <a:gd name="connsiteY8" fmla="*/ 172945 h 1714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561975" h="171450">
                        <a:moveTo>
                          <a:pt x="24355" y="172945"/>
                        </a:moveTo>
                        <a:lnTo>
                          <a:pt x="554612" y="68456"/>
                        </a:lnTo>
                        <a:cubicBezTo>
                          <a:pt x="561946" y="67027"/>
                          <a:pt x="566613" y="59979"/>
                          <a:pt x="565185" y="52644"/>
                        </a:cubicBezTo>
                        <a:lnTo>
                          <a:pt x="556898" y="10830"/>
                        </a:lnTo>
                        <a:cubicBezTo>
                          <a:pt x="555469" y="3496"/>
                          <a:pt x="548421" y="-1172"/>
                          <a:pt x="541086" y="257"/>
                        </a:cubicBezTo>
                        <a:lnTo>
                          <a:pt x="10830" y="104746"/>
                        </a:lnTo>
                        <a:cubicBezTo>
                          <a:pt x="3495" y="106175"/>
                          <a:pt x="-1172" y="113223"/>
                          <a:pt x="257" y="120558"/>
                        </a:cubicBezTo>
                        <a:lnTo>
                          <a:pt x="8544" y="162372"/>
                        </a:lnTo>
                        <a:cubicBezTo>
                          <a:pt x="9972" y="169611"/>
                          <a:pt x="17116" y="174374"/>
                          <a:pt x="24355" y="172945"/>
                        </a:cubicBezTo>
                        <a:close/>
                      </a:path>
                    </a:pathLst>
                  </a:custGeom>
                  <a:solidFill>
                    <a:schemeClr val="bg1">
                      <a:lumMod val="85000"/>
                    </a:schemeClr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845" name="Freeform: Shape 1844">
                    <a:extLst>
                      <a:ext uri="{FF2B5EF4-FFF2-40B4-BE49-F238E27FC236}">
                        <a16:creationId xmlns:a16="http://schemas.microsoft.com/office/drawing/2014/main" id="{035E6F7F-B830-495B-BB70-C629D37E2E34}"/>
                      </a:ext>
                    </a:extLst>
                  </p:cNvPr>
                  <p:cNvSpPr/>
                  <p:nvPr/>
                </p:nvSpPr>
                <p:spPr>
                  <a:xfrm>
                    <a:off x="16597968" y="3238648"/>
                    <a:ext cx="561975" cy="171450"/>
                  </a:xfrm>
                  <a:custGeom>
                    <a:avLst/>
                    <a:gdLst>
                      <a:gd name="connsiteX0" fmla="*/ 24382 w 561975"/>
                      <a:gd name="connsiteY0" fmla="*/ 172945 h 171450"/>
                      <a:gd name="connsiteX1" fmla="*/ 554639 w 561975"/>
                      <a:gd name="connsiteY1" fmla="*/ 68456 h 171450"/>
                      <a:gd name="connsiteX2" fmla="*/ 565212 w 561975"/>
                      <a:gd name="connsiteY2" fmla="*/ 52644 h 171450"/>
                      <a:gd name="connsiteX3" fmla="*/ 556925 w 561975"/>
                      <a:gd name="connsiteY3" fmla="*/ 10830 h 171450"/>
                      <a:gd name="connsiteX4" fmla="*/ 541114 w 561975"/>
                      <a:gd name="connsiteY4" fmla="*/ 257 h 171450"/>
                      <a:gd name="connsiteX5" fmla="*/ 10857 w 561975"/>
                      <a:gd name="connsiteY5" fmla="*/ 104746 h 171450"/>
                      <a:gd name="connsiteX6" fmla="*/ 284 w 561975"/>
                      <a:gd name="connsiteY6" fmla="*/ 120558 h 171450"/>
                      <a:gd name="connsiteX7" fmla="*/ 8571 w 561975"/>
                      <a:gd name="connsiteY7" fmla="*/ 162372 h 171450"/>
                      <a:gd name="connsiteX8" fmla="*/ 24382 w 561975"/>
                      <a:gd name="connsiteY8" fmla="*/ 172945 h 1714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561975" h="171450">
                        <a:moveTo>
                          <a:pt x="24382" y="172945"/>
                        </a:moveTo>
                        <a:lnTo>
                          <a:pt x="554639" y="68456"/>
                        </a:lnTo>
                        <a:cubicBezTo>
                          <a:pt x="561973" y="67027"/>
                          <a:pt x="566641" y="59979"/>
                          <a:pt x="565212" y="52644"/>
                        </a:cubicBezTo>
                        <a:lnTo>
                          <a:pt x="556925" y="10830"/>
                        </a:lnTo>
                        <a:cubicBezTo>
                          <a:pt x="555496" y="3495"/>
                          <a:pt x="548448" y="-1172"/>
                          <a:pt x="541114" y="257"/>
                        </a:cubicBezTo>
                        <a:lnTo>
                          <a:pt x="10857" y="104746"/>
                        </a:lnTo>
                        <a:cubicBezTo>
                          <a:pt x="3523" y="106175"/>
                          <a:pt x="-1240" y="113223"/>
                          <a:pt x="284" y="120558"/>
                        </a:cubicBezTo>
                        <a:lnTo>
                          <a:pt x="8571" y="162372"/>
                        </a:lnTo>
                        <a:cubicBezTo>
                          <a:pt x="9999" y="169611"/>
                          <a:pt x="17048" y="174374"/>
                          <a:pt x="24382" y="172945"/>
                        </a:cubicBezTo>
                        <a:close/>
                      </a:path>
                    </a:pathLst>
                  </a:custGeom>
                  <a:solidFill>
                    <a:schemeClr val="bg1">
                      <a:lumMod val="85000"/>
                    </a:schemeClr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846" name="Freeform: Shape 1845">
                    <a:extLst>
                      <a:ext uri="{FF2B5EF4-FFF2-40B4-BE49-F238E27FC236}">
                        <a16:creationId xmlns:a16="http://schemas.microsoft.com/office/drawing/2014/main" id="{5A5B1BE2-7A7D-4369-93B3-7DEE40CB6461}"/>
                      </a:ext>
                    </a:extLst>
                  </p:cNvPr>
                  <p:cNvSpPr/>
                  <p:nvPr/>
                </p:nvSpPr>
                <p:spPr>
                  <a:xfrm>
                    <a:off x="16621712" y="3359235"/>
                    <a:ext cx="561975" cy="171450"/>
                  </a:xfrm>
                  <a:custGeom>
                    <a:avLst/>
                    <a:gdLst>
                      <a:gd name="connsiteX0" fmla="*/ 24355 w 561975"/>
                      <a:gd name="connsiteY0" fmla="*/ 172945 h 171450"/>
                      <a:gd name="connsiteX1" fmla="*/ 554612 w 561975"/>
                      <a:gd name="connsiteY1" fmla="*/ 68456 h 171450"/>
                      <a:gd name="connsiteX2" fmla="*/ 565185 w 561975"/>
                      <a:gd name="connsiteY2" fmla="*/ 52644 h 171450"/>
                      <a:gd name="connsiteX3" fmla="*/ 556898 w 561975"/>
                      <a:gd name="connsiteY3" fmla="*/ 10830 h 171450"/>
                      <a:gd name="connsiteX4" fmla="*/ 541086 w 561975"/>
                      <a:gd name="connsiteY4" fmla="*/ 257 h 171450"/>
                      <a:gd name="connsiteX5" fmla="*/ 10830 w 561975"/>
                      <a:gd name="connsiteY5" fmla="*/ 104746 h 171450"/>
                      <a:gd name="connsiteX6" fmla="*/ 257 w 561975"/>
                      <a:gd name="connsiteY6" fmla="*/ 120558 h 171450"/>
                      <a:gd name="connsiteX7" fmla="*/ 8544 w 561975"/>
                      <a:gd name="connsiteY7" fmla="*/ 162373 h 171450"/>
                      <a:gd name="connsiteX8" fmla="*/ 24355 w 561975"/>
                      <a:gd name="connsiteY8" fmla="*/ 172945 h 1714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561975" h="171450">
                        <a:moveTo>
                          <a:pt x="24355" y="172945"/>
                        </a:moveTo>
                        <a:lnTo>
                          <a:pt x="554612" y="68456"/>
                        </a:lnTo>
                        <a:cubicBezTo>
                          <a:pt x="561946" y="67027"/>
                          <a:pt x="566614" y="59979"/>
                          <a:pt x="565185" y="52644"/>
                        </a:cubicBezTo>
                        <a:lnTo>
                          <a:pt x="556898" y="10830"/>
                        </a:lnTo>
                        <a:cubicBezTo>
                          <a:pt x="555469" y="3495"/>
                          <a:pt x="548421" y="-1172"/>
                          <a:pt x="541086" y="257"/>
                        </a:cubicBezTo>
                        <a:lnTo>
                          <a:pt x="10830" y="104746"/>
                        </a:lnTo>
                        <a:cubicBezTo>
                          <a:pt x="3496" y="106175"/>
                          <a:pt x="-1172" y="113223"/>
                          <a:pt x="257" y="120558"/>
                        </a:cubicBezTo>
                        <a:lnTo>
                          <a:pt x="8544" y="162373"/>
                        </a:lnTo>
                        <a:cubicBezTo>
                          <a:pt x="9973" y="169611"/>
                          <a:pt x="17021" y="174374"/>
                          <a:pt x="24355" y="172945"/>
                        </a:cubicBezTo>
                        <a:close/>
                      </a:path>
                    </a:pathLst>
                  </a:custGeom>
                  <a:solidFill>
                    <a:schemeClr val="bg1">
                      <a:lumMod val="85000"/>
                    </a:schemeClr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847" name="Freeform: Shape 1846">
                    <a:extLst>
                      <a:ext uri="{FF2B5EF4-FFF2-40B4-BE49-F238E27FC236}">
                        <a16:creationId xmlns:a16="http://schemas.microsoft.com/office/drawing/2014/main" id="{D9E75001-5B4E-436A-83E9-86AFBC81F426}"/>
                      </a:ext>
                    </a:extLst>
                  </p:cNvPr>
                  <p:cNvSpPr/>
                  <p:nvPr/>
                </p:nvSpPr>
                <p:spPr>
                  <a:xfrm>
                    <a:off x="16645402" y="3479821"/>
                    <a:ext cx="561975" cy="171450"/>
                  </a:xfrm>
                  <a:custGeom>
                    <a:avLst/>
                    <a:gdLst>
                      <a:gd name="connsiteX0" fmla="*/ 24382 w 561975"/>
                      <a:gd name="connsiteY0" fmla="*/ 172945 h 171450"/>
                      <a:gd name="connsiteX1" fmla="*/ 554639 w 561975"/>
                      <a:gd name="connsiteY1" fmla="*/ 68456 h 171450"/>
                      <a:gd name="connsiteX2" fmla="*/ 565212 w 561975"/>
                      <a:gd name="connsiteY2" fmla="*/ 52644 h 171450"/>
                      <a:gd name="connsiteX3" fmla="*/ 556925 w 561975"/>
                      <a:gd name="connsiteY3" fmla="*/ 10830 h 171450"/>
                      <a:gd name="connsiteX4" fmla="*/ 541114 w 561975"/>
                      <a:gd name="connsiteY4" fmla="*/ 257 h 171450"/>
                      <a:gd name="connsiteX5" fmla="*/ 10857 w 561975"/>
                      <a:gd name="connsiteY5" fmla="*/ 104746 h 171450"/>
                      <a:gd name="connsiteX6" fmla="*/ 284 w 561975"/>
                      <a:gd name="connsiteY6" fmla="*/ 120558 h 171450"/>
                      <a:gd name="connsiteX7" fmla="*/ 8571 w 561975"/>
                      <a:gd name="connsiteY7" fmla="*/ 162372 h 171450"/>
                      <a:gd name="connsiteX8" fmla="*/ 24382 w 561975"/>
                      <a:gd name="connsiteY8" fmla="*/ 172945 h 1714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561975" h="171450">
                        <a:moveTo>
                          <a:pt x="24382" y="172945"/>
                        </a:moveTo>
                        <a:lnTo>
                          <a:pt x="554639" y="68456"/>
                        </a:lnTo>
                        <a:cubicBezTo>
                          <a:pt x="561973" y="67027"/>
                          <a:pt x="566641" y="59979"/>
                          <a:pt x="565212" y="52644"/>
                        </a:cubicBezTo>
                        <a:lnTo>
                          <a:pt x="556925" y="10830"/>
                        </a:lnTo>
                        <a:cubicBezTo>
                          <a:pt x="555496" y="3495"/>
                          <a:pt x="548448" y="-1172"/>
                          <a:pt x="541114" y="257"/>
                        </a:cubicBezTo>
                        <a:lnTo>
                          <a:pt x="10857" y="104746"/>
                        </a:lnTo>
                        <a:cubicBezTo>
                          <a:pt x="3523" y="106175"/>
                          <a:pt x="-1240" y="113223"/>
                          <a:pt x="284" y="120558"/>
                        </a:cubicBezTo>
                        <a:lnTo>
                          <a:pt x="8571" y="162372"/>
                        </a:lnTo>
                        <a:cubicBezTo>
                          <a:pt x="9999" y="169611"/>
                          <a:pt x="17143" y="174374"/>
                          <a:pt x="24382" y="172945"/>
                        </a:cubicBezTo>
                        <a:close/>
                      </a:path>
                    </a:pathLst>
                  </a:custGeom>
                  <a:solidFill>
                    <a:schemeClr val="bg1">
                      <a:lumMod val="85000"/>
                    </a:schemeClr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848" name="Freeform: Shape 1847">
                    <a:extLst>
                      <a:ext uri="{FF2B5EF4-FFF2-40B4-BE49-F238E27FC236}">
                        <a16:creationId xmlns:a16="http://schemas.microsoft.com/office/drawing/2014/main" id="{4BE6F73D-3563-4120-9DE3-86A4D9169CBF}"/>
                      </a:ext>
                    </a:extLst>
                  </p:cNvPr>
                  <p:cNvSpPr/>
                  <p:nvPr/>
                </p:nvSpPr>
                <p:spPr>
                  <a:xfrm>
                    <a:off x="16669242" y="3600408"/>
                    <a:ext cx="561975" cy="171450"/>
                  </a:xfrm>
                  <a:custGeom>
                    <a:avLst/>
                    <a:gdLst>
                      <a:gd name="connsiteX0" fmla="*/ 24355 w 561975"/>
                      <a:gd name="connsiteY0" fmla="*/ 172945 h 171450"/>
                      <a:gd name="connsiteX1" fmla="*/ 554612 w 561975"/>
                      <a:gd name="connsiteY1" fmla="*/ 68456 h 171450"/>
                      <a:gd name="connsiteX2" fmla="*/ 565185 w 561975"/>
                      <a:gd name="connsiteY2" fmla="*/ 52644 h 171450"/>
                      <a:gd name="connsiteX3" fmla="*/ 556898 w 561975"/>
                      <a:gd name="connsiteY3" fmla="*/ 10830 h 171450"/>
                      <a:gd name="connsiteX4" fmla="*/ 541086 w 561975"/>
                      <a:gd name="connsiteY4" fmla="*/ 257 h 171450"/>
                      <a:gd name="connsiteX5" fmla="*/ 10830 w 561975"/>
                      <a:gd name="connsiteY5" fmla="*/ 104746 h 171450"/>
                      <a:gd name="connsiteX6" fmla="*/ 257 w 561975"/>
                      <a:gd name="connsiteY6" fmla="*/ 120558 h 171450"/>
                      <a:gd name="connsiteX7" fmla="*/ 8544 w 561975"/>
                      <a:gd name="connsiteY7" fmla="*/ 162372 h 171450"/>
                      <a:gd name="connsiteX8" fmla="*/ 24355 w 561975"/>
                      <a:gd name="connsiteY8" fmla="*/ 172945 h 1714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561975" h="171450">
                        <a:moveTo>
                          <a:pt x="24355" y="172945"/>
                        </a:moveTo>
                        <a:lnTo>
                          <a:pt x="554612" y="68456"/>
                        </a:lnTo>
                        <a:cubicBezTo>
                          <a:pt x="561946" y="67027"/>
                          <a:pt x="566613" y="59979"/>
                          <a:pt x="565185" y="52644"/>
                        </a:cubicBezTo>
                        <a:lnTo>
                          <a:pt x="556898" y="10830"/>
                        </a:lnTo>
                        <a:cubicBezTo>
                          <a:pt x="555469" y="3496"/>
                          <a:pt x="548421" y="-1172"/>
                          <a:pt x="541086" y="257"/>
                        </a:cubicBezTo>
                        <a:lnTo>
                          <a:pt x="10830" y="104746"/>
                        </a:lnTo>
                        <a:cubicBezTo>
                          <a:pt x="3495" y="106175"/>
                          <a:pt x="-1172" y="113223"/>
                          <a:pt x="257" y="120558"/>
                        </a:cubicBezTo>
                        <a:lnTo>
                          <a:pt x="8544" y="162372"/>
                        </a:lnTo>
                        <a:cubicBezTo>
                          <a:pt x="9972" y="169611"/>
                          <a:pt x="17021" y="174374"/>
                          <a:pt x="24355" y="172945"/>
                        </a:cubicBezTo>
                        <a:close/>
                      </a:path>
                    </a:pathLst>
                  </a:custGeom>
                  <a:solidFill>
                    <a:schemeClr val="bg1">
                      <a:lumMod val="85000"/>
                    </a:schemeClr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849" name="Freeform: Shape 1848">
                    <a:extLst>
                      <a:ext uri="{FF2B5EF4-FFF2-40B4-BE49-F238E27FC236}">
                        <a16:creationId xmlns:a16="http://schemas.microsoft.com/office/drawing/2014/main" id="{3C3AC7A1-187E-44EB-BED5-78DDA3797195}"/>
                      </a:ext>
                    </a:extLst>
                  </p:cNvPr>
                  <p:cNvSpPr/>
                  <p:nvPr/>
                </p:nvSpPr>
                <p:spPr>
                  <a:xfrm>
                    <a:off x="14912454" y="4295832"/>
                    <a:ext cx="1152525" cy="285750"/>
                  </a:xfrm>
                  <a:custGeom>
                    <a:avLst/>
                    <a:gdLst>
                      <a:gd name="connsiteX0" fmla="*/ 1144301 w 1152525"/>
                      <a:gd name="connsiteY0" fmla="*/ 68452 h 285750"/>
                      <a:gd name="connsiteX1" fmla="*/ 24352 w 1152525"/>
                      <a:gd name="connsiteY1" fmla="*/ 289146 h 285750"/>
                      <a:gd name="connsiteX2" fmla="*/ 8540 w 1152525"/>
                      <a:gd name="connsiteY2" fmla="*/ 278574 h 285750"/>
                      <a:gd name="connsiteX3" fmla="*/ 253 w 1152525"/>
                      <a:gd name="connsiteY3" fmla="*/ 236759 h 285750"/>
                      <a:gd name="connsiteX4" fmla="*/ 10826 w 1152525"/>
                      <a:gd name="connsiteY4" fmla="*/ 220947 h 285750"/>
                      <a:gd name="connsiteX5" fmla="*/ 1130776 w 1152525"/>
                      <a:gd name="connsiteY5" fmla="*/ 253 h 285750"/>
                      <a:gd name="connsiteX6" fmla="*/ 1146587 w 1152525"/>
                      <a:gd name="connsiteY6" fmla="*/ 10826 h 285750"/>
                      <a:gd name="connsiteX7" fmla="*/ 1154874 w 1152525"/>
                      <a:gd name="connsiteY7" fmla="*/ 52641 h 285750"/>
                      <a:gd name="connsiteX8" fmla="*/ 1144301 w 1152525"/>
                      <a:gd name="connsiteY8" fmla="*/ 68452 h 2857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152525" h="285750">
                        <a:moveTo>
                          <a:pt x="1144301" y="68452"/>
                        </a:moveTo>
                        <a:lnTo>
                          <a:pt x="24352" y="289146"/>
                        </a:lnTo>
                        <a:cubicBezTo>
                          <a:pt x="17017" y="290575"/>
                          <a:pt x="9969" y="285813"/>
                          <a:pt x="8540" y="278574"/>
                        </a:cubicBezTo>
                        <a:lnTo>
                          <a:pt x="253" y="236759"/>
                        </a:lnTo>
                        <a:cubicBezTo>
                          <a:pt x="-1176" y="229425"/>
                          <a:pt x="3587" y="222376"/>
                          <a:pt x="10826" y="220947"/>
                        </a:cubicBezTo>
                        <a:lnTo>
                          <a:pt x="1130776" y="253"/>
                        </a:lnTo>
                        <a:cubicBezTo>
                          <a:pt x="1138110" y="-1175"/>
                          <a:pt x="1145158" y="3587"/>
                          <a:pt x="1146587" y="10826"/>
                        </a:cubicBezTo>
                        <a:lnTo>
                          <a:pt x="1154874" y="52641"/>
                        </a:lnTo>
                        <a:cubicBezTo>
                          <a:pt x="1156303" y="59975"/>
                          <a:pt x="1151540" y="67024"/>
                          <a:pt x="1144301" y="68452"/>
                        </a:cubicBezTo>
                        <a:close/>
                      </a:path>
                    </a:pathLst>
                  </a:custGeom>
                  <a:solidFill>
                    <a:schemeClr val="bg1">
                      <a:lumMod val="85000"/>
                    </a:schemeClr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850" name="Freeform: Shape 1849">
                    <a:extLst>
                      <a:ext uri="{FF2B5EF4-FFF2-40B4-BE49-F238E27FC236}">
                        <a16:creationId xmlns:a16="http://schemas.microsoft.com/office/drawing/2014/main" id="{BBEB8383-0752-4691-BEA3-B9FD5949AF06}"/>
                      </a:ext>
                    </a:extLst>
                  </p:cNvPr>
                  <p:cNvSpPr/>
                  <p:nvPr/>
                </p:nvSpPr>
                <p:spPr>
                  <a:xfrm>
                    <a:off x="14875212" y="4106284"/>
                    <a:ext cx="1143000" cy="257175"/>
                  </a:xfrm>
                  <a:custGeom>
                    <a:avLst/>
                    <a:gdLst>
                      <a:gd name="connsiteX0" fmla="*/ 1138586 w 1143000"/>
                      <a:gd name="connsiteY0" fmla="*/ 39877 h 257175"/>
                      <a:gd name="connsiteX1" fmla="*/ 18637 w 1143000"/>
                      <a:gd name="connsiteY1" fmla="*/ 260572 h 257175"/>
                      <a:gd name="connsiteX2" fmla="*/ 2825 w 1143000"/>
                      <a:gd name="connsiteY2" fmla="*/ 249999 h 257175"/>
                      <a:gd name="connsiteX3" fmla="*/ 253 w 1143000"/>
                      <a:gd name="connsiteY3" fmla="*/ 236759 h 257175"/>
                      <a:gd name="connsiteX4" fmla="*/ 10826 w 1143000"/>
                      <a:gd name="connsiteY4" fmla="*/ 220947 h 257175"/>
                      <a:gd name="connsiteX5" fmla="*/ 1130776 w 1143000"/>
                      <a:gd name="connsiteY5" fmla="*/ 253 h 257175"/>
                      <a:gd name="connsiteX6" fmla="*/ 1146587 w 1143000"/>
                      <a:gd name="connsiteY6" fmla="*/ 10826 h 257175"/>
                      <a:gd name="connsiteX7" fmla="*/ 1149159 w 1143000"/>
                      <a:gd name="connsiteY7" fmla="*/ 24066 h 257175"/>
                      <a:gd name="connsiteX8" fmla="*/ 1138586 w 1143000"/>
                      <a:gd name="connsiteY8" fmla="*/ 39877 h 2571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143000" h="257175">
                        <a:moveTo>
                          <a:pt x="1138586" y="39877"/>
                        </a:moveTo>
                        <a:lnTo>
                          <a:pt x="18637" y="260572"/>
                        </a:lnTo>
                        <a:cubicBezTo>
                          <a:pt x="11302" y="262000"/>
                          <a:pt x="4254" y="257238"/>
                          <a:pt x="2825" y="249999"/>
                        </a:cubicBezTo>
                        <a:lnTo>
                          <a:pt x="253" y="236759"/>
                        </a:lnTo>
                        <a:cubicBezTo>
                          <a:pt x="-1176" y="229425"/>
                          <a:pt x="3587" y="222376"/>
                          <a:pt x="10826" y="220947"/>
                        </a:cubicBezTo>
                        <a:lnTo>
                          <a:pt x="1130776" y="253"/>
                        </a:lnTo>
                        <a:cubicBezTo>
                          <a:pt x="1138110" y="-1176"/>
                          <a:pt x="1145159" y="3587"/>
                          <a:pt x="1146587" y="10826"/>
                        </a:cubicBezTo>
                        <a:lnTo>
                          <a:pt x="1149159" y="24066"/>
                        </a:lnTo>
                        <a:cubicBezTo>
                          <a:pt x="1150588" y="31400"/>
                          <a:pt x="1145825" y="38448"/>
                          <a:pt x="1138586" y="39877"/>
                        </a:cubicBezTo>
                        <a:close/>
                      </a:path>
                    </a:pathLst>
                  </a:custGeom>
                  <a:solidFill>
                    <a:schemeClr val="bg1">
                      <a:lumMod val="85000"/>
                    </a:schemeClr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851" name="Freeform: Shape 1850">
                    <a:extLst>
                      <a:ext uri="{FF2B5EF4-FFF2-40B4-BE49-F238E27FC236}">
                        <a16:creationId xmlns:a16="http://schemas.microsoft.com/office/drawing/2014/main" id="{6C5333DA-B6F1-4E7D-936C-13D71D33DDB6}"/>
                      </a:ext>
                    </a:extLst>
                  </p:cNvPr>
                  <p:cNvSpPr/>
                  <p:nvPr/>
                </p:nvSpPr>
                <p:spPr>
                  <a:xfrm>
                    <a:off x="15090191" y="5283574"/>
                    <a:ext cx="704850" cy="171450"/>
                  </a:xfrm>
                  <a:custGeom>
                    <a:avLst/>
                    <a:gdLst>
                      <a:gd name="connsiteX0" fmla="*/ 700246 w 704850"/>
                      <a:gd name="connsiteY0" fmla="*/ 39877 h 171450"/>
                      <a:gd name="connsiteX1" fmla="*/ 18637 w 704850"/>
                      <a:gd name="connsiteY1" fmla="*/ 174180 h 171450"/>
                      <a:gd name="connsiteX2" fmla="*/ 2825 w 704850"/>
                      <a:gd name="connsiteY2" fmla="*/ 163607 h 171450"/>
                      <a:gd name="connsiteX3" fmla="*/ 253 w 704850"/>
                      <a:gd name="connsiteY3" fmla="*/ 150367 h 171450"/>
                      <a:gd name="connsiteX4" fmla="*/ 10826 w 704850"/>
                      <a:gd name="connsiteY4" fmla="*/ 134556 h 171450"/>
                      <a:gd name="connsiteX5" fmla="*/ 692435 w 704850"/>
                      <a:gd name="connsiteY5" fmla="*/ 253 h 171450"/>
                      <a:gd name="connsiteX6" fmla="*/ 708247 w 704850"/>
                      <a:gd name="connsiteY6" fmla="*/ 10826 h 171450"/>
                      <a:gd name="connsiteX7" fmla="*/ 710818 w 704850"/>
                      <a:gd name="connsiteY7" fmla="*/ 24066 h 171450"/>
                      <a:gd name="connsiteX8" fmla="*/ 700246 w 704850"/>
                      <a:gd name="connsiteY8" fmla="*/ 39877 h 1714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704850" h="171450">
                        <a:moveTo>
                          <a:pt x="700246" y="39877"/>
                        </a:moveTo>
                        <a:lnTo>
                          <a:pt x="18637" y="174180"/>
                        </a:lnTo>
                        <a:cubicBezTo>
                          <a:pt x="11302" y="175609"/>
                          <a:pt x="4254" y="170846"/>
                          <a:pt x="2825" y="163607"/>
                        </a:cubicBezTo>
                        <a:lnTo>
                          <a:pt x="253" y="150367"/>
                        </a:lnTo>
                        <a:cubicBezTo>
                          <a:pt x="-1175" y="143033"/>
                          <a:pt x="3587" y="135985"/>
                          <a:pt x="10826" y="134556"/>
                        </a:cubicBezTo>
                        <a:lnTo>
                          <a:pt x="692435" y="253"/>
                        </a:lnTo>
                        <a:cubicBezTo>
                          <a:pt x="699769" y="-1175"/>
                          <a:pt x="706818" y="3587"/>
                          <a:pt x="708247" y="10826"/>
                        </a:cubicBezTo>
                        <a:lnTo>
                          <a:pt x="710818" y="24066"/>
                        </a:lnTo>
                        <a:cubicBezTo>
                          <a:pt x="712247" y="31305"/>
                          <a:pt x="707485" y="38449"/>
                          <a:pt x="700246" y="39877"/>
                        </a:cubicBezTo>
                        <a:close/>
                      </a:path>
                    </a:pathLst>
                  </a:custGeom>
                  <a:solidFill>
                    <a:schemeClr val="bg1">
                      <a:lumMod val="85000"/>
                    </a:schemeClr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852" name="Freeform: Shape 1851">
                    <a:extLst>
                      <a:ext uri="{FF2B5EF4-FFF2-40B4-BE49-F238E27FC236}">
                        <a16:creationId xmlns:a16="http://schemas.microsoft.com/office/drawing/2014/main" id="{A254B118-41D8-49D1-8BB9-20E9866696D2}"/>
                      </a:ext>
                    </a:extLst>
                  </p:cNvPr>
                  <p:cNvSpPr/>
                  <p:nvPr/>
                </p:nvSpPr>
                <p:spPr>
                  <a:xfrm>
                    <a:off x="15106860" y="5290718"/>
                    <a:ext cx="1104900" cy="247650"/>
                  </a:xfrm>
                  <a:custGeom>
                    <a:avLst/>
                    <a:gdLst>
                      <a:gd name="connsiteX0" fmla="*/ 1094486 w 1104900"/>
                      <a:gd name="connsiteY0" fmla="*/ 39877 h 247650"/>
                      <a:gd name="connsiteX1" fmla="*/ 18637 w 1104900"/>
                      <a:gd name="connsiteY1" fmla="*/ 251809 h 247650"/>
                      <a:gd name="connsiteX2" fmla="*/ 2825 w 1104900"/>
                      <a:gd name="connsiteY2" fmla="*/ 241236 h 247650"/>
                      <a:gd name="connsiteX3" fmla="*/ 253 w 1104900"/>
                      <a:gd name="connsiteY3" fmla="*/ 227996 h 247650"/>
                      <a:gd name="connsiteX4" fmla="*/ 10826 w 1104900"/>
                      <a:gd name="connsiteY4" fmla="*/ 212185 h 247650"/>
                      <a:gd name="connsiteX5" fmla="*/ 1086675 w 1104900"/>
                      <a:gd name="connsiteY5" fmla="*/ 253 h 247650"/>
                      <a:gd name="connsiteX6" fmla="*/ 1102487 w 1104900"/>
                      <a:gd name="connsiteY6" fmla="*/ 10826 h 247650"/>
                      <a:gd name="connsiteX7" fmla="*/ 1105058 w 1104900"/>
                      <a:gd name="connsiteY7" fmla="*/ 24066 h 247650"/>
                      <a:gd name="connsiteX8" fmla="*/ 1094486 w 1104900"/>
                      <a:gd name="connsiteY8" fmla="*/ 39877 h 2476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104900" h="247650">
                        <a:moveTo>
                          <a:pt x="1094486" y="39877"/>
                        </a:moveTo>
                        <a:lnTo>
                          <a:pt x="18637" y="251809"/>
                        </a:lnTo>
                        <a:cubicBezTo>
                          <a:pt x="11302" y="253238"/>
                          <a:pt x="4254" y="248475"/>
                          <a:pt x="2825" y="241236"/>
                        </a:cubicBezTo>
                        <a:lnTo>
                          <a:pt x="253" y="227996"/>
                        </a:lnTo>
                        <a:cubicBezTo>
                          <a:pt x="-1175" y="220662"/>
                          <a:pt x="3587" y="213614"/>
                          <a:pt x="10826" y="212185"/>
                        </a:cubicBezTo>
                        <a:lnTo>
                          <a:pt x="1086675" y="253"/>
                        </a:lnTo>
                        <a:cubicBezTo>
                          <a:pt x="1094009" y="-1175"/>
                          <a:pt x="1101058" y="3587"/>
                          <a:pt x="1102487" y="10826"/>
                        </a:cubicBezTo>
                        <a:lnTo>
                          <a:pt x="1105058" y="24066"/>
                        </a:lnTo>
                        <a:cubicBezTo>
                          <a:pt x="1106582" y="31305"/>
                          <a:pt x="1101820" y="38449"/>
                          <a:pt x="1094486" y="39877"/>
                        </a:cubicBezTo>
                        <a:close/>
                      </a:path>
                    </a:pathLst>
                  </a:custGeom>
                  <a:solidFill>
                    <a:schemeClr val="bg1">
                      <a:lumMod val="85000"/>
                    </a:schemeClr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853" name="Freeform: Shape 1852">
                    <a:extLst>
                      <a:ext uri="{FF2B5EF4-FFF2-40B4-BE49-F238E27FC236}">
                        <a16:creationId xmlns:a16="http://schemas.microsoft.com/office/drawing/2014/main" id="{87BFFF85-6E05-461C-AC29-B1DFA045D96D}"/>
                      </a:ext>
                    </a:extLst>
                  </p:cNvPr>
                  <p:cNvSpPr/>
                  <p:nvPr/>
                </p:nvSpPr>
                <p:spPr>
                  <a:xfrm>
                    <a:off x="15041994" y="4211440"/>
                    <a:ext cx="838200" cy="200025"/>
                  </a:xfrm>
                  <a:custGeom>
                    <a:avLst/>
                    <a:gdLst>
                      <a:gd name="connsiteX0" fmla="*/ 834643 w 838200"/>
                      <a:gd name="connsiteY0" fmla="*/ 39877 h 200025"/>
                      <a:gd name="connsiteX1" fmla="*/ 18637 w 838200"/>
                      <a:gd name="connsiteY1" fmla="*/ 200659 h 200025"/>
                      <a:gd name="connsiteX2" fmla="*/ 2825 w 838200"/>
                      <a:gd name="connsiteY2" fmla="*/ 190087 h 200025"/>
                      <a:gd name="connsiteX3" fmla="*/ 253 w 838200"/>
                      <a:gd name="connsiteY3" fmla="*/ 176847 h 200025"/>
                      <a:gd name="connsiteX4" fmla="*/ 10826 w 838200"/>
                      <a:gd name="connsiteY4" fmla="*/ 161035 h 200025"/>
                      <a:gd name="connsiteX5" fmla="*/ 826833 w 838200"/>
                      <a:gd name="connsiteY5" fmla="*/ 253 h 200025"/>
                      <a:gd name="connsiteX6" fmla="*/ 842644 w 838200"/>
                      <a:gd name="connsiteY6" fmla="*/ 10826 h 200025"/>
                      <a:gd name="connsiteX7" fmla="*/ 845216 w 838200"/>
                      <a:gd name="connsiteY7" fmla="*/ 24066 h 200025"/>
                      <a:gd name="connsiteX8" fmla="*/ 834643 w 838200"/>
                      <a:gd name="connsiteY8" fmla="*/ 39877 h 2000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838200" h="200025">
                        <a:moveTo>
                          <a:pt x="834643" y="39877"/>
                        </a:moveTo>
                        <a:lnTo>
                          <a:pt x="18637" y="200659"/>
                        </a:lnTo>
                        <a:cubicBezTo>
                          <a:pt x="11302" y="202088"/>
                          <a:pt x="4254" y="197326"/>
                          <a:pt x="2825" y="190087"/>
                        </a:cubicBezTo>
                        <a:lnTo>
                          <a:pt x="253" y="176847"/>
                        </a:lnTo>
                        <a:cubicBezTo>
                          <a:pt x="-1175" y="169513"/>
                          <a:pt x="3587" y="162464"/>
                          <a:pt x="10826" y="161035"/>
                        </a:cubicBezTo>
                        <a:lnTo>
                          <a:pt x="826833" y="253"/>
                        </a:lnTo>
                        <a:cubicBezTo>
                          <a:pt x="834167" y="-1175"/>
                          <a:pt x="841216" y="3587"/>
                          <a:pt x="842644" y="10826"/>
                        </a:cubicBezTo>
                        <a:lnTo>
                          <a:pt x="845216" y="24066"/>
                        </a:lnTo>
                        <a:cubicBezTo>
                          <a:pt x="846645" y="31305"/>
                          <a:pt x="841882" y="38449"/>
                          <a:pt x="834643" y="39877"/>
                        </a:cubicBezTo>
                        <a:close/>
                      </a:path>
                    </a:pathLst>
                  </a:custGeom>
                  <a:solidFill>
                    <a:schemeClr val="bg1">
                      <a:lumMod val="85000"/>
                    </a:schemeClr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854" name="Freeform: Shape 1853">
                    <a:extLst>
                      <a:ext uri="{FF2B5EF4-FFF2-40B4-BE49-F238E27FC236}">
                        <a16:creationId xmlns:a16="http://schemas.microsoft.com/office/drawing/2014/main" id="{9EB696E7-A83C-4689-A26E-4D99CBD8F1B5}"/>
                      </a:ext>
                    </a:extLst>
                  </p:cNvPr>
                  <p:cNvSpPr/>
                  <p:nvPr/>
                </p:nvSpPr>
                <p:spPr>
                  <a:xfrm>
                    <a:off x="16226333" y="3858920"/>
                    <a:ext cx="1047750" cy="238125"/>
                  </a:xfrm>
                  <a:custGeom>
                    <a:avLst/>
                    <a:gdLst>
                      <a:gd name="connsiteX0" fmla="*/ 1042764 w 1047750"/>
                      <a:gd name="connsiteY0" fmla="*/ 39877 h 238125"/>
                      <a:gd name="connsiteX1" fmla="*/ 18636 w 1047750"/>
                      <a:gd name="connsiteY1" fmla="*/ 241617 h 238125"/>
                      <a:gd name="connsiteX2" fmla="*/ 2825 w 1047750"/>
                      <a:gd name="connsiteY2" fmla="*/ 231044 h 238125"/>
                      <a:gd name="connsiteX3" fmla="*/ 253 w 1047750"/>
                      <a:gd name="connsiteY3" fmla="*/ 217804 h 238125"/>
                      <a:gd name="connsiteX4" fmla="*/ 10826 w 1047750"/>
                      <a:gd name="connsiteY4" fmla="*/ 201993 h 238125"/>
                      <a:gd name="connsiteX5" fmla="*/ 1034954 w 1047750"/>
                      <a:gd name="connsiteY5" fmla="*/ 253 h 238125"/>
                      <a:gd name="connsiteX6" fmla="*/ 1050765 w 1047750"/>
                      <a:gd name="connsiteY6" fmla="*/ 10826 h 238125"/>
                      <a:gd name="connsiteX7" fmla="*/ 1053337 w 1047750"/>
                      <a:gd name="connsiteY7" fmla="*/ 24066 h 238125"/>
                      <a:gd name="connsiteX8" fmla="*/ 1042764 w 1047750"/>
                      <a:gd name="connsiteY8" fmla="*/ 39877 h 2381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047750" h="238125">
                        <a:moveTo>
                          <a:pt x="1042764" y="39877"/>
                        </a:moveTo>
                        <a:lnTo>
                          <a:pt x="18636" y="241617"/>
                        </a:lnTo>
                        <a:cubicBezTo>
                          <a:pt x="11302" y="243046"/>
                          <a:pt x="4254" y="238283"/>
                          <a:pt x="2825" y="231044"/>
                        </a:cubicBezTo>
                        <a:lnTo>
                          <a:pt x="253" y="217804"/>
                        </a:lnTo>
                        <a:cubicBezTo>
                          <a:pt x="-1175" y="210470"/>
                          <a:pt x="3587" y="203422"/>
                          <a:pt x="10826" y="201993"/>
                        </a:cubicBezTo>
                        <a:lnTo>
                          <a:pt x="1034954" y="253"/>
                        </a:lnTo>
                        <a:cubicBezTo>
                          <a:pt x="1042288" y="-1175"/>
                          <a:pt x="1049337" y="3587"/>
                          <a:pt x="1050765" y="10826"/>
                        </a:cubicBezTo>
                        <a:lnTo>
                          <a:pt x="1053337" y="24066"/>
                        </a:lnTo>
                        <a:cubicBezTo>
                          <a:pt x="1054861" y="31400"/>
                          <a:pt x="1050099" y="38449"/>
                          <a:pt x="1042764" y="39877"/>
                        </a:cubicBezTo>
                        <a:close/>
                      </a:path>
                    </a:pathLst>
                  </a:custGeom>
                  <a:solidFill>
                    <a:schemeClr val="bg1">
                      <a:lumMod val="85000"/>
                    </a:schemeClr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855" name="Freeform: Shape 1854">
                    <a:extLst>
                      <a:ext uri="{FF2B5EF4-FFF2-40B4-BE49-F238E27FC236}">
                        <a16:creationId xmlns:a16="http://schemas.microsoft.com/office/drawing/2014/main" id="{18080BE9-D72A-4942-B47C-A29D9C3EF84C}"/>
                      </a:ext>
                    </a:extLst>
                  </p:cNvPr>
                  <p:cNvSpPr/>
                  <p:nvPr/>
                </p:nvSpPr>
                <p:spPr>
                  <a:xfrm>
                    <a:off x="16380447" y="3961600"/>
                    <a:ext cx="771525" cy="180975"/>
                  </a:xfrm>
                  <a:custGeom>
                    <a:avLst/>
                    <a:gdLst>
                      <a:gd name="connsiteX0" fmla="*/ 764253 w 771525"/>
                      <a:gd name="connsiteY0" fmla="*/ 39877 h 180975"/>
                      <a:gd name="connsiteX1" fmla="*/ 18636 w 771525"/>
                      <a:gd name="connsiteY1" fmla="*/ 186753 h 180975"/>
                      <a:gd name="connsiteX2" fmla="*/ 2825 w 771525"/>
                      <a:gd name="connsiteY2" fmla="*/ 176180 h 180975"/>
                      <a:gd name="connsiteX3" fmla="*/ 253 w 771525"/>
                      <a:gd name="connsiteY3" fmla="*/ 162940 h 180975"/>
                      <a:gd name="connsiteX4" fmla="*/ 10826 w 771525"/>
                      <a:gd name="connsiteY4" fmla="*/ 147129 h 180975"/>
                      <a:gd name="connsiteX5" fmla="*/ 756443 w 771525"/>
                      <a:gd name="connsiteY5" fmla="*/ 253 h 180975"/>
                      <a:gd name="connsiteX6" fmla="*/ 772254 w 771525"/>
                      <a:gd name="connsiteY6" fmla="*/ 10826 h 180975"/>
                      <a:gd name="connsiteX7" fmla="*/ 774826 w 771525"/>
                      <a:gd name="connsiteY7" fmla="*/ 24066 h 180975"/>
                      <a:gd name="connsiteX8" fmla="*/ 764253 w 771525"/>
                      <a:gd name="connsiteY8" fmla="*/ 39877 h 1809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771525" h="180975">
                        <a:moveTo>
                          <a:pt x="764253" y="39877"/>
                        </a:moveTo>
                        <a:lnTo>
                          <a:pt x="18636" y="186753"/>
                        </a:lnTo>
                        <a:cubicBezTo>
                          <a:pt x="11302" y="188181"/>
                          <a:pt x="4254" y="183419"/>
                          <a:pt x="2825" y="176180"/>
                        </a:cubicBezTo>
                        <a:lnTo>
                          <a:pt x="253" y="162940"/>
                        </a:lnTo>
                        <a:cubicBezTo>
                          <a:pt x="-1175" y="155606"/>
                          <a:pt x="3587" y="148558"/>
                          <a:pt x="10826" y="147129"/>
                        </a:cubicBezTo>
                        <a:lnTo>
                          <a:pt x="756443" y="253"/>
                        </a:lnTo>
                        <a:cubicBezTo>
                          <a:pt x="763777" y="-1175"/>
                          <a:pt x="770826" y="3587"/>
                          <a:pt x="772254" y="10826"/>
                        </a:cubicBezTo>
                        <a:lnTo>
                          <a:pt x="774826" y="24066"/>
                        </a:lnTo>
                        <a:cubicBezTo>
                          <a:pt x="776255" y="31305"/>
                          <a:pt x="771493" y="38448"/>
                          <a:pt x="764253" y="39877"/>
                        </a:cubicBezTo>
                        <a:close/>
                      </a:path>
                    </a:pathLst>
                  </a:custGeom>
                  <a:solidFill>
                    <a:schemeClr val="bg1">
                      <a:lumMod val="85000"/>
                    </a:schemeClr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856" name="Freeform: Shape 1855">
                    <a:extLst>
                      <a:ext uri="{FF2B5EF4-FFF2-40B4-BE49-F238E27FC236}">
                        <a16:creationId xmlns:a16="http://schemas.microsoft.com/office/drawing/2014/main" id="{D3A06F4C-7F30-46E9-97E1-58B90C99439D}"/>
                      </a:ext>
                    </a:extLst>
                  </p:cNvPr>
                  <p:cNvSpPr/>
                  <p:nvPr/>
                </p:nvSpPr>
                <p:spPr>
                  <a:xfrm>
                    <a:off x="14936172" y="4416418"/>
                    <a:ext cx="1152525" cy="285750"/>
                  </a:xfrm>
                  <a:custGeom>
                    <a:avLst/>
                    <a:gdLst>
                      <a:gd name="connsiteX0" fmla="*/ 1144301 w 1152525"/>
                      <a:gd name="connsiteY0" fmla="*/ 68452 h 285750"/>
                      <a:gd name="connsiteX1" fmla="*/ 24352 w 1152525"/>
                      <a:gd name="connsiteY1" fmla="*/ 289146 h 285750"/>
                      <a:gd name="connsiteX2" fmla="*/ 8540 w 1152525"/>
                      <a:gd name="connsiteY2" fmla="*/ 278574 h 285750"/>
                      <a:gd name="connsiteX3" fmla="*/ 253 w 1152525"/>
                      <a:gd name="connsiteY3" fmla="*/ 236759 h 285750"/>
                      <a:gd name="connsiteX4" fmla="*/ 10826 w 1152525"/>
                      <a:gd name="connsiteY4" fmla="*/ 220947 h 285750"/>
                      <a:gd name="connsiteX5" fmla="*/ 1130776 w 1152525"/>
                      <a:gd name="connsiteY5" fmla="*/ 253 h 285750"/>
                      <a:gd name="connsiteX6" fmla="*/ 1146587 w 1152525"/>
                      <a:gd name="connsiteY6" fmla="*/ 10826 h 285750"/>
                      <a:gd name="connsiteX7" fmla="*/ 1154874 w 1152525"/>
                      <a:gd name="connsiteY7" fmla="*/ 52641 h 285750"/>
                      <a:gd name="connsiteX8" fmla="*/ 1144301 w 1152525"/>
                      <a:gd name="connsiteY8" fmla="*/ 68452 h 2857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152525" h="285750">
                        <a:moveTo>
                          <a:pt x="1144301" y="68452"/>
                        </a:moveTo>
                        <a:lnTo>
                          <a:pt x="24352" y="289146"/>
                        </a:lnTo>
                        <a:cubicBezTo>
                          <a:pt x="17017" y="290575"/>
                          <a:pt x="9969" y="285813"/>
                          <a:pt x="8540" y="278574"/>
                        </a:cubicBezTo>
                        <a:lnTo>
                          <a:pt x="253" y="236759"/>
                        </a:lnTo>
                        <a:cubicBezTo>
                          <a:pt x="-1175" y="229425"/>
                          <a:pt x="3587" y="222376"/>
                          <a:pt x="10826" y="220947"/>
                        </a:cubicBezTo>
                        <a:lnTo>
                          <a:pt x="1130776" y="253"/>
                        </a:lnTo>
                        <a:cubicBezTo>
                          <a:pt x="1138110" y="-1175"/>
                          <a:pt x="1145158" y="3587"/>
                          <a:pt x="1146587" y="10826"/>
                        </a:cubicBezTo>
                        <a:lnTo>
                          <a:pt x="1154874" y="52641"/>
                        </a:lnTo>
                        <a:cubicBezTo>
                          <a:pt x="1156398" y="59975"/>
                          <a:pt x="1151635" y="67023"/>
                          <a:pt x="1144301" y="68452"/>
                        </a:cubicBezTo>
                        <a:close/>
                      </a:path>
                    </a:pathLst>
                  </a:custGeom>
                  <a:solidFill>
                    <a:schemeClr val="bg1">
                      <a:lumMod val="85000"/>
                    </a:schemeClr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857" name="Freeform: Shape 1856">
                    <a:extLst>
                      <a:ext uri="{FF2B5EF4-FFF2-40B4-BE49-F238E27FC236}">
                        <a16:creationId xmlns:a16="http://schemas.microsoft.com/office/drawing/2014/main" id="{EB8BD357-0306-4FB0-AE06-0AEFE779D233}"/>
                      </a:ext>
                    </a:extLst>
                  </p:cNvPr>
                  <p:cNvSpPr/>
                  <p:nvPr/>
                </p:nvSpPr>
                <p:spPr>
                  <a:xfrm>
                    <a:off x="14959984" y="4537005"/>
                    <a:ext cx="1152525" cy="285750"/>
                  </a:xfrm>
                  <a:custGeom>
                    <a:avLst/>
                    <a:gdLst>
                      <a:gd name="connsiteX0" fmla="*/ 1144301 w 1152525"/>
                      <a:gd name="connsiteY0" fmla="*/ 68452 h 285750"/>
                      <a:gd name="connsiteX1" fmla="*/ 24352 w 1152525"/>
                      <a:gd name="connsiteY1" fmla="*/ 289147 h 285750"/>
                      <a:gd name="connsiteX2" fmla="*/ 8540 w 1152525"/>
                      <a:gd name="connsiteY2" fmla="*/ 278574 h 285750"/>
                      <a:gd name="connsiteX3" fmla="*/ 253 w 1152525"/>
                      <a:gd name="connsiteY3" fmla="*/ 236759 h 285750"/>
                      <a:gd name="connsiteX4" fmla="*/ 10826 w 1152525"/>
                      <a:gd name="connsiteY4" fmla="*/ 220947 h 285750"/>
                      <a:gd name="connsiteX5" fmla="*/ 1130776 w 1152525"/>
                      <a:gd name="connsiteY5" fmla="*/ 253 h 285750"/>
                      <a:gd name="connsiteX6" fmla="*/ 1146587 w 1152525"/>
                      <a:gd name="connsiteY6" fmla="*/ 10826 h 285750"/>
                      <a:gd name="connsiteX7" fmla="*/ 1154874 w 1152525"/>
                      <a:gd name="connsiteY7" fmla="*/ 52641 h 285750"/>
                      <a:gd name="connsiteX8" fmla="*/ 1144301 w 1152525"/>
                      <a:gd name="connsiteY8" fmla="*/ 68452 h 2857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152525" h="285750">
                        <a:moveTo>
                          <a:pt x="1144301" y="68452"/>
                        </a:moveTo>
                        <a:lnTo>
                          <a:pt x="24352" y="289147"/>
                        </a:lnTo>
                        <a:cubicBezTo>
                          <a:pt x="17017" y="290575"/>
                          <a:pt x="9969" y="285813"/>
                          <a:pt x="8540" y="278574"/>
                        </a:cubicBezTo>
                        <a:lnTo>
                          <a:pt x="253" y="236759"/>
                        </a:lnTo>
                        <a:cubicBezTo>
                          <a:pt x="-1175" y="229425"/>
                          <a:pt x="3587" y="222376"/>
                          <a:pt x="10826" y="220947"/>
                        </a:cubicBezTo>
                        <a:lnTo>
                          <a:pt x="1130776" y="253"/>
                        </a:lnTo>
                        <a:cubicBezTo>
                          <a:pt x="1138110" y="-1176"/>
                          <a:pt x="1145158" y="3587"/>
                          <a:pt x="1146587" y="10826"/>
                        </a:cubicBezTo>
                        <a:lnTo>
                          <a:pt x="1154874" y="52641"/>
                        </a:lnTo>
                        <a:cubicBezTo>
                          <a:pt x="1156303" y="59975"/>
                          <a:pt x="1151540" y="67023"/>
                          <a:pt x="1144301" y="68452"/>
                        </a:cubicBezTo>
                        <a:close/>
                      </a:path>
                    </a:pathLst>
                  </a:custGeom>
                  <a:solidFill>
                    <a:schemeClr val="bg1">
                      <a:lumMod val="85000"/>
                    </a:schemeClr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858" name="Freeform: Shape 1857">
                    <a:extLst>
                      <a:ext uri="{FF2B5EF4-FFF2-40B4-BE49-F238E27FC236}">
                        <a16:creationId xmlns:a16="http://schemas.microsoft.com/office/drawing/2014/main" id="{14757EB1-8814-4CF6-856E-817E75970DBC}"/>
                      </a:ext>
                    </a:extLst>
                  </p:cNvPr>
                  <p:cNvSpPr/>
                  <p:nvPr/>
                </p:nvSpPr>
                <p:spPr>
                  <a:xfrm>
                    <a:off x="14983701" y="4657591"/>
                    <a:ext cx="1152525" cy="285750"/>
                  </a:xfrm>
                  <a:custGeom>
                    <a:avLst/>
                    <a:gdLst>
                      <a:gd name="connsiteX0" fmla="*/ 1144301 w 1152525"/>
                      <a:gd name="connsiteY0" fmla="*/ 68452 h 285750"/>
                      <a:gd name="connsiteX1" fmla="*/ 24352 w 1152525"/>
                      <a:gd name="connsiteY1" fmla="*/ 289147 h 285750"/>
                      <a:gd name="connsiteX2" fmla="*/ 8540 w 1152525"/>
                      <a:gd name="connsiteY2" fmla="*/ 278574 h 285750"/>
                      <a:gd name="connsiteX3" fmla="*/ 253 w 1152525"/>
                      <a:gd name="connsiteY3" fmla="*/ 236759 h 285750"/>
                      <a:gd name="connsiteX4" fmla="*/ 10826 w 1152525"/>
                      <a:gd name="connsiteY4" fmla="*/ 220947 h 285750"/>
                      <a:gd name="connsiteX5" fmla="*/ 1130776 w 1152525"/>
                      <a:gd name="connsiteY5" fmla="*/ 253 h 285750"/>
                      <a:gd name="connsiteX6" fmla="*/ 1146587 w 1152525"/>
                      <a:gd name="connsiteY6" fmla="*/ 10826 h 285750"/>
                      <a:gd name="connsiteX7" fmla="*/ 1154874 w 1152525"/>
                      <a:gd name="connsiteY7" fmla="*/ 52641 h 285750"/>
                      <a:gd name="connsiteX8" fmla="*/ 1144301 w 1152525"/>
                      <a:gd name="connsiteY8" fmla="*/ 68452 h 2857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152525" h="285750">
                        <a:moveTo>
                          <a:pt x="1144301" y="68452"/>
                        </a:moveTo>
                        <a:lnTo>
                          <a:pt x="24352" y="289147"/>
                        </a:lnTo>
                        <a:cubicBezTo>
                          <a:pt x="17017" y="290575"/>
                          <a:pt x="9969" y="285813"/>
                          <a:pt x="8540" y="278574"/>
                        </a:cubicBezTo>
                        <a:lnTo>
                          <a:pt x="253" y="236759"/>
                        </a:lnTo>
                        <a:cubicBezTo>
                          <a:pt x="-1176" y="229425"/>
                          <a:pt x="3587" y="222376"/>
                          <a:pt x="10826" y="220947"/>
                        </a:cubicBezTo>
                        <a:lnTo>
                          <a:pt x="1130776" y="253"/>
                        </a:lnTo>
                        <a:cubicBezTo>
                          <a:pt x="1138110" y="-1176"/>
                          <a:pt x="1145158" y="3587"/>
                          <a:pt x="1146587" y="10826"/>
                        </a:cubicBezTo>
                        <a:lnTo>
                          <a:pt x="1154874" y="52641"/>
                        </a:lnTo>
                        <a:cubicBezTo>
                          <a:pt x="1156398" y="59975"/>
                          <a:pt x="1151635" y="67023"/>
                          <a:pt x="1144301" y="68452"/>
                        </a:cubicBezTo>
                        <a:close/>
                      </a:path>
                    </a:pathLst>
                  </a:custGeom>
                  <a:solidFill>
                    <a:schemeClr val="bg1">
                      <a:lumMod val="85000"/>
                    </a:schemeClr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859" name="Freeform: Shape 1858">
                    <a:extLst>
                      <a:ext uri="{FF2B5EF4-FFF2-40B4-BE49-F238E27FC236}">
                        <a16:creationId xmlns:a16="http://schemas.microsoft.com/office/drawing/2014/main" id="{758A5E92-1DCE-4EDB-9E5A-FDF089A4305C}"/>
                      </a:ext>
                    </a:extLst>
                  </p:cNvPr>
                  <p:cNvSpPr/>
                  <p:nvPr/>
                </p:nvSpPr>
                <p:spPr>
                  <a:xfrm>
                    <a:off x="15007419" y="4778178"/>
                    <a:ext cx="1152525" cy="285750"/>
                  </a:xfrm>
                  <a:custGeom>
                    <a:avLst/>
                    <a:gdLst>
                      <a:gd name="connsiteX0" fmla="*/ 1144301 w 1152525"/>
                      <a:gd name="connsiteY0" fmla="*/ 68452 h 285750"/>
                      <a:gd name="connsiteX1" fmla="*/ 24352 w 1152525"/>
                      <a:gd name="connsiteY1" fmla="*/ 289147 h 285750"/>
                      <a:gd name="connsiteX2" fmla="*/ 8540 w 1152525"/>
                      <a:gd name="connsiteY2" fmla="*/ 278574 h 285750"/>
                      <a:gd name="connsiteX3" fmla="*/ 253 w 1152525"/>
                      <a:gd name="connsiteY3" fmla="*/ 236759 h 285750"/>
                      <a:gd name="connsiteX4" fmla="*/ 10826 w 1152525"/>
                      <a:gd name="connsiteY4" fmla="*/ 220948 h 285750"/>
                      <a:gd name="connsiteX5" fmla="*/ 1130776 w 1152525"/>
                      <a:gd name="connsiteY5" fmla="*/ 253 h 285750"/>
                      <a:gd name="connsiteX6" fmla="*/ 1146587 w 1152525"/>
                      <a:gd name="connsiteY6" fmla="*/ 10826 h 285750"/>
                      <a:gd name="connsiteX7" fmla="*/ 1154874 w 1152525"/>
                      <a:gd name="connsiteY7" fmla="*/ 52641 h 285750"/>
                      <a:gd name="connsiteX8" fmla="*/ 1144301 w 1152525"/>
                      <a:gd name="connsiteY8" fmla="*/ 68452 h 2857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152525" h="285750">
                        <a:moveTo>
                          <a:pt x="1144301" y="68452"/>
                        </a:moveTo>
                        <a:lnTo>
                          <a:pt x="24352" y="289147"/>
                        </a:lnTo>
                        <a:cubicBezTo>
                          <a:pt x="17017" y="290575"/>
                          <a:pt x="9969" y="285813"/>
                          <a:pt x="8540" y="278574"/>
                        </a:cubicBezTo>
                        <a:lnTo>
                          <a:pt x="253" y="236759"/>
                        </a:lnTo>
                        <a:cubicBezTo>
                          <a:pt x="-1176" y="229425"/>
                          <a:pt x="3587" y="222376"/>
                          <a:pt x="10826" y="220948"/>
                        </a:cubicBezTo>
                        <a:lnTo>
                          <a:pt x="1130776" y="253"/>
                        </a:lnTo>
                        <a:cubicBezTo>
                          <a:pt x="1138110" y="-1175"/>
                          <a:pt x="1145158" y="3587"/>
                          <a:pt x="1146587" y="10826"/>
                        </a:cubicBezTo>
                        <a:lnTo>
                          <a:pt x="1154874" y="52641"/>
                        </a:lnTo>
                        <a:cubicBezTo>
                          <a:pt x="1156398" y="59975"/>
                          <a:pt x="1151635" y="67024"/>
                          <a:pt x="1144301" y="68452"/>
                        </a:cubicBezTo>
                        <a:close/>
                      </a:path>
                    </a:pathLst>
                  </a:custGeom>
                  <a:solidFill>
                    <a:schemeClr val="bg1">
                      <a:lumMod val="85000"/>
                    </a:schemeClr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860" name="Freeform: Shape 1859">
                    <a:extLst>
                      <a:ext uri="{FF2B5EF4-FFF2-40B4-BE49-F238E27FC236}">
                        <a16:creationId xmlns:a16="http://schemas.microsoft.com/office/drawing/2014/main" id="{ABC88975-B908-43F6-ADD8-6A786AAEBDAE}"/>
                      </a:ext>
                    </a:extLst>
                  </p:cNvPr>
                  <p:cNvSpPr/>
                  <p:nvPr/>
                </p:nvSpPr>
                <p:spPr>
                  <a:xfrm>
                    <a:off x="15031231" y="4898764"/>
                    <a:ext cx="1152525" cy="285750"/>
                  </a:xfrm>
                  <a:custGeom>
                    <a:avLst/>
                    <a:gdLst>
                      <a:gd name="connsiteX0" fmla="*/ 1144301 w 1152525"/>
                      <a:gd name="connsiteY0" fmla="*/ 68452 h 285750"/>
                      <a:gd name="connsiteX1" fmla="*/ 24352 w 1152525"/>
                      <a:gd name="connsiteY1" fmla="*/ 289147 h 285750"/>
                      <a:gd name="connsiteX2" fmla="*/ 8540 w 1152525"/>
                      <a:gd name="connsiteY2" fmla="*/ 278574 h 285750"/>
                      <a:gd name="connsiteX3" fmla="*/ 253 w 1152525"/>
                      <a:gd name="connsiteY3" fmla="*/ 236759 h 285750"/>
                      <a:gd name="connsiteX4" fmla="*/ 10826 w 1152525"/>
                      <a:gd name="connsiteY4" fmla="*/ 220948 h 285750"/>
                      <a:gd name="connsiteX5" fmla="*/ 1130776 w 1152525"/>
                      <a:gd name="connsiteY5" fmla="*/ 253 h 285750"/>
                      <a:gd name="connsiteX6" fmla="*/ 1146587 w 1152525"/>
                      <a:gd name="connsiteY6" fmla="*/ 10826 h 285750"/>
                      <a:gd name="connsiteX7" fmla="*/ 1154874 w 1152525"/>
                      <a:gd name="connsiteY7" fmla="*/ 52641 h 285750"/>
                      <a:gd name="connsiteX8" fmla="*/ 1144301 w 1152525"/>
                      <a:gd name="connsiteY8" fmla="*/ 68452 h 2857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152525" h="285750">
                        <a:moveTo>
                          <a:pt x="1144301" y="68452"/>
                        </a:moveTo>
                        <a:lnTo>
                          <a:pt x="24352" y="289147"/>
                        </a:lnTo>
                        <a:cubicBezTo>
                          <a:pt x="17017" y="290575"/>
                          <a:pt x="9969" y="285813"/>
                          <a:pt x="8540" y="278574"/>
                        </a:cubicBezTo>
                        <a:lnTo>
                          <a:pt x="253" y="236759"/>
                        </a:lnTo>
                        <a:cubicBezTo>
                          <a:pt x="-1176" y="229425"/>
                          <a:pt x="3587" y="222376"/>
                          <a:pt x="10826" y="220948"/>
                        </a:cubicBezTo>
                        <a:lnTo>
                          <a:pt x="1130776" y="253"/>
                        </a:lnTo>
                        <a:cubicBezTo>
                          <a:pt x="1138110" y="-1175"/>
                          <a:pt x="1145158" y="3587"/>
                          <a:pt x="1146587" y="10826"/>
                        </a:cubicBezTo>
                        <a:lnTo>
                          <a:pt x="1154874" y="52641"/>
                        </a:lnTo>
                        <a:cubicBezTo>
                          <a:pt x="1156303" y="59975"/>
                          <a:pt x="1151540" y="67024"/>
                          <a:pt x="1144301" y="68452"/>
                        </a:cubicBezTo>
                        <a:close/>
                      </a:path>
                    </a:pathLst>
                  </a:custGeom>
                  <a:solidFill>
                    <a:schemeClr val="bg1">
                      <a:lumMod val="85000"/>
                    </a:schemeClr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861" name="Freeform: Shape 1860">
                    <a:extLst>
                      <a:ext uri="{FF2B5EF4-FFF2-40B4-BE49-F238E27FC236}">
                        <a16:creationId xmlns:a16="http://schemas.microsoft.com/office/drawing/2014/main" id="{25F824EA-46E5-4EFF-A032-639BC8BEDD18}"/>
                      </a:ext>
                    </a:extLst>
                  </p:cNvPr>
                  <p:cNvSpPr/>
                  <p:nvPr/>
                </p:nvSpPr>
                <p:spPr>
                  <a:xfrm>
                    <a:off x="17025671" y="4992776"/>
                    <a:ext cx="457200" cy="161925"/>
                  </a:xfrm>
                  <a:custGeom>
                    <a:avLst/>
                    <a:gdLst>
                      <a:gd name="connsiteX0" fmla="*/ 447548 w 457200"/>
                      <a:gd name="connsiteY0" fmla="*/ 87217 h 161925"/>
                      <a:gd name="connsiteX1" fmla="*/ 27971 w 457200"/>
                      <a:gd name="connsiteY1" fmla="*/ 169894 h 161925"/>
                      <a:gd name="connsiteX2" fmla="*/ 12160 w 457200"/>
                      <a:gd name="connsiteY2" fmla="*/ 159321 h 161925"/>
                      <a:gd name="connsiteX3" fmla="*/ 253 w 457200"/>
                      <a:gd name="connsiteY3" fmla="*/ 98742 h 161925"/>
                      <a:gd name="connsiteX4" fmla="*/ 10826 w 457200"/>
                      <a:gd name="connsiteY4" fmla="*/ 82931 h 161925"/>
                      <a:gd name="connsiteX5" fmla="*/ 430402 w 457200"/>
                      <a:gd name="connsiteY5" fmla="*/ 253 h 161925"/>
                      <a:gd name="connsiteX6" fmla="*/ 446214 w 457200"/>
                      <a:gd name="connsiteY6" fmla="*/ 10826 h 161925"/>
                      <a:gd name="connsiteX7" fmla="*/ 458120 w 457200"/>
                      <a:gd name="connsiteY7" fmla="*/ 71405 h 161925"/>
                      <a:gd name="connsiteX8" fmla="*/ 447548 w 457200"/>
                      <a:gd name="connsiteY8" fmla="*/ 87217 h 1619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57200" h="161925">
                        <a:moveTo>
                          <a:pt x="447548" y="87217"/>
                        </a:moveTo>
                        <a:lnTo>
                          <a:pt x="27971" y="169894"/>
                        </a:lnTo>
                        <a:cubicBezTo>
                          <a:pt x="20637" y="171323"/>
                          <a:pt x="13588" y="166560"/>
                          <a:pt x="12160" y="159321"/>
                        </a:cubicBezTo>
                        <a:lnTo>
                          <a:pt x="253" y="98742"/>
                        </a:lnTo>
                        <a:cubicBezTo>
                          <a:pt x="-1175" y="91408"/>
                          <a:pt x="3587" y="84359"/>
                          <a:pt x="10826" y="82931"/>
                        </a:cubicBezTo>
                        <a:lnTo>
                          <a:pt x="430402" y="253"/>
                        </a:lnTo>
                        <a:cubicBezTo>
                          <a:pt x="437737" y="-1175"/>
                          <a:pt x="444785" y="3587"/>
                          <a:pt x="446214" y="10826"/>
                        </a:cubicBezTo>
                        <a:lnTo>
                          <a:pt x="458120" y="71405"/>
                        </a:lnTo>
                        <a:cubicBezTo>
                          <a:pt x="459644" y="78644"/>
                          <a:pt x="454882" y="85788"/>
                          <a:pt x="447548" y="87217"/>
                        </a:cubicBezTo>
                        <a:close/>
                      </a:path>
                    </a:pathLst>
                  </a:custGeom>
                  <a:solidFill>
                    <a:schemeClr val="bg1">
                      <a:lumMod val="85000"/>
                    </a:schemeClr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862" name="Freeform: Shape 1861">
                    <a:extLst>
                      <a:ext uri="{FF2B5EF4-FFF2-40B4-BE49-F238E27FC236}">
                        <a16:creationId xmlns:a16="http://schemas.microsoft.com/office/drawing/2014/main" id="{039363D1-9B1D-41D4-B9AF-11233DAC3D0B}"/>
                      </a:ext>
                    </a:extLst>
                  </p:cNvPr>
                  <p:cNvSpPr/>
                  <p:nvPr/>
                </p:nvSpPr>
                <p:spPr>
                  <a:xfrm>
                    <a:off x="16263671" y="4048563"/>
                    <a:ext cx="1057275" cy="266700"/>
                  </a:xfrm>
                  <a:custGeom>
                    <a:avLst/>
                    <a:gdLst>
                      <a:gd name="connsiteX0" fmla="*/ 1048480 w 1057275"/>
                      <a:gd name="connsiteY0" fmla="*/ 68452 h 266700"/>
                      <a:gd name="connsiteX1" fmla="*/ 24352 w 1057275"/>
                      <a:gd name="connsiteY1" fmla="*/ 270192 h 266700"/>
                      <a:gd name="connsiteX2" fmla="*/ 8540 w 1057275"/>
                      <a:gd name="connsiteY2" fmla="*/ 259619 h 266700"/>
                      <a:gd name="connsiteX3" fmla="*/ 253 w 1057275"/>
                      <a:gd name="connsiteY3" fmla="*/ 217804 h 266700"/>
                      <a:gd name="connsiteX4" fmla="*/ 10826 w 1057275"/>
                      <a:gd name="connsiteY4" fmla="*/ 201993 h 266700"/>
                      <a:gd name="connsiteX5" fmla="*/ 1034954 w 1057275"/>
                      <a:gd name="connsiteY5" fmla="*/ 253 h 266700"/>
                      <a:gd name="connsiteX6" fmla="*/ 1050766 w 1057275"/>
                      <a:gd name="connsiteY6" fmla="*/ 10826 h 266700"/>
                      <a:gd name="connsiteX7" fmla="*/ 1059052 w 1057275"/>
                      <a:gd name="connsiteY7" fmla="*/ 52641 h 266700"/>
                      <a:gd name="connsiteX8" fmla="*/ 1048480 w 1057275"/>
                      <a:gd name="connsiteY8" fmla="*/ 68452 h 2667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057275" h="266700">
                        <a:moveTo>
                          <a:pt x="1048480" y="68452"/>
                        </a:moveTo>
                        <a:lnTo>
                          <a:pt x="24352" y="270192"/>
                        </a:lnTo>
                        <a:cubicBezTo>
                          <a:pt x="17017" y="271621"/>
                          <a:pt x="9969" y="266858"/>
                          <a:pt x="8540" y="259619"/>
                        </a:cubicBezTo>
                        <a:lnTo>
                          <a:pt x="253" y="217804"/>
                        </a:lnTo>
                        <a:cubicBezTo>
                          <a:pt x="-1175" y="210470"/>
                          <a:pt x="3587" y="203422"/>
                          <a:pt x="10826" y="201993"/>
                        </a:cubicBezTo>
                        <a:lnTo>
                          <a:pt x="1034954" y="253"/>
                        </a:lnTo>
                        <a:cubicBezTo>
                          <a:pt x="1042288" y="-1176"/>
                          <a:pt x="1049337" y="3587"/>
                          <a:pt x="1050766" y="10826"/>
                        </a:cubicBezTo>
                        <a:lnTo>
                          <a:pt x="1059052" y="52641"/>
                        </a:lnTo>
                        <a:cubicBezTo>
                          <a:pt x="1060481" y="59880"/>
                          <a:pt x="1055719" y="66928"/>
                          <a:pt x="1048480" y="68452"/>
                        </a:cubicBezTo>
                        <a:close/>
                      </a:path>
                    </a:pathLst>
                  </a:custGeom>
                  <a:solidFill>
                    <a:schemeClr val="bg1">
                      <a:lumMod val="85000"/>
                    </a:schemeClr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863" name="Freeform: Shape 1862">
                    <a:extLst>
                      <a:ext uri="{FF2B5EF4-FFF2-40B4-BE49-F238E27FC236}">
                        <a16:creationId xmlns:a16="http://schemas.microsoft.com/office/drawing/2014/main" id="{F73A88F2-2518-4E52-A798-E46315F4E04D}"/>
                      </a:ext>
                    </a:extLst>
                  </p:cNvPr>
                  <p:cNvSpPr/>
                  <p:nvPr/>
                </p:nvSpPr>
                <p:spPr>
                  <a:xfrm>
                    <a:off x="16287388" y="4169149"/>
                    <a:ext cx="1057275" cy="266700"/>
                  </a:xfrm>
                  <a:custGeom>
                    <a:avLst/>
                    <a:gdLst>
                      <a:gd name="connsiteX0" fmla="*/ 1048480 w 1057275"/>
                      <a:gd name="connsiteY0" fmla="*/ 68452 h 266700"/>
                      <a:gd name="connsiteX1" fmla="*/ 24352 w 1057275"/>
                      <a:gd name="connsiteY1" fmla="*/ 270192 h 266700"/>
                      <a:gd name="connsiteX2" fmla="*/ 8540 w 1057275"/>
                      <a:gd name="connsiteY2" fmla="*/ 259619 h 266700"/>
                      <a:gd name="connsiteX3" fmla="*/ 253 w 1057275"/>
                      <a:gd name="connsiteY3" fmla="*/ 217805 h 266700"/>
                      <a:gd name="connsiteX4" fmla="*/ 10826 w 1057275"/>
                      <a:gd name="connsiteY4" fmla="*/ 201993 h 266700"/>
                      <a:gd name="connsiteX5" fmla="*/ 1034954 w 1057275"/>
                      <a:gd name="connsiteY5" fmla="*/ 253 h 266700"/>
                      <a:gd name="connsiteX6" fmla="*/ 1050765 w 1057275"/>
                      <a:gd name="connsiteY6" fmla="*/ 10826 h 266700"/>
                      <a:gd name="connsiteX7" fmla="*/ 1059052 w 1057275"/>
                      <a:gd name="connsiteY7" fmla="*/ 52641 h 266700"/>
                      <a:gd name="connsiteX8" fmla="*/ 1048480 w 1057275"/>
                      <a:gd name="connsiteY8" fmla="*/ 68452 h 2667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057275" h="266700">
                        <a:moveTo>
                          <a:pt x="1048480" y="68452"/>
                        </a:moveTo>
                        <a:lnTo>
                          <a:pt x="24352" y="270192"/>
                        </a:lnTo>
                        <a:cubicBezTo>
                          <a:pt x="17017" y="271621"/>
                          <a:pt x="9969" y="266858"/>
                          <a:pt x="8540" y="259619"/>
                        </a:cubicBezTo>
                        <a:lnTo>
                          <a:pt x="253" y="217805"/>
                        </a:lnTo>
                        <a:cubicBezTo>
                          <a:pt x="-1176" y="210470"/>
                          <a:pt x="3587" y="203422"/>
                          <a:pt x="10826" y="201993"/>
                        </a:cubicBezTo>
                        <a:lnTo>
                          <a:pt x="1034954" y="253"/>
                        </a:lnTo>
                        <a:cubicBezTo>
                          <a:pt x="1042288" y="-1175"/>
                          <a:pt x="1049337" y="3587"/>
                          <a:pt x="1050765" y="10826"/>
                        </a:cubicBezTo>
                        <a:lnTo>
                          <a:pt x="1059052" y="52641"/>
                        </a:lnTo>
                        <a:cubicBezTo>
                          <a:pt x="1060576" y="59880"/>
                          <a:pt x="1055814" y="66928"/>
                          <a:pt x="1048480" y="68452"/>
                        </a:cubicBezTo>
                        <a:close/>
                      </a:path>
                    </a:pathLst>
                  </a:custGeom>
                  <a:solidFill>
                    <a:schemeClr val="bg1">
                      <a:lumMod val="85000"/>
                    </a:schemeClr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864" name="Freeform: Shape 1863">
                    <a:extLst>
                      <a:ext uri="{FF2B5EF4-FFF2-40B4-BE49-F238E27FC236}">
                        <a16:creationId xmlns:a16="http://schemas.microsoft.com/office/drawing/2014/main" id="{880FF0F3-EB4E-4E49-B1C7-10DCBE4A69A0}"/>
                      </a:ext>
                    </a:extLst>
                  </p:cNvPr>
                  <p:cNvSpPr/>
                  <p:nvPr/>
                </p:nvSpPr>
                <p:spPr>
                  <a:xfrm>
                    <a:off x="16311105" y="4289736"/>
                    <a:ext cx="1057275" cy="266700"/>
                  </a:xfrm>
                  <a:custGeom>
                    <a:avLst/>
                    <a:gdLst>
                      <a:gd name="connsiteX0" fmla="*/ 1048479 w 1057275"/>
                      <a:gd name="connsiteY0" fmla="*/ 68452 h 266700"/>
                      <a:gd name="connsiteX1" fmla="*/ 24352 w 1057275"/>
                      <a:gd name="connsiteY1" fmla="*/ 270192 h 266700"/>
                      <a:gd name="connsiteX2" fmla="*/ 8540 w 1057275"/>
                      <a:gd name="connsiteY2" fmla="*/ 259619 h 266700"/>
                      <a:gd name="connsiteX3" fmla="*/ 253 w 1057275"/>
                      <a:gd name="connsiteY3" fmla="*/ 217804 h 266700"/>
                      <a:gd name="connsiteX4" fmla="*/ 10826 w 1057275"/>
                      <a:gd name="connsiteY4" fmla="*/ 201993 h 266700"/>
                      <a:gd name="connsiteX5" fmla="*/ 1034954 w 1057275"/>
                      <a:gd name="connsiteY5" fmla="*/ 253 h 266700"/>
                      <a:gd name="connsiteX6" fmla="*/ 1050766 w 1057275"/>
                      <a:gd name="connsiteY6" fmla="*/ 10826 h 266700"/>
                      <a:gd name="connsiteX7" fmla="*/ 1059052 w 1057275"/>
                      <a:gd name="connsiteY7" fmla="*/ 52641 h 266700"/>
                      <a:gd name="connsiteX8" fmla="*/ 1048479 w 1057275"/>
                      <a:gd name="connsiteY8" fmla="*/ 68452 h 2667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057275" h="266700">
                        <a:moveTo>
                          <a:pt x="1048479" y="68452"/>
                        </a:moveTo>
                        <a:lnTo>
                          <a:pt x="24352" y="270192"/>
                        </a:lnTo>
                        <a:cubicBezTo>
                          <a:pt x="17017" y="271621"/>
                          <a:pt x="9969" y="266858"/>
                          <a:pt x="8540" y="259619"/>
                        </a:cubicBezTo>
                        <a:lnTo>
                          <a:pt x="253" y="217804"/>
                        </a:lnTo>
                        <a:cubicBezTo>
                          <a:pt x="-1175" y="210470"/>
                          <a:pt x="3587" y="203422"/>
                          <a:pt x="10826" y="201993"/>
                        </a:cubicBezTo>
                        <a:lnTo>
                          <a:pt x="1034954" y="253"/>
                        </a:lnTo>
                        <a:cubicBezTo>
                          <a:pt x="1042288" y="-1175"/>
                          <a:pt x="1049337" y="3587"/>
                          <a:pt x="1050766" y="10826"/>
                        </a:cubicBezTo>
                        <a:lnTo>
                          <a:pt x="1059052" y="52641"/>
                        </a:lnTo>
                        <a:cubicBezTo>
                          <a:pt x="1060576" y="59880"/>
                          <a:pt x="1055814" y="66928"/>
                          <a:pt x="1048479" y="68452"/>
                        </a:cubicBezTo>
                        <a:close/>
                      </a:path>
                    </a:pathLst>
                  </a:custGeom>
                  <a:solidFill>
                    <a:schemeClr val="bg1">
                      <a:lumMod val="85000"/>
                    </a:schemeClr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865" name="Freeform: Shape 1864">
                    <a:extLst>
                      <a:ext uri="{FF2B5EF4-FFF2-40B4-BE49-F238E27FC236}">
                        <a16:creationId xmlns:a16="http://schemas.microsoft.com/office/drawing/2014/main" id="{982A2D0A-DCE4-4706-80C4-E00E97DECCA4}"/>
                      </a:ext>
                    </a:extLst>
                  </p:cNvPr>
                  <p:cNvSpPr/>
                  <p:nvPr/>
                </p:nvSpPr>
                <p:spPr>
                  <a:xfrm>
                    <a:off x="16334918" y="4410227"/>
                    <a:ext cx="1057275" cy="266700"/>
                  </a:xfrm>
                  <a:custGeom>
                    <a:avLst/>
                    <a:gdLst>
                      <a:gd name="connsiteX0" fmla="*/ 1048479 w 1057275"/>
                      <a:gd name="connsiteY0" fmla="*/ 68452 h 266700"/>
                      <a:gd name="connsiteX1" fmla="*/ 24352 w 1057275"/>
                      <a:gd name="connsiteY1" fmla="*/ 270192 h 266700"/>
                      <a:gd name="connsiteX2" fmla="*/ 8540 w 1057275"/>
                      <a:gd name="connsiteY2" fmla="*/ 259619 h 266700"/>
                      <a:gd name="connsiteX3" fmla="*/ 253 w 1057275"/>
                      <a:gd name="connsiteY3" fmla="*/ 217804 h 266700"/>
                      <a:gd name="connsiteX4" fmla="*/ 10826 w 1057275"/>
                      <a:gd name="connsiteY4" fmla="*/ 201993 h 266700"/>
                      <a:gd name="connsiteX5" fmla="*/ 1034954 w 1057275"/>
                      <a:gd name="connsiteY5" fmla="*/ 253 h 266700"/>
                      <a:gd name="connsiteX6" fmla="*/ 1050766 w 1057275"/>
                      <a:gd name="connsiteY6" fmla="*/ 10826 h 266700"/>
                      <a:gd name="connsiteX7" fmla="*/ 1059052 w 1057275"/>
                      <a:gd name="connsiteY7" fmla="*/ 52641 h 266700"/>
                      <a:gd name="connsiteX8" fmla="*/ 1048479 w 1057275"/>
                      <a:gd name="connsiteY8" fmla="*/ 68452 h 2667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057275" h="266700">
                        <a:moveTo>
                          <a:pt x="1048479" y="68452"/>
                        </a:moveTo>
                        <a:lnTo>
                          <a:pt x="24352" y="270192"/>
                        </a:lnTo>
                        <a:cubicBezTo>
                          <a:pt x="17017" y="271621"/>
                          <a:pt x="9969" y="266858"/>
                          <a:pt x="8540" y="259619"/>
                        </a:cubicBezTo>
                        <a:lnTo>
                          <a:pt x="253" y="217804"/>
                        </a:lnTo>
                        <a:cubicBezTo>
                          <a:pt x="-1175" y="210470"/>
                          <a:pt x="3587" y="203422"/>
                          <a:pt x="10826" y="201993"/>
                        </a:cubicBezTo>
                        <a:lnTo>
                          <a:pt x="1034954" y="253"/>
                        </a:lnTo>
                        <a:cubicBezTo>
                          <a:pt x="1042288" y="-1176"/>
                          <a:pt x="1049337" y="3587"/>
                          <a:pt x="1050766" y="10826"/>
                        </a:cubicBezTo>
                        <a:lnTo>
                          <a:pt x="1059052" y="52641"/>
                        </a:lnTo>
                        <a:cubicBezTo>
                          <a:pt x="1060481" y="59975"/>
                          <a:pt x="1055719" y="67023"/>
                          <a:pt x="1048479" y="68452"/>
                        </a:cubicBezTo>
                        <a:close/>
                      </a:path>
                    </a:pathLst>
                  </a:custGeom>
                  <a:solidFill>
                    <a:schemeClr val="bg1">
                      <a:lumMod val="85000"/>
                    </a:schemeClr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866" name="Freeform: Shape 1865">
                    <a:extLst>
                      <a:ext uri="{FF2B5EF4-FFF2-40B4-BE49-F238E27FC236}">
                        <a16:creationId xmlns:a16="http://schemas.microsoft.com/office/drawing/2014/main" id="{642804DA-6E7C-404F-BB7D-E191E5A8D497}"/>
                      </a:ext>
                    </a:extLst>
                  </p:cNvPr>
                  <p:cNvSpPr/>
                  <p:nvPr/>
                </p:nvSpPr>
                <p:spPr>
                  <a:xfrm>
                    <a:off x="16358635" y="4530813"/>
                    <a:ext cx="1057275" cy="266700"/>
                  </a:xfrm>
                  <a:custGeom>
                    <a:avLst/>
                    <a:gdLst>
                      <a:gd name="connsiteX0" fmla="*/ 1048480 w 1057275"/>
                      <a:gd name="connsiteY0" fmla="*/ 68452 h 266700"/>
                      <a:gd name="connsiteX1" fmla="*/ 24352 w 1057275"/>
                      <a:gd name="connsiteY1" fmla="*/ 270192 h 266700"/>
                      <a:gd name="connsiteX2" fmla="*/ 8540 w 1057275"/>
                      <a:gd name="connsiteY2" fmla="*/ 259619 h 266700"/>
                      <a:gd name="connsiteX3" fmla="*/ 253 w 1057275"/>
                      <a:gd name="connsiteY3" fmla="*/ 217805 h 266700"/>
                      <a:gd name="connsiteX4" fmla="*/ 10826 w 1057275"/>
                      <a:gd name="connsiteY4" fmla="*/ 201993 h 266700"/>
                      <a:gd name="connsiteX5" fmla="*/ 1034954 w 1057275"/>
                      <a:gd name="connsiteY5" fmla="*/ 253 h 266700"/>
                      <a:gd name="connsiteX6" fmla="*/ 1050766 w 1057275"/>
                      <a:gd name="connsiteY6" fmla="*/ 10826 h 266700"/>
                      <a:gd name="connsiteX7" fmla="*/ 1059052 w 1057275"/>
                      <a:gd name="connsiteY7" fmla="*/ 52641 h 266700"/>
                      <a:gd name="connsiteX8" fmla="*/ 1048480 w 1057275"/>
                      <a:gd name="connsiteY8" fmla="*/ 68452 h 2667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057275" h="266700">
                        <a:moveTo>
                          <a:pt x="1048480" y="68452"/>
                        </a:moveTo>
                        <a:lnTo>
                          <a:pt x="24352" y="270192"/>
                        </a:lnTo>
                        <a:cubicBezTo>
                          <a:pt x="17017" y="271621"/>
                          <a:pt x="9969" y="266858"/>
                          <a:pt x="8540" y="259619"/>
                        </a:cubicBezTo>
                        <a:lnTo>
                          <a:pt x="253" y="217805"/>
                        </a:lnTo>
                        <a:cubicBezTo>
                          <a:pt x="-1175" y="210470"/>
                          <a:pt x="3587" y="203422"/>
                          <a:pt x="10826" y="201993"/>
                        </a:cubicBezTo>
                        <a:lnTo>
                          <a:pt x="1034954" y="253"/>
                        </a:lnTo>
                        <a:cubicBezTo>
                          <a:pt x="1042288" y="-1175"/>
                          <a:pt x="1049337" y="3587"/>
                          <a:pt x="1050766" y="10826"/>
                        </a:cubicBezTo>
                        <a:lnTo>
                          <a:pt x="1059052" y="52641"/>
                        </a:lnTo>
                        <a:cubicBezTo>
                          <a:pt x="1060576" y="59975"/>
                          <a:pt x="1055814" y="67024"/>
                          <a:pt x="1048480" y="68452"/>
                        </a:cubicBezTo>
                        <a:close/>
                      </a:path>
                    </a:pathLst>
                  </a:custGeom>
                  <a:solidFill>
                    <a:schemeClr val="bg1">
                      <a:lumMod val="85000"/>
                    </a:schemeClr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867" name="Freeform: Shape 1866">
                    <a:extLst>
                      <a:ext uri="{FF2B5EF4-FFF2-40B4-BE49-F238E27FC236}">
                        <a16:creationId xmlns:a16="http://schemas.microsoft.com/office/drawing/2014/main" id="{A2EC8FD0-B379-417A-A825-56FA0EF6A421}"/>
                      </a:ext>
                    </a:extLst>
                  </p:cNvPr>
                  <p:cNvSpPr/>
                  <p:nvPr/>
                </p:nvSpPr>
                <p:spPr>
                  <a:xfrm>
                    <a:off x="16382448" y="4651400"/>
                    <a:ext cx="1057275" cy="266700"/>
                  </a:xfrm>
                  <a:custGeom>
                    <a:avLst/>
                    <a:gdLst>
                      <a:gd name="connsiteX0" fmla="*/ 1048480 w 1057275"/>
                      <a:gd name="connsiteY0" fmla="*/ 68452 h 266700"/>
                      <a:gd name="connsiteX1" fmla="*/ 24352 w 1057275"/>
                      <a:gd name="connsiteY1" fmla="*/ 270192 h 266700"/>
                      <a:gd name="connsiteX2" fmla="*/ 8540 w 1057275"/>
                      <a:gd name="connsiteY2" fmla="*/ 259619 h 266700"/>
                      <a:gd name="connsiteX3" fmla="*/ 253 w 1057275"/>
                      <a:gd name="connsiteY3" fmla="*/ 217804 h 266700"/>
                      <a:gd name="connsiteX4" fmla="*/ 10826 w 1057275"/>
                      <a:gd name="connsiteY4" fmla="*/ 201993 h 266700"/>
                      <a:gd name="connsiteX5" fmla="*/ 1034954 w 1057275"/>
                      <a:gd name="connsiteY5" fmla="*/ 253 h 266700"/>
                      <a:gd name="connsiteX6" fmla="*/ 1050766 w 1057275"/>
                      <a:gd name="connsiteY6" fmla="*/ 10826 h 266700"/>
                      <a:gd name="connsiteX7" fmla="*/ 1059052 w 1057275"/>
                      <a:gd name="connsiteY7" fmla="*/ 52641 h 266700"/>
                      <a:gd name="connsiteX8" fmla="*/ 1048480 w 1057275"/>
                      <a:gd name="connsiteY8" fmla="*/ 68452 h 2667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057275" h="266700">
                        <a:moveTo>
                          <a:pt x="1048480" y="68452"/>
                        </a:moveTo>
                        <a:lnTo>
                          <a:pt x="24352" y="270192"/>
                        </a:lnTo>
                        <a:cubicBezTo>
                          <a:pt x="17017" y="271621"/>
                          <a:pt x="9969" y="266858"/>
                          <a:pt x="8540" y="259619"/>
                        </a:cubicBezTo>
                        <a:lnTo>
                          <a:pt x="253" y="217804"/>
                        </a:lnTo>
                        <a:cubicBezTo>
                          <a:pt x="-1175" y="210470"/>
                          <a:pt x="3587" y="203422"/>
                          <a:pt x="10826" y="201993"/>
                        </a:cubicBezTo>
                        <a:lnTo>
                          <a:pt x="1034954" y="253"/>
                        </a:lnTo>
                        <a:cubicBezTo>
                          <a:pt x="1042288" y="-1175"/>
                          <a:pt x="1049337" y="3587"/>
                          <a:pt x="1050766" y="10826"/>
                        </a:cubicBezTo>
                        <a:lnTo>
                          <a:pt x="1059052" y="52641"/>
                        </a:lnTo>
                        <a:cubicBezTo>
                          <a:pt x="1060481" y="59975"/>
                          <a:pt x="1055719" y="67024"/>
                          <a:pt x="1048480" y="68452"/>
                        </a:cubicBezTo>
                        <a:close/>
                      </a:path>
                    </a:pathLst>
                  </a:custGeom>
                  <a:solidFill>
                    <a:schemeClr val="bg1">
                      <a:lumMod val="85000"/>
                    </a:schemeClr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868" name="Freeform: Shape 1867">
                    <a:extLst>
                      <a:ext uri="{FF2B5EF4-FFF2-40B4-BE49-F238E27FC236}">
                        <a16:creationId xmlns:a16="http://schemas.microsoft.com/office/drawing/2014/main" id="{8E7B1629-E0C2-40F5-857F-5FCF6FDC25EA}"/>
                      </a:ext>
                    </a:extLst>
                  </p:cNvPr>
                  <p:cNvSpPr/>
                  <p:nvPr/>
                </p:nvSpPr>
                <p:spPr>
                  <a:xfrm>
                    <a:off x="14857687" y="3780517"/>
                    <a:ext cx="2400300" cy="476250"/>
                  </a:xfrm>
                  <a:custGeom>
                    <a:avLst/>
                    <a:gdLst>
                      <a:gd name="connsiteX0" fmla="*/ 0 w 2400300"/>
                      <a:gd name="connsiteY0" fmla="*/ 473184 h 476250"/>
                      <a:gd name="connsiteX1" fmla="*/ 2401659 w 2400300"/>
                      <a:gd name="connsiteY1" fmla="*/ 0 h 476250"/>
                      <a:gd name="connsiteX2" fmla="*/ 2403169 w 2400300"/>
                      <a:gd name="connsiteY2" fmla="*/ 7663 h 476250"/>
                      <a:gd name="connsiteX3" fmla="*/ 1510 w 2400300"/>
                      <a:gd name="connsiteY3" fmla="*/ 480847 h 4762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400300" h="476250">
                        <a:moveTo>
                          <a:pt x="0" y="473184"/>
                        </a:moveTo>
                        <a:lnTo>
                          <a:pt x="2401659" y="0"/>
                        </a:lnTo>
                        <a:lnTo>
                          <a:pt x="2403169" y="7663"/>
                        </a:lnTo>
                        <a:lnTo>
                          <a:pt x="1510" y="480847"/>
                        </a:lnTo>
                        <a:close/>
                      </a:path>
                    </a:pathLst>
                  </a:custGeom>
                  <a:solidFill>
                    <a:schemeClr val="bg1">
                      <a:lumMod val="85000"/>
                    </a:schemeClr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869" name="Freeform: Shape 1868">
                    <a:extLst>
                      <a:ext uri="{FF2B5EF4-FFF2-40B4-BE49-F238E27FC236}">
                        <a16:creationId xmlns:a16="http://schemas.microsoft.com/office/drawing/2014/main" id="{CF0BEE02-3493-431E-B878-4AC019901E3D}"/>
                      </a:ext>
                    </a:extLst>
                  </p:cNvPr>
                  <p:cNvSpPr/>
                  <p:nvPr/>
                </p:nvSpPr>
                <p:spPr>
                  <a:xfrm>
                    <a:off x="15062270" y="4818797"/>
                    <a:ext cx="2400300" cy="476250"/>
                  </a:xfrm>
                  <a:custGeom>
                    <a:avLst/>
                    <a:gdLst>
                      <a:gd name="connsiteX0" fmla="*/ 0 w 2400300"/>
                      <a:gd name="connsiteY0" fmla="*/ 473184 h 476250"/>
                      <a:gd name="connsiteX1" fmla="*/ 2401659 w 2400300"/>
                      <a:gd name="connsiteY1" fmla="*/ 0 h 476250"/>
                      <a:gd name="connsiteX2" fmla="*/ 2403169 w 2400300"/>
                      <a:gd name="connsiteY2" fmla="*/ 7663 h 476250"/>
                      <a:gd name="connsiteX3" fmla="*/ 1510 w 2400300"/>
                      <a:gd name="connsiteY3" fmla="*/ 480847 h 4762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400300" h="476250">
                        <a:moveTo>
                          <a:pt x="0" y="473184"/>
                        </a:moveTo>
                        <a:lnTo>
                          <a:pt x="2401659" y="0"/>
                        </a:lnTo>
                        <a:lnTo>
                          <a:pt x="2403169" y="7663"/>
                        </a:lnTo>
                        <a:lnTo>
                          <a:pt x="1510" y="480847"/>
                        </a:lnTo>
                        <a:close/>
                      </a:path>
                    </a:pathLst>
                  </a:custGeom>
                  <a:solidFill>
                    <a:schemeClr val="bg1">
                      <a:lumMod val="85000"/>
                    </a:schemeClr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870" name="Freeform: Shape 1869">
                    <a:extLst>
                      <a:ext uri="{FF2B5EF4-FFF2-40B4-BE49-F238E27FC236}">
                        <a16:creationId xmlns:a16="http://schemas.microsoft.com/office/drawing/2014/main" id="{66109E47-5C0E-4FB9-8755-6FE455FFA399}"/>
                      </a:ext>
                    </a:extLst>
                  </p:cNvPr>
                  <p:cNvSpPr/>
                  <p:nvPr/>
                </p:nvSpPr>
                <p:spPr>
                  <a:xfrm>
                    <a:off x="14640823" y="2679851"/>
                    <a:ext cx="2400300" cy="476250"/>
                  </a:xfrm>
                  <a:custGeom>
                    <a:avLst/>
                    <a:gdLst>
                      <a:gd name="connsiteX0" fmla="*/ 0 w 2400300"/>
                      <a:gd name="connsiteY0" fmla="*/ 473184 h 476250"/>
                      <a:gd name="connsiteX1" fmla="*/ 2401659 w 2400300"/>
                      <a:gd name="connsiteY1" fmla="*/ 0 h 476250"/>
                      <a:gd name="connsiteX2" fmla="*/ 2403169 w 2400300"/>
                      <a:gd name="connsiteY2" fmla="*/ 7663 h 476250"/>
                      <a:gd name="connsiteX3" fmla="*/ 1510 w 2400300"/>
                      <a:gd name="connsiteY3" fmla="*/ 480847 h 4762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400300" h="476250">
                        <a:moveTo>
                          <a:pt x="0" y="473184"/>
                        </a:moveTo>
                        <a:lnTo>
                          <a:pt x="2401659" y="0"/>
                        </a:lnTo>
                        <a:lnTo>
                          <a:pt x="2403169" y="7663"/>
                        </a:lnTo>
                        <a:lnTo>
                          <a:pt x="1510" y="480847"/>
                        </a:lnTo>
                        <a:close/>
                      </a:path>
                    </a:pathLst>
                  </a:custGeom>
                  <a:solidFill>
                    <a:schemeClr val="bg1">
                      <a:lumMod val="85000"/>
                    </a:schemeClr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871" name="Freeform: Shape 1870">
                    <a:extLst>
                      <a:ext uri="{FF2B5EF4-FFF2-40B4-BE49-F238E27FC236}">
                        <a16:creationId xmlns:a16="http://schemas.microsoft.com/office/drawing/2014/main" id="{9A0B9E6A-674F-4A43-B0DC-1FABD9AA6579}"/>
                      </a:ext>
                    </a:extLst>
                  </p:cNvPr>
                  <p:cNvSpPr/>
                  <p:nvPr/>
                </p:nvSpPr>
                <p:spPr>
                  <a:xfrm>
                    <a:off x="16116623" y="4057317"/>
                    <a:ext cx="190500" cy="952500"/>
                  </a:xfrm>
                  <a:custGeom>
                    <a:avLst/>
                    <a:gdLst>
                      <a:gd name="connsiteX0" fmla="*/ 0 w 190500"/>
                      <a:gd name="connsiteY0" fmla="*/ 1510 h 952500"/>
                      <a:gd name="connsiteX1" fmla="*/ 7663 w 190500"/>
                      <a:gd name="connsiteY1" fmla="*/ 0 h 952500"/>
                      <a:gd name="connsiteX2" fmla="*/ 195040 w 190500"/>
                      <a:gd name="connsiteY2" fmla="*/ 951038 h 952500"/>
                      <a:gd name="connsiteX3" fmla="*/ 187377 w 190500"/>
                      <a:gd name="connsiteY3" fmla="*/ 952548 h 9525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90500" h="952500">
                        <a:moveTo>
                          <a:pt x="0" y="1510"/>
                        </a:moveTo>
                        <a:lnTo>
                          <a:pt x="7663" y="0"/>
                        </a:lnTo>
                        <a:lnTo>
                          <a:pt x="195040" y="951038"/>
                        </a:lnTo>
                        <a:lnTo>
                          <a:pt x="187377" y="952548"/>
                        </a:lnTo>
                        <a:close/>
                      </a:path>
                    </a:pathLst>
                  </a:custGeom>
                  <a:solidFill>
                    <a:schemeClr val="bg1">
                      <a:lumMod val="85000"/>
                    </a:schemeClr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872" name="Freeform: Shape 1871">
                    <a:extLst>
                      <a:ext uri="{FF2B5EF4-FFF2-40B4-BE49-F238E27FC236}">
                        <a16:creationId xmlns:a16="http://schemas.microsoft.com/office/drawing/2014/main" id="{0C07E49C-277F-42EE-9DF7-946BEB251ABD}"/>
                      </a:ext>
                    </a:extLst>
                  </p:cNvPr>
                  <p:cNvSpPr/>
                  <p:nvPr/>
                </p:nvSpPr>
                <p:spPr>
                  <a:xfrm>
                    <a:off x="15354414" y="2230050"/>
                    <a:ext cx="733425" cy="190500"/>
                  </a:xfrm>
                  <a:custGeom>
                    <a:avLst/>
                    <a:gdLst>
                      <a:gd name="connsiteX0" fmla="*/ 731202 w 733425"/>
                      <a:gd name="connsiteY0" fmla="*/ 51307 h 190500"/>
                      <a:gd name="connsiteX1" fmla="*/ 20923 w 733425"/>
                      <a:gd name="connsiteY1" fmla="*/ 191230 h 190500"/>
                      <a:gd name="connsiteX2" fmla="*/ 5111 w 733425"/>
                      <a:gd name="connsiteY2" fmla="*/ 180657 h 190500"/>
                      <a:gd name="connsiteX3" fmla="*/ 253 w 733425"/>
                      <a:gd name="connsiteY3" fmla="*/ 155987 h 190500"/>
                      <a:gd name="connsiteX4" fmla="*/ 10826 w 733425"/>
                      <a:gd name="connsiteY4" fmla="*/ 140176 h 190500"/>
                      <a:gd name="connsiteX5" fmla="*/ 721105 w 733425"/>
                      <a:gd name="connsiteY5" fmla="*/ 253 h 190500"/>
                      <a:gd name="connsiteX6" fmla="*/ 736917 w 733425"/>
                      <a:gd name="connsiteY6" fmla="*/ 10826 h 190500"/>
                      <a:gd name="connsiteX7" fmla="*/ 741775 w 733425"/>
                      <a:gd name="connsiteY7" fmla="*/ 35496 h 190500"/>
                      <a:gd name="connsiteX8" fmla="*/ 731202 w 733425"/>
                      <a:gd name="connsiteY8" fmla="*/ 51307 h 1905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733425" h="190500">
                        <a:moveTo>
                          <a:pt x="731202" y="51307"/>
                        </a:moveTo>
                        <a:lnTo>
                          <a:pt x="20923" y="191230"/>
                        </a:lnTo>
                        <a:cubicBezTo>
                          <a:pt x="13588" y="192658"/>
                          <a:pt x="6540" y="187896"/>
                          <a:pt x="5111" y="180657"/>
                        </a:cubicBezTo>
                        <a:lnTo>
                          <a:pt x="253" y="155987"/>
                        </a:lnTo>
                        <a:cubicBezTo>
                          <a:pt x="-1175" y="148653"/>
                          <a:pt x="3587" y="141604"/>
                          <a:pt x="10826" y="140176"/>
                        </a:cubicBezTo>
                        <a:lnTo>
                          <a:pt x="721105" y="253"/>
                        </a:lnTo>
                        <a:cubicBezTo>
                          <a:pt x="728440" y="-1175"/>
                          <a:pt x="735488" y="3587"/>
                          <a:pt x="736917" y="10826"/>
                        </a:cubicBezTo>
                        <a:lnTo>
                          <a:pt x="741775" y="35496"/>
                        </a:lnTo>
                        <a:cubicBezTo>
                          <a:pt x="743203" y="42830"/>
                          <a:pt x="738536" y="49879"/>
                          <a:pt x="731202" y="51307"/>
                        </a:cubicBezTo>
                        <a:close/>
                      </a:path>
                    </a:pathLst>
                  </a:custGeom>
                  <a:solidFill>
                    <a:schemeClr val="bg1">
                      <a:lumMod val="85000"/>
                    </a:schemeClr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873" name="Freeform: Shape 1872">
                    <a:extLst>
                      <a:ext uri="{FF2B5EF4-FFF2-40B4-BE49-F238E27FC236}">
                        <a16:creationId xmlns:a16="http://schemas.microsoft.com/office/drawing/2014/main" id="{0BDFCB04-8E2E-467C-BF95-FCED24B6CB10}"/>
                      </a:ext>
                    </a:extLst>
                  </p:cNvPr>
                  <p:cNvSpPr/>
                  <p:nvPr/>
                </p:nvSpPr>
                <p:spPr>
                  <a:xfrm>
                    <a:off x="15486050" y="2174519"/>
                    <a:ext cx="438150" cy="123825"/>
                  </a:xfrm>
                  <a:custGeom>
                    <a:avLst/>
                    <a:gdLst>
                      <a:gd name="connsiteX0" fmla="*/ 434498 w 438150"/>
                      <a:gd name="connsiteY0" fmla="*/ 51307 h 123825"/>
                      <a:gd name="connsiteX1" fmla="*/ 20922 w 438150"/>
                      <a:gd name="connsiteY1" fmla="*/ 132841 h 123825"/>
                      <a:gd name="connsiteX2" fmla="*/ 5111 w 438150"/>
                      <a:gd name="connsiteY2" fmla="*/ 122269 h 123825"/>
                      <a:gd name="connsiteX3" fmla="*/ 253 w 438150"/>
                      <a:gd name="connsiteY3" fmla="*/ 97599 h 123825"/>
                      <a:gd name="connsiteX4" fmla="*/ 10826 w 438150"/>
                      <a:gd name="connsiteY4" fmla="*/ 81787 h 123825"/>
                      <a:gd name="connsiteX5" fmla="*/ 424402 w 438150"/>
                      <a:gd name="connsiteY5" fmla="*/ 253 h 123825"/>
                      <a:gd name="connsiteX6" fmla="*/ 440213 w 438150"/>
                      <a:gd name="connsiteY6" fmla="*/ 10826 h 123825"/>
                      <a:gd name="connsiteX7" fmla="*/ 445071 w 438150"/>
                      <a:gd name="connsiteY7" fmla="*/ 35496 h 123825"/>
                      <a:gd name="connsiteX8" fmla="*/ 434498 w 438150"/>
                      <a:gd name="connsiteY8" fmla="*/ 51307 h 1238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38150" h="123825">
                        <a:moveTo>
                          <a:pt x="434498" y="51307"/>
                        </a:moveTo>
                        <a:lnTo>
                          <a:pt x="20922" y="132841"/>
                        </a:lnTo>
                        <a:cubicBezTo>
                          <a:pt x="13588" y="134270"/>
                          <a:pt x="6540" y="129508"/>
                          <a:pt x="5111" y="122269"/>
                        </a:cubicBezTo>
                        <a:lnTo>
                          <a:pt x="253" y="97599"/>
                        </a:lnTo>
                        <a:cubicBezTo>
                          <a:pt x="-1175" y="90265"/>
                          <a:pt x="3587" y="83216"/>
                          <a:pt x="10826" y="81787"/>
                        </a:cubicBezTo>
                        <a:lnTo>
                          <a:pt x="424402" y="253"/>
                        </a:lnTo>
                        <a:cubicBezTo>
                          <a:pt x="431736" y="-1175"/>
                          <a:pt x="438784" y="3587"/>
                          <a:pt x="440213" y="10826"/>
                        </a:cubicBezTo>
                        <a:lnTo>
                          <a:pt x="445071" y="35496"/>
                        </a:lnTo>
                        <a:cubicBezTo>
                          <a:pt x="446595" y="42735"/>
                          <a:pt x="441832" y="49879"/>
                          <a:pt x="434498" y="51307"/>
                        </a:cubicBezTo>
                        <a:close/>
                      </a:path>
                    </a:pathLst>
                  </a:custGeom>
                  <a:solidFill>
                    <a:schemeClr val="bg1">
                      <a:lumMod val="85000"/>
                    </a:schemeClr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874" name="Freeform: Shape 1873">
                    <a:extLst>
                      <a:ext uri="{FF2B5EF4-FFF2-40B4-BE49-F238E27FC236}">
                        <a16:creationId xmlns:a16="http://schemas.microsoft.com/office/drawing/2014/main" id="{89EDAC82-57D1-44F3-9125-C75AC58584B6}"/>
                      </a:ext>
                    </a:extLst>
                  </p:cNvPr>
                  <p:cNvSpPr/>
                  <p:nvPr/>
                </p:nvSpPr>
                <p:spPr>
                  <a:xfrm>
                    <a:off x="14789334" y="1789579"/>
                    <a:ext cx="1771650" cy="466725"/>
                  </a:xfrm>
                  <a:custGeom>
                    <a:avLst/>
                    <a:gdLst>
                      <a:gd name="connsiteX0" fmla="*/ 1732146 w 1771650"/>
                      <a:gd name="connsiteY0" fmla="*/ 144973 h 466725"/>
                      <a:gd name="connsiteX1" fmla="*/ 74415 w 1771650"/>
                      <a:gd name="connsiteY1" fmla="*/ 471585 h 466725"/>
                      <a:gd name="connsiteX2" fmla="*/ 14122 w 1771650"/>
                      <a:gd name="connsiteY2" fmla="*/ 444915 h 466725"/>
                      <a:gd name="connsiteX3" fmla="*/ 501 w 1771650"/>
                      <a:gd name="connsiteY3" fmla="*/ 375573 h 466725"/>
                      <a:gd name="connsiteX4" fmla="*/ 46126 w 1771650"/>
                      <a:gd name="connsiteY4" fmla="*/ 328044 h 466725"/>
                      <a:gd name="connsiteX5" fmla="*/ 1703857 w 1771650"/>
                      <a:gd name="connsiteY5" fmla="*/ 1431 h 466725"/>
                      <a:gd name="connsiteX6" fmla="*/ 1764150 w 1771650"/>
                      <a:gd name="connsiteY6" fmla="*/ 28101 h 466725"/>
                      <a:gd name="connsiteX7" fmla="*/ 1777771 w 1771650"/>
                      <a:gd name="connsiteY7" fmla="*/ 97443 h 466725"/>
                      <a:gd name="connsiteX8" fmla="*/ 1732146 w 1771650"/>
                      <a:gd name="connsiteY8" fmla="*/ 144973 h 4667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771650" h="466725">
                        <a:moveTo>
                          <a:pt x="1732146" y="144973"/>
                        </a:moveTo>
                        <a:lnTo>
                          <a:pt x="74415" y="471585"/>
                        </a:lnTo>
                        <a:cubicBezTo>
                          <a:pt x="45173" y="477396"/>
                          <a:pt x="18218" y="465394"/>
                          <a:pt x="14122" y="444915"/>
                        </a:cubicBezTo>
                        <a:lnTo>
                          <a:pt x="501" y="375573"/>
                        </a:lnTo>
                        <a:cubicBezTo>
                          <a:pt x="-3499" y="355095"/>
                          <a:pt x="16884" y="333759"/>
                          <a:pt x="46126" y="328044"/>
                        </a:cubicBezTo>
                        <a:lnTo>
                          <a:pt x="1703857" y="1431"/>
                        </a:lnTo>
                        <a:cubicBezTo>
                          <a:pt x="1733099" y="-4284"/>
                          <a:pt x="1760054" y="7623"/>
                          <a:pt x="1764150" y="28101"/>
                        </a:cubicBezTo>
                        <a:lnTo>
                          <a:pt x="1777771" y="97443"/>
                        </a:lnTo>
                        <a:cubicBezTo>
                          <a:pt x="1781867" y="117922"/>
                          <a:pt x="1761388" y="139258"/>
                          <a:pt x="1732146" y="144973"/>
                        </a:cubicBezTo>
                        <a:close/>
                      </a:path>
                    </a:pathLst>
                  </a:custGeom>
                  <a:solidFill>
                    <a:srgbClr val="005F9E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875" name="Freeform: Shape 1874">
                    <a:extLst>
                      <a:ext uri="{FF2B5EF4-FFF2-40B4-BE49-F238E27FC236}">
                        <a16:creationId xmlns:a16="http://schemas.microsoft.com/office/drawing/2014/main" id="{1970508C-1427-4E5D-B30E-C177C23DEFA5}"/>
                      </a:ext>
                    </a:extLst>
                  </p:cNvPr>
                  <p:cNvSpPr/>
                  <p:nvPr/>
                </p:nvSpPr>
                <p:spPr>
                  <a:xfrm>
                    <a:off x="14551266" y="2215381"/>
                    <a:ext cx="2409825" cy="533400"/>
                  </a:xfrm>
                  <a:custGeom>
                    <a:avLst/>
                    <a:gdLst>
                      <a:gd name="connsiteX0" fmla="*/ 2399696 w 2409825"/>
                      <a:gd name="connsiteY0" fmla="*/ 68452 h 533400"/>
                      <a:gd name="connsiteX1" fmla="*/ 24352 w 2409825"/>
                      <a:gd name="connsiteY1" fmla="*/ 536416 h 533400"/>
                      <a:gd name="connsiteX2" fmla="*/ 8540 w 2409825"/>
                      <a:gd name="connsiteY2" fmla="*/ 525843 h 533400"/>
                      <a:gd name="connsiteX3" fmla="*/ 253 w 2409825"/>
                      <a:gd name="connsiteY3" fmla="*/ 484028 h 533400"/>
                      <a:gd name="connsiteX4" fmla="*/ 10826 w 2409825"/>
                      <a:gd name="connsiteY4" fmla="*/ 468217 h 533400"/>
                      <a:gd name="connsiteX5" fmla="*/ 2386171 w 2409825"/>
                      <a:gd name="connsiteY5" fmla="*/ 253 h 533400"/>
                      <a:gd name="connsiteX6" fmla="*/ 2401982 w 2409825"/>
                      <a:gd name="connsiteY6" fmla="*/ 10826 h 533400"/>
                      <a:gd name="connsiteX7" fmla="*/ 2410269 w 2409825"/>
                      <a:gd name="connsiteY7" fmla="*/ 52641 h 533400"/>
                      <a:gd name="connsiteX8" fmla="*/ 2399696 w 2409825"/>
                      <a:gd name="connsiteY8" fmla="*/ 68452 h 5334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2409825" h="533400">
                        <a:moveTo>
                          <a:pt x="2399696" y="68452"/>
                        </a:moveTo>
                        <a:lnTo>
                          <a:pt x="24352" y="536416"/>
                        </a:lnTo>
                        <a:cubicBezTo>
                          <a:pt x="17017" y="537844"/>
                          <a:pt x="9969" y="533082"/>
                          <a:pt x="8540" y="525843"/>
                        </a:cubicBezTo>
                        <a:lnTo>
                          <a:pt x="253" y="484028"/>
                        </a:lnTo>
                        <a:cubicBezTo>
                          <a:pt x="-1175" y="476694"/>
                          <a:pt x="3587" y="469645"/>
                          <a:pt x="10826" y="468217"/>
                        </a:cubicBezTo>
                        <a:lnTo>
                          <a:pt x="2386171" y="253"/>
                        </a:lnTo>
                        <a:cubicBezTo>
                          <a:pt x="2393505" y="-1175"/>
                          <a:pt x="2400553" y="3587"/>
                          <a:pt x="2401982" y="10826"/>
                        </a:cubicBezTo>
                        <a:lnTo>
                          <a:pt x="2410269" y="52641"/>
                        </a:lnTo>
                        <a:cubicBezTo>
                          <a:pt x="2411698" y="59880"/>
                          <a:pt x="2406935" y="66928"/>
                          <a:pt x="2399696" y="68452"/>
                        </a:cubicBezTo>
                        <a:close/>
                      </a:path>
                    </a:pathLst>
                  </a:custGeom>
                  <a:solidFill>
                    <a:schemeClr val="bg1">
                      <a:lumMod val="85000"/>
                    </a:schemeClr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877" name="Freeform: Shape 1876">
                    <a:extLst>
                      <a:ext uri="{FF2B5EF4-FFF2-40B4-BE49-F238E27FC236}">
                        <a16:creationId xmlns:a16="http://schemas.microsoft.com/office/drawing/2014/main" id="{2DC591E7-A09B-412C-942C-E193094B8756}"/>
                      </a:ext>
                    </a:extLst>
                  </p:cNvPr>
                  <p:cNvSpPr/>
                  <p:nvPr/>
                </p:nvSpPr>
                <p:spPr>
                  <a:xfrm>
                    <a:off x="12818952" y="2061757"/>
                    <a:ext cx="2114550" cy="2238375"/>
                  </a:xfrm>
                  <a:custGeom>
                    <a:avLst/>
                    <a:gdLst>
                      <a:gd name="connsiteX0" fmla="*/ 1107695 w 2114550"/>
                      <a:gd name="connsiteY0" fmla="*/ 21415 h 2238375"/>
                      <a:gd name="connsiteX1" fmla="*/ 73757 w 2114550"/>
                      <a:gd name="connsiteY1" fmla="*/ 638159 h 2238375"/>
                      <a:gd name="connsiteX2" fmla="*/ 21369 w 2114550"/>
                      <a:gd name="connsiteY2" fmla="*/ 845423 h 2238375"/>
                      <a:gd name="connsiteX3" fmla="*/ 808706 w 2114550"/>
                      <a:gd name="connsiteY3" fmla="*/ 2165207 h 2238375"/>
                      <a:gd name="connsiteX4" fmla="*/ 1015970 w 2114550"/>
                      <a:gd name="connsiteY4" fmla="*/ 2217594 h 2238375"/>
                      <a:gd name="connsiteX5" fmla="*/ 2049908 w 2114550"/>
                      <a:gd name="connsiteY5" fmla="*/ 1600851 h 2238375"/>
                      <a:gd name="connsiteX6" fmla="*/ 2102296 w 2114550"/>
                      <a:gd name="connsiteY6" fmla="*/ 1393587 h 2238375"/>
                      <a:gd name="connsiteX7" fmla="*/ 1314959 w 2114550"/>
                      <a:gd name="connsiteY7" fmla="*/ 73707 h 2238375"/>
                      <a:gd name="connsiteX8" fmla="*/ 1107695 w 2114550"/>
                      <a:gd name="connsiteY8" fmla="*/ 21415 h 22383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2114550" h="2238375">
                        <a:moveTo>
                          <a:pt x="1107695" y="21415"/>
                        </a:moveTo>
                        <a:lnTo>
                          <a:pt x="73757" y="638159"/>
                        </a:lnTo>
                        <a:cubicBezTo>
                          <a:pt x="2033" y="680926"/>
                          <a:pt x="-21398" y="773700"/>
                          <a:pt x="21369" y="845423"/>
                        </a:cubicBezTo>
                        <a:lnTo>
                          <a:pt x="808706" y="2165207"/>
                        </a:lnTo>
                        <a:cubicBezTo>
                          <a:pt x="851473" y="2236930"/>
                          <a:pt x="944246" y="2260362"/>
                          <a:pt x="1015970" y="2217594"/>
                        </a:cubicBezTo>
                        <a:lnTo>
                          <a:pt x="2049908" y="1600851"/>
                        </a:lnTo>
                        <a:cubicBezTo>
                          <a:pt x="2121632" y="1558083"/>
                          <a:pt x="2145063" y="1465310"/>
                          <a:pt x="2102296" y="1393587"/>
                        </a:cubicBezTo>
                        <a:lnTo>
                          <a:pt x="1314959" y="73707"/>
                        </a:lnTo>
                        <a:cubicBezTo>
                          <a:pt x="1272192" y="2079"/>
                          <a:pt x="1179419" y="-21447"/>
                          <a:pt x="1107695" y="21415"/>
                        </a:cubicBezTo>
                        <a:close/>
                      </a:path>
                    </a:pathLst>
                  </a:custGeom>
                  <a:solidFill>
                    <a:schemeClr val="bg2">
                      <a:lumMod val="75000"/>
                    </a:schemeClr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879" name="Freeform: Shape 1878">
                    <a:extLst>
                      <a:ext uri="{FF2B5EF4-FFF2-40B4-BE49-F238E27FC236}">
                        <a16:creationId xmlns:a16="http://schemas.microsoft.com/office/drawing/2014/main" id="{20CDD86B-C069-4F9B-B50A-544510453B9A}"/>
                      </a:ext>
                    </a:extLst>
                  </p:cNvPr>
                  <p:cNvSpPr/>
                  <p:nvPr/>
                </p:nvSpPr>
                <p:spPr>
                  <a:xfrm>
                    <a:off x="12949610" y="2204449"/>
                    <a:ext cx="1181100" cy="800100"/>
                  </a:xfrm>
                  <a:custGeom>
                    <a:avLst/>
                    <a:gdLst>
                      <a:gd name="connsiteX0" fmla="*/ 1044126 w 1181100"/>
                      <a:gd name="connsiteY0" fmla="*/ 9185 h 800100"/>
                      <a:gd name="connsiteX1" fmla="*/ 31618 w 1181100"/>
                      <a:gd name="connsiteY1" fmla="*/ 613165 h 800100"/>
                      <a:gd name="connsiteX2" fmla="*/ 9139 w 1181100"/>
                      <a:gd name="connsiteY2" fmla="*/ 702034 h 800100"/>
                      <a:gd name="connsiteX3" fmla="*/ 54192 w 1181100"/>
                      <a:gd name="connsiteY3" fmla="*/ 777662 h 800100"/>
                      <a:gd name="connsiteX4" fmla="*/ 143060 w 1181100"/>
                      <a:gd name="connsiteY4" fmla="*/ 800046 h 800100"/>
                      <a:gd name="connsiteX5" fmla="*/ 1155568 w 1181100"/>
                      <a:gd name="connsiteY5" fmla="*/ 196066 h 800100"/>
                      <a:gd name="connsiteX6" fmla="*/ 1178047 w 1181100"/>
                      <a:gd name="connsiteY6" fmla="*/ 107197 h 800100"/>
                      <a:gd name="connsiteX7" fmla="*/ 1132994 w 1181100"/>
                      <a:gd name="connsiteY7" fmla="*/ 31569 h 800100"/>
                      <a:gd name="connsiteX8" fmla="*/ 1044126 w 1181100"/>
                      <a:gd name="connsiteY8" fmla="*/ 9185 h 8001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181100" h="800100">
                        <a:moveTo>
                          <a:pt x="1044126" y="9185"/>
                        </a:moveTo>
                        <a:lnTo>
                          <a:pt x="31618" y="613165"/>
                        </a:lnTo>
                        <a:cubicBezTo>
                          <a:pt x="852" y="631453"/>
                          <a:pt x="-9149" y="671268"/>
                          <a:pt x="9139" y="702034"/>
                        </a:cubicBezTo>
                        <a:lnTo>
                          <a:pt x="54192" y="777662"/>
                        </a:lnTo>
                        <a:cubicBezTo>
                          <a:pt x="72575" y="808428"/>
                          <a:pt x="112295" y="818429"/>
                          <a:pt x="143060" y="800046"/>
                        </a:cubicBezTo>
                        <a:lnTo>
                          <a:pt x="1155568" y="196066"/>
                        </a:lnTo>
                        <a:cubicBezTo>
                          <a:pt x="1186334" y="177682"/>
                          <a:pt x="1196430" y="137963"/>
                          <a:pt x="1178047" y="107197"/>
                        </a:cubicBezTo>
                        <a:lnTo>
                          <a:pt x="1132994" y="31569"/>
                        </a:lnTo>
                        <a:cubicBezTo>
                          <a:pt x="1114706" y="898"/>
                          <a:pt x="1074891" y="-9198"/>
                          <a:pt x="1044126" y="9185"/>
                        </a:cubicBezTo>
                        <a:close/>
                      </a:path>
                    </a:pathLst>
                  </a:custGeom>
                  <a:solidFill>
                    <a:schemeClr val="bg2">
                      <a:lumMod val="85000"/>
                    </a:schemeClr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880" name="Freeform: Shape 1879">
                    <a:extLst>
                      <a:ext uri="{FF2B5EF4-FFF2-40B4-BE49-F238E27FC236}">
                        <a16:creationId xmlns:a16="http://schemas.microsoft.com/office/drawing/2014/main" id="{F68CDAC1-07A9-4663-AFA3-A745EDEC5E8B}"/>
                      </a:ext>
                    </a:extLst>
                  </p:cNvPr>
                  <p:cNvSpPr/>
                  <p:nvPr/>
                </p:nvSpPr>
                <p:spPr>
                  <a:xfrm>
                    <a:off x="13134681" y="3044029"/>
                    <a:ext cx="285750" cy="257175"/>
                  </a:xfrm>
                  <a:custGeom>
                    <a:avLst/>
                    <a:gdLst>
                      <a:gd name="connsiteX0" fmla="*/ 135155 w 285750"/>
                      <a:gd name="connsiteY0" fmla="*/ 257360 h 257175"/>
                      <a:gd name="connsiteX1" fmla="*/ 260408 w 285750"/>
                      <a:gd name="connsiteY1" fmla="*/ 182589 h 257175"/>
                      <a:gd name="connsiteX2" fmla="*/ 282888 w 285750"/>
                      <a:gd name="connsiteY2" fmla="*/ 93721 h 257175"/>
                      <a:gd name="connsiteX3" fmla="*/ 245835 w 285750"/>
                      <a:gd name="connsiteY3" fmla="*/ 31618 h 257175"/>
                      <a:gd name="connsiteX4" fmla="*/ 156967 w 285750"/>
                      <a:gd name="connsiteY4" fmla="*/ 9139 h 257175"/>
                      <a:gd name="connsiteX5" fmla="*/ 31618 w 285750"/>
                      <a:gd name="connsiteY5" fmla="*/ 83910 h 257175"/>
                      <a:gd name="connsiteX6" fmla="*/ 9139 w 285750"/>
                      <a:gd name="connsiteY6" fmla="*/ 172779 h 257175"/>
                      <a:gd name="connsiteX7" fmla="*/ 46191 w 285750"/>
                      <a:gd name="connsiteY7" fmla="*/ 234881 h 257175"/>
                      <a:gd name="connsiteX8" fmla="*/ 135155 w 285750"/>
                      <a:gd name="connsiteY8" fmla="*/ 257360 h 2571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285750" h="257175">
                        <a:moveTo>
                          <a:pt x="135155" y="257360"/>
                        </a:moveTo>
                        <a:lnTo>
                          <a:pt x="260408" y="182589"/>
                        </a:lnTo>
                        <a:cubicBezTo>
                          <a:pt x="291174" y="164206"/>
                          <a:pt x="301175" y="124487"/>
                          <a:pt x="282888" y="93721"/>
                        </a:cubicBezTo>
                        <a:lnTo>
                          <a:pt x="245835" y="31618"/>
                        </a:lnTo>
                        <a:cubicBezTo>
                          <a:pt x="227452" y="852"/>
                          <a:pt x="187733" y="-9149"/>
                          <a:pt x="156967" y="9139"/>
                        </a:cubicBezTo>
                        <a:lnTo>
                          <a:pt x="31618" y="83910"/>
                        </a:lnTo>
                        <a:cubicBezTo>
                          <a:pt x="852" y="102198"/>
                          <a:pt x="-9149" y="142013"/>
                          <a:pt x="9139" y="172779"/>
                        </a:cubicBezTo>
                        <a:lnTo>
                          <a:pt x="46191" y="234881"/>
                        </a:lnTo>
                        <a:cubicBezTo>
                          <a:pt x="64574" y="265647"/>
                          <a:pt x="104389" y="275744"/>
                          <a:pt x="135155" y="257360"/>
                        </a:cubicBezTo>
                        <a:close/>
                      </a:path>
                    </a:pathLst>
                  </a:custGeom>
                  <a:solidFill>
                    <a:schemeClr val="accent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881" name="Freeform: Shape 1880">
                    <a:extLst>
                      <a:ext uri="{FF2B5EF4-FFF2-40B4-BE49-F238E27FC236}">
                        <a16:creationId xmlns:a16="http://schemas.microsoft.com/office/drawing/2014/main" id="{57975120-BEE5-4E85-A268-EBC82B46BB2D}"/>
                      </a:ext>
                    </a:extLst>
                  </p:cNvPr>
                  <p:cNvSpPr/>
                  <p:nvPr/>
                </p:nvSpPr>
                <p:spPr>
                  <a:xfrm>
                    <a:off x="13430528" y="2867629"/>
                    <a:ext cx="285750" cy="257175"/>
                  </a:xfrm>
                  <a:custGeom>
                    <a:avLst/>
                    <a:gdLst>
                      <a:gd name="connsiteX0" fmla="*/ 156776 w 285750"/>
                      <a:gd name="connsiteY0" fmla="*/ 9135 h 257175"/>
                      <a:gd name="connsiteX1" fmla="*/ 31618 w 285750"/>
                      <a:gd name="connsiteY1" fmla="*/ 83907 h 257175"/>
                      <a:gd name="connsiteX2" fmla="*/ 9139 w 285750"/>
                      <a:gd name="connsiteY2" fmla="*/ 172775 h 257175"/>
                      <a:gd name="connsiteX3" fmla="*/ 46191 w 285750"/>
                      <a:gd name="connsiteY3" fmla="*/ 234973 h 257175"/>
                      <a:gd name="connsiteX4" fmla="*/ 135059 w 285750"/>
                      <a:gd name="connsiteY4" fmla="*/ 257452 h 257175"/>
                      <a:gd name="connsiteX5" fmla="*/ 260313 w 285750"/>
                      <a:gd name="connsiteY5" fmla="*/ 182776 h 257175"/>
                      <a:gd name="connsiteX6" fmla="*/ 282792 w 285750"/>
                      <a:gd name="connsiteY6" fmla="*/ 93908 h 257175"/>
                      <a:gd name="connsiteX7" fmla="*/ 245740 w 285750"/>
                      <a:gd name="connsiteY7" fmla="*/ 31710 h 257175"/>
                      <a:gd name="connsiteX8" fmla="*/ 156776 w 285750"/>
                      <a:gd name="connsiteY8" fmla="*/ 9135 h 2571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285750" h="257175">
                        <a:moveTo>
                          <a:pt x="156776" y="9135"/>
                        </a:moveTo>
                        <a:lnTo>
                          <a:pt x="31618" y="83907"/>
                        </a:lnTo>
                        <a:cubicBezTo>
                          <a:pt x="852" y="102290"/>
                          <a:pt x="-9149" y="142009"/>
                          <a:pt x="9139" y="172775"/>
                        </a:cubicBezTo>
                        <a:lnTo>
                          <a:pt x="46191" y="234973"/>
                        </a:lnTo>
                        <a:cubicBezTo>
                          <a:pt x="64479" y="265739"/>
                          <a:pt x="104294" y="275740"/>
                          <a:pt x="135059" y="257452"/>
                        </a:cubicBezTo>
                        <a:lnTo>
                          <a:pt x="260313" y="182776"/>
                        </a:lnTo>
                        <a:cubicBezTo>
                          <a:pt x="291079" y="164393"/>
                          <a:pt x="301080" y="124674"/>
                          <a:pt x="282792" y="93908"/>
                        </a:cubicBezTo>
                        <a:lnTo>
                          <a:pt x="245740" y="31710"/>
                        </a:lnTo>
                        <a:cubicBezTo>
                          <a:pt x="227357" y="849"/>
                          <a:pt x="187542" y="-9153"/>
                          <a:pt x="156776" y="9135"/>
                        </a:cubicBezTo>
                        <a:close/>
                      </a:path>
                    </a:pathLst>
                  </a:custGeom>
                  <a:solidFill>
                    <a:schemeClr val="bg1">
                      <a:lumMod val="65000"/>
                    </a:schemeClr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882" name="Freeform: Shape 1881">
                    <a:extLst>
                      <a:ext uri="{FF2B5EF4-FFF2-40B4-BE49-F238E27FC236}">
                        <a16:creationId xmlns:a16="http://schemas.microsoft.com/office/drawing/2014/main" id="{6A42ACAB-2D9A-4FD5-86D9-12113B9503BA}"/>
                      </a:ext>
                    </a:extLst>
                  </p:cNvPr>
                  <p:cNvSpPr/>
                  <p:nvPr/>
                </p:nvSpPr>
                <p:spPr>
                  <a:xfrm>
                    <a:off x="13726184" y="2691223"/>
                    <a:ext cx="285750" cy="257175"/>
                  </a:xfrm>
                  <a:custGeom>
                    <a:avLst/>
                    <a:gdLst>
                      <a:gd name="connsiteX0" fmla="*/ 156872 w 285750"/>
                      <a:gd name="connsiteY0" fmla="*/ 9139 h 257175"/>
                      <a:gd name="connsiteX1" fmla="*/ 31618 w 285750"/>
                      <a:gd name="connsiteY1" fmla="*/ 83815 h 257175"/>
                      <a:gd name="connsiteX2" fmla="*/ 9139 w 285750"/>
                      <a:gd name="connsiteY2" fmla="*/ 172683 h 257175"/>
                      <a:gd name="connsiteX3" fmla="*/ 46191 w 285750"/>
                      <a:gd name="connsiteY3" fmla="*/ 234786 h 257175"/>
                      <a:gd name="connsiteX4" fmla="*/ 135059 w 285750"/>
                      <a:gd name="connsiteY4" fmla="*/ 257265 h 257175"/>
                      <a:gd name="connsiteX5" fmla="*/ 260313 w 285750"/>
                      <a:gd name="connsiteY5" fmla="*/ 182589 h 257175"/>
                      <a:gd name="connsiteX6" fmla="*/ 282792 w 285750"/>
                      <a:gd name="connsiteY6" fmla="*/ 93721 h 257175"/>
                      <a:gd name="connsiteX7" fmla="*/ 245740 w 285750"/>
                      <a:gd name="connsiteY7" fmla="*/ 31618 h 257175"/>
                      <a:gd name="connsiteX8" fmla="*/ 156872 w 285750"/>
                      <a:gd name="connsiteY8" fmla="*/ 9139 h 2571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285750" h="257175">
                        <a:moveTo>
                          <a:pt x="156872" y="9139"/>
                        </a:moveTo>
                        <a:lnTo>
                          <a:pt x="31618" y="83815"/>
                        </a:lnTo>
                        <a:cubicBezTo>
                          <a:pt x="852" y="102198"/>
                          <a:pt x="-9149" y="141918"/>
                          <a:pt x="9139" y="172683"/>
                        </a:cubicBezTo>
                        <a:lnTo>
                          <a:pt x="46191" y="234786"/>
                        </a:lnTo>
                        <a:cubicBezTo>
                          <a:pt x="64574" y="265552"/>
                          <a:pt x="104294" y="275648"/>
                          <a:pt x="135059" y="257265"/>
                        </a:cubicBezTo>
                        <a:lnTo>
                          <a:pt x="260313" y="182589"/>
                        </a:lnTo>
                        <a:cubicBezTo>
                          <a:pt x="291079" y="164206"/>
                          <a:pt x="301080" y="124487"/>
                          <a:pt x="282792" y="93721"/>
                        </a:cubicBezTo>
                        <a:lnTo>
                          <a:pt x="245740" y="31618"/>
                        </a:lnTo>
                        <a:cubicBezTo>
                          <a:pt x="227452" y="852"/>
                          <a:pt x="187638" y="-9149"/>
                          <a:pt x="156872" y="9139"/>
                        </a:cubicBezTo>
                        <a:close/>
                      </a:path>
                    </a:pathLst>
                  </a:custGeom>
                  <a:solidFill>
                    <a:schemeClr val="bg1">
                      <a:lumMod val="65000"/>
                    </a:schemeClr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883" name="Freeform: Shape 1882">
                    <a:extLst>
                      <a:ext uri="{FF2B5EF4-FFF2-40B4-BE49-F238E27FC236}">
                        <a16:creationId xmlns:a16="http://schemas.microsoft.com/office/drawing/2014/main" id="{3DA21C90-36B5-47D6-BB25-AD64484BE8D5}"/>
                      </a:ext>
                    </a:extLst>
                  </p:cNvPr>
                  <p:cNvSpPr/>
                  <p:nvPr/>
                </p:nvSpPr>
                <p:spPr>
                  <a:xfrm>
                    <a:off x="14022030" y="2514774"/>
                    <a:ext cx="285750" cy="257175"/>
                  </a:xfrm>
                  <a:custGeom>
                    <a:avLst/>
                    <a:gdLst>
                      <a:gd name="connsiteX0" fmla="*/ 156872 w 285750"/>
                      <a:gd name="connsiteY0" fmla="*/ 9185 h 257175"/>
                      <a:gd name="connsiteX1" fmla="*/ 31618 w 285750"/>
                      <a:gd name="connsiteY1" fmla="*/ 83956 h 257175"/>
                      <a:gd name="connsiteX2" fmla="*/ 9139 w 285750"/>
                      <a:gd name="connsiteY2" fmla="*/ 172825 h 257175"/>
                      <a:gd name="connsiteX3" fmla="*/ 46191 w 285750"/>
                      <a:gd name="connsiteY3" fmla="*/ 234927 h 257175"/>
                      <a:gd name="connsiteX4" fmla="*/ 135060 w 285750"/>
                      <a:gd name="connsiteY4" fmla="*/ 257406 h 257175"/>
                      <a:gd name="connsiteX5" fmla="*/ 260313 w 285750"/>
                      <a:gd name="connsiteY5" fmla="*/ 182635 h 257175"/>
                      <a:gd name="connsiteX6" fmla="*/ 282792 w 285750"/>
                      <a:gd name="connsiteY6" fmla="*/ 93767 h 257175"/>
                      <a:gd name="connsiteX7" fmla="*/ 245740 w 285750"/>
                      <a:gd name="connsiteY7" fmla="*/ 31569 h 257175"/>
                      <a:gd name="connsiteX8" fmla="*/ 156872 w 285750"/>
                      <a:gd name="connsiteY8" fmla="*/ 9185 h 2571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285750" h="257175">
                        <a:moveTo>
                          <a:pt x="156872" y="9185"/>
                        </a:moveTo>
                        <a:lnTo>
                          <a:pt x="31618" y="83956"/>
                        </a:lnTo>
                        <a:cubicBezTo>
                          <a:pt x="852" y="102340"/>
                          <a:pt x="-9149" y="142059"/>
                          <a:pt x="9139" y="172825"/>
                        </a:cubicBezTo>
                        <a:lnTo>
                          <a:pt x="46191" y="234927"/>
                        </a:lnTo>
                        <a:cubicBezTo>
                          <a:pt x="64574" y="265693"/>
                          <a:pt x="104294" y="275694"/>
                          <a:pt x="135060" y="257406"/>
                        </a:cubicBezTo>
                        <a:lnTo>
                          <a:pt x="260313" y="182635"/>
                        </a:lnTo>
                        <a:cubicBezTo>
                          <a:pt x="291079" y="164252"/>
                          <a:pt x="301080" y="124533"/>
                          <a:pt x="282792" y="93767"/>
                        </a:cubicBezTo>
                        <a:lnTo>
                          <a:pt x="245740" y="31569"/>
                        </a:lnTo>
                        <a:cubicBezTo>
                          <a:pt x="227357" y="898"/>
                          <a:pt x="187542" y="-9198"/>
                          <a:pt x="156872" y="9185"/>
                        </a:cubicBezTo>
                        <a:close/>
                      </a:path>
                    </a:pathLst>
                  </a:custGeom>
                  <a:solidFill>
                    <a:schemeClr val="bg1">
                      <a:lumMod val="65000"/>
                    </a:schemeClr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884" name="Freeform: Shape 1883">
                    <a:extLst>
                      <a:ext uri="{FF2B5EF4-FFF2-40B4-BE49-F238E27FC236}">
                        <a16:creationId xmlns:a16="http://schemas.microsoft.com/office/drawing/2014/main" id="{BEF08438-E259-4214-A0D0-06FC35476FC2}"/>
                      </a:ext>
                    </a:extLst>
                  </p:cNvPr>
                  <p:cNvSpPr/>
                  <p:nvPr/>
                </p:nvSpPr>
                <p:spPr>
                  <a:xfrm>
                    <a:off x="13270984" y="3272438"/>
                    <a:ext cx="285750" cy="257175"/>
                  </a:xfrm>
                  <a:custGeom>
                    <a:avLst/>
                    <a:gdLst>
                      <a:gd name="connsiteX0" fmla="*/ 135059 w 285750"/>
                      <a:gd name="connsiteY0" fmla="*/ 257361 h 257175"/>
                      <a:gd name="connsiteX1" fmla="*/ 260313 w 285750"/>
                      <a:gd name="connsiteY1" fmla="*/ 182589 h 257175"/>
                      <a:gd name="connsiteX2" fmla="*/ 282792 w 285750"/>
                      <a:gd name="connsiteY2" fmla="*/ 93721 h 257175"/>
                      <a:gd name="connsiteX3" fmla="*/ 245740 w 285750"/>
                      <a:gd name="connsiteY3" fmla="*/ 31618 h 257175"/>
                      <a:gd name="connsiteX4" fmla="*/ 156872 w 285750"/>
                      <a:gd name="connsiteY4" fmla="*/ 9139 h 257175"/>
                      <a:gd name="connsiteX5" fmla="*/ 31618 w 285750"/>
                      <a:gd name="connsiteY5" fmla="*/ 83910 h 257175"/>
                      <a:gd name="connsiteX6" fmla="*/ 9139 w 285750"/>
                      <a:gd name="connsiteY6" fmla="*/ 172779 h 257175"/>
                      <a:gd name="connsiteX7" fmla="*/ 46191 w 285750"/>
                      <a:gd name="connsiteY7" fmla="*/ 234882 h 257175"/>
                      <a:gd name="connsiteX8" fmla="*/ 135059 w 285750"/>
                      <a:gd name="connsiteY8" fmla="*/ 257361 h 2571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285750" h="257175">
                        <a:moveTo>
                          <a:pt x="135059" y="257361"/>
                        </a:moveTo>
                        <a:lnTo>
                          <a:pt x="260313" y="182589"/>
                        </a:lnTo>
                        <a:cubicBezTo>
                          <a:pt x="291079" y="164206"/>
                          <a:pt x="301080" y="124487"/>
                          <a:pt x="282792" y="93721"/>
                        </a:cubicBezTo>
                        <a:lnTo>
                          <a:pt x="245740" y="31618"/>
                        </a:lnTo>
                        <a:cubicBezTo>
                          <a:pt x="227357" y="852"/>
                          <a:pt x="187638" y="-9149"/>
                          <a:pt x="156872" y="9139"/>
                        </a:cubicBezTo>
                        <a:lnTo>
                          <a:pt x="31618" y="83910"/>
                        </a:lnTo>
                        <a:cubicBezTo>
                          <a:pt x="852" y="102198"/>
                          <a:pt x="-9149" y="142013"/>
                          <a:pt x="9139" y="172779"/>
                        </a:cubicBezTo>
                        <a:lnTo>
                          <a:pt x="46191" y="234882"/>
                        </a:lnTo>
                        <a:cubicBezTo>
                          <a:pt x="64479" y="265647"/>
                          <a:pt x="104294" y="275649"/>
                          <a:pt x="135059" y="257361"/>
                        </a:cubicBezTo>
                        <a:close/>
                      </a:path>
                    </a:pathLst>
                  </a:custGeom>
                  <a:solidFill>
                    <a:schemeClr val="bg1">
                      <a:lumMod val="65000"/>
                    </a:schemeClr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885" name="Freeform: Shape 1884">
                    <a:extLst>
                      <a:ext uri="{FF2B5EF4-FFF2-40B4-BE49-F238E27FC236}">
                        <a16:creationId xmlns:a16="http://schemas.microsoft.com/office/drawing/2014/main" id="{8CFAD983-2AFE-4F44-9467-FE63DCE06C8E}"/>
                      </a:ext>
                    </a:extLst>
                  </p:cNvPr>
                  <p:cNvSpPr/>
                  <p:nvPr/>
                </p:nvSpPr>
                <p:spPr>
                  <a:xfrm>
                    <a:off x="13566735" y="3096035"/>
                    <a:ext cx="285750" cy="257175"/>
                  </a:xfrm>
                  <a:custGeom>
                    <a:avLst/>
                    <a:gdLst>
                      <a:gd name="connsiteX0" fmla="*/ 156872 w 285750"/>
                      <a:gd name="connsiteY0" fmla="*/ 9139 h 257175"/>
                      <a:gd name="connsiteX1" fmla="*/ 31618 w 285750"/>
                      <a:gd name="connsiteY1" fmla="*/ 83815 h 257175"/>
                      <a:gd name="connsiteX2" fmla="*/ 9139 w 285750"/>
                      <a:gd name="connsiteY2" fmla="*/ 172683 h 257175"/>
                      <a:gd name="connsiteX3" fmla="*/ 46191 w 285750"/>
                      <a:gd name="connsiteY3" fmla="*/ 234786 h 257175"/>
                      <a:gd name="connsiteX4" fmla="*/ 135059 w 285750"/>
                      <a:gd name="connsiteY4" fmla="*/ 257265 h 257175"/>
                      <a:gd name="connsiteX5" fmla="*/ 260313 w 285750"/>
                      <a:gd name="connsiteY5" fmla="*/ 182589 h 257175"/>
                      <a:gd name="connsiteX6" fmla="*/ 282792 w 285750"/>
                      <a:gd name="connsiteY6" fmla="*/ 93721 h 257175"/>
                      <a:gd name="connsiteX7" fmla="*/ 245740 w 285750"/>
                      <a:gd name="connsiteY7" fmla="*/ 31618 h 257175"/>
                      <a:gd name="connsiteX8" fmla="*/ 156872 w 285750"/>
                      <a:gd name="connsiteY8" fmla="*/ 9139 h 2571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285750" h="257175">
                        <a:moveTo>
                          <a:pt x="156872" y="9139"/>
                        </a:moveTo>
                        <a:lnTo>
                          <a:pt x="31618" y="83815"/>
                        </a:lnTo>
                        <a:cubicBezTo>
                          <a:pt x="852" y="102198"/>
                          <a:pt x="-9149" y="141918"/>
                          <a:pt x="9139" y="172683"/>
                        </a:cubicBezTo>
                        <a:lnTo>
                          <a:pt x="46191" y="234786"/>
                        </a:lnTo>
                        <a:cubicBezTo>
                          <a:pt x="64574" y="265552"/>
                          <a:pt x="104294" y="275553"/>
                          <a:pt x="135059" y="257265"/>
                        </a:cubicBezTo>
                        <a:lnTo>
                          <a:pt x="260313" y="182589"/>
                        </a:lnTo>
                        <a:cubicBezTo>
                          <a:pt x="291079" y="164206"/>
                          <a:pt x="301080" y="124487"/>
                          <a:pt x="282792" y="93721"/>
                        </a:cubicBezTo>
                        <a:lnTo>
                          <a:pt x="245740" y="31618"/>
                        </a:lnTo>
                        <a:cubicBezTo>
                          <a:pt x="227357" y="852"/>
                          <a:pt x="187542" y="-9149"/>
                          <a:pt x="156872" y="9139"/>
                        </a:cubicBezTo>
                        <a:close/>
                      </a:path>
                    </a:pathLst>
                  </a:custGeom>
                  <a:solidFill>
                    <a:schemeClr val="bg1">
                      <a:lumMod val="65000"/>
                    </a:schemeClr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886" name="Freeform: Shape 1885">
                    <a:extLst>
                      <a:ext uri="{FF2B5EF4-FFF2-40B4-BE49-F238E27FC236}">
                        <a16:creationId xmlns:a16="http://schemas.microsoft.com/office/drawing/2014/main" id="{E2642353-E48D-4F59-99C8-155696621E51}"/>
                      </a:ext>
                    </a:extLst>
                  </p:cNvPr>
                  <p:cNvSpPr/>
                  <p:nvPr/>
                </p:nvSpPr>
                <p:spPr>
                  <a:xfrm>
                    <a:off x="13862486" y="2919590"/>
                    <a:ext cx="285750" cy="257175"/>
                  </a:xfrm>
                  <a:custGeom>
                    <a:avLst/>
                    <a:gdLst>
                      <a:gd name="connsiteX0" fmla="*/ 156872 w 285750"/>
                      <a:gd name="connsiteY0" fmla="*/ 9181 h 257175"/>
                      <a:gd name="connsiteX1" fmla="*/ 31618 w 285750"/>
                      <a:gd name="connsiteY1" fmla="*/ 83857 h 257175"/>
                      <a:gd name="connsiteX2" fmla="*/ 9139 w 285750"/>
                      <a:gd name="connsiteY2" fmla="*/ 172726 h 257175"/>
                      <a:gd name="connsiteX3" fmla="*/ 46191 w 285750"/>
                      <a:gd name="connsiteY3" fmla="*/ 234829 h 257175"/>
                      <a:gd name="connsiteX4" fmla="*/ 135059 w 285750"/>
                      <a:gd name="connsiteY4" fmla="*/ 257308 h 257175"/>
                      <a:gd name="connsiteX5" fmla="*/ 260313 w 285750"/>
                      <a:gd name="connsiteY5" fmla="*/ 182632 h 257175"/>
                      <a:gd name="connsiteX6" fmla="*/ 282792 w 285750"/>
                      <a:gd name="connsiteY6" fmla="*/ 93763 h 257175"/>
                      <a:gd name="connsiteX7" fmla="*/ 245740 w 285750"/>
                      <a:gd name="connsiteY7" fmla="*/ 31660 h 257175"/>
                      <a:gd name="connsiteX8" fmla="*/ 156872 w 285750"/>
                      <a:gd name="connsiteY8" fmla="*/ 9181 h 2571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285750" h="257175">
                        <a:moveTo>
                          <a:pt x="156872" y="9181"/>
                        </a:moveTo>
                        <a:lnTo>
                          <a:pt x="31618" y="83857"/>
                        </a:lnTo>
                        <a:cubicBezTo>
                          <a:pt x="852" y="102241"/>
                          <a:pt x="-9149" y="141960"/>
                          <a:pt x="9139" y="172726"/>
                        </a:cubicBezTo>
                        <a:lnTo>
                          <a:pt x="46191" y="234829"/>
                        </a:lnTo>
                        <a:cubicBezTo>
                          <a:pt x="64575" y="265594"/>
                          <a:pt x="104294" y="275691"/>
                          <a:pt x="135059" y="257308"/>
                        </a:cubicBezTo>
                        <a:lnTo>
                          <a:pt x="260313" y="182632"/>
                        </a:lnTo>
                        <a:cubicBezTo>
                          <a:pt x="291079" y="164248"/>
                          <a:pt x="301080" y="124529"/>
                          <a:pt x="282792" y="93763"/>
                        </a:cubicBezTo>
                        <a:lnTo>
                          <a:pt x="245740" y="31660"/>
                        </a:lnTo>
                        <a:cubicBezTo>
                          <a:pt x="227357" y="895"/>
                          <a:pt x="187542" y="-9202"/>
                          <a:pt x="156872" y="9181"/>
                        </a:cubicBezTo>
                        <a:close/>
                      </a:path>
                    </a:pathLst>
                  </a:custGeom>
                  <a:solidFill>
                    <a:schemeClr val="bg1">
                      <a:lumMod val="65000"/>
                    </a:schemeClr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887" name="Freeform: Shape 1886">
                    <a:extLst>
                      <a:ext uri="{FF2B5EF4-FFF2-40B4-BE49-F238E27FC236}">
                        <a16:creationId xmlns:a16="http://schemas.microsoft.com/office/drawing/2014/main" id="{80DB224D-A5FD-4A65-A0A6-87BEEB6501C6}"/>
                      </a:ext>
                    </a:extLst>
                  </p:cNvPr>
                  <p:cNvSpPr/>
                  <p:nvPr/>
                </p:nvSpPr>
                <p:spPr>
                  <a:xfrm>
                    <a:off x="14158237" y="2743187"/>
                    <a:ext cx="285750" cy="257175"/>
                  </a:xfrm>
                  <a:custGeom>
                    <a:avLst/>
                    <a:gdLst>
                      <a:gd name="connsiteX0" fmla="*/ 156872 w 285750"/>
                      <a:gd name="connsiteY0" fmla="*/ 9181 h 257175"/>
                      <a:gd name="connsiteX1" fmla="*/ 31618 w 285750"/>
                      <a:gd name="connsiteY1" fmla="*/ 83953 h 257175"/>
                      <a:gd name="connsiteX2" fmla="*/ 9139 w 285750"/>
                      <a:gd name="connsiteY2" fmla="*/ 172821 h 257175"/>
                      <a:gd name="connsiteX3" fmla="*/ 46191 w 285750"/>
                      <a:gd name="connsiteY3" fmla="*/ 234924 h 257175"/>
                      <a:gd name="connsiteX4" fmla="*/ 135060 w 285750"/>
                      <a:gd name="connsiteY4" fmla="*/ 257403 h 257175"/>
                      <a:gd name="connsiteX5" fmla="*/ 260313 w 285750"/>
                      <a:gd name="connsiteY5" fmla="*/ 182632 h 257175"/>
                      <a:gd name="connsiteX6" fmla="*/ 282792 w 285750"/>
                      <a:gd name="connsiteY6" fmla="*/ 93763 h 257175"/>
                      <a:gd name="connsiteX7" fmla="*/ 245740 w 285750"/>
                      <a:gd name="connsiteY7" fmla="*/ 31660 h 257175"/>
                      <a:gd name="connsiteX8" fmla="*/ 156872 w 285750"/>
                      <a:gd name="connsiteY8" fmla="*/ 9181 h 2571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285750" h="257175">
                        <a:moveTo>
                          <a:pt x="156872" y="9181"/>
                        </a:moveTo>
                        <a:lnTo>
                          <a:pt x="31618" y="83953"/>
                        </a:lnTo>
                        <a:cubicBezTo>
                          <a:pt x="852" y="102336"/>
                          <a:pt x="-9149" y="142055"/>
                          <a:pt x="9139" y="172821"/>
                        </a:cubicBezTo>
                        <a:lnTo>
                          <a:pt x="46191" y="234924"/>
                        </a:lnTo>
                        <a:cubicBezTo>
                          <a:pt x="64574" y="265690"/>
                          <a:pt x="104294" y="275691"/>
                          <a:pt x="135060" y="257403"/>
                        </a:cubicBezTo>
                        <a:lnTo>
                          <a:pt x="260313" y="182632"/>
                        </a:lnTo>
                        <a:cubicBezTo>
                          <a:pt x="291079" y="164248"/>
                          <a:pt x="301080" y="124529"/>
                          <a:pt x="282792" y="93763"/>
                        </a:cubicBezTo>
                        <a:lnTo>
                          <a:pt x="245740" y="31660"/>
                        </a:lnTo>
                        <a:cubicBezTo>
                          <a:pt x="227357" y="895"/>
                          <a:pt x="187637" y="-9202"/>
                          <a:pt x="156872" y="9181"/>
                        </a:cubicBezTo>
                        <a:close/>
                      </a:path>
                    </a:pathLst>
                  </a:custGeom>
                  <a:solidFill>
                    <a:schemeClr val="bg1">
                      <a:lumMod val="65000"/>
                    </a:schemeClr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888" name="Freeform: Shape 1887">
                    <a:extLst>
                      <a:ext uri="{FF2B5EF4-FFF2-40B4-BE49-F238E27FC236}">
                        <a16:creationId xmlns:a16="http://schemas.microsoft.com/office/drawing/2014/main" id="{9EA28754-8DB6-47C9-8200-7856C16A0C07}"/>
                      </a:ext>
                    </a:extLst>
                  </p:cNvPr>
                  <p:cNvSpPr/>
                  <p:nvPr/>
                </p:nvSpPr>
                <p:spPr>
                  <a:xfrm>
                    <a:off x="13407191" y="3500752"/>
                    <a:ext cx="285750" cy="257175"/>
                  </a:xfrm>
                  <a:custGeom>
                    <a:avLst/>
                    <a:gdLst>
                      <a:gd name="connsiteX0" fmla="*/ 135059 w 285750"/>
                      <a:gd name="connsiteY0" fmla="*/ 257360 h 257175"/>
                      <a:gd name="connsiteX1" fmla="*/ 260313 w 285750"/>
                      <a:gd name="connsiteY1" fmla="*/ 182589 h 257175"/>
                      <a:gd name="connsiteX2" fmla="*/ 282792 w 285750"/>
                      <a:gd name="connsiteY2" fmla="*/ 93721 h 257175"/>
                      <a:gd name="connsiteX3" fmla="*/ 245740 w 285750"/>
                      <a:gd name="connsiteY3" fmla="*/ 31618 h 257175"/>
                      <a:gd name="connsiteX4" fmla="*/ 156872 w 285750"/>
                      <a:gd name="connsiteY4" fmla="*/ 9139 h 257175"/>
                      <a:gd name="connsiteX5" fmla="*/ 31618 w 285750"/>
                      <a:gd name="connsiteY5" fmla="*/ 83910 h 257175"/>
                      <a:gd name="connsiteX6" fmla="*/ 9139 w 285750"/>
                      <a:gd name="connsiteY6" fmla="*/ 172779 h 257175"/>
                      <a:gd name="connsiteX7" fmla="*/ 46191 w 285750"/>
                      <a:gd name="connsiteY7" fmla="*/ 234882 h 257175"/>
                      <a:gd name="connsiteX8" fmla="*/ 135059 w 285750"/>
                      <a:gd name="connsiteY8" fmla="*/ 257360 h 2571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285750" h="257175">
                        <a:moveTo>
                          <a:pt x="135059" y="257360"/>
                        </a:moveTo>
                        <a:lnTo>
                          <a:pt x="260313" y="182589"/>
                        </a:lnTo>
                        <a:cubicBezTo>
                          <a:pt x="291079" y="164206"/>
                          <a:pt x="301080" y="124487"/>
                          <a:pt x="282792" y="93721"/>
                        </a:cubicBezTo>
                        <a:lnTo>
                          <a:pt x="245740" y="31618"/>
                        </a:lnTo>
                        <a:cubicBezTo>
                          <a:pt x="227357" y="852"/>
                          <a:pt x="187637" y="-9149"/>
                          <a:pt x="156872" y="9139"/>
                        </a:cubicBezTo>
                        <a:lnTo>
                          <a:pt x="31618" y="83910"/>
                        </a:lnTo>
                        <a:cubicBezTo>
                          <a:pt x="852" y="102198"/>
                          <a:pt x="-9149" y="142013"/>
                          <a:pt x="9139" y="172779"/>
                        </a:cubicBezTo>
                        <a:lnTo>
                          <a:pt x="46191" y="234882"/>
                        </a:lnTo>
                        <a:cubicBezTo>
                          <a:pt x="64574" y="265647"/>
                          <a:pt x="104389" y="275744"/>
                          <a:pt x="135059" y="257360"/>
                        </a:cubicBezTo>
                        <a:close/>
                      </a:path>
                    </a:pathLst>
                  </a:custGeom>
                  <a:solidFill>
                    <a:schemeClr val="bg1">
                      <a:lumMod val="65000"/>
                    </a:schemeClr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889" name="Freeform: Shape 1888">
                    <a:extLst>
                      <a:ext uri="{FF2B5EF4-FFF2-40B4-BE49-F238E27FC236}">
                        <a16:creationId xmlns:a16="http://schemas.microsoft.com/office/drawing/2014/main" id="{DE87094C-BD39-4169-A265-C25739C7F5DE}"/>
                      </a:ext>
                    </a:extLst>
                  </p:cNvPr>
                  <p:cNvSpPr/>
                  <p:nvPr/>
                </p:nvSpPr>
                <p:spPr>
                  <a:xfrm>
                    <a:off x="13702943" y="3324402"/>
                    <a:ext cx="285750" cy="257175"/>
                  </a:xfrm>
                  <a:custGeom>
                    <a:avLst/>
                    <a:gdLst>
                      <a:gd name="connsiteX0" fmla="*/ 156872 w 285750"/>
                      <a:gd name="connsiteY0" fmla="*/ 9181 h 257175"/>
                      <a:gd name="connsiteX1" fmla="*/ 31618 w 285750"/>
                      <a:gd name="connsiteY1" fmla="*/ 83857 h 257175"/>
                      <a:gd name="connsiteX2" fmla="*/ 9139 w 285750"/>
                      <a:gd name="connsiteY2" fmla="*/ 172726 h 257175"/>
                      <a:gd name="connsiteX3" fmla="*/ 46191 w 285750"/>
                      <a:gd name="connsiteY3" fmla="*/ 234829 h 257175"/>
                      <a:gd name="connsiteX4" fmla="*/ 135059 w 285750"/>
                      <a:gd name="connsiteY4" fmla="*/ 257308 h 257175"/>
                      <a:gd name="connsiteX5" fmla="*/ 260313 w 285750"/>
                      <a:gd name="connsiteY5" fmla="*/ 182632 h 257175"/>
                      <a:gd name="connsiteX6" fmla="*/ 282792 w 285750"/>
                      <a:gd name="connsiteY6" fmla="*/ 93763 h 257175"/>
                      <a:gd name="connsiteX7" fmla="*/ 245740 w 285750"/>
                      <a:gd name="connsiteY7" fmla="*/ 31660 h 257175"/>
                      <a:gd name="connsiteX8" fmla="*/ 156872 w 285750"/>
                      <a:gd name="connsiteY8" fmla="*/ 9181 h 2571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285750" h="257175">
                        <a:moveTo>
                          <a:pt x="156872" y="9181"/>
                        </a:moveTo>
                        <a:lnTo>
                          <a:pt x="31618" y="83857"/>
                        </a:lnTo>
                        <a:cubicBezTo>
                          <a:pt x="852" y="102241"/>
                          <a:pt x="-9149" y="141960"/>
                          <a:pt x="9139" y="172726"/>
                        </a:cubicBezTo>
                        <a:lnTo>
                          <a:pt x="46191" y="234829"/>
                        </a:lnTo>
                        <a:cubicBezTo>
                          <a:pt x="64575" y="265594"/>
                          <a:pt x="104294" y="275596"/>
                          <a:pt x="135059" y="257308"/>
                        </a:cubicBezTo>
                        <a:lnTo>
                          <a:pt x="260313" y="182632"/>
                        </a:lnTo>
                        <a:cubicBezTo>
                          <a:pt x="291079" y="164248"/>
                          <a:pt x="301080" y="124529"/>
                          <a:pt x="282792" y="93763"/>
                        </a:cubicBezTo>
                        <a:lnTo>
                          <a:pt x="245740" y="31660"/>
                        </a:lnTo>
                        <a:cubicBezTo>
                          <a:pt x="227452" y="895"/>
                          <a:pt x="187637" y="-9202"/>
                          <a:pt x="156872" y="9181"/>
                        </a:cubicBezTo>
                        <a:close/>
                      </a:path>
                    </a:pathLst>
                  </a:custGeom>
                  <a:solidFill>
                    <a:schemeClr val="bg1">
                      <a:lumMod val="65000"/>
                    </a:schemeClr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890" name="Freeform: Shape 1889">
                    <a:extLst>
                      <a:ext uri="{FF2B5EF4-FFF2-40B4-BE49-F238E27FC236}">
                        <a16:creationId xmlns:a16="http://schemas.microsoft.com/office/drawing/2014/main" id="{88C6F983-BD1B-48FD-8EA1-211F60AC38B5}"/>
                      </a:ext>
                    </a:extLst>
                  </p:cNvPr>
                  <p:cNvSpPr/>
                  <p:nvPr/>
                </p:nvSpPr>
                <p:spPr>
                  <a:xfrm>
                    <a:off x="13998694" y="3147999"/>
                    <a:ext cx="285750" cy="257175"/>
                  </a:xfrm>
                  <a:custGeom>
                    <a:avLst/>
                    <a:gdLst>
                      <a:gd name="connsiteX0" fmla="*/ 156872 w 285750"/>
                      <a:gd name="connsiteY0" fmla="*/ 9181 h 257175"/>
                      <a:gd name="connsiteX1" fmla="*/ 31618 w 285750"/>
                      <a:gd name="connsiteY1" fmla="*/ 83857 h 257175"/>
                      <a:gd name="connsiteX2" fmla="*/ 9139 w 285750"/>
                      <a:gd name="connsiteY2" fmla="*/ 172726 h 257175"/>
                      <a:gd name="connsiteX3" fmla="*/ 46191 w 285750"/>
                      <a:gd name="connsiteY3" fmla="*/ 234829 h 257175"/>
                      <a:gd name="connsiteX4" fmla="*/ 135060 w 285750"/>
                      <a:gd name="connsiteY4" fmla="*/ 257308 h 257175"/>
                      <a:gd name="connsiteX5" fmla="*/ 260313 w 285750"/>
                      <a:gd name="connsiteY5" fmla="*/ 182632 h 257175"/>
                      <a:gd name="connsiteX6" fmla="*/ 282792 w 285750"/>
                      <a:gd name="connsiteY6" fmla="*/ 93763 h 257175"/>
                      <a:gd name="connsiteX7" fmla="*/ 245740 w 285750"/>
                      <a:gd name="connsiteY7" fmla="*/ 31660 h 257175"/>
                      <a:gd name="connsiteX8" fmla="*/ 156872 w 285750"/>
                      <a:gd name="connsiteY8" fmla="*/ 9181 h 2571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285750" h="257175">
                        <a:moveTo>
                          <a:pt x="156872" y="9181"/>
                        </a:moveTo>
                        <a:lnTo>
                          <a:pt x="31618" y="83857"/>
                        </a:lnTo>
                        <a:cubicBezTo>
                          <a:pt x="852" y="102241"/>
                          <a:pt x="-9149" y="141960"/>
                          <a:pt x="9139" y="172726"/>
                        </a:cubicBezTo>
                        <a:lnTo>
                          <a:pt x="46191" y="234829"/>
                        </a:lnTo>
                        <a:cubicBezTo>
                          <a:pt x="64574" y="265594"/>
                          <a:pt x="104294" y="275691"/>
                          <a:pt x="135060" y="257308"/>
                        </a:cubicBezTo>
                        <a:lnTo>
                          <a:pt x="260313" y="182632"/>
                        </a:lnTo>
                        <a:cubicBezTo>
                          <a:pt x="291079" y="164248"/>
                          <a:pt x="301080" y="124529"/>
                          <a:pt x="282792" y="93763"/>
                        </a:cubicBezTo>
                        <a:lnTo>
                          <a:pt x="245740" y="31660"/>
                        </a:lnTo>
                        <a:cubicBezTo>
                          <a:pt x="227452" y="895"/>
                          <a:pt x="187637" y="-9202"/>
                          <a:pt x="156872" y="9181"/>
                        </a:cubicBezTo>
                        <a:close/>
                      </a:path>
                    </a:pathLst>
                  </a:custGeom>
                  <a:solidFill>
                    <a:schemeClr val="bg1">
                      <a:lumMod val="65000"/>
                    </a:schemeClr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891" name="Freeform: Shape 1890">
                    <a:extLst>
                      <a:ext uri="{FF2B5EF4-FFF2-40B4-BE49-F238E27FC236}">
                        <a16:creationId xmlns:a16="http://schemas.microsoft.com/office/drawing/2014/main" id="{D30CE4AB-6AAD-41CF-98F4-370BEF2E92AD}"/>
                      </a:ext>
                    </a:extLst>
                  </p:cNvPr>
                  <p:cNvSpPr/>
                  <p:nvPr/>
                </p:nvSpPr>
                <p:spPr>
                  <a:xfrm>
                    <a:off x="14294445" y="2971565"/>
                    <a:ext cx="285750" cy="257175"/>
                  </a:xfrm>
                  <a:custGeom>
                    <a:avLst/>
                    <a:gdLst>
                      <a:gd name="connsiteX0" fmla="*/ 156872 w 285750"/>
                      <a:gd name="connsiteY0" fmla="*/ 9117 h 257175"/>
                      <a:gd name="connsiteX1" fmla="*/ 31618 w 285750"/>
                      <a:gd name="connsiteY1" fmla="*/ 83889 h 257175"/>
                      <a:gd name="connsiteX2" fmla="*/ 9139 w 285750"/>
                      <a:gd name="connsiteY2" fmla="*/ 172757 h 257175"/>
                      <a:gd name="connsiteX3" fmla="*/ 46191 w 285750"/>
                      <a:gd name="connsiteY3" fmla="*/ 234860 h 257175"/>
                      <a:gd name="connsiteX4" fmla="*/ 135059 w 285750"/>
                      <a:gd name="connsiteY4" fmla="*/ 257339 h 257175"/>
                      <a:gd name="connsiteX5" fmla="*/ 260313 w 285750"/>
                      <a:gd name="connsiteY5" fmla="*/ 182568 h 257175"/>
                      <a:gd name="connsiteX6" fmla="*/ 282792 w 285750"/>
                      <a:gd name="connsiteY6" fmla="*/ 93699 h 257175"/>
                      <a:gd name="connsiteX7" fmla="*/ 245740 w 285750"/>
                      <a:gd name="connsiteY7" fmla="*/ 31596 h 257175"/>
                      <a:gd name="connsiteX8" fmla="*/ 156872 w 285750"/>
                      <a:gd name="connsiteY8" fmla="*/ 9117 h 2571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285750" h="257175">
                        <a:moveTo>
                          <a:pt x="156872" y="9117"/>
                        </a:moveTo>
                        <a:lnTo>
                          <a:pt x="31618" y="83889"/>
                        </a:lnTo>
                        <a:cubicBezTo>
                          <a:pt x="852" y="102272"/>
                          <a:pt x="-9149" y="141991"/>
                          <a:pt x="9139" y="172757"/>
                        </a:cubicBezTo>
                        <a:lnTo>
                          <a:pt x="46191" y="234860"/>
                        </a:lnTo>
                        <a:cubicBezTo>
                          <a:pt x="64575" y="265626"/>
                          <a:pt x="104294" y="275627"/>
                          <a:pt x="135059" y="257339"/>
                        </a:cubicBezTo>
                        <a:lnTo>
                          <a:pt x="260313" y="182568"/>
                        </a:lnTo>
                        <a:cubicBezTo>
                          <a:pt x="291079" y="164184"/>
                          <a:pt x="301080" y="124465"/>
                          <a:pt x="282792" y="93699"/>
                        </a:cubicBezTo>
                        <a:lnTo>
                          <a:pt x="245740" y="31596"/>
                        </a:lnTo>
                        <a:cubicBezTo>
                          <a:pt x="227452" y="926"/>
                          <a:pt x="187638" y="-9171"/>
                          <a:pt x="156872" y="9117"/>
                        </a:cubicBezTo>
                        <a:close/>
                      </a:path>
                    </a:pathLst>
                  </a:custGeom>
                  <a:solidFill>
                    <a:schemeClr val="bg1">
                      <a:lumMod val="65000"/>
                    </a:schemeClr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892" name="Freeform: Shape 1891">
                    <a:extLst>
                      <a:ext uri="{FF2B5EF4-FFF2-40B4-BE49-F238E27FC236}">
                        <a16:creationId xmlns:a16="http://schemas.microsoft.com/office/drawing/2014/main" id="{CA399760-CDF8-499D-9843-92C159368AF3}"/>
                      </a:ext>
                    </a:extLst>
                  </p:cNvPr>
                  <p:cNvSpPr/>
                  <p:nvPr/>
                </p:nvSpPr>
                <p:spPr>
                  <a:xfrm>
                    <a:off x="13543452" y="3729162"/>
                    <a:ext cx="285750" cy="257175"/>
                  </a:xfrm>
                  <a:custGeom>
                    <a:avLst/>
                    <a:gdLst>
                      <a:gd name="connsiteX0" fmla="*/ 135102 w 285750"/>
                      <a:gd name="connsiteY0" fmla="*/ 257361 h 257175"/>
                      <a:gd name="connsiteX1" fmla="*/ 260356 w 285750"/>
                      <a:gd name="connsiteY1" fmla="*/ 182589 h 257175"/>
                      <a:gd name="connsiteX2" fmla="*/ 282835 w 285750"/>
                      <a:gd name="connsiteY2" fmla="*/ 93721 h 257175"/>
                      <a:gd name="connsiteX3" fmla="*/ 245782 w 285750"/>
                      <a:gd name="connsiteY3" fmla="*/ 31618 h 257175"/>
                      <a:gd name="connsiteX4" fmla="*/ 156914 w 285750"/>
                      <a:gd name="connsiteY4" fmla="*/ 9139 h 257175"/>
                      <a:gd name="connsiteX5" fmla="*/ 31660 w 285750"/>
                      <a:gd name="connsiteY5" fmla="*/ 83910 h 257175"/>
                      <a:gd name="connsiteX6" fmla="*/ 9181 w 285750"/>
                      <a:gd name="connsiteY6" fmla="*/ 172778 h 257175"/>
                      <a:gd name="connsiteX7" fmla="*/ 46234 w 285750"/>
                      <a:gd name="connsiteY7" fmla="*/ 234881 h 257175"/>
                      <a:gd name="connsiteX8" fmla="*/ 135102 w 285750"/>
                      <a:gd name="connsiteY8" fmla="*/ 257361 h 2571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285750" h="257175">
                        <a:moveTo>
                          <a:pt x="135102" y="257361"/>
                        </a:moveTo>
                        <a:lnTo>
                          <a:pt x="260356" y="182589"/>
                        </a:lnTo>
                        <a:cubicBezTo>
                          <a:pt x="291121" y="164206"/>
                          <a:pt x="301123" y="124487"/>
                          <a:pt x="282835" y="93721"/>
                        </a:cubicBezTo>
                        <a:lnTo>
                          <a:pt x="245782" y="31618"/>
                        </a:lnTo>
                        <a:cubicBezTo>
                          <a:pt x="227399" y="852"/>
                          <a:pt x="187680" y="-9149"/>
                          <a:pt x="156914" y="9139"/>
                        </a:cubicBezTo>
                        <a:lnTo>
                          <a:pt x="31660" y="83910"/>
                        </a:lnTo>
                        <a:cubicBezTo>
                          <a:pt x="895" y="102198"/>
                          <a:pt x="-9202" y="142013"/>
                          <a:pt x="9181" y="172778"/>
                        </a:cubicBezTo>
                        <a:lnTo>
                          <a:pt x="46234" y="234881"/>
                        </a:lnTo>
                        <a:cubicBezTo>
                          <a:pt x="64522" y="265647"/>
                          <a:pt x="104336" y="275744"/>
                          <a:pt x="135102" y="257361"/>
                        </a:cubicBezTo>
                        <a:close/>
                      </a:path>
                    </a:pathLst>
                  </a:custGeom>
                  <a:solidFill>
                    <a:schemeClr val="bg1">
                      <a:lumMod val="65000"/>
                    </a:schemeClr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893" name="Freeform: Shape 1892">
                    <a:extLst>
                      <a:ext uri="{FF2B5EF4-FFF2-40B4-BE49-F238E27FC236}">
                        <a16:creationId xmlns:a16="http://schemas.microsoft.com/office/drawing/2014/main" id="{DA6B42A8-7AB4-42C3-ABE2-87DBDC96C756}"/>
                      </a:ext>
                    </a:extLst>
                  </p:cNvPr>
                  <p:cNvSpPr/>
                  <p:nvPr/>
                </p:nvSpPr>
                <p:spPr>
                  <a:xfrm>
                    <a:off x="13839108" y="3552790"/>
                    <a:ext cx="285750" cy="257175"/>
                  </a:xfrm>
                  <a:custGeom>
                    <a:avLst/>
                    <a:gdLst>
                      <a:gd name="connsiteX0" fmla="*/ 156914 w 285750"/>
                      <a:gd name="connsiteY0" fmla="*/ 9203 h 257175"/>
                      <a:gd name="connsiteX1" fmla="*/ 31660 w 285750"/>
                      <a:gd name="connsiteY1" fmla="*/ 83879 h 257175"/>
                      <a:gd name="connsiteX2" fmla="*/ 9181 w 285750"/>
                      <a:gd name="connsiteY2" fmla="*/ 172747 h 257175"/>
                      <a:gd name="connsiteX3" fmla="*/ 46234 w 285750"/>
                      <a:gd name="connsiteY3" fmla="*/ 234850 h 257175"/>
                      <a:gd name="connsiteX4" fmla="*/ 135102 w 285750"/>
                      <a:gd name="connsiteY4" fmla="*/ 257329 h 257175"/>
                      <a:gd name="connsiteX5" fmla="*/ 260356 w 285750"/>
                      <a:gd name="connsiteY5" fmla="*/ 182653 h 257175"/>
                      <a:gd name="connsiteX6" fmla="*/ 282835 w 285750"/>
                      <a:gd name="connsiteY6" fmla="*/ 93785 h 257175"/>
                      <a:gd name="connsiteX7" fmla="*/ 245782 w 285750"/>
                      <a:gd name="connsiteY7" fmla="*/ 31682 h 257175"/>
                      <a:gd name="connsiteX8" fmla="*/ 156914 w 285750"/>
                      <a:gd name="connsiteY8" fmla="*/ 9203 h 2571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285750" h="257175">
                        <a:moveTo>
                          <a:pt x="156914" y="9203"/>
                        </a:moveTo>
                        <a:lnTo>
                          <a:pt x="31660" y="83879"/>
                        </a:lnTo>
                        <a:cubicBezTo>
                          <a:pt x="895" y="102262"/>
                          <a:pt x="-9202" y="141981"/>
                          <a:pt x="9181" y="172747"/>
                        </a:cubicBezTo>
                        <a:lnTo>
                          <a:pt x="46234" y="234850"/>
                        </a:lnTo>
                        <a:cubicBezTo>
                          <a:pt x="64522" y="265616"/>
                          <a:pt x="104336" y="275617"/>
                          <a:pt x="135102" y="257329"/>
                        </a:cubicBezTo>
                        <a:lnTo>
                          <a:pt x="260356" y="182653"/>
                        </a:lnTo>
                        <a:cubicBezTo>
                          <a:pt x="291121" y="164270"/>
                          <a:pt x="301123" y="124551"/>
                          <a:pt x="282835" y="93785"/>
                        </a:cubicBezTo>
                        <a:lnTo>
                          <a:pt x="245782" y="31682"/>
                        </a:lnTo>
                        <a:cubicBezTo>
                          <a:pt x="227494" y="821"/>
                          <a:pt x="187680" y="-9180"/>
                          <a:pt x="156914" y="9203"/>
                        </a:cubicBezTo>
                        <a:close/>
                      </a:path>
                    </a:pathLst>
                  </a:custGeom>
                  <a:solidFill>
                    <a:schemeClr val="bg1">
                      <a:lumMod val="65000"/>
                    </a:schemeClr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894" name="Freeform: Shape 1893">
                    <a:extLst>
                      <a:ext uri="{FF2B5EF4-FFF2-40B4-BE49-F238E27FC236}">
                        <a16:creationId xmlns:a16="http://schemas.microsoft.com/office/drawing/2014/main" id="{8A4FADE7-3DA7-40C9-AC8E-ECA435991829}"/>
                      </a:ext>
                    </a:extLst>
                  </p:cNvPr>
                  <p:cNvSpPr/>
                  <p:nvPr/>
                </p:nvSpPr>
                <p:spPr>
                  <a:xfrm>
                    <a:off x="14134859" y="3376356"/>
                    <a:ext cx="285750" cy="257175"/>
                  </a:xfrm>
                  <a:custGeom>
                    <a:avLst/>
                    <a:gdLst>
                      <a:gd name="connsiteX0" fmla="*/ 156914 w 285750"/>
                      <a:gd name="connsiteY0" fmla="*/ 9139 h 257175"/>
                      <a:gd name="connsiteX1" fmla="*/ 31660 w 285750"/>
                      <a:gd name="connsiteY1" fmla="*/ 83815 h 257175"/>
                      <a:gd name="connsiteX2" fmla="*/ 9181 w 285750"/>
                      <a:gd name="connsiteY2" fmla="*/ 172683 h 257175"/>
                      <a:gd name="connsiteX3" fmla="*/ 46234 w 285750"/>
                      <a:gd name="connsiteY3" fmla="*/ 234786 h 257175"/>
                      <a:gd name="connsiteX4" fmla="*/ 135102 w 285750"/>
                      <a:gd name="connsiteY4" fmla="*/ 257265 h 257175"/>
                      <a:gd name="connsiteX5" fmla="*/ 260356 w 285750"/>
                      <a:gd name="connsiteY5" fmla="*/ 182589 h 257175"/>
                      <a:gd name="connsiteX6" fmla="*/ 282835 w 285750"/>
                      <a:gd name="connsiteY6" fmla="*/ 93721 h 257175"/>
                      <a:gd name="connsiteX7" fmla="*/ 245782 w 285750"/>
                      <a:gd name="connsiteY7" fmla="*/ 31618 h 257175"/>
                      <a:gd name="connsiteX8" fmla="*/ 156914 w 285750"/>
                      <a:gd name="connsiteY8" fmla="*/ 9139 h 2571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285750" h="257175">
                        <a:moveTo>
                          <a:pt x="156914" y="9139"/>
                        </a:moveTo>
                        <a:lnTo>
                          <a:pt x="31660" y="83815"/>
                        </a:lnTo>
                        <a:cubicBezTo>
                          <a:pt x="895" y="102198"/>
                          <a:pt x="-9202" y="141917"/>
                          <a:pt x="9181" y="172683"/>
                        </a:cubicBezTo>
                        <a:lnTo>
                          <a:pt x="46234" y="234786"/>
                        </a:lnTo>
                        <a:cubicBezTo>
                          <a:pt x="64522" y="265552"/>
                          <a:pt x="104336" y="275648"/>
                          <a:pt x="135102" y="257265"/>
                        </a:cubicBezTo>
                        <a:lnTo>
                          <a:pt x="260356" y="182589"/>
                        </a:lnTo>
                        <a:cubicBezTo>
                          <a:pt x="291121" y="164206"/>
                          <a:pt x="301123" y="124487"/>
                          <a:pt x="282835" y="93721"/>
                        </a:cubicBezTo>
                        <a:lnTo>
                          <a:pt x="245782" y="31618"/>
                        </a:lnTo>
                        <a:cubicBezTo>
                          <a:pt x="227494" y="852"/>
                          <a:pt x="187680" y="-9149"/>
                          <a:pt x="156914" y="9139"/>
                        </a:cubicBezTo>
                        <a:close/>
                      </a:path>
                    </a:pathLst>
                  </a:custGeom>
                  <a:solidFill>
                    <a:schemeClr val="bg1">
                      <a:lumMod val="65000"/>
                    </a:schemeClr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895" name="Freeform: Shape 1894">
                    <a:extLst>
                      <a:ext uri="{FF2B5EF4-FFF2-40B4-BE49-F238E27FC236}">
                        <a16:creationId xmlns:a16="http://schemas.microsoft.com/office/drawing/2014/main" id="{891BA5CF-451C-4A01-B22B-DEC669E0C31D}"/>
                      </a:ext>
                    </a:extLst>
                  </p:cNvPr>
                  <p:cNvSpPr/>
                  <p:nvPr/>
                </p:nvSpPr>
                <p:spPr>
                  <a:xfrm>
                    <a:off x="14430705" y="3199953"/>
                    <a:ext cx="419100" cy="485775"/>
                  </a:xfrm>
                  <a:custGeom>
                    <a:avLst/>
                    <a:gdLst>
                      <a:gd name="connsiteX0" fmla="*/ 156914 w 419100"/>
                      <a:gd name="connsiteY0" fmla="*/ 9139 h 485775"/>
                      <a:gd name="connsiteX1" fmla="*/ 31660 w 419100"/>
                      <a:gd name="connsiteY1" fmla="*/ 83910 h 485775"/>
                      <a:gd name="connsiteX2" fmla="*/ 9181 w 419100"/>
                      <a:gd name="connsiteY2" fmla="*/ 172779 h 485775"/>
                      <a:gd name="connsiteX3" fmla="*/ 182441 w 419100"/>
                      <a:gd name="connsiteY3" fmla="*/ 463196 h 485775"/>
                      <a:gd name="connsiteX4" fmla="*/ 271309 w 419100"/>
                      <a:gd name="connsiteY4" fmla="*/ 485675 h 485775"/>
                      <a:gd name="connsiteX5" fmla="*/ 396563 w 419100"/>
                      <a:gd name="connsiteY5" fmla="*/ 410904 h 485775"/>
                      <a:gd name="connsiteX6" fmla="*/ 419042 w 419100"/>
                      <a:gd name="connsiteY6" fmla="*/ 322035 h 485775"/>
                      <a:gd name="connsiteX7" fmla="*/ 245782 w 419100"/>
                      <a:gd name="connsiteY7" fmla="*/ 31618 h 485775"/>
                      <a:gd name="connsiteX8" fmla="*/ 156914 w 419100"/>
                      <a:gd name="connsiteY8" fmla="*/ 9139 h 4857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19100" h="485775">
                        <a:moveTo>
                          <a:pt x="156914" y="9139"/>
                        </a:moveTo>
                        <a:lnTo>
                          <a:pt x="31660" y="83910"/>
                        </a:lnTo>
                        <a:cubicBezTo>
                          <a:pt x="895" y="102294"/>
                          <a:pt x="-9202" y="142013"/>
                          <a:pt x="9181" y="172779"/>
                        </a:cubicBezTo>
                        <a:lnTo>
                          <a:pt x="182441" y="463196"/>
                        </a:lnTo>
                        <a:cubicBezTo>
                          <a:pt x="200824" y="493962"/>
                          <a:pt x="240639" y="504058"/>
                          <a:pt x="271309" y="485675"/>
                        </a:cubicBezTo>
                        <a:lnTo>
                          <a:pt x="396563" y="410904"/>
                        </a:lnTo>
                        <a:cubicBezTo>
                          <a:pt x="427329" y="392520"/>
                          <a:pt x="437330" y="352801"/>
                          <a:pt x="419042" y="322035"/>
                        </a:cubicBezTo>
                        <a:lnTo>
                          <a:pt x="245782" y="31618"/>
                        </a:lnTo>
                        <a:cubicBezTo>
                          <a:pt x="227399" y="852"/>
                          <a:pt x="187585" y="-9149"/>
                          <a:pt x="156914" y="9139"/>
                        </a:cubicBezTo>
                        <a:close/>
                      </a:path>
                    </a:pathLst>
                  </a:custGeom>
                  <a:solidFill>
                    <a:schemeClr val="bg1">
                      <a:lumMod val="65000"/>
                    </a:schemeClr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896" name="Freeform: Shape 1895">
                    <a:extLst>
                      <a:ext uri="{FF2B5EF4-FFF2-40B4-BE49-F238E27FC236}">
                        <a16:creationId xmlns:a16="http://schemas.microsoft.com/office/drawing/2014/main" id="{C4702FCF-992D-46CE-8AC5-1329B7392A26}"/>
                      </a:ext>
                    </a:extLst>
                  </p:cNvPr>
                  <p:cNvSpPr/>
                  <p:nvPr/>
                </p:nvSpPr>
                <p:spPr>
                  <a:xfrm>
                    <a:off x="13679606" y="3781169"/>
                    <a:ext cx="581025" cy="438150"/>
                  </a:xfrm>
                  <a:custGeom>
                    <a:avLst/>
                    <a:gdLst>
                      <a:gd name="connsiteX0" fmla="*/ 452623 w 581025"/>
                      <a:gd name="connsiteY0" fmla="*/ 9139 h 438150"/>
                      <a:gd name="connsiteX1" fmla="*/ 31618 w 581025"/>
                      <a:gd name="connsiteY1" fmla="*/ 260313 h 438150"/>
                      <a:gd name="connsiteX2" fmla="*/ 9139 w 581025"/>
                      <a:gd name="connsiteY2" fmla="*/ 349182 h 438150"/>
                      <a:gd name="connsiteX3" fmla="*/ 46191 w 581025"/>
                      <a:gd name="connsiteY3" fmla="*/ 411284 h 438150"/>
                      <a:gd name="connsiteX4" fmla="*/ 135059 w 581025"/>
                      <a:gd name="connsiteY4" fmla="*/ 433764 h 438150"/>
                      <a:gd name="connsiteX5" fmla="*/ 556065 w 581025"/>
                      <a:gd name="connsiteY5" fmla="*/ 182589 h 438150"/>
                      <a:gd name="connsiteX6" fmla="*/ 578544 w 581025"/>
                      <a:gd name="connsiteY6" fmla="*/ 93721 h 438150"/>
                      <a:gd name="connsiteX7" fmla="*/ 541491 w 581025"/>
                      <a:gd name="connsiteY7" fmla="*/ 31618 h 438150"/>
                      <a:gd name="connsiteX8" fmla="*/ 452623 w 581025"/>
                      <a:gd name="connsiteY8" fmla="*/ 9139 h 4381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581025" h="438150">
                        <a:moveTo>
                          <a:pt x="452623" y="9139"/>
                        </a:moveTo>
                        <a:lnTo>
                          <a:pt x="31618" y="260313"/>
                        </a:lnTo>
                        <a:cubicBezTo>
                          <a:pt x="852" y="278601"/>
                          <a:pt x="-9149" y="318416"/>
                          <a:pt x="9139" y="349182"/>
                        </a:cubicBezTo>
                        <a:lnTo>
                          <a:pt x="46191" y="411284"/>
                        </a:lnTo>
                        <a:cubicBezTo>
                          <a:pt x="64574" y="442050"/>
                          <a:pt x="104389" y="452147"/>
                          <a:pt x="135059" y="433764"/>
                        </a:cubicBezTo>
                        <a:lnTo>
                          <a:pt x="556065" y="182589"/>
                        </a:lnTo>
                        <a:cubicBezTo>
                          <a:pt x="586830" y="164206"/>
                          <a:pt x="596832" y="124487"/>
                          <a:pt x="578544" y="93721"/>
                        </a:cubicBezTo>
                        <a:lnTo>
                          <a:pt x="541491" y="31618"/>
                        </a:lnTo>
                        <a:cubicBezTo>
                          <a:pt x="523203" y="852"/>
                          <a:pt x="483389" y="-9149"/>
                          <a:pt x="452623" y="9139"/>
                        </a:cubicBezTo>
                        <a:close/>
                      </a:path>
                    </a:pathLst>
                  </a:custGeom>
                  <a:solidFill>
                    <a:schemeClr val="bg1">
                      <a:lumMod val="65000"/>
                    </a:schemeClr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897" name="Freeform: Shape 1896">
                    <a:extLst>
                      <a:ext uri="{FF2B5EF4-FFF2-40B4-BE49-F238E27FC236}">
                        <a16:creationId xmlns:a16="http://schemas.microsoft.com/office/drawing/2014/main" id="{B9FBC456-4297-48CD-8CEC-3ECF4C6D53F0}"/>
                      </a:ext>
                    </a:extLst>
                  </p:cNvPr>
                  <p:cNvSpPr/>
                  <p:nvPr/>
                </p:nvSpPr>
                <p:spPr>
                  <a:xfrm>
                    <a:off x="14271204" y="3604723"/>
                    <a:ext cx="285750" cy="257175"/>
                  </a:xfrm>
                  <a:custGeom>
                    <a:avLst/>
                    <a:gdLst>
                      <a:gd name="connsiteX0" fmla="*/ 156872 w 285750"/>
                      <a:gd name="connsiteY0" fmla="*/ 9181 h 257175"/>
                      <a:gd name="connsiteX1" fmla="*/ 31618 w 285750"/>
                      <a:gd name="connsiteY1" fmla="*/ 83857 h 257175"/>
                      <a:gd name="connsiteX2" fmla="*/ 9139 w 285750"/>
                      <a:gd name="connsiteY2" fmla="*/ 172726 h 257175"/>
                      <a:gd name="connsiteX3" fmla="*/ 46191 w 285750"/>
                      <a:gd name="connsiteY3" fmla="*/ 234829 h 257175"/>
                      <a:gd name="connsiteX4" fmla="*/ 135059 w 285750"/>
                      <a:gd name="connsiteY4" fmla="*/ 257308 h 257175"/>
                      <a:gd name="connsiteX5" fmla="*/ 260313 w 285750"/>
                      <a:gd name="connsiteY5" fmla="*/ 182632 h 257175"/>
                      <a:gd name="connsiteX6" fmla="*/ 282792 w 285750"/>
                      <a:gd name="connsiteY6" fmla="*/ 93763 h 257175"/>
                      <a:gd name="connsiteX7" fmla="*/ 245740 w 285750"/>
                      <a:gd name="connsiteY7" fmla="*/ 31660 h 257175"/>
                      <a:gd name="connsiteX8" fmla="*/ 156872 w 285750"/>
                      <a:gd name="connsiteY8" fmla="*/ 9181 h 2571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285750" h="257175">
                        <a:moveTo>
                          <a:pt x="156872" y="9181"/>
                        </a:moveTo>
                        <a:lnTo>
                          <a:pt x="31618" y="83857"/>
                        </a:lnTo>
                        <a:cubicBezTo>
                          <a:pt x="852" y="102241"/>
                          <a:pt x="-9149" y="141960"/>
                          <a:pt x="9139" y="172726"/>
                        </a:cubicBezTo>
                        <a:lnTo>
                          <a:pt x="46191" y="234829"/>
                        </a:lnTo>
                        <a:cubicBezTo>
                          <a:pt x="64574" y="265594"/>
                          <a:pt x="104294" y="275691"/>
                          <a:pt x="135059" y="257308"/>
                        </a:cubicBezTo>
                        <a:lnTo>
                          <a:pt x="260313" y="182632"/>
                        </a:lnTo>
                        <a:cubicBezTo>
                          <a:pt x="291079" y="164248"/>
                          <a:pt x="301080" y="124529"/>
                          <a:pt x="282792" y="93763"/>
                        </a:cubicBezTo>
                        <a:lnTo>
                          <a:pt x="245740" y="31660"/>
                        </a:lnTo>
                        <a:cubicBezTo>
                          <a:pt x="227357" y="895"/>
                          <a:pt x="187542" y="-9202"/>
                          <a:pt x="156872" y="9181"/>
                        </a:cubicBezTo>
                        <a:close/>
                      </a:path>
                    </a:pathLst>
                  </a:custGeom>
                  <a:solidFill>
                    <a:schemeClr val="bg1">
                      <a:lumMod val="65000"/>
                    </a:schemeClr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898" name="Freeform: Shape 1897">
                    <a:extLst>
                      <a:ext uri="{FF2B5EF4-FFF2-40B4-BE49-F238E27FC236}">
                        <a16:creationId xmlns:a16="http://schemas.microsoft.com/office/drawing/2014/main" id="{A06BC4AA-33A4-4DF6-8BAC-D44D9E407BF3}"/>
                      </a:ext>
                    </a:extLst>
                  </p:cNvPr>
                  <p:cNvSpPr/>
                  <p:nvPr/>
                </p:nvSpPr>
                <p:spPr>
                  <a:xfrm>
                    <a:off x="13057333" y="2588729"/>
                    <a:ext cx="304800" cy="419100"/>
                  </a:xfrm>
                  <a:custGeom>
                    <a:avLst/>
                    <a:gdLst>
                      <a:gd name="connsiteX0" fmla="*/ 71533 w 304800"/>
                      <a:gd name="connsiteY0" fmla="*/ 140779 h 419100"/>
                      <a:gd name="connsiteX1" fmla="*/ 0 w 304800"/>
                      <a:gd name="connsiteY1" fmla="*/ 423672 h 419100"/>
                      <a:gd name="connsiteX2" fmla="*/ 35338 w 304800"/>
                      <a:gd name="connsiteY2" fmla="*/ 415766 h 419100"/>
                      <a:gd name="connsiteX3" fmla="*/ 232219 w 304800"/>
                      <a:gd name="connsiteY3" fmla="*/ 298323 h 419100"/>
                      <a:gd name="connsiteX4" fmla="*/ 307658 w 304800"/>
                      <a:gd name="connsiteY4" fmla="*/ 0 h 419100"/>
                      <a:gd name="connsiteX5" fmla="*/ 71533 w 304800"/>
                      <a:gd name="connsiteY5" fmla="*/ 140779 h 4191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304800" h="419100">
                        <a:moveTo>
                          <a:pt x="71533" y="140779"/>
                        </a:moveTo>
                        <a:lnTo>
                          <a:pt x="0" y="423672"/>
                        </a:lnTo>
                        <a:cubicBezTo>
                          <a:pt x="12097" y="424148"/>
                          <a:pt x="24194" y="422338"/>
                          <a:pt x="35338" y="415766"/>
                        </a:cubicBezTo>
                        <a:lnTo>
                          <a:pt x="232219" y="298323"/>
                        </a:lnTo>
                        <a:lnTo>
                          <a:pt x="307658" y="0"/>
                        </a:lnTo>
                        <a:lnTo>
                          <a:pt x="71533" y="140779"/>
                        </a:lnTo>
                        <a:close/>
                      </a:path>
                    </a:pathLst>
                  </a:custGeom>
                  <a:solidFill>
                    <a:schemeClr val="bg1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899" name="Freeform: Shape 1898">
                    <a:extLst>
                      <a:ext uri="{FF2B5EF4-FFF2-40B4-BE49-F238E27FC236}">
                        <a16:creationId xmlns:a16="http://schemas.microsoft.com/office/drawing/2014/main" id="{7E74BEDB-F917-4EC6-9D5B-EC65514C148A}"/>
                      </a:ext>
                    </a:extLst>
                  </p:cNvPr>
                  <p:cNvSpPr/>
                  <p:nvPr/>
                </p:nvSpPr>
                <p:spPr>
                  <a:xfrm>
                    <a:off x="13517200" y="2250305"/>
                    <a:ext cx="409575" cy="495300"/>
                  </a:xfrm>
                  <a:custGeom>
                    <a:avLst/>
                    <a:gdLst>
                      <a:gd name="connsiteX0" fmla="*/ 75343 w 409575"/>
                      <a:gd name="connsiteY0" fmla="*/ 202597 h 495300"/>
                      <a:gd name="connsiteX1" fmla="*/ 0 w 409575"/>
                      <a:gd name="connsiteY1" fmla="*/ 500920 h 495300"/>
                      <a:gd name="connsiteX2" fmla="*/ 339662 w 409575"/>
                      <a:gd name="connsiteY2" fmla="*/ 298323 h 495300"/>
                      <a:gd name="connsiteX3" fmla="*/ 415004 w 409575"/>
                      <a:gd name="connsiteY3" fmla="*/ 0 h 4953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409575" h="495300">
                        <a:moveTo>
                          <a:pt x="75343" y="202597"/>
                        </a:moveTo>
                        <a:lnTo>
                          <a:pt x="0" y="500920"/>
                        </a:lnTo>
                        <a:lnTo>
                          <a:pt x="339662" y="298323"/>
                        </a:lnTo>
                        <a:lnTo>
                          <a:pt x="415004" y="0"/>
                        </a:lnTo>
                        <a:close/>
                      </a:path>
                    </a:pathLst>
                  </a:custGeom>
                  <a:solidFill>
                    <a:schemeClr val="bg1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901" name="Freeform: Shape 1900">
                    <a:extLst>
                      <a:ext uri="{FF2B5EF4-FFF2-40B4-BE49-F238E27FC236}">
                        <a16:creationId xmlns:a16="http://schemas.microsoft.com/office/drawing/2014/main" id="{DF77DC60-8889-4356-8E58-796132B972D0}"/>
                      </a:ext>
                    </a:extLst>
                  </p:cNvPr>
                  <p:cNvSpPr/>
                  <p:nvPr/>
                </p:nvSpPr>
                <p:spPr>
                  <a:xfrm>
                    <a:off x="16828376" y="5255252"/>
                    <a:ext cx="1181100" cy="428625"/>
                  </a:xfrm>
                  <a:custGeom>
                    <a:avLst/>
                    <a:gdLst>
                      <a:gd name="connsiteX0" fmla="*/ 17812 w 1181100"/>
                      <a:gd name="connsiteY0" fmla="*/ 18002 h 428625"/>
                      <a:gd name="connsiteX1" fmla="*/ 10096 w 1181100"/>
                      <a:gd name="connsiteY1" fmla="*/ 23336 h 428625"/>
                      <a:gd name="connsiteX2" fmla="*/ 4286 w 1181100"/>
                      <a:gd name="connsiteY2" fmla="*/ 23051 h 428625"/>
                      <a:gd name="connsiteX3" fmla="*/ 476 w 1181100"/>
                      <a:gd name="connsiteY3" fmla="*/ 25241 h 428625"/>
                      <a:gd name="connsiteX4" fmla="*/ 1181290 w 1181100"/>
                      <a:gd name="connsiteY4" fmla="*/ 432054 h 428625"/>
                      <a:gd name="connsiteX5" fmla="*/ 1189006 w 1181100"/>
                      <a:gd name="connsiteY5" fmla="*/ 409670 h 428625"/>
                      <a:gd name="connsiteX6" fmla="*/ 0 w 1181100"/>
                      <a:gd name="connsiteY6" fmla="*/ 0 h 428625"/>
                      <a:gd name="connsiteX7" fmla="*/ 14573 w 1181100"/>
                      <a:gd name="connsiteY7" fmla="*/ 9049 h 428625"/>
                      <a:gd name="connsiteX8" fmla="*/ 17812 w 1181100"/>
                      <a:gd name="connsiteY8" fmla="*/ 18002 h 4286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181100" h="428625">
                        <a:moveTo>
                          <a:pt x="17812" y="18002"/>
                        </a:moveTo>
                        <a:cubicBezTo>
                          <a:pt x="16764" y="21336"/>
                          <a:pt x="13621" y="23527"/>
                          <a:pt x="10096" y="23336"/>
                        </a:cubicBezTo>
                        <a:lnTo>
                          <a:pt x="4286" y="23051"/>
                        </a:lnTo>
                        <a:cubicBezTo>
                          <a:pt x="2667" y="22955"/>
                          <a:pt x="1524" y="24099"/>
                          <a:pt x="476" y="25241"/>
                        </a:cubicBezTo>
                        <a:lnTo>
                          <a:pt x="1181290" y="432054"/>
                        </a:lnTo>
                        <a:lnTo>
                          <a:pt x="1189006" y="409670"/>
                        </a:lnTo>
                        <a:lnTo>
                          <a:pt x="0" y="0"/>
                        </a:lnTo>
                        <a:lnTo>
                          <a:pt x="14573" y="9049"/>
                        </a:lnTo>
                        <a:cubicBezTo>
                          <a:pt x="17526" y="11049"/>
                          <a:pt x="18860" y="14669"/>
                          <a:pt x="17812" y="18002"/>
                        </a:cubicBezTo>
                        <a:close/>
                      </a:path>
                    </a:pathLst>
                  </a:custGeom>
                  <a:solidFill>
                    <a:schemeClr val="accent4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902" name="Freeform: Shape 1901">
                    <a:extLst>
                      <a:ext uri="{FF2B5EF4-FFF2-40B4-BE49-F238E27FC236}">
                        <a16:creationId xmlns:a16="http://schemas.microsoft.com/office/drawing/2014/main" id="{47739CC5-0E58-4501-8198-876AF7A66F1B}"/>
                      </a:ext>
                    </a:extLst>
                  </p:cNvPr>
                  <p:cNvSpPr/>
                  <p:nvPr/>
                </p:nvSpPr>
                <p:spPr>
                  <a:xfrm>
                    <a:off x="16800372" y="5316403"/>
                    <a:ext cx="1190625" cy="428625"/>
                  </a:xfrm>
                  <a:custGeom>
                    <a:avLst/>
                    <a:gdLst>
                      <a:gd name="connsiteX0" fmla="*/ 14288 w 1190625"/>
                      <a:gd name="connsiteY0" fmla="*/ 0 h 428625"/>
                      <a:gd name="connsiteX1" fmla="*/ 15716 w 1190625"/>
                      <a:gd name="connsiteY1" fmla="*/ 4667 h 428625"/>
                      <a:gd name="connsiteX2" fmla="*/ 25908 w 1190625"/>
                      <a:gd name="connsiteY2" fmla="*/ 13526 h 428625"/>
                      <a:gd name="connsiteX3" fmla="*/ 27242 w 1190625"/>
                      <a:gd name="connsiteY3" fmla="*/ 19431 h 428625"/>
                      <a:gd name="connsiteX4" fmla="*/ 22003 w 1190625"/>
                      <a:gd name="connsiteY4" fmla="*/ 22479 h 428625"/>
                      <a:gd name="connsiteX5" fmla="*/ 0 w 1190625"/>
                      <a:gd name="connsiteY5" fmla="*/ 20193 h 428625"/>
                      <a:gd name="connsiteX6" fmla="*/ 1189006 w 1190625"/>
                      <a:gd name="connsiteY6" fmla="*/ 429863 h 428625"/>
                      <a:gd name="connsiteX7" fmla="*/ 1196721 w 1190625"/>
                      <a:gd name="connsiteY7" fmla="*/ 407480 h 428625"/>
                      <a:gd name="connsiteX8" fmla="*/ 14288 w 1190625"/>
                      <a:gd name="connsiteY8" fmla="*/ 0 h 4286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190625" h="428625">
                        <a:moveTo>
                          <a:pt x="14288" y="0"/>
                        </a:moveTo>
                        <a:cubicBezTo>
                          <a:pt x="14097" y="1714"/>
                          <a:pt x="14383" y="3524"/>
                          <a:pt x="15716" y="4667"/>
                        </a:cubicBezTo>
                        <a:lnTo>
                          <a:pt x="25908" y="13526"/>
                        </a:lnTo>
                        <a:cubicBezTo>
                          <a:pt x="27622" y="14954"/>
                          <a:pt x="28099" y="17336"/>
                          <a:pt x="27242" y="19431"/>
                        </a:cubicBezTo>
                        <a:cubicBezTo>
                          <a:pt x="26384" y="21527"/>
                          <a:pt x="24289" y="22765"/>
                          <a:pt x="22003" y="22479"/>
                        </a:cubicBezTo>
                        <a:lnTo>
                          <a:pt x="0" y="20193"/>
                        </a:lnTo>
                        <a:lnTo>
                          <a:pt x="1189006" y="429863"/>
                        </a:lnTo>
                        <a:lnTo>
                          <a:pt x="1196721" y="407480"/>
                        </a:lnTo>
                        <a:lnTo>
                          <a:pt x="14288" y="0"/>
                        </a:lnTo>
                        <a:close/>
                      </a:path>
                    </a:pathLst>
                  </a:custGeom>
                  <a:solidFill>
                    <a:schemeClr val="accent4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903" name="Freeform: Shape 1902">
                    <a:extLst>
                      <a:ext uri="{FF2B5EF4-FFF2-40B4-BE49-F238E27FC236}">
                        <a16:creationId xmlns:a16="http://schemas.microsoft.com/office/drawing/2014/main" id="{C217AD04-A07E-49AD-A4EA-F5A67B7E8D70}"/>
                      </a:ext>
                    </a:extLst>
                  </p:cNvPr>
                  <p:cNvSpPr/>
                  <p:nvPr/>
                </p:nvSpPr>
                <p:spPr>
                  <a:xfrm>
                    <a:off x="16814374" y="5280494"/>
                    <a:ext cx="1190625" cy="438150"/>
                  </a:xfrm>
                  <a:custGeom>
                    <a:avLst/>
                    <a:gdLst>
                      <a:gd name="connsiteX0" fmla="*/ 13430 w 1190625"/>
                      <a:gd name="connsiteY0" fmla="*/ 667 h 438150"/>
                      <a:gd name="connsiteX1" fmla="*/ 14192 w 1190625"/>
                      <a:gd name="connsiteY1" fmla="*/ 6287 h 438150"/>
                      <a:gd name="connsiteX2" fmla="*/ 25527 w 1190625"/>
                      <a:gd name="connsiteY2" fmla="*/ 19526 h 438150"/>
                      <a:gd name="connsiteX3" fmla="*/ 26479 w 1190625"/>
                      <a:gd name="connsiteY3" fmla="*/ 24479 h 438150"/>
                      <a:gd name="connsiteX4" fmla="*/ 22574 w 1190625"/>
                      <a:gd name="connsiteY4" fmla="*/ 27813 h 438150"/>
                      <a:gd name="connsiteX5" fmla="*/ 4001 w 1190625"/>
                      <a:gd name="connsiteY5" fmla="*/ 31528 h 438150"/>
                      <a:gd name="connsiteX6" fmla="*/ 0 w 1190625"/>
                      <a:gd name="connsiteY6" fmla="*/ 35242 h 438150"/>
                      <a:gd name="connsiteX7" fmla="*/ 190 w 1190625"/>
                      <a:gd name="connsiteY7" fmla="*/ 35814 h 438150"/>
                      <a:gd name="connsiteX8" fmla="*/ 1182719 w 1190625"/>
                      <a:gd name="connsiteY8" fmla="*/ 443198 h 438150"/>
                      <a:gd name="connsiteX9" fmla="*/ 1195292 w 1190625"/>
                      <a:gd name="connsiteY9" fmla="*/ 406813 h 438150"/>
                      <a:gd name="connsiteX10" fmla="*/ 14478 w 1190625"/>
                      <a:gd name="connsiteY10" fmla="*/ 0 h 438150"/>
                      <a:gd name="connsiteX11" fmla="*/ 13430 w 1190625"/>
                      <a:gd name="connsiteY11" fmla="*/ 667 h 4381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</a:cxnLst>
                    <a:rect l="l" t="t" r="r" b="b"/>
                    <a:pathLst>
                      <a:path w="1190625" h="438150">
                        <a:moveTo>
                          <a:pt x="13430" y="667"/>
                        </a:moveTo>
                        <a:cubicBezTo>
                          <a:pt x="12573" y="2476"/>
                          <a:pt x="12859" y="4667"/>
                          <a:pt x="14192" y="6287"/>
                        </a:cubicBezTo>
                        <a:lnTo>
                          <a:pt x="25527" y="19526"/>
                        </a:lnTo>
                        <a:cubicBezTo>
                          <a:pt x="26765" y="20860"/>
                          <a:pt x="27146" y="22765"/>
                          <a:pt x="26479" y="24479"/>
                        </a:cubicBezTo>
                        <a:cubicBezTo>
                          <a:pt x="25908" y="26194"/>
                          <a:pt x="24384" y="27432"/>
                          <a:pt x="22574" y="27813"/>
                        </a:cubicBezTo>
                        <a:lnTo>
                          <a:pt x="4001" y="31528"/>
                        </a:lnTo>
                        <a:cubicBezTo>
                          <a:pt x="2096" y="31909"/>
                          <a:pt x="571" y="33338"/>
                          <a:pt x="0" y="35242"/>
                        </a:cubicBezTo>
                        <a:cubicBezTo>
                          <a:pt x="0" y="35433"/>
                          <a:pt x="190" y="35623"/>
                          <a:pt x="190" y="35814"/>
                        </a:cubicBezTo>
                        <a:lnTo>
                          <a:pt x="1182719" y="443198"/>
                        </a:lnTo>
                        <a:lnTo>
                          <a:pt x="1195292" y="406813"/>
                        </a:lnTo>
                        <a:lnTo>
                          <a:pt x="14478" y="0"/>
                        </a:lnTo>
                        <a:cubicBezTo>
                          <a:pt x="14192" y="381"/>
                          <a:pt x="13621" y="286"/>
                          <a:pt x="13430" y="667"/>
                        </a:cubicBezTo>
                        <a:close/>
                      </a:path>
                    </a:pathLst>
                  </a:custGeom>
                  <a:solidFill>
                    <a:schemeClr val="accent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904" name="Freeform: Shape 1903">
                    <a:extLst>
                      <a:ext uri="{FF2B5EF4-FFF2-40B4-BE49-F238E27FC236}">
                        <a16:creationId xmlns:a16="http://schemas.microsoft.com/office/drawing/2014/main" id="{8E8AF185-D346-4BDD-82B1-8A9AD41D88C6}"/>
                      </a:ext>
                    </a:extLst>
                  </p:cNvPr>
                  <p:cNvSpPr/>
                  <p:nvPr/>
                </p:nvSpPr>
                <p:spPr>
                  <a:xfrm>
                    <a:off x="17987928" y="5656795"/>
                    <a:ext cx="47625" cy="95250"/>
                  </a:xfrm>
                  <a:custGeom>
                    <a:avLst/>
                    <a:gdLst>
                      <a:gd name="connsiteX0" fmla="*/ 40026 w 47625"/>
                      <a:gd name="connsiteY0" fmla="*/ 412 h 95250"/>
                      <a:gd name="connsiteX1" fmla="*/ 30501 w 47625"/>
                      <a:gd name="connsiteY1" fmla="*/ 4984 h 95250"/>
                      <a:gd name="connsiteX2" fmla="*/ 29453 w 47625"/>
                      <a:gd name="connsiteY2" fmla="*/ 8127 h 95250"/>
                      <a:gd name="connsiteX3" fmla="*/ 21738 w 47625"/>
                      <a:gd name="connsiteY3" fmla="*/ 30511 h 95250"/>
                      <a:gd name="connsiteX4" fmla="*/ 9165 w 47625"/>
                      <a:gd name="connsiteY4" fmla="*/ 66897 h 95250"/>
                      <a:gd name="connsiteX5" fmla="*/ 1449 w 47625"/>
                      <a:gd name="connsiteY5" fmla="*/ 89281 h 95250"/>
                      <a:gd name="connsiteX6" fmla="*/ 402 w 47625"/>
                      <a:gd name="connsiteY6" fmla="*/ 92424 h 95250"/>
                      <a:gd name="connsiteX7" fmla="*/ 5069 w 47625"/>
                      <a:gd name="connsiteY7" fmla="*/ 101853 h 95250"/>
                      <a:gd name="connsiteX8" fmla="*/ 12880 w 47625"/>
                      <a:gd name="connsiteY8" fmla="*/ 104520 h 95250"/>
                      <a:gd name="connsiteX9" fmla="*/ 47836 w 47625"/>
                      <a:gd name="connsiteY9" fmla="*/ 2889 h 95250"/>
                      <a:gd name="connsiteX10" fmla="*/ 40026 w 47625"/>
                      <a:gd name="connsiteY10" fmla="*/ 412 h 952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47625" h="95250">
                        <a:moveTo>
                          <a:pt x="40026" y="412"/>
                        </a:moveTo>
                        <a:cubicBezTo>
                          <a:pt x="36121" y="-921"/>
                          <a:pt x="31834" y="1079"/>
                          <a:pt x="30501" y="4984"/>
                        </a:cubicBezTo>
                        <a:lnTo>
                          <a:pt x="29453" y="8127"/>
                        </a:lnTo>
                        <a:lnTo>
                          <a:pt x="21738" y="30511"/>
                        </a:lnTo>
                        <a:lnTo>
                          <a:pt x="9165" y="66897"/>
                        </a:lnTo>
                        <a:lnTo>
                          <a:pt x="1449" y="89281"/>
                        </a:lnTo>
                        <a:lnTo>
                          <a:pt x="402" y="92424"/>
                        </a:lnTo>
                        <a:cubicBezTo>
                          <a:pt x="-932" y="96329"/>
                          <a:pt x="1164" y="100520"/>
                          <a:pt x="5069" y="101853"/>
                        </a:cubicBezTo>
                        <a:lnTo>
                          <a:pt x="12880" y="104520"/>
                        </a:lnTo>
                        <a:lnTo>
                          <a:pt x="47836" y="2889"/>
                        </a:lnTo>
                        <a:lnTo>
                          <a:pt x="40026" y="412"/>
                        </a:lnTo>
                        <a:close/>
                      </a:path>
                    </a:pathLst>
                  </a:custGeom>
                  <a:solidFill>
                    <a:srgbClr val="DFD5DC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905" name="Freeform: Shape 1904">
                    <a:extLst>
                      <a:ext uri="{FF2B5EF4-FFF2-40B4-BE49-F238E27FC236}">
                        <a16:creationId xmlns:a16="http://schemas.microsoft.com/office/drawing/2014/main" id="{E73CDC87-51A8-4393-BD06-5BE73F7202DC}"/>
                      </a:ext>
                    </a:extLst>
                  </p:cNvPr>
                  <p:cNvSpPr/>
                  <p:nvPr/>
                </p:nvSpPr>
                <p:spPr>
                  <a:xfrm>
                    <a:off x="18059482" y="5680258"/>
                    <a:ext cx="47625" cy="95250"/>
                  </a:xfrm>
                  <a:custGeom>
                    <a:avLst/>
                    <a:gdLst>
                      <a:gd name="connsiteX0" fmla="*/ 17336 w 47625"/>
                      <a:gd name="connsiteY0" fmla="*/ 99536 h 95250"/>
                      <a:gd name="connsiteX1" fmla="*/ 18384 w 47625"/>
                      <a:gd name="connsiteY1" fmla="*/ 96393 h 95250"/>
                      <a:gd name="connsiteX2" fmla="*/ 46387 w 47625"/>
                      <a:gd name="connsiteY2" fmla="*/ 15240 h 95250"/>
                      <a:gd name="connsiteX3" fmla="*/ 47435 w 47625"/>
                      <a:gd name="connsiteY3" fmla="*/ 12097 h 95250"/>
                      <a:gd name="connsiteX4" fmla="*/ 42768 w 47625"/>
                      <a:gd name="connsiteY4" fmla="*/ 2667 h 95250"/>
                      <a:gd name="connsiteX5" fmla="*/ 34957 w 47625"/>
                      <a:gd name="connsiteY5" fmla="*/ 0 h 95250"/>
                      <a:gd name="connsiteX6" fmla="*/ 0 w 47625"/>
                      <a:gd name="connsiteY6" fmla="*/ 101632 h 95250"/>
                      <a:gd name="connsiteX7" fmla="*/ 7811 w 47625"/>
                      <a:gd name="connsiteY7" fmla="*/ 104299 h 95250"/>
                      <a:gd name="connsiteX8" fmla="*/ 17336 w 47625"/>
                      <a:gd name="connsiteY8" fmla="*/ 99536 h 952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7625" h="95250">
                        <a:moveTo>
                          <a:pt x="17336" y="99536"/>
                        </a:moveTo>
                        <a:lnTo>
                          <a:pt x="18384" y="96393"/>
                        </a:lnTo>
                        <a:lnTo>
                          <a:pt x="46387" y="15240"/>
                        </a:lnTo>
                        <a:lnTo>
                          <a:pt x="47435" y="12097"/>
                        </a:lnTo>
                        <a:cubicBezTo>
                          <a:pt x="48769" y="8191"/>
                          <a:pt x="46673" y="4000"/>
                          <a:pt x="42768" y="2667"/>
                        </a:cubicBezTo>
                        <a:lnTo>
                          <a:pt x="34957" y="0"/>
                        </a:lnTo>
                        <a:lnTo>
                          <a:pt x="0" y="101632"/>
                        </a:lnTo>
                        <a:lnTo>
                          <a:pt x="7811" y="104299"/>
                        </a:lnTo>
                        <a:cubicBezTo>
                          <a:pt x="11811" y="105537"/>
                          <a:pt x="16003" y="103441"/>
                          <a:pt x="17336" y="99536"/>
                        </a:cubicBezTo>
                        <a:close/>
                      </a:path>
                    </a:pathLst>
                  </a:custGeom>
                  <a:solidFill>
                    <a:srgbClr val="DFD5DC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906" name="Freeform: Shape 1905">
                    <a:extLst>
                      <a:ext uri="{FF2B5EF4-FFF2-40B4-BE49-F238E27FC236}">
                        <a16:creationId xmlns:a16="http://schemas.microsoft.com/office/drawing/2014/main" id="{9ABF560B-72E7-4C53-99AD-CB0383304A8C}"/>
                      </a:ext>
                    </a:extLst>
                  </p:cNvPr>
                  <p:cNvSpPr/>
                  <p:nvPr/>
                </p:nvSpPr>
                <p:spPr>
                  <a:xfrm>
                    <a:off x="18077960" y="5695498"/>
                    <a:ext cx="76200" cy="95250"/>
                  </a:xfrm>
                  <a:custGeom>
                    <a:avLst/>
                    <a:gdLst>
                      <a:gd name="connsiteX0" fmla="*/ 38291 w 76200"/>
                      <a:gd name="connsiteY0" fmla="*/ 94298 h 95250"/>
                      <a:gd name="connsiteX1" fmla="*/ 69152 w 76200"/>
                      <a:gd name="connsiteY1" fmla="*/ 79248 h 95250"/>
                      <a:gd name="connsiteX2" fmla="*/ 81344 w 76200"/>
                      <a:gd name="connsiteY2" fmla="*/ 44006 h 95250"/>
                      <a:gd name="connsiteX3" fmla="*/ 66294 w 76200"/>
                      <a:gd name="connsiteY3" fmla="*/ 13145 h 95250"/>
                      <a:gd name="connsiteX4" fmla="*/ 28004 w 76200"/>
                      <a:gd name="connsiteY4" fmla="*/ 0 h 95250"/>
                      <a:gd name="connsiteX5" fmla="*/ 0 w 76200"/>
                      <a:gd name="connsiteY5" fmla="*/ 81153 h 95250"/>
                      <a:gd name="connsiteX6" fmla="*/ 38291 w 76200"/>
                      <a:gd name="connsiteY6" fmla="*/ 94298 h 952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6200" h="95250">
                        <a:moveTo>
                          <a:pt x="38291" y="94298"/>
                        </a:moveTo>
                        <a:cubicBezTo>
                          <a:pt x="50959" y="98679"/>
                          <a:pt x="64770" y="91916"/>
                          <a:pt x="69152" y="79248"/>
                        </a:cubicBezTo>
                        <a:lnTo>
                          <a:pt x="81344" y="44006"/>
                        </a:lnTo>
                        <a:cubicBezTo>
                          <a:pt x="85725" y="31337"/>
                          <a:pt x="78963" y="17526"/>
                          <a:pt x="66294" y="13145"/>
                        </a:cubicBezTo>
                        <a:lnTo>
                          <a:pt x="28004" y="0"/>
                        </a:lnTo>
                        <a:lnTo>
                          <a:pt x="0" y="81153"/>
                        </a:lnTo>
                        <a:lnTo>
                          <a:pt x="38291" y="94298"/>
                        </a:lnTo>
                        <a:close/>
                      </a:path>
                    </a:pathLst>
                  </a:custGeom>
                  <a:solidFill>
                    <a:srgbClr val="E8626C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907" name="Freeform: Shape 1906">
                    <a:extLst>
                      <a:ext uri="{FF2B5EF4-FFF2-40B4-BE49-F238E27FC236}">
                        <a16:creationId xmlns:a16="http://schemas.microsoft.com/office/drawing/2014/main" id="{8C72A486-3A95-4DFE-9E9C-0F934CB1CA20}"/>
                      </a:ext>
                    </a:extLst>
                  </p:cNvPr>
                  <p:cNvSpPr/>
                  <p:nvPr/>
                </p:nvSpPr>
                <p:spPr>
                  <a:xfrm>
                    <a:off x="18000824" y="5659553"/>
                    <a:ext cx="85725" cy="114300"/>
                  </a:xfrm>
                  <a:custGeom>
                    <a:avLst/>
                    <a:gdLst>
                      <a:gd name="connsiteX0" fmla="*/ 0 w 85725"/>
                      <a:gd name="connsiteY0" fmla="*/ 101586 h 114300"/>
                      <a:gd name="connsiteX1" fmla="*/ 34994 w 85725"/>
                      <a:gd name="connsiteY1" fmla="*/ 0 h 114300"/>
                      <a:gd name="connsiteX2" fmla="*/ 93712 w 85725"/>
                      <a:gd name="connsiteY2" fmla="*/ 20226 h 114300"/>
                      <a:gd name="connsiteX3" fmla="*/ 58718 w 85725"/>
                      <a:gd name="connsiteY3" fmla="*/ 121813 h 1143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85725" h="114300">
                        <a:moveTo>
                          <a:pt x="0" y="101586"/>
                        </a:moveTo>
                        <a:lnTo>
                          <a:pt x="34994" y="0"/>
                        </a:lnTo>
                        <a:lnTo>
                          <a:pt x="93712" y="20226"/>
                        </a:lnTo>
                        <a:lnTo>
                          <a:pt x="58718" y="121813"/>
                        </a:lnTo>
                        <a:close/>
                      </a:path>
                    </a:pathLst>
                  </a:custGeom>
                  <a:solidFill>
                    <a:srgbClr val="E9E3E8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908" name="Freeform: Shape 1907">
                    <a:extLst>
                      <a:ext uri="{FF2B5EF4-FFF2-40B4-BE49-F238E27FC236}">
                        <a16:creationId xmlns:a16="http://schemas.microsoft.com/office/drawing/2014/main" id="{E7D33D2D-1A6E-4A2F-9D4C-10D39C4140EB}"/>
                      </a:ext>
                    </a:extLst>
                  </p:cNvPr>
                  <p:cNvSpPr/>
                  <p:nvPr/>
                </p:nvSpPr>
                <p:spPr>
                  <a:xfrm>
                    <a:off x="16652735" y="5242775"/>
                    <a:ext cx="190500" cy="95250"/>
                  </a:xfrm>
                  <a:custGeom>
                    <a:avLst/>
                    <a:gdLst>
                      <a:gd name="connsiteX0" fmla="*/ 174879 w 190500"/>
                      <a:gd name="connsiteY0" fmla="*/ 92964 h 95250"/>
                      <a:gd name="connsiteX1" fmla="*/ 173546 w 190500"/>
                      <a:gd name="connsiteY1" fmla="*/ 87059 h 95250"/>
                      <a:gd name="connsiteX2" fmla="*/ 163354 w 190500"/>
                      <a:gd name="connsiteY2" fmla="*/ 78200 h 95250"/>
                      <a:gd name="connsiteX3" fmla="*/ 161925 w 190500"/>
                      <a:gd name="connsiteY3" fmla="*/ 73533 h 95250"/>
                      <a:gd name="connsiteX4" fmla="*/ 161735 w 190500"/>
                      <a:gd name="connsiteY4" fmla="*/ 72962 h 95250"/>
                      <a:gd name="connsiteX5" fmla="*/ 165735 w 190500"/>
                      <a:gd name="connsiteY5" fmla="*/ 69247 h 95250"/>
                      <a:gd name="connsiteX6" fmla="*/ 184309 w 190500"/>
                      <a:gd name="connsiteY6" fmla="*/ 65532 h 95250"/>
                      <a:gd name="connsiteX7" fmla="*/ 188214 w 190500"/>
                      <a:gd name="connsiteY7" fmla="*/ 62198 h 95250"/>
                      <a:gd name="connsiteX8" fmla="*/ 187262 w 190500"/>
                      <a:gd name="connsiteY8" fmla="*/ 57245 h 95250"/>
                      <a:gd name="connsiteX9" fmla="*/ 175927 w 190500"/>
                      <a:gd name="connsiteY9" fmla="*/ 44006 h 95250"/>
                      <a:gd name="connsiteX10" fmla="*/ 175165 w 190500"/>
                      <a:gd name="connsiteY10" fmla="*/ 38386 h 95250"/>
                      <a:gd name="connsiteX11" fmla="*/ 176213 w 190500"/>
                      <a:gd name="connsiteY11" fmla="*/ 37719 h 95250"/>
                      <a:gd name="connsiteX12" fmla="*/ 180022 w 190500"/>
                      <a:gd name="connsiteY12" fmla="*/ 35528 h 95250"/>
                      <a:gd name="connsiteX13" fmla="*/ 185833 w 190500"/>
                      <a:gd name="connsiteY13" fmla="*/ 35814 h 95250"/>
                      <a:gd name="connsiteX14" fmla="*/ 193548 w 190500"/>
                      <a:gd name="connsiteY14" fmla="*/ 30480 h 95250"/>
                      <a:gd name="connsiteX15" fmla="*/ 190310 w 190500"/>
                      <a:gd name="connsiteY15" fmla="*/ 21622 h 95250"/>
                      <a:gd name="connsiteX16" fmla="*/ 175736 w 190500"/>
                      <a:gd name="connsiteY16" fmla="*/ 12573 h 95250"/>
                      <a:gd name="connsiteX17" fmla="*/ 71533 w 190500"/>
                      <a:gd name="connsiteY17" fmla="*/ 0 h 95250"/>
                      <a:gd name="connsiteX18" fmla="*/ 76105 w 190500"/>
                      <a:gd name="connsiteY18" fmla="*/ 3143 h 95250"/>
                      <a:gd name="connsiteX19" fmla="*/ 78486 w 190500"/>
                      <a:gd name="connsiteY19" fmla="*/ 10192 h 95250"/>
                      <a:gd name="connsiteX20" fmla="*/ 72485 w 190500"/>
                      <a:gd name="connsiteY20" fmla="*/ 14573 h 95250"/>
                      <a:gd name="connsiteX21" fmla="*/ 64675 w 190500"/>
                      <a:gd name="connsiteY21" fmla="*/ 14478 h 95250"/>
                      <a:gd name="connsiteX22" fmla="*/ 58769 w 190500"/>
                      <a:gd name="connsiteY22" fmla="*/ 18383 h 95250"/>
                      <a:gd name="connsiteX23" fmla="*/ 60103 w 190500"/>
                      <a:gd name="connsiteY23" fmla="*/ 25241 h 95250"/>
                      <a:gd name="connsiteX24" fmla="*/ 67532 w 190500"/>
                      <a:gd name="connsiteY24" fmla="*/ 32671 h 95250"/>
                      <a:gd name="connsiteX25" fmla="*/ 68199 w 190500"/>
                      <a:gd name="connsiteY25" fmla="*/ 36481 h 95250"/>
                      <a:gd name="connsiteX26" fmla="*/ 64865 w 190500"/>
                      <a:gd name="connsiteY26" fmla="*/ 38386 h 95250"/>
                      <a:gd name="connsiteX27" fmla="*/ 54483 w 190500"/>
                      <a:gd name="connsiteY27" fmla="*/ 37338 h 95250"/>
                      <a:gd name="connsiteX28" fmla="*/ 0 w 190500"/>
                      <a:gd name="connsiteY28" fmla="*/ 4382 h 95250"/>
                      <a:gd name="connsiteX29" fmla="*/ 147733 w 190500"/>
                      <a:gd name="connsiteY29" fmla="*/ 93631 h 95250"/>
                      <a:gd name="connsiteX30" fmla="*/ 169736 w 190500"/>
                      <a:gd name="connsiteY30" fmla="*/ 95917 h 95250"/>
                      <a:gd name="connsiteX31" fmla="*/ 174879 w 190500"/>
                      <a:gd name="connsiteY31" fmla="*/ 92964 h 952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</a:cxnLst>
                    <a:rect l="l" t="t" r="r" b="b"/>
                    <a:pathLst>
                      <a:path w="190500" h="95250">
                        <a:moveTo>
                          <a:pt x="174879" y="92964"/>
                        </a:moveTo>
                        <a:cubicBezTo>
                          <a:pt x="175736" y="90869"/>
                          <a:pt x="175260" y="88487"/>
                          <a:pt x="173546" y="87059"/>
                        </a:cubicBezTo>
                        <a:lnTo>
                          <a:pt x="163354" y="78200"/>
                        </a:lnTo>
                        <a:cubicBezTo>
                          <a:pt x="162020" y="77058"/>
                          <a:pt x="161639" y="75248"/>
                          <a:pt x="161925" y="73533"/>
                        </a:cubicBezTo>
                        <a:cubicBezTo>
                          <a:pt x="161925" y="73343"/>
                          <a:pt x="161735" y="73152"/>
                          <a:pt x="161735" y="72962"/>
                        </a:cubicBezTo>
                        <a:cubicBezTo>
                          <a:pt x="162211" y="71057"/>
                          <a:pt x="163830" y="69628"/>
                          <a:pt x="165735" y="69247"/>
                        </a:cubicBezTo>
                        <a:lnTo>
                          <a:pt x="184309" y="65532"/>
                        </a:lnTo>
                        <a:cubicBezTo>
                          <a:pt x="186119" y="65151"/>
                          <a:pt x="187547" y="63913"/>
                          <a:pt x="188214" y="62198"/>
                        </a:cubicBezTo>
                        <a:cubicBezTo>
                          <a:pt x="188786" y="60484"/>
                          <a:pt x="188404" y="58579"/>
                          <a:pt x="187262" y="57245"/>
                        </a:cubicBezTo>
                        <a:lnTo>
                          <a:pt x="175927" y="44006"/>
                        </a:lnTo>
                        <a:cubicBezTo>
                          <a:pt x="174593" y="42386"/>
                          <a:pt x="174307" y="40196"/>
                          <a:pt x="175165" y="38386"/>
                        </a:cubicBezTo>
                        <a:cubicBezTo>
                          <a:pt x="175355" y="38005"/>
                          <a:pt x="175927" y="38100"/>
                          <a:pt x="176213" y="37719"/>
                        </a:cubicBezTo>
                        <a:cubicBezTo>
                          <a:pt x="177260" y="36576"/>
                          <a:pt x="178403" y="35433"/>
                          <a:pt x="180022" y="35528"/>
                        </a:cubicBezTo>
                        <a:lnTo>
                          <a:pt x="185833" y="35814"/>
                        </a:lnTo>
                        <a:cubicBezTo>
                          <a:pt x="189357" y="36004"/>
                          <a:pt x="192500" y="33814"/>
                          <a:pt x="193548" y="30480"/>
                        </a:cubicBezTo>
                        <a:cubicBezTo>
                          <a:pt x="194596" y="27146"/>
                          <a:pt x="193262" y="23527"/>
                          <a:pt x="190310" y="21622"/>
                        </a:cubicBezTo>
                        <a:lnTo>
                          <a:pt x="175736" y="12573"/>
                        </a:lnTo>
                        <a:lnTo>
                          <a:pt x="71533" y="0"/>
                        </a:lnTo>
                        <a:lnTo>
                          <a:pt x="76105" y="3143"/>
                        </a:lnTo>
                        <a:cubicBezTo>
                          <a:pt x="78391" y="4763"/>
                          <a:pt x="79343" y="7620"/>
                          <a:pt x="78486" y="10192"/>
                        </a:cubicBezTo>
                        <a:cubicBezTo>
                          <a:pt x="77629" y="12764"/>
                          <a:pt x="75247" y="14573"/>
                          <a:pt x="72485" y="14573"/>
                        </a:cubicBezTo>
                        <a:lnTo>
                          <a:pt x="64675" y="14478"/>
                        </a:lnTo>
                        <a:cubicBezTo>
                          <a:pt x="62103" y="14478"/>
                          <a:pt x="59817" y="16002"/>
                          <a:pt x="58769" y="18383"/>
                        </a:cubicBezTo>
                        <a:cubicBezTo>
                          <a:pt x="57817" y="20765"/>
                          <a:pt x="58293" y="23432"/>
                          <a:pt x="60103" y="25241"/>
                        </a:cubicBezTo>
                        <a:lnTo>
                          <a:pt x="67532" y="32671"/>
                        </a:lnTo>
                        <a:cubicBezTo>
                          <a:pt x="68580" y="33719"/>
                          <a:pt x="68771" y="35243"/>
                          <a:pt x="68199" y="36481"/>
                        </a:cubicBezTo>
                        <a:cubicBezTo>
                          <a:pt x="67628" y="37719"/>
                          <a:pt x="66294" y="38481"/>
                          <a:pt x="64865" y="38386"/>
                        </a:cubicBezTo>
                        <a:lnTo>
                          <a:pt x="54483" y="37338"/>
                        </a:lnTo>
                        <a:lnTo>
                          <a:pt x="0" y="4382"/>
                        </a:lnTo>
                        <a:lnTo>
                          <a:pt x="147733" y="93631"/>
                        </a:lnTo>
                        <a:lnTo>
                          <a:pt x="169736" y="95917"/>
                        </a:lnTo>
                        <a:cubicBezTo>
                          <a:pt x="171926" y="96203"/>
                          <a:pt x="174022" y="94964"/>
                          <a:pt x="174879" y="92964"/>
                        </a:cubicBezTo>
                        <a:close/>
                      </a:path>
                    </a:pathLst>
                  </a:custGeom>
                  <a:solidFill>
                    <a:srgbClr val="E1B887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909" name="Freeform: Shape 1908">
                    <a:extLst>
                      <a:ext uri="{FF2B5EF4-FFF2-40B4-BE49-F238E27FC236}">
                        <a16:creationId xmlns:a16="http://schemas.microsoft.com/office/drawing/2014/main" id="{6008C36F-3B8D-4129-BFA6-B72FBAC010CE}"/>
                      </a:ext>
                    </a:extLst>
                  </p:cNvPr>
                  <p:cNvSpPr/>
                  <p:nvPr/>
                </p:nvSpPr>
                <p:spPr>
                  <a:xfrm>
                    <a:off x="16648679" y="5234603"/>
                    <a:ext cx="76200" cy="38100"/>
                  </a:xfrm>
                  <a:custGeom>
                    <a:avLst/>
                    <a:gdLst>
                      <a:gd name="connsiteX0" fmla="*/ 68731 w 76200"/>
                      <a:gd name="connsiteY0" fmla="*/ 46557 h 38100"/>
                      <a:gd name="connsiteX1" fmla="*/ 72064 w 76200"/>
                      <a:gd name="connsiteY1" fmla="*/ 44653 h 38100"/>
                      <a:gd name="connsiteX2" fmla="*/ 71398 w 76200"/>
                      <a:gd name="connsiteY2" fmla="*/ 40843 h 38100"/>
                      <a:gd name="connsiteX3" fmla="*/ 63968 w 76200"/>
                      <a:gd name="connsiteY3" fmla="*/ 33413 h 38100"/>
                      <a:gd name="connsiteX4" fmla="*/ 62634 w 76200"/>
                      <a:gd name="connsiteY4" fmla="*/ 26555 h 38100"/>
                      <a:gd name="connsiteX5" fmla="*/ 68540 w 76200"/>
                      <a:gd name="connsiteY5" fmla="*/ 22650 h 38100"/>
                      <a:gd name="connsiteX6" fmla="*/ 76350 w 76200"/>
                      <a:gd name="connsiteY6" fmla="*/ 22745 h 38100"/>
                      <a:gd name="connsiteX7" fmla="*/ 82351 w 76200"/>
                      <a:gd name="connsiteY7" fmla="*/ 18364 h 38100"/>
                      <a:gd name="connsiteX8" fmla="*/ 79970 w 76200"/>
                      <a:gd name="connsiteY8" fmla="*/ 11315 h 38100"/>
                      <a:gd name="connsiteX9" fmla="*/ 75398 w 76200"/>
                      <a:gd name="connsiteY9" fmla="*/ 8172 h 38100"/>
                      <a:gd name="connsiteX10" fmla="*/ 75398 w 76200"/>
                      <a:gd name="connsiteY10" fmla="*/ 8172 h 38100"/>
                      <a:gd name="connsiteX11" fmla="*/ 8151 w 76200"/>
                      <a:gd name="connsiteY11" fmla="*/ 76 h 38100"/>
                      <a:gd name="connsiteX12" fmla="*/ 341 w 76200"/>
                      <a:gd name="connsiteY12" fmla="*/ 4457 h 38100"/>
                      <a:gd name="connsiteX13" fmla="*/ 3770 w 76200"/>
                      <a:gd name="connsiteY13" fmla="*/ 12648 h 38100"/>
                      <a:gd name="connsiteX14" fmla="*/ 58253 w 76200"/>
                      <a:gd name="connsiteY14" fmla="*/ 45605 h 38100"/>
                      <a:gd name="connsiteX15" fmla="*/ 68731 w 76200"/>
                      <a:gd name="connsiteY15" fmla="*/ 46557 h 381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</a:cxnLst>
                    <a:rect l="l" t="t" r="r" b="b"/>
                    <a:pathLst>
                      <a:path w="76200" h="38100">
                        <a:moveTo>
                          <a:pt x="68731" y="46557"/>
                        </a:moveTo>
                        <a:cubicBezTo>
                          <a:pt x="70159" y="46748"/>
                          <a:pt x="71493" y="45986"/>
                          <a:pt x="72064" y="44653"/>
                        </a:cubicBezTo>
                        <a:cubicBezTo>
                          <a:pt x="72636" y="43414"/>
                          <a:pt x="72445" y="41890"/>
                          <a:pt x="71398" y="40843"/>
                        </a:cubicBezTo>
                        <a:lnTo>
                          <a:pt x="63968" y="33413"/>
                        </a:lnTo>
                        <a:cubicBezTo>
                          <a:pt x="62158" y="31603"/>
                          <a:pt x="61682" y="28841"/>
                          <a:pt x="62634" y="26555"/>
                        </a:cubicBezTo>
                        <a:cubicBezTo>
                          <a:pt x="63682" y="24174"/>
                          <a:pt x="65968" y="22650"/>
                          <a:pt x="68540" y="22650"/>
                        </a:cubicBezTo>
                        <a:lnTo>
                          <a:pt x="76350" y="22745"/>
                        </a:lnTo>
                        <a:cubicBezTo>
                          <a:pt x="79113" y="22745"/>
                          <a:pt x="81494" y="21031"/>
                          <a:pt x="82351" y="18364"/>
                        </a:cubicBezTo>
                        <a:cubicBezTo>
                          <a:pt x="83208" y="15697"/>
                          <a:pt x="82256" y="12839"/>
                          <a:pt x="79970" y="11315"/>
                        </a:cubicBezTo>
                        <a:lnTo>
                          <a:pt x="75398" y="8172"/>
                        </a:lnTo>
                        <a:lnTo>
                          <a:pt x="75398" y="8172"/>
                        </a:lnTo>
                        <a:lnTo>
                          <a:pt x="8151" y="76"/>
                        </a:lnTo>
                        <a:cubicBezTo>
                          <a:pt x="4627" y="-401"/>
                          <a:pt x="1389" y="1409"/>
                          <a:pt x="341" y="4457"/>
                        </a:cubicBezTo>
                        <a:cubicBezTo>
                          <a:pt x="-707" y="7505"/>
                          <a:pt x="722" y="10839"/>
                          <a:pt x="3770" y="12648"/>
                        </a:cubicBezTo>
                        <a:lnTo>
                          <a:pt x="58253" y="45605"/>
                        </a:lnTo>
                        <a:lnTo>
                          <a:pt x="68731" y="46557"/>
                        </a:lnTo>
                        <a:close/>
                      </a:path>
                    </a:pathLst>
                  </a:custGeom>
                  <a:solidFill>
                    <a:schemeClr val="accent4">
                      <a:lumMod val="50000"/>
                    </a:schemeClr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911" name="Freeform: Shape 1910">
                    <a:extLst>
                      <a:ext uri="{FF2B5EF4-FFF2-40B4-BE49-F238E27FC236}">
                        <a16:creationId xmlns:a16="http://schemas.microsoft.com/office/drawing/2014/main" id="{2B9A7CBA-705D-4D0D-8E34-D6F3D6A4E661}"/>
                      </a:ext>
                    </a:extLst>
                  </p:cNvPr>
                  <p:cNvSpPr/>
                  <p:nvPr/>
                </p:nvSpPr>
                <p:spPr>
                  <a:xfrm>
                    <a:off x="14996528" y="4179667"/>
                    <a:ext cx="57150" cy="38100"/>
                  </a:xfrm>
                  <a:custGeom>
                    <a:avLst/>
                    <a:gdLst>
                      <a:gd name="connsiteX0" fmla="*/ 63437 w 57150"/>
                      <a:gd name="connsiteY0" fmla="*/ 11357 h 38100"/>
                      <a:gd name="connsiteX1" fmla="*/ 65532 w 57150"/>
                      <a:gd name="connsiteY1" fmla="*/ 3451 h 38100"/>
                      <a:gd name="connsiteX2" fmla="*/ 58007 w 57150"/>
                      <a:gd name="connsiteY2" fmla="*/ 213 h 38100"/>
                      <a:gd name="connsiteX3" fmla="*/ 0 w 57150"/>
                      <a:gd name="connsiteY3" fmla="*/ 17644 h 38100"/>
                      <a:gd name="connsiteX4" fmla="*/ 13907 w 57150"/>
                      <a:gd name="connsiteY4" fmla="*/ 46314 h 38100"/>
                      <a:gd name="connsiteX5" fmla="*/ 63437 w 57150"/>
                      <a:gd name="connsiteY5" fmla="*/ 11357 h 381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57150" h="38100">
                        <a:moveTo>
                          <a:pt x="63437" y="11357"/>
                        </a:moveTo>
                        <a:cubicBezTo>
                          <a:pt x="65818" y="9547"/>
                          <a:pt x="66770" y="6118"/>
                          <a:pt x="65532" y="3451"/>
                        </a:cubicBezTo>
                        <a:cubicBezTo>
                          <a:pt x="64199" y="784"/>
                          <a:pt x="60960" y="-549"/>
                          <a:pt x="58007" y="213"/>
                        </a:cubicBezTo>
                        <a:lnTo>
                          <a:pt x="0" y="17644"/>
                        </a:lnTo>
                        <a:lnTo>
                          <a:pt x="13907" y="46314"/>
                        </a:lnTo>
                        <a:lnTo>
                          <a:pt x="63437" y="11357"/>
                        </a:lnTo>
                        <a:close/>
                      </a:path>
                    </a:pathLst>
                  </a:custGeom>
                  <a:solidFill>
                    <a:schemeClr val="tx1">
                      <a:lumMod val="50000"/>
                      <a:lumOff val="50000"/>
                    </a:schemeClr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912" name="Freeform: Shape 1911">
                    <a:extLst>
                      <a:ext uri="{FF2B5EF4-FFF2-40B4-BE49-F238E27FC236}">
                        <a16:creationId xmlns:a16="http://schemas.microsoft.com/office/drawing/2014/main" id="{DEFE6DAA-A12D-4395-9ED2-EAB90CA684C0}"/>
                      </a:ext>
                    </a:extLst>
                  </p:cNvPr>
                  <p:cNvSpPr/>
                  <p:nvPr/>
                </p:nvSpPr>
                <p:spPr>
                  <a:xfrm>
                    <a:off x="14176902" y="4201121"/>
                    <a:ext cx="800100" cy="457200"/>
                  </a:xfrm>
                  <a:custGeom>
                    <a:avLst/>
                    <a:gdLst>
                      <a:gd name="connsiteX0" fmla="*/ 199930 w 800100"/>
                      <a:gd name="connsiteY0" fmla="*/ 398240 h 457200"/>
                      <a:gd name="connsiteX1" fmla="*/ 317278 w 800100"/>
                      <a:gd name="connsiteY1" fmla="*/ 336899 h 457200"/>
                      <a:gd name="connsiteX2" fmla="*/ 430339 w 800100"/>
                      <a:gd name="connsiteY2" fmla="*/ 276035 h 457200"/>
                      <a:gd name="connsiteX3" fmla="*/ 535400 w 800100"/>
                      <a:gd name="connsiteY3" fmla="*/ 217741 h 457200"/>
                      <a:gd name="connsiteX4" fmla="*/ 628936 w 800100"/>
                      <a:gd name="connsiteY4" fmla="*/ 164021 h 457200"/>
                      <a:gd name="connsiteX5" fmla="*/ 767334 w 800100"/>
                      <a:gd name="connsiteY5" fmla="*/ 81058 h 457200"/>
                      <a:gd name="connsiteX6" fmla="*/ 801052 w 800100"/>
                      <a:gd name="connsiteY6" fmla="*/ 59436 h 457200"/>
                      <a:gd name="connsiteX7" fmla="*/ 772192 w 800100"/>
                      <a:gd name="connsiteY7" fmla="*/ 0 h 457200"/>
                      <a:gd name="connsiteX8" fmla="*/ 734377 w 800100"/>
                      <a:gd name="connsiteY8" fmla="*/ 13145 h 457200"/>
                      <a:gd name="connsiteX9" fmla="*/ 583597 w 800100"/>
                      <a:gd name="connsiteY9" fmla="*/ 70675 h 457200"/>
                      <a:gd name="connsiteX10" fmla="*/ 483584 w 800100"/>
                      <a:gd name="connsiteY10" fmla="*/ 111062 h 457200"/>
                      <a:gd name="connsiteX11" fmla="*/ 372809 w 800100"/>
                      <a:gd name="connsiteY11" fmla="*/ 157639 h 457200"/>
                      <a:gd name="connsiteX12" fmla="*/ 255079 w 800100"/>
                      <a:gd name="connsiteY12" fmla="*/ 208979 h 457200"/>
                      <a:gd name="connsiteX13" fmla="*/ 134302 w 800100"/>
                      <a:gd name="connsiteY13" fmla="*/ 263366 h 457200"/>
                      <a:gd name="connsiteX14" fmla="*/ 0 w 800100"/>
                      <a:gd name="connsiteY14" fmla="*/ 325660 h 457200"/>
                      <a:gd name="connsiteX15" fmla="*/ 67818 w 800100"/>
                      <a:gd name="connsiteY15" fmla="*/ 465201 h 457200"/>
                      <a:gd name="connsiteX16" fmla="*/ 199930 w 800100"/>
                      <a:gd name="connsiteY16" fmla="*/ 398240 h 457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</a:cxnLst>
                    <a:rect l="l" t="t" r="r" b="b"/>
                    <a:pathLst>
                      <a:path w="800100" h="457200">
                        <a:moveTo>
                          <a:pt x="199930" y="398240"/>
                        </a:moveTo>
                        <a:cubicBezTo>
                          <a:pt x="239459" y="377762"/>
                          <a:pt x="278606" y="357092"/>
                          <a:pt x="317278" y="336899"/>
                        </a:cubicBezTo>
                        <a:cubicBezTo>
                          <a:pt x="355854" y="316516"/>
                          <a:pt x="394049" y="296418"/>
                          <a:pt x="430339" y="276035"/>
                        </a:cubicBezTo>
                        <a:cubicBezTo>
                          <a:pt x="466725" y="255746"/>
                          <a:pt x="502348" y="236696"/>
                          <a:pt x="535400" y="217741"/>
                        </a:cubicBezTo>
                        <a:cubicBezTo>
                          <a:pt x="568452" y="198691"/>
                          <a:pt x="599980" y="180689"/>
                          <a:pt x="628936" y="164021"/>
                        </a:cubicBezTo>
                        <a:cubicBezTo>
                          <a:pt x="686467" y="130493"/>
                          <a:pt x="734377" y="101727"/>
                          <a:pt x="767334" y="81058"/>
                        </a:cubicBezTo>
                        <a:cubicBezTo>
                          <a:pt x="781431" y="72295"/>
                          <a:pt x="792575" y="64865"/>
                          <a:pt x="801052" y="59436"/>
                        </a:cubicBezTo>
                        <a:lnTo>
                          <a:pt x="772192" y="0"/>
                        </a:lnTo>
                        <a:cubicBezTo>
                          <a:pt x="762667" y="3334"/>
                          <a:pt x="749998" y="7525"/>
                          <a:pt x="734377" y="13145"/>
                        </a:cubicBezTo>
                        <a:cubicBezTo>
                          <a:pt x="697801" y="26289"/>
                          <a:pt x="645509" y="46196"/>
                          <a:pt x="583597" y="70675"/>
                        </a:cubicBezTo>
                        <a:cubicBezTo>
                          <a:pt x="552545" y="83153"/>
                          <a:pt x="518922" y="96869"/>
                          <a:pt x="483584" y="111062"/>
                        </a:cubicBezTo>
                        <a:cubicBezTo>
                          <a:pt x="448246" y="125349"/>
                          <a:pt x="411194" y="141637"/>
                          <a:pt x="372809" y="157639"/>
                        </a:cubicBezTo>
                        <a:cubicBezTo>
                          <a:pt x="334423" y="173641"/>
                          <a:pt x="294989" y="191167"/>
                          <a:pt x="255079" y="208979"/>
                        </a:cubicBezTo>
                        <a:cubicBezTo>
                          <a:pt x="215360" y="226981"/>
                          <a:pt x="174879" y="244983"/>
                          <a:pt x="134302" y="263366"/>
                        </a:cubicBezTo>
                        <a:cubicBezTo>
                          <a:pt x="89249" y="284702"/>
                          <a:pt x="44101" y="305276"/>
                          <a:pt x="0" y="325660"/>
                        </a:cubicBezTo>
                        <a:lnTo>
                          <a:pt x="67818" y="465201"/>
                        </a:lnTo>
                        <a:cubicBezTo>
                          <a:pt x="111252" y="443294"/>
                          <a:pt x="155353" y="420529"/>
                          <a:pt x="199930" y="398240"/>
                        </a:cubicBezTo>
                        <a:close/>
                      </a:path>
                    </a:pathLst>
                  </a:custGeom>
                  <a:solidFill>
                    <a:schemeClr val="accent2">
                      <a:lumMod val="50000"/>
                    </a:schemeClr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913" name="Freeform: Shape 1912">
                    <a:extLst>
                      <a:ext uri="{FF2B5EF4-FFF2-40B4-BE49-F238E27FC236}">
                        <a16:creationId xmlns:a16="http://schemas.microsoft.com/office/drawing/2014/main" id="{62CD3324-5F34-4DC9-A18B-07F26B9175F0}"/>
                      </a:ext>
                    </a:extLst>
                  </p:cNvPr>
                  <p:cNvSpPr/>
                  <p:nvPr/>
                </p:nvSpPr>
                <p:spPr>
                  <a:xfrm>
                    <a:off x="14124609" y="4526876"/>
                    <a:ext cx="114300" cy="161925"/>
                  </a:xfrm>
                  <a:custGeom>
                    <a:avLst/>
                    <a:gdLst>
                      <a:gd name="connsiteX0" fmla="*/ 120205 w 114300"/>
                      <a:gd name="connsiteY0" fmla="*/ 139541 h 161925"/>
                      <a:gd name="connsiteX1" fmla="*/ 52388 w 114300"/>
                      <a:gd name="connsiteY1" fmla="*/ 0 h 161925"/>
                      <a:gd name="connsiteX2" fmla="*/ 0 w 114300"/>
                      <a:gd name="connsiteY2" fmla="*/ 24479 h 161925"/>
                      <a:gd name="connsiteX3" fmla="*/ 68580 w 114300"/>
                      <a:gd name="connsiteY3" fmla="*/ 165640 h 161925"/>
                      <a:gd name="connsiteX4" fmla="*/ 120205 w 114300"/>
                      <a:gd name="connsiteY4" fmla="*/ 139541 h 1619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14300" h="161925">
                        <a:moveTo>
                          <a:pt x="120205" y="139541"/>
                        </a:moveTo>
                        <a:lnTo>
                          <a:pt x="52388" y="0"/>
                        </a:lnTo>
                        <a:cubicBezTo>
                          <a:pt x="34766" y="8287"/>
                          <a:pt x="17335" y="16383"/>
                          <a:pt x="0" y="24479"/>
                        </a:cubicBezTo>
                        <a:lnTo>
                          <a:pt x="68580" y="165640"/>
                        </a:lnTo>
                        <a:cubicBezTo>
                          <a:pt x="85725" y="156972"/>
                          <a:pt x="102775" y="148304"/>
                          <a:pt x="120205" y="139541"/>
                        </a:cubicBezTo>
                        <a:close/>
                      </a:path>
                    </a:pathLst>
                  </a:custGeom>
                  <a:solidFill>
                    <a:srgbClr val="E58030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914" name="Freeform: Shape 1913">
                    <a:extLst>
                      <a:ext uri="{FF2B5EF4-FFF2-40B4-BE49-F238E27FC236}">
                        <a16:creationId xmlns:a16="http://schemas.microsoft.com/office/drawing/2014/main" id="{9BCD8661-8520-4B52-B5F9-716E85509329}"/>
                      </a:ext>
                    </a:extLst>
                  </p:cNvPr>
                  <p:cNvSpPr/>
                  <p:nvPr/>
                </p:nvSpPr>
                <p:spPr>
                  <a:xfrm>
                    <a:off x="13669955" y="4796243"/>
                    <a:ext cx="66675" cy="76200"/>
                  </a:xfrm>
                  <a:custGeom>
                    <a:avLst/>
                    <a:gdLst>
                      <a:gd name="connsiteX0" fmla="*/ 16886 w 66675"/>
                      <a:gd name="connsiteY0" fmla="*/ 7810 h 76200"/>
                      <a:gd name="connsiteX1" fmla="*/ 1360 w 66675"/>
                      <a:gd name="connsiteY1" fmla="*/ 52768 h 76200"/>
                      <a:gd name="connsiteX2" fmla="*/ 54033 w 66675"/>
                      <a:gd name="connsiteY2" fmla="*/ 84201 h 76200"/>
                      <a:gd name="connsiteX3" fmla="*/ 66797 w 66675"/>
                      <a:gd name="connsiteY3" fmla="*/ 80677 h 76200"/>
                      <a:gd name="connsiteX4" fmla="*/ 27649 w 66675"/>
                      <a:gd name="connsiteY4" fmla="*/ 0 h 76200"/>
                      <a:gd name="connsiteX5" fmla="*/ 16886 w 66675"/>
                      <a:gd name="connsiteY5" fmla="*/ 7810 h 76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66675" h="76200">
                        <a:moveTo>
                          <a:pt x="16886" y="7810"/>
                        </a:moveTo>
                        <a:cubicBezTo>
                          <a:pt x="3455" y="17907"/>
                          <a:pt x="-3022" y="35623"/>
                          <a:pt x="1360" y="52768"/>
                        </a:cubicBezTo>
                        <a:cubicBezTo>
                          <a:pt x="7170" y="76200"/>
                          <a:pt x="30792" y="90297"/>
                          <a:pt x="54033" y="84201"/>
                        </a:cubicBezTo>
                        <a:cubicBezTo>
                          <a:pt x="54033" y="84201"/>
                          <a:pt x="58415" y="83058"/>
                          <a:pt x="66797" y="80677"/>
                        </a:cubicBezTo>
                        <a:lnTo>
                          <a:pt x="27649" y="0"/>
                        </a:lnTo>
                        <a:cubicBezTo>
                          <a:pt x="20505" y="5143"/>
                          <a:pt x="16886" y="7810"/>
                          <a:pt x="16886" y="7810"/>
                        </a:cubicBezTo>
                        <a:close/>
                      </a:path>
                    </a:pathLst>
                  </a:custGeom>
                  <a:solidFill>
                    <a:srgbClr val="E58030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915" name="Freeform: Shape 1914">
                    <a:extLst>
                      <a:ext uri="{FF2B5EF4-FFF2-40B4-BE49-F238E27FC236}">
                        <a16:creationId xmlns:a16="http://schemas.microsoft.com/office/drawing/2014/main" id="{32C9EBD1-A65D-40CC-8A21-2FE2E0DF8069}"/>
                      </a:ext>
                    </a:extLst>
                  </p:cNvPr>
                  <p:cNvSpPr/>
                  <p:nvPr/>
                </p:nvSpPr>
                <p:spPr>
                  <a:xfrm>
                    <a:off x="13708669" y="4483871"/>
                    <a:ext cx="371475" cy="323850"/>
                  </a:xfrm>
                  <a:custGeom>
                    <a:avLst/>
                    <a:gdLst>
                      <a:gd name="connsiteX0" fmla="*/ 345551 w 371475"/>
                      <a:gd name="connsiteY0" fmla="*/ 20430 h 323850"/>
                      <a:gd name="connsiteX1" fmla="*/ 344313 w 371475"/>
                      <a:gd name="connsiteY1" fmla="*/ 43576 h 323850"/>
                      <a:gd name="connsiteX2" fmla="*/ 318881 w 371475"/>
                      <a:gd name="connsiteY2" fmla="*/ 65484 h 323850"/>
                      <a:gd name="connsiteX3" fmla="*/ 46466 w 371475"/>
                      <a:gd name="connsiteY3" fmla="*/ 188356 h 323850"/>
                      <a:gd name="connsiteX4" fmla="*/ 79 w 371475"/>
                      <a:gd name="connsiteY4" fmla="*/ 264366 h 323850"/>
                      <a:gd name="connsiteX5" fmla="*/ 2270 w 371475"/>
                      <a:gd name="connsiteY5" fmla="*/ 302656 h 323850"/>
                      <a:gd name="connsiteX6" fmla="*/ 3032 w 371475"/>
                      <a:gd name="connsiteY6" fmla="*/ 317706 h 323850"/>
                      <a:gd name="connsiteX7" fmla="*/ 17986 w 371475"/>
                      <a:gd name="connsiteY7" fmla="*/ 331041 h 323850"/>
                      <a:gd name="connsiteX8" fmla="*/ 31416 w 371475"/>
                      <a:gd name="connsiteY8" fmla="*/ 315991 h 323850"/>
                      <a:gd name="connsiteX9" fmla="*/ 29511 w 371475"/>
                      <a:gd name="connsiteY9" fmla="*/ 283797 h 323850"/>
                      <a:gd name="connsiteX10" fmla="*/ 28464 w 371475"/>
                      <a:gd name="connsiteY10" fmla="*/ 262651 h 323850"/>
                      <a:gd name="connsiteX11" fmla="*/ 57991 w 371475"/>
                      <a:gd name="connsiteY11" fmla="*/ 214169 h 323850"/>
                      <a:gd name="connsiteX12" fmla="*/ 330501 w 371475"/>
                      <a:gd name="connsiteY12" fmla="*/ 91582 h 323850"/>
                      <a:gd name="connsiteX13" fmla="*/ 368030 w 371475"/>
                      <a:gd name="connsiteY13" fmla="*/ 58911 h 323850"/>
                      <a:gd name="connsiteX14" fmla="*/ 371078 w 371475"/>
                      <a:gd name="connsiteY14" fmla="*/ 7858 h 323850"/>
                      <a:gd name="connsiteX15" fmla="*/ 351837 w 371475"/>
                      <a:gd name="connsiteY15" fmla="*/ 1476 h 323850"/>
                      <a:gd name="connsiteX16" fmla="*/ 345551 w 371475"/>
                      <a:gd name="connsiteY16" fmla="*/ 20430 h 3238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</a:cxnLst>
                    <a:rect l="l" t="t" r="r" b="b"/>
                    <a:pathLst>
                      <a:path w="371475" h="323850">
                        <a:moveTo>
                          <a:pt x="345551" y="20430"/>
                        </a:moveTo>
                        <a:cubicBezTo>
                          <a:pt x="349170" y="27860"/>
                          <a:pt x="348694" y="36909"/>
                          <a:pt x="344313" y="43576"/>
                        </a:cubicBezTo>
                        <a:cubicBezTo>
                          <a:pt x="338121" y="53101"/>
                          <a:pt x="329454" y="61007"/>
                          <a:pt x="318881" y="65484"/>
                        </a:cubicBezTo>
                        <a:lnTo>
                          <a:pt x="46466" y="188356"/>
                        </a:lnTo>
                        <a:cubicBezTo>
                          <a:pt x="16653" y="201882"/>
                          <a:pt x="-1350" y="231600"/>
                          <a:pt x="79" y="264366"/>
                        </a:cubicBezTo>
                        <a:lnTo>
                          <a:pt x="2270" y="302656"/>
                        </a:lnTo>
                        <a:lnTo>
                          <a:pt x="3032" y="317706"/>
                        </a:lnTo>
                        <a:cubicBezTo>
                          <a:pt x="3603" y="325611"/>
                          <a:pt x="10080" y="331612"/>
                          <a:pt x="17986" y="331041"/>
                        </a:cubicBezTo>
                        <a:cubicBezTo>
                          <a:pt x="25701" y="330564"/>
                          <a:pt x="31893" y="323897"/>
                          <a:pt x="31416" y="315991"/>
                        </a:cubicBezTo>
                        <a:lnTo>
                          <a:pt x="29511" y="283797"/>
                        </a:lnTo>
                        <a:lnTo>
                          <a:pt x="28464" y="262651"/>
                        </a:lnTo>
                        <a:cubicBezTo>
                          <a:pt x="27511" y="241792"/>
                          <a:pt x="38941" y="222742"/>
                          <a:pt x="57991" y="214169"/>
                        </a:cubicBezTo>
                        <a:lnTo>
                          <a:pt x="330501" y="91582"/>
                        </a:lnTo>
                        <a:cubicBezTo>
                          <a:pt x="345741" y="84438"/>
                          <a:pt x="358886" y="73199"/>
                          <a:pt x="368030" y="58911"/>
                        </a:cubicBezTo>
                        <a:cubicBezTo>
                          <a:pt x="377650" y="43671"/>
                          <a:pt x="378984" y="24050"/>
                          <a:pt x="371078" y="7858"/>
                        </a:cubicBezTo>
                        <a:cubicBezTo>
                          <a:pt x="367744" y="1000"/>
                          <a:pt x="359076" y="-2049"/>
                          <a:pt x="351837" y="1476"/>
                        </a:cubicBezTo>
                        <a:cubicBezTo>
                          <a:pt x="345170" y="4905"/>
                          <a:pt x="342217" y="13477"/>
                          <a:pt x="345551" y="20430"/>
                        </a:cubicBezTo>
                        <a:close/>
                      </a:path>
                    </a:pathLst>
                  </a:custGeom>
                  <a:solidFill>
                    <a:srgbClr val="E58030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916" name="Freeform: Shape 1915">
                    <a:extLst>
                      <a:ext uri="{FF2B5EF4-FFF2-40B4-BE49-F238E27FC236}">
                        <a16:creationId xmlns:a16="http://schemas.microsoft.com/office/drawing/2014/main" id="{D91ADD79-48E5-40DD-8F91-73547F00C57A}"/>
                      </a:ext>
                    </a:extLst>
                  </p:cNvPr>
                  <p:cNvSpPr/>
                  <p:nvPr/>
                </p:nvSpPr>
                <p:spPr>
                  <a:xfrm>
                    <a:off x="13697508" y="4551260"/>
                    <a:ext cx="495300" cy="323850"/>
                  </a:xfrm>
                  <a:custGeom>
                    <a:avLst/>
                    <a:gdLst>
                      <a:gd name="connsiteX0" fmla="*/ 29242 w 495300"/>
                      <a:gd name="connsiteY0" fmla="*/ 263557 h 323850"/>
                      <a:gd name="connsiteX1" fmla="*/ 14288 w 495300"/>
                      <a:gd name="connsiteY1" fmla="*/ 250222 h 323850"/>
                      <a:gd name="connsiteX2" fmla="*/ 13526 w 495300"/>
                      <a:gd name="connsiteY2" fmla="*/ 235172 h 323850"/>
                      <a:gd name="connsiteX3" fmla="*/ 0 w 495300"/>
                      <a:gd name="connsiteY3" fmla="*/ 244983 h 323850"/>
                      <a:gd name="connsiteX4" fmla="*/ 39148 w 495300"/>
                      <a:gd name="connsiteY4" fmla="*/ 325660 h 323850"/>
                      <a:gd name="connsiteX5" fmla="*/ 85725 w 495300"/>
                      <a:gd name="connsiteY5" fmla="*/ 311563 h 323850"/>
                      <a:gd name="connsiteX6" fmla="*/ 237744 w 495300"/>
                      <a:gd name="connsiteY6" fmla="*/ 256032 h 323850"/>
                      <a:gd name="connsiteX7" fmla="*/ 336899 w 495300"/>
                      <a:gd name="connsiteY7" fmla="*/ 214408 h 323850"/>
                      <a:gd name="connsiteX8" fmla="*/ 446246 w 495300"/>
                      <a:gd name="connsiteY8" fmla="*/ 164878 h 323850"/>
                      <a:gd name="connsiteX9" fmla="*/ 495776 w 495300"/>
                      <a:gd name="connsiteY9" fmla="*/ 141160 h 323850"/>
                      <a:gd name="connsiteX10" fmla="*/ 427196 w 495300"/>
                      <a:gd name="connsiteY10" fmla="*/ 0 h 323850"/>
                      <a:gd name="connsiteX11" fmla="*/ 377952 w 495300"/>
                      <a:gd name="connsiteY11" fmla="*/ 24289 h 323850"/>
                      <a:gd name="connsiteX12" fmla="*/ 271367 w 495300"/>
                      <a:gd name="connsiteY12" fmla="*/ 79629 h 323850"/>
                      <a:gd name="connsiteX13" fmla="*/ 177451 w 495300"/>
                      <a:gd name="connsiteY13" fmla="*/ 131921 h 323850"/>
                      <a:gd name="connsiteX14" fmla="*/ 40767 w 495300"/>
                      <a:gd name="connsiteY14" fmla="*/ 216313 h 323850"/>
                      <a:gd name="connsiteX15" fmla="*/ 42672 w 495300"/>
                      <a:gd name="connsiteY15" fmla="*/ 248507 h 323850"/>
                      <a:gd name="connsiteX16" fmla="*/ 29242 w 495300"/>
                      <a:gd name="connsiteY16" fmla="*/ 263557 h 3238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</a:cxnLst>
                    <a:rect l="l" t="t" r="r" b="b"/>
                    <a:pathLst>
                      <a:path w="495300" h="323850">
                        <a:moveTo>
                          <a:pt x="29242" y="263557"/>
                        </a:moveTo>
                        <a:cubicBezTo>
                          <a:pt x="21336" y="264128"/>
                          <a:pt x="14764" y="258127"/>
                          <a:pt x="14288" y="250222"/>
                        </a:cubicBezTo>
                        <a:lnTo>
                          <a:pt x="13526" y="235172"/>
                        </a:lnTo>
                        <a:cubicBezTo>
                          <a:pt x="8192" y="239077"/>
                          <a:pt x="3524" y="242316"/>
                          <a:pt x="0" y="244983"/>
                        </a:cubicBezTo>
                        <a:lnTo>
                          <a:pt x="39148" y="325660"/>
                        </a:lnTo>
                        <a:cubicBezTo>
                          <a:pt x="49340" y="322993"/>
                          <a:pt x="65056" y="318325"/>
                          <a:pt x="85725" y="311563"/>
                        </a:cubicBezTo>
                        <a:cubicBezTo>
                          <a:pt x="123158" y="299561"/>
                          <a:pt x="175641" y="280702"/>
                          <a:pt x="237744" y="256032"/>
                        </a:cubicBezTo>
                        <a:cubicBezTo>
                          <a:pt x="268224" y="243173"/>
                          <a:pt x="302228" y="230314"/>
                          <a:pt x="336899" y="214408"/>
                        </a:cubicBezTo>
                        <a:cubicBezTo>
                          <a:pt x="371665" y="198882"/>
                          <a:pt x="408718" y="182785"/>
                          <a:pt x="446246" y="164878"/>
                        </a:cubicBezTo>
                        <a:cubicBezTo>
                          <a:pt x="462534" y="157258"/>
                          <a:pt x="479012" y="149352"/>
                          <a:pt x="495776" y="141160"/>
                        </a:cubicBezTo>
                        <a:lnTo>
                          <a:pt x="427196" y="0"/>
                        </a:lnTo>
                        <a:cubicBezTo>
                          <a:pt x="410528" y="8096"/>
                          <a:pt x="394049" y="16097"/>
                          <a:pt x="377952" y="24289"/>
                        </a:cubicBezTo>
                        <a:cubicBezTo>
                          <a:pt x="340709" y="42672"/>
                          <a:pt x="305086" y="61913"/>
                          <a:pt x="271367" y="79629"/>
                        </a:cubicBezTo>
                        <a:cubicBezTo>
                          <a:pt x="237554" y="97060"/>
                          <a:pt x="206407" y="115824"/>
                          <a:pt x="177451" y="131921"/>
                        </a:cubicBezTo>
                        <a:cubicBezTo>
                          <a:pt x="120206" y="165259"/>
                          <a:pt x="73438" y="194500"/>
                          <a:pt x="40767" y="216313"/>
                        </a:cubicBezTo>
                        <a:lnTo>
                          <a:pt x="42672" y="248507"/>
                        </a:lnTo>
                        <a:cubicBezTo>
                          <a:pt x="43244" y="256508"/>
                          <a:pt x="36957" y="263176"/>
                          <a:pt x="29242" y="263557"/>
                        </a:cubicBezTo>
                        <a:close/>
                      </a:path>
                    </a:pathLst>
                  </a:custGeom>
                  <a:solidFill>
                    <a:srgbClr val="FDA44C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917" name="Freeform: Shape 1916">
                    <a:extLst>
                      <a:ext uri="{FF2B5EF4-FFF2-40B4-BE49-F238E27FC236}">
                        <a16:creationId xmlns:a16="http://schemas.microsoft.com/office/drawing/2014/main" id="{32304E2A-EB0F-4DF3-9464-26972576226A}"/>
                      </a:ext>
                    </a:extLst>
                  </p:cNvPr>
                  <p:cNvSpPr/>
                  <p:nvPr/>
                </p:nvSpPr>
                <p:spPr>
                  <a:xfrm>
                    <a:off x="14949284" y="4192179"/>
                    <a:ext cx="57150" cy="66675"/>
                  </a:xfrm>
                  <a:custGeom>
                    <a:avLst/>
                    <a:gdLst>
                      <a:gd name="connsiteX0" fmla="*/ 61150 w 57150"/>
                      <a:gd name="connsiteY0" fmla="*/ 33707 h 66675"/>
                      <a:gd name="connsiteX1" fmla="*/ 61150 w 57150"/>
                      <a:gd name="connsiteY1" fmla="*/ 33707 h 66675"/>
                      <a:gd name="connsiteX2" fmla="*/ 47244 w 57150"/>
                      <a:gd name="connsiteY2" fmla="*/ 5036 h 66675"/>
                      <a:gd name="connsiteX3" fmla="*/ 47244 w 57150"/>
                      <a:gd name="connsiteY3" fmla="*/ 5036 h 66675"/>
                      <a:gd name="connsiteX4" fmla="*/ 20098 w 57150"/>
                      <a:gd name="connsiteY4" fmla="*/ 1798 h 66675"/>
                      <a:gd name="connsiteX5" fmla="*/ 0 w 57150"/>
                      <a:gd name="connsiteY5" fmla="*/ 8942 h 66675"/>
                      <a:gd name="connsiteX6" fmla="*/ 28861 w 57150"/>
                      <a:gd name="connsiteY6" fmla="*/ 68378 h 66675"/>
                      <a:gd name="connsiteX7" fmla="*/ 46958 w 57150"/>
                      <a:gd name="connsiteY7" fmla="*/ 56948 h 66675"/>
                      <a:gd name="connsiteX8" fmla="*/ 61150 w 57150"/>
                      <a:gd name="connsiteY8" fmla="*/ 33707 h 666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57150" h="66675">
                        <a:moveTo>
                          <a:pt x="61150" y="33707"/>
                        </a:moveTo>
                        <a:lnTo>
                          <a:pt x="61150" y="33707"/>
                        </a:lnTo>
                        <a:lnTo>
                          <a:pt x="47244" y="5036"/>
                        </a:lnTo>
                        <a:lnTo>
                          <a:pt x="47244" y="5036"/>
                        </a:lnTo>
                        <a:cubicBezTo>
                          <a:pt x="39529" y="-107"/>
                          <a:pt x="29623" y="-1536"/>
                          <a:pt x="20098" y="1798"/>
                        </a:cubicBezTo>
                        <a:cubicBezTo>
                          <a:pt x="20098" y="1798"/>
                          <a:pt x="13049" y="4179"/>
                          <a:pt x="0" y="8942"/>
                        </a:cubicBezTo>
                        <a:lnTo>
                          <a:pt x="28861" y="68378"/>
                        </a:lnTo>
                        <a:cubicBezTo>
                          <a:pt x="40672" y="61044"/>
                          <a:pt x="46958" y="56948"/>
                          <a:pt x="46958" y="56948"/>
                        </a:cubicBezTo>
                        <a:cubicBezTo>
                          <a:pt x="55245" y="51995"/>
                          <a:pt x="60484" y="43232"/>
                          <a:pt x="61150" y="33707"/>
                        </a:cubicBezTo>
                        <a:close/>
                      </a:path>
                    </a:pathLst>
                  </a:custGeom>
                  <a:solidFill>
                    <a:schemeClr val="bg1">
                      <a:lumMod val="85000"/>
                    </a:schemeClr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8" name="Group 7">
                <a:extLst>
                  <a:ext uri="{FF2B5EF4-FFF2-40B4-BE49-F238E27FC236}">
                    <a16:creationId xmlns:a16="http://schemas.microsoft.com/office/drawing/2014/main" id="{54E4BD6B-572B-4C9A-A93A-68C57AC4BD7C}"/>
                  </a:ext>
                </a:extLst>
              </p:cNvPr>
              <p:cNvGrpSpPr/>
              <p:nvPr/>
            </p:nvGrpSpPr>
            <p:grpSpPr>
              <a:xfrm>
                <a:off x="10210195" y="2638010"/>
                <a:ext cx="1618731" cy="1842550"/>
                <a:chOff x="10210195" y="2638010"/>
                <a:chExt cx="1618731" cy="1842550"/>
              </a:xfrm>
            </p:grpSpPr>
            <p:pic>
              <p:nvPicPr>
                <p:cNvPr id="48" name="Graphic 47">
                  <a:extLst>
                    <a:ext uri="{FF2B5EF4-FFF2-40B4-BE49-F238E27FC236}">
                      <a16:creationId xmlns:a16="http://schemas.microsoft.com/office/drawing/2014/main" id="{17BC456D-BD3C-45F2-88C1-EE2326E5E46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1">
                  <a:extLst>
                    <a:ext uri="{96DAC541-7B7A-43D3-8B79-37D633B846F1}">
                      <asvg:svgBlip xmlns:asvg="http://schemas.microsoft.com/office/drawing/2016/SVG/main" xmlns="" r:embed="rId22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256225" y="2983337"/>
                  <a:ext cx="1572701" cy="1387103"/>
                </a:xfrm>
                <a:prstGeom prst="rect">
                  <a:avLst/>
                </a:prstGeom>
              </p:spPr>
            </p:pic>
            <p:sp>
              <p:nvSpPr>
                <p:cNvPr id="2112" name="Freeform: Shape 2111">
                  <a:extLst>
                    <a:ext uri="{FF2B5EF4-FFF2-40B4-BE49-F238E27FC236}">
                      <a16:creationId xmlns:a16="http://schemas.microsoft.com/office/drawing/2014/main" id="{2E36C4FF-C320-483E-8D93-3692583A01CB}"/>
                    </a:ext>
                  </a:extLst>
                </p:cNvPr>
                <p:cNvSpPr/>
                <p:nvPr/>
              </p:nvSpPr>
              <p:spPr>
                <a:xfrm>
                  <a:off x="10655455" y="2638010"/>
                  <a:ext cx="455006" cy="455006"/>
                </a:xfrm>
                <a:custGeom>
                  <a:avLst/>
                  <a:gdLst>
                    <a:gd name="connsiteX0" fmla="*/ 664984 w 695325"/>
                    <a:gd name="connsiteY0" fmla="*/ 204314 h 695325"/>
                    <a:gd name="connsiteX1" fmla="*/ 491915 w 695325"/>
                    <a:gd name="connsiteY1" fmla="*/ 665038 h 695325"/>
                    <a:gd name="connsiteX2" fmla="*/ 31191 w 695325"/>
                    <a:gd name="connsiteY2" fmla="*/ 491874 h 695325"/>
                    <a:gd name="connsiteX3" fmla="*/ 204355 w 695325"/>
                    <a:gd name="connsiteY3" fmla="*/ 31150 h 695325"/>
                    <a:gd name="connsiteX4" fmla="*/ 664984 w 695325"/>
                    <a:gd name="connsiteY4" fmla="*/ 204314 h 6953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95325" h="695325">
                      <a:moveTo>
                        <a:pt x="664984" y="204314"/>
                      </a:moveTo>
                      <a:cubicBezTo>
                        <a:pt x="744423" y="379384"/>
                        <a:pt x="666889" y="585600"/>
                        <a:pt x="491915" y="665038"/>
                      </a:cubicBezTo>
                      <a:cubicBezTo>
                        <a:pt x="316845" y="744477"/>
                        <a:pt x="110629" y="666943"/>
                        <a:pt x="31191" y="491874"/>
                      </a:cubicBezTo>
                      <a:cubicBezTo>
                        <a:pt x="-48248" y="316804"/>
                        <a:pt x="29286" y="110588"/>
                        <a:pt x="204355" y="31150"/>
                      </a:cubicBezTo>
                      <a:cubicBezTo>
                        <a:pt x="379329" y="-48194"/>
                        <a:pt x="585641" y="29245"/>
                        <a:pt x="664984" y="204314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  <a:alpha val="30000"/>
                  </a:schemeClr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grpSp>
              <p:nvGrpSpPr>
                <p:cNvPr id="2113" name="Graphic 2009">
                  <a:extLst>
                    <a:ext uri="{FF2B5EF4-FFF2-40B4-BE49-F238E27FC236}">
                      <a16:creationId xmlns:a16="http://schemas.microsoft.com/office/drawing/2014/main" id="{6542F749-A9EC-433D-8226-FD4923CF6832}"/>
                    </a:ext>
                  </a:extLst>
                </p:cNvPr>
                <p:cNvGrpSpPr/>
                <p:nvPr/>
              </p:nvGrpSpPr>
              <p:grpSpPr>
                <a:xfrm>
                  <a:off x="10882439" y="2959170"/>
                  <a:ext cx="715469" cy="1408617"/>
                  <a:chOff x="-1614347" y="2380202"/>
                  <a:chExt cx="1093357" cy="2152603"/>
                </a:xfrm>
                <a:solidFill>
                  <a:schemeClr val="accent1"/>
                </a:solidFill>
              </p:grpSpPr>
              <p:grpSp>
                <p:nvGrpSpPr>
                  <p:cNvPr id="2176" name="Graphic 2009">
                    <a:extLst>
                      <a:ext uri="{FF2B5EF4-FFF2-40B4-BE49-F238E27FC236}">
                        <a16:creationId xmlns:a16="http://schemas.microsoft.com/office/drawing/2014/main" id="{31CEB253-2E88-4190-9BF7-FCC035AC5729}"/>
                      </a:ext>
                    </a:extLst>
                  </p:cNvPr>
                  <p:cNvGrpSpPr/>
                  <p:nvPr/>
                </p:nvGrpSpPr>
                <p:grpSpPr>
                  <a:xfrm>
                    <a:off x="-1614347" y="2380202"/>
                    <a:ext cx="1093357" cy="2152603"/>
                    <a:chOff x="-1614347" y="2380202"/>
                    <a:chExt cx="1093357" cy="2152603"/>
                  </a:xfrm>
                  <a:solidFill>
                    <a:schemeClr val="accent1"/>
                  </a:solidFill>
                </p:grpSpPr>
                <p:sp>
                  <p:nvSpPr>
                    <p:cNvPr id="2185" name="Freeform: Shape 2184">
                      <a:extLst>
                        <a:ext uri="{FF2B5EF4-FFF2-40B4-BE49-F238E27FC236}">
                          <a16:creationId xmlns:a16="http://schemas.microsoft.com/office/drawing/2014/main" id="{C9C22372-6326-4292-B61F-DBA5C1BE6A5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1614347" y="2428450"/>
                      <a:ext cx="190500" cy="457200"/>
                    </a:xfrm>
                    <a:custGeom>
                      <a:avLst/>
                      <a:gdLst>
                        <a:gd name="connsiteX0" fmla="*/ 162657 w 190500"/>
                        <a:gd name="connsiteY0" fmla="*/ 151681 h 457200"/>
                        <a:gd name="connsiteX1" fmla="*/ 6637 w 190500"/>
                        <a:gd name="connsiteY1" fmla="*/ 25666 h 457200"/>
                        <a:gd name="connsiteX2" fmla="*/ 192946 w 190500"/>
                        <a:gd name="connsiteY2" fmla="*/ 461530 h 457200"/>
                        <a:gd name="connsiteX3" fmla="*/ 162657 w 190500"/>
                        <a:gd name="connsiteY3" fmla="*/ 151681 h 4572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190500" h="457200">
                          <a:moveTo>
                            <a:pt x="162657" y="151681"/>
                          </a:moveTo>
                          <a:cubicBezTo>
                            <a:pt x="118461" y="41191"/>
                            <a:pt x="55310" y="-45010"/>
                            <a:pt x="6637" y="25666"/>
                          </a:cubicBezTo>
                          <a:cubicBezTo>
                            <a:pt x="-42035" y="96436"/>
                            <a:pt x="192946" y="461530"/>
                            <a:pt x="192946" y="461530"/>
                          </a:cubicBezTo>
                          <a:cubicBezTo>
                            <a:pt x="192946" y="461530"/>
                            <a:pt x="206948" y="262171"/>
                            <a:pt x="162657" y="151681"/>
                          </a:cubicBezTo>
                          <a:close/>
                        </a:path>
                      </a:pathLst>
                    </a:custGeom>
                    <a:solidFill>
                      <a:srgbClr val="F7CEBB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186" name="Freeform: Shape 2185">
                      <a:extLst>
                        <a:ext uri="{FF2B5EF4-FFF2-40B4-BE49-F238E27FC236}">
                          <a16:creationId xmlns:a16="http://schemas.microsoft.com/office/drawing/2014/main" id="{83F00FCB-C6A3-4D7B-8639-1BBC7A5F787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1438845" y="3404081"/>
                      <a:ext cx="742950" cy="1123950"/>
                    </a:xfrm>
                    <a:custGeom>
                      <a:avLst/>
                      <a:gdLst>
                        <a:gd name="connsiteX0" fmla="*/ 612757 w 742950"/>
                        <a:gd name="connsiteY0" fmla="*/ 1126009 h 1123950"/>
                        <a:gd name="connsiteX1" fmla="*/ 211659 w 742950"/>
                        <a:gd name="connsiteY1" fmla="*/ 1131914 h 1123950"/>
                        <a:gd name="connsiteX2" fmla="*/ 195276 w 742950"/>
                        <a:gd name="connsiteY2" fmla="*/ 875025 h 1123950"/>
                        <a:gd name="connsiteX3" fmla="*/ 181560 w 742950"/>
                        <a:gd name="connsiteY3" fmla="*/ 557271 h 1123950"/>
                        <a:gd name="connsiteX4" fmla="*/ 1252 w 742950"/>
                        <a:gd name="connsiteY4" fmla="*/ 187891 h 1123950"/>
                        <a:gd name="connsiteX5" fmla="*/ 739821 w 742950"/>
                        <a:gd name="connsiteY5" fmla="*/ 241898 h 1123950"/>
                        <a:gd name="connsiteX6" fmla="*/ 631807 w 742950"/>
                        <a:gd name="connsiteY6" fmla="*/ 930079 h 1123950"/>
                        <a:gd name="connsiteX7" fmla="*/ 612757 w 742950"/>
                        <a:gd name="connsiteY7" fmla="*/ 1126009 h 11239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742950" h="1123950">
                          <a:moveTo>
                            <a:pt x="612757" y="1126009"/>
                          </a:moveTo>
                          <a:lnTo>
                            <a:pt x="211659" y="1131914"/>
                          </a:lnTo>
                          <a:cubicBezTo>
                            <a:pt x="216422" y="1107149"/>
                            <a:pt x="209183" y="994087"/>
                            <a:pt x="195276" y="875025"/>
                          </a:cubicBezTo>
                          <a:cubicBezTo>
                            <a:pt x="185180" y="788824"/>
                            <a:pt x="196896" y="618612"/>
                            <a:pt x="181560" y="557271"/>
                          </a:cubicBezTo>
                          <a:cubicBezTo>
                            <a:pt x="155748" y="416586"/>
                            <a:pt x="36876" y="347054"/>
                            <a:pt x="1252" y="187891"/>
                          </a:cubicBezTo>
                          <a:cubicBezTo>
                            <a:pt x="-34371" y="28633"/>
                            <a:pt x="701625" y="-163772"/>
                            <a:pt x="739821" y="241898"/>
                          </a:cubicBezTo>
                          <a:cubicBezTo>
                            <a:pt x="778492" y="652521"/>
                            <a:pt x="631807" y="930079"/>
                            <a:pt x="631807" y="930079"/>
                          </a:cubicBezTo>
                          <a:lnTo>
                            <a:pt x="612757" y="1126009"/>
                          </a:lnTo>
                          <a:close/>
                        </a:path>
                      </a:pathLst>
                    </a:custGeom>
                    <a:solidFill>
                      <a:srgbClr val="F7CEBB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187" name="Freeform: Shape 2186">
                      <a:extLst>
                        <a:ext uri="{FF2B5EF4-FFF2-40B4-BE49-F238E27FC236}">
                          <a16:creationId xmlns:a16="http://schemas.microsoft.com/office/drawing/2014/main" id="{83B318D4-19A9-4F66-AA83-AF962DD9D47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1478740" y="2380202"/>
                      <a:ext cx="828675" cy="1371599"/>
                    </a:xfrm>
                    <a:custGeom>
                      <a:avLst/>
                      <a:gdLst>
                        <a:gd name="connsiteX0" fmla="*/ 0 w 828675"/>
                        <a:gd name="connsiteY0" fmla="*/ 1349026 h 1371600"/>
                        <a:gd name="connsiteX1" fmla="*/ 26956 w 828675"/>
                        <a:gd name="connsiteY1" fmla="*/ 1376363 h 1371600"/>
                        <a:gd name="connsiteX2" fmla="*/ 810006 w 828675"/>
                        <a:gd name="connsiteY2" fmla="*/ 1376363 h 1371600"/>
                        <a:gd name="connsiteX3" fmla="*/ 837057 w 828675"/>
                        <a:gd name="connsiteY3" fmla="*/ 1349026 h 1371600"/>
                        <a:gd name="connsiteX4" fmla="*/ 837057 w 828675"/>
                        <a:gd name="connsiteY4" fmla="*/ 27337 h 1371600"/>
                        <a:gd name="connsiteX5" fmla="*/ 810006 w 828675"/>
                        <a:gd name="connsiteY5" fmla="*/ 0 h 1371600"/>
                        <a:gd name="connsiteX6" fmla="*/ 26956 w 828675"/>
                        <a:gd name="connsiteY6" fmla="*/ 0 h 1371600"/>
                        <a:gd name="connsiteX7" fmla="*/ 0 w 828675"/>
                        <a:gd name="connsiteY7" fmla="*/ 27337 h 1371600"/>
                        <a:gd name="connsiteX8" fmla="*/ 0 w 828675"/>
                        <a:gd name="connsiteY8" fmla="*/ 1349026 h 13716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828675" h="1371600">
                          <a:moveTo>
                            <a:pt x="0" y="1349026"/>
                          </a:moveTo>
                          <a:cubicBezTo>
                            <a:pt x="0" y="1364075"/>
                            <a:pt x="12097" y="1376363"/>
                            <a:pt x="26956" y="1376363"/>
                          </a:cubicBezTo>
                          <a:lnTo>
                            <a:pt x="810006" y="1376363"/>
                          </a:lnTo>
                          <a:cubicBezTo>
                            <a:pt x="824960" y="1376363"/>
                            <a:pt x="837057" y="1364075"/>
                            <a:pt x="837057" y="1349026"/>
                          </a:cubicBezTo>
                          <a:lnTo>
                            <a:pt x="837057" y="27337"/>
                          </a:lnTo>
                          <a:cubicBezTo>
                            <a:pt x="837057" y="12192"/>
                            <a:pt x="824960" y="0"/>
                            <a:pt x="810006" y="0"/>
                          </a:cubicBezTo>
                          <a:lnTo>
                            <a:pt x="26956" y="0"/>
                          </a:lnTo>
                          <a:cubicBezTo>
                            <a:pt x="12097" y="0"/>
                            <a:pt x="0" y="12287"/>
                            <a:pt x="0" y="27337"/>
                          </a:cubicBezTo>
                          <a:lnTo>
                            <a:pt x="0" y="1349026"/>
                          </a:lnTo>
                          <a:close/>
                        </a:path>
                      </a:pathLst>
                    </a:custGeom>
                    <a:solidFill>
                      <a:srgbClr val="17264B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189" name="Freeform: Shape 2188">
                      <a:extLst>
                        <a:ext uri="{FF2B5EF4-FFF2-40B4-BE49-F238E27FC236}">
                          <a16:creationId xmlns:a16="http://schemas.microsoft.com/office/drawing/2014/main" id="{52FE4134-0162-4ADF-93D1-03572F220FA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1429211" y="2461545"/>
                      <a:ext cx="733425" cy="1095375"/>
                    </a:xfrm>
                    <a:custGeom>
                      <a:avLst/>
                      <a:gdLst>
                        <a:gd name="connsiteX0" fmla="*/ 0 w 733425"/>
                        <a:gd name="connsiteY0" fmla="*/ 1075658 h 1095375"/>
                        <a:gd name="connsiteX1" fmla="*/ 23812 w 733425"/>
                        <a:gd name="connsiteY1" fmla="*/ 1097471 h 1095375"/>
                        <a:gd name="connsiteX2" fmla="*/ 714280 w 733425"/>
                        <a:gd name="connsiteY2" fmla="*/ 1097471 h 1095375"/>
                        <a:gd name="connsiteX3" fmla="*/ 738092 w 733425"/>
                        <a:gd name="connsiteY3" fmla="*/ 1075658 h 1095375"/>
                        <a:gd name="connsiteX4" fmla="*/ 738092 w 733425"/>
                        <a:gd name="connsiteY4" fmla="*/ 21812 h 1095375"/>
                        <a:gd name="connsiteX5" fmla="*/ 714280 w 733425"/>
                        <a:gd name="connsiteY5" fmla="*/ 0 h 1095375"/>
                        <a:gd name="connsiteX6" fmla="*/ 23812 w 733425"/>
                        <a:gd name="connsiteY6" fmla="*/ 0 h 1095375"/>
                        <a:gd name="connsiteX7" fmla="*/ 0 w 733425"/>
                        <a:gd name="connsiteY7" fmla="*/ 21812 h 1095375"/>
                        <a:gd name="connsiteX8" fmla="*/ 0 w 733425"/>
                        <a:gd name="connsiteY8" fmla="*/ 1075658 h 109537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733425" h="1095375">
                          <a:moveTo>
                            <a:pt x="0" y="1075658"/>
                          </a:moveTo>
                          <a:cubicBezTo>
                            <a:pt x="0" y="1087660"/>
                            <a:pt x="10668" y="1097471"/>
                            <a:pt x="23812" y="1097471"/>
                          </a:cubicBezTo>
                          <a:lnTo>
                            <a:pt x="714280" y="1097471"/>
                          </a:lnTo>
                          <a:cubicBezTo>
                            <a:pt x="727424" y="1097471"/>
                            <a:pt x="738092" y="1087660"/>
                            <a:pt x="738092" y="1075658"/>
                          </a:cubicBezTo>
                          <a:lnTo>
                            <a:pt x="738092" y="21812"/>
                          </a:lnTo>
                          <a:cubicBezTo>
                            <a:pt x="738092" y="9811"/>
                            <a:pt x="727424" y="0"/>
                            <a:pt x="714280" y="0"/>
                          </a:cubicBezTo>
                          <a:lnTo>
                            <a:pt x="23812" y="0"/>
                          </a:lnTo>
                          <a:cubicBezTo>
                            <a:pt x="10668" y="0"/>
                            <a:pt x="0" y="9811"/>
                            <a:pt x="0" y="21812"/>
                          </a:cubicBezTo>
                          <a:lnTo>
                            <a:pt x="0" y="1075658"/>
                          </a:lnTo>
                          <a:close/>
                        </a:path>
                      </a:pathLst>
                    </a:custGeom>
                    <a:solidFill>
                      <a:srgbClr val="E6E6E6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190" name="Freeform: Shape 2189">
                      <a:extLst>
                        <a:ext uri="{FF2B5EF4-FFF2-40B4-BE49-F238E27FC236}">
                          <a16:creationId xmlns:a16="http://schemas.microsoft.com/office/drawing/2014/main" id="{58346766-488B-4D10-857A-CA6C5C5070C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1297760" y="2689623"/>
                      <a:ext cx="476250" cy="476250"/>
                    </a:xfrm>
                    <a:custGeom>
                      <a:avLst/>
                      <a:gdLst>
                        <a:gd name="connsiteX0" fmla="*/ 237167 w 476250"/>
                        <a:gd name="connsiteY0" fmla="*/ 476486 h 476250"/>
                        <a:gd name="connsiteX1" fmla="*/ 41714 w 476250"/>
                        <a:gd name="connsiteY1" fmla="*/ 40241 h 476250"/>
                        <a:gd name="connsiteX2" fmla="*/ 238977 w 476250"/>
                        <a:gd name="connsiteY2" fmla="*/ 140635 h 476250"/>
                        <a:gd name="connsiteX3" fmla="*/ 457385 w 476250"/>
                        <a:gd name="connsiteY3" fmla="*/ 27764 h 476250"/>
                        <a:gd name="connsiteX4" fmla="*/ 237167 w 476250"/>
                        <a:gd name="connsiteY4" fmla="*/ 476486 h 4762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476250" h="476250">
                          <a:moveTo>
                            <a:pt x="237167" y="476486"/>
                          </a:moveTo>
                          <a:cubicBezTo>
                            <a:pt x="237167" y="476486"/>
                            <a:pt x="-119163" y="144159"/>
                            <a:pt x="41714" y="40241"/>
                          </a:cubicBezTo>
                          <a:cubicBezTo>
                            <a:pt x="202591" y="-63676"/>
                            <a:pt x="238977" y="140635"/>
                            <a:pt x="238977" y="140635"/>
                          </a:cubicBezTo>
                          <a:cubicBezTo>
                            <a:pt x="238977" y="140635"/>
                            <a:pt x="343276" y="-75011"/>
                            <a:pt x="457385" y="27764"/>
                          </a:cubicBezTo>
                          <a:cubicBezTo>
                            <a:pt x="571590" y="130538"/>
                            <a:pt x="237167" y="476486"/>
                            <a:pt x="237167" y="476486"/>
                          </a:cubicBezTo>
                          <a:close/>
                        </a:path>
                      </a:pathLst>
                    </a:custGeom>
                    <a:solidFill>
                      <a:srgbClr val="C00000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191" name="Freeform: Shape 2190">
                      <a:extLst>
                        <a:ext uri="{FF2B5EF4-FFF2-40B4-BE49-F238E27FC236}">
                          <a16:creationId xmlns:a16="http://schemas.microsoft.com/office/drawing/2014/main" id="{24D11FBF-9378-44E9-B380-C4794BD3D69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1316238" y="2821380"/>
                      <a:ext cx="485775" cy="180975"/>
                    </a:xfrm>
                    <a:custGeom>
                      <a:avLst/>
                      <a:gdLst>
                        <a:gd name="connsiteX0" fmla="*/ 406616 w 485775"/>
                        <a:gd name="connsiteY0" fmla="*/ 182709 h 180975"/>
                        <a:gd name="connsiteX1" fmla="*/ 401949 w 485775"/>
                        <a:gd name="connsiteY1" fmla="*/ 178994 h 180975"/>
                        <a:gd name="connsiteX2" fmla="*/ 367564 w 485775"/>
                        <a:gd name="connsiteY2" fmla="*/ 20879 h 180975"/>
                        <a:gd name="connsiteX3" fmla="*/ 339465 w 485775"/>
                        <a:gd name="connsiteY3" fmla="*/ 89459 h 180975"/>
                        <a:gd name="connsiteX4" fmla="*/ 335941 w 485775"/>
                        <a:gd name="connsiteY4" fmla="*/ 92317 h 180975"/>
                        <a:gd name="connsiteX5" fmla="*/ 331560 w 485775"/>
                        <a:gd name="connsiteY5" fmla="*/ 90983 h 180975"/>
                        <a:gd name="connsiteX6" fmla="*/ 321653 w 485775"/>
                        <a:gd name="connsiteY6" fmla="*/ 80696 h 180975"/>
                        <a:gd name="connsiteX7" fmla="*/ 306223 w 485775"/>
                        <a:gd name="connsiteY7" fmla="*/ 91555 h 180975"/>
                        <a:gd name="connsiteX8" fmla="*/ 300603 w 485775"/>
                        <a:gd name="connsiteY8" fmla="*/ 91364 h 180975"/>
                        <a:gd name="connsiteX9" fmla="*/ 286792 w 485775"/>
                        <a:gd name="connsiteY9" fmla="*/ 80601 h 180975"/>
                        <a:gd name="connsiteX10" fmla="*/ 270981 w 485775"/>
                        <a:gd name="connsiteY10" fmla="*/ 94888 h 180975"/>
                        <a:gd name="connsiteX11" fmla="*/ 264789 w 485775"/>
                        <a:gd name="connsiteY11" fmla="*/ 95079 h 180975"/>
                        <a:gd name="connsiteX12" fmla="*/ 252978 w 485775"/>
                        <a:gd name="connsiteY12" fmla="*/ 85649 h 180975"/>
                        <a:gd name="connsiteX13" fmla="*/ 246215 w 485775"/>
                        <a:gd name="connsiteY13" fmla="*/ 178327 h 180975"/>
                        <a:gd name="connsiteX14" fmla="*/ 241834 w 485775"/>
                        <a:gd name="connsiteY14" fmla="*/ 182709 h 180975"/>
                        <a:gd name="connsiteX15" fmla="*/ 236881 w 485775"/>
                        <a:gd name="connsiteY15" fmla="*/ 178994 h 180975"/>
                        <a:gd name="connsiteX16" fmla="*/ 202496 w 485775"/>
                        <a:gd name="connsiteY16" fmla="*/ 20879 h 180975"/>
                        <a:gd name="connsiteX17" fmla="*/ 174397 w 485775"/>
                        <a:gd name="connsiteY17" fmla="*/ 89459 h 180975"/>
                        <a:gd name="connsiteX18" fmla="*/ 170873 w 485775"/>
                        <a:gd name="connsiteY18" fmla="*/ 92317 h 180975"/>
                        <a:gd name="connsiteX19" fmla="*/ 166586 w 485775"/>
                        <a:gd name="connsiteY19" fmla="*/ 90983 h 180975"/>
                        <a:gd name="connsiteX20" fmla="*/ 156681 w 485775"/>
                        <a:gd name="connsiteY20" fmla="*/ 80696 h 180975"/>
                        <a:gd name="connsiteX21" fmla="*/ 141155 w 485775"/>
                        <a:gd name="connsiteY21" fmla="*/ 91555 h 180975"/>
                        <a:gd name="connsiteX22" fmla="*/ 135535 w 485775"/>
                        <a:gd name="connsiteY22" fmla="*/ 91364 h 180975"/>
                        <a:gd name="connsiteX23" fmla="*/ 121724 w 485775"/>
                        <a:gd name="connsiteY23" fmla="*/ 80601 h 180975"/>
                        <a:gd name="connsiteX24" fmla="*/ 105817 w 485775"/>
                        <a:gd name="connsiteY24" fmla="*/ 94888 h 180975"/>
                        <a:gd name="connsiteX25" fmla="*/ 99626 w 485775"/>
                        <a:gd name="connsiteY25" fmla="*/ 95079 h 180975"/>
                        <a:gd name="connsiteX26" fmla="*/ 87815 w 485775"/>
                        <a:gd name="connsiteY26" fmla="*/ 85649 h 180975"/>
                        <a:gd name="connsiteX27" fmla="*/ 80957 w 485775"/>
                        <a:gd name="connsiteY27" fmla="*/ 178232 h 180975"/>
                        <a:gd name="connsiteX28" fmla="*/ 76575 w 485775"/>
                        <a:gd name="connsiteY28" fmla="*/ 182614 h 180975"/>
                        <a:gd name="connsiteX29" fmla="*/ 71622 w 485775"/>
                        <a:gd name="connsiteY29" fmla="*/ 178899 h 180975"/>
                        <a:gd name="connsiteX30" fmla="*/ 37237 w 485775"/>
                        <a:gd name="connsiteY30" fmla="*/ 20784 h 180975"/>
                        <a:gd name="connsiteX31" fmla="*/ 9138 w 485775"/>
                        <a:gd name="connsiteY31" fmla="*/ 89364 h 180975"/>
                        <a:gd name="connsiteX32" fmla="*/ 2947 w 485775"/>
                        <a:gd name="connsiteY32" fmla="*/ 91936 h 180975"/>
                        <a:gd name="connsiteX33" fmla="*/ 375 w 485775"/>
                        <a:gd name="connsiteY33" fmla="*/ 85744 h 180975"/>
                        <a:gd name="connsiteX34" fmla="*/ 34284 w 485775"/>
                        <a:gd name="connsiteY34" fmla="*/ 2972 h 180975"/>
                        <a:gd name="connsiteX35" fmla="*/ 39142 w 485775"/>
                        <a:gd name="connsiteY35" fmla="*/ 19 h 180975"/>
                        <a:gd name="connsiteX36" fmla="*/ 43428 w 485775"/>
                        <a:gd name="connsiteY36" fmla="*/ 3734 h 180975"/>
                        <a:gd name="connsiteX37" fmla="*/ 74099 w 485775"/>
                        <a:gd name="connsiteY37" fmla="*/ 144704 h 180975"/>
                        <a:gd name="connsiteX38" fmla="*/ 79242 w 485775"/>
                        <a:gd name="connsiteY38" fmla="*/ 75838 h 180975"/>
                        <a:gd name="connsiteX39" fmla="*/ 82100 w 485775"/>
                        <a:gd name="connsiteY39" fmla="*/ 71838 h 180975"/>
                        <a:gd name="connsiteX40" fmla="*/ 86957 w 485775"/>
                        <a:gd name="connsiteY40" fmla="*/ 72505 h 180975"/>
                        <a:gd name="connsiteX41" fmla="*/ 102578 w 485775"/>
                        <a:gd name="connsiteY41" fmla="*/ 85078 h 180975"/>
                        <a:gd name="connsiteX42" fmla="*/ 118390 w 485775"/>
                        <a:gd name="connsiteY42" fmla="*/ 70885 h 180975"/>
                        <a:gd name="connsiteX43" fmla="*/ 124486 w 485775"/>
                        <a:gd name="connsiteY43" fmla="*/ 70695 h 180975"/>
                        <a:gd name="connsiteX44" fmla="*/ 138678 w 485775"/>
                        <a:gd name="connsiteY44" fmla="*/ 81744 h 180975"/>
                        <a:gd name="connsiteX45" fmla="*/ 154585 w 485775"/>
                        <a:gd name="connsiteY45" fmla="*/ 70600 h 180975"/>
                        <a:gd name="connsiteX46" fmla="*/ 160776 w 485775"/>
                        <a:gd name="connsiteY46" fmla="*/ 71171 h 180975"/>
                        <a:gd name="connsiteX47" fmla="*/ 168396 w 485775"/>
                        <a:gd name="connsiteY47" fmla="*/ 79077 h 180975"/>
                        <a:gd name="connsiteX48" fmla="*/ 199448 w 485775"/>
                        <a:gd name="connsiteY48" fmla="*/ 3067 h 180975"/>
                        <a:gd name="connsiteX49" fmla="*/ 204306 w 485775"/>
                        <a:gd name="connsiteY49" fmla="*/ 115 h 180975"/>
                        <a:gd name="connsiteX50" fmla="*/ 208592 w 485775"/>
                        <a:gd name="connsiteY50" fmla="*/ 3829 h 180975"/>
                        <a:gd name="connsiteX51" fmla="*/ 239262 w 485775"/>
                        <a:gd name="connsiteY51" fmla="*/ 144799 h 180975"/>
                        <a:gd name="connsiteX52" fmla="*/ 244406 w 485775"/>
                        <a:gd name="connsiteY52" fmla="*/ 75934 h 180975"/>
                        <a:gd name="connsiteX53" fmla="*/ 247263 w 485775"/>
                        <a:gd name="connsiteY53" fmla="*/ 71933 h 180975"/>
                        <a:gd name="connsiteX54" fmla="*/ 252121 w 485775"/>
                        <a:gd name="connsiteY54" fmla="*/ 72600 h 180975"/>
                        <a:gd name="connsiteX55" fmla="*/ 267837 w 485775"/>
                        <a:gd name="connsiteY55" fmla="*/ 85173 h 180975"/>
                        <a:gd name="connsiteX56" fmla="*/ 283649 w 485775"/>
                        <a:gd name="connsiteY56" fmla="*/ 70981 h 180975"/>
                        <a:gd name="connsiteX57" fmla="*/ 289745 w 485775"/>
                        <a:gd name="connsiteY57" fmla="*/ 70790 h 180975"/>
                        <a:gd name="connsiteX58" fmla="*/ 303937 w 485775"/>
                        <a:gd name="connsiteY58" fmla="*/ 81839 h 180975"/>
                        <a:gd name="connsiteX59" fmla="*/ 319844 w 485775"/>
                        <a:gd name="connsiteY59" fmla="*/ 70695 h 180975"/>
                        <a:gd name="connsiteX60" fmla="*/ 326035 w 485775"/>
                        <a:gd name="connsiteY60" fmla="*/ 71266 h 180975"/>
                        <a:gd name="connsiteX61" fmla="*/ 333655 w 485775"/>
                        <a:gd name="connsiteY61" fmla="*/ 79172 h 180975"/>
                        <a:gd name="connsiteX62" fmla="*/ 364802 w 485775"/>
                        <a:gd name="connsiteY62" fmla="*/ 3163 h 180975"/>
                        <a:gd name="connsiteX63" fmla="*/ 369660 w 485775"/>
                        <a:gd name="connsiteY63" fmla="*/ 210 h 180975"/>
                        <a:gd name="connsiteX64" fmla="*/ 373946 w 485775"/>
                        <a:gd name="connsiteY64" fmla="*/ 3925 h 180975"/>
                        <a:gd name="connsiteX65" fmla="*/ 404616 w 485775"/>
                        <a:gd name="connsiteY65" fmla="*/ 144895 h 180975"/>
                        <a:gd name="connsiteX66" fmla="*/ 409760 w 485775"/>
                        <a:gd name="connsiteY66" fmla="*/ 76029 h 180975"/>
                        <a:gd name="connsiteX67" fmla="*/ 412617 w 485775"/>
                        <a:gd name="connsiteY67" fmla="*/ 72028 h 180975"/>
                        <a:gd name="connsiteX68" fmla="*/ 417475 w 485775"/>
                        <a:gd name="connsiteY68" fmla="*/ 72695 h 180975"/>
                        <a:gd name="connsiteX69" fmla="*/ 433096 w 485775"/>
                        <a:gd name="connsiteY69" fmla="*/ 85268 h 180975"/>
                        <a:gd name="connsiteX70" fmla="*/ 448907 w 485775"/>
                        <a:gd name="connsiteY70" fmla="*/ 71076 h 180975"/>
                        <a:gd name="connsiteX71" fmla="*/ 455003 w 485775"/>
                        <a:gd name="connsiteY71" fmla="*/ 70885 h 180975"/>
                        <a:gd name="connsiteX72" fmla="*/ 469196 w 485775"/>
                        <a:gd name="connsiteY72" fmla="*/ 81934 h 180975"/>
                        <a:gd name="connsiteX73" fmla="*/ 485103 w 485775"/>
                        <a:gd name="connsiteY73" fmla="*/ 70790 h 180975"/>
                        <a:gd name="connsiteX74" fmla="*/ 491770 w 485775"/>
                        <a:gd name="connsiteY74" fmla="*/ 71933 h 180975"/>
                        <a:gd name="connsiteX75" fmla="*/ 490627 w 485775"/>
                        <a:gd name="connsiteY75" fmla="*/ 78601 h 180975"/>
                        <a:gd name="connsiteX76" fmla="*/ 471863 w 485775"/>
                        <a:gd name="connsiteY76" fmla="*/ 91745 h 180975"/>
                        <a:gd name="connsiteX77" fmla="*/ 466243 w 485775"/>
                        <a:gd name="connsiteY77" fmla="*/ 91555 h 180975"/>
                        <a:gd name="connsiteX78" fmla="*/ 452432 w 485775"/>
                        <a:gd name="connsiteY78" fmla="*/ 80791 h 180975"/>
                        <a:gd name="connsiteX79" fmla="*/ 436620 w 485775"/>
                        <a:gd name="connsiteY79" fmla="*/ 95079 h 180975"/>
                        <a:gd name="connsiteX80" fmla="*/ 430429 w 485775"/>
                        <a:gd name="connsiteY80" fmla="*/ 95269 h 180975"/>
                        <a:gd name="connsiteX81" fmla="*/ 418618 w 485775"/>
                        <a:gd name="connsiteY81" fmla="*/ 85840 h 180975"/>
                        <a:gd name="connsiteX82" fmla="*/ 411760 w 485775"/>
                        <a:gd name="connsiteY82" fmla="*/ 178423 h 180975"/>
                        <a:gd name="connsiteX83" fmla="*/ 407378 w 485775"/>
                        <a:gd name="connsiteY83" fmla="*/ 182804 h 180975"/>
                        <a:gd name="connsiteX84" fmla="*/ 406616 w 485775"/>
                        <a:gd name="connsiteY84" fmla="*/ 182709 h 18097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  <a:cxn ang="0">
                          <a:pos x="connsiteX45" y="connsiteY45"/>
                        </a:cxn>
                        <a:cxn ang="0">
                          <a:pos x="connsiteX46" y="connsiteY46"/>
                        </a:cxn>
                        <a:cxn ang="0">
                          <a:pos x="connsiteX47" y="connsiteY47"/>
                        </a:cxn>
                        <a:cxn ang="0">
                          <a:pos x="connsiteX48" y="connsiteY48"/>
                        </a:cxn>
                        <a:cxn ang="0">
                          <a:pos x="connsiteX49" y="connsiteY49"/>
                        </a:cxn>
                        <a:cxn ang="0">
                          <a:pos x="connsiteX50" y="connsiteY50"/>
                        </a:cxn>
                        <a:cxn ang="0">
                          <a:pos x="connsiteX51" y="connsiteY51"/>
                        </a:cxn>
                        <a:cxn ang="0">
                          <a:pos x="connsiteX52" y="connsiteY52"/>
                        </a:cxn>
                        <a:cxn ang="0">
                          <a:pos x="connsiteX53" y="connsiteY53"/>
                        </a:cxn>
                        <a:cxn ang="0">
                          <a:pos x="connsiteX54" y="connsiteY54"/>
                        </a:cxn>
                        <a:cxn ang="0">
                          <a:pos x="connsiteX55" y="connsiteY55"/>
                        </a:cxn>
                        <a:cxn ang="0">
                          <a:pos x="connsiteX56" y="connsiteY56"/>
                        </a:cxn>
                        <a:cxn ang="0">
                          <a:pos x="connsiteX57" y="connsiteY57"/>
                        </a:cxn>
                        <a:cxn ang="0">
                          <a:pos x="connsiteX58" y="connsiteY58"/>
                        </a:cxn>
                        <a:cxn ang="0">
                          <a:pos x="connsiteX59" y="connsiteY59"/>
                        </a:cxn>
                        <a:cxn ang="0">
                          <a:pos x="connsiteX60" y="connsiteY60"/>
                        </a:cxn>
                        <a:cxn ang="0">
                          <a:pos x="connsiteX61" y="connsiteY61"/>
                        </a:cxn>
                        <a:cxn ang="0">
                          <a:pos x="connsiteX62" y="connsiteY62"/>
                        </a:cxn>
                        <a:cxn ang="0">
                          <a:pos x="connsiteX63" y="connsiteY63"/>
                        </a:cxn>
                        <a:cxn ang="0">
                          <a:pos x="connsiteX64" y="connsiteY64"/>
                        </a:cxn>
                        <a:cxn ang="0">
                          <a:pos x="connsiteX65" y="connsiteY65"/>
                        </a:cxn>
                        <a:cxn ang="0">
                          <a:pos x="connsiteX66" y="connsiteY66"/>
                        </a:cxn>
                        <a:cxn ang="0">
                          <a:pos x="connsiteX67" y="connsiteY67"/>
                        </a:cxn>
                        <a:cxn ang="0">
                          <a:pos x="connsiteX68" y="connsiteY68"/>
                        </a:cxn>
                        <a:cxn ang="0">
                          <a:pos x="connsiteX69" y="connsiteY69"/>
                        </a:cxn>
                        <a:cxn ang="0">
                          <a:pos x="connsiteX70" y="connsiteY70"/>
                        </a:cxn>
                        <a:cxn ang="0">
                          <a:pos x="connsiteX71" y="connsiteY71"/>
                        </a:cxn>
                        <a:cxn ang="0">
                          <a:pos x="connsiteX72" y="connsiteY72"/>
                        </a:cxn>
                        <a:cxn ang="0">
                          <a:pos x="connsiteX73" y="connsiteY73"/>
                        </a:cxn>
                        <a:cxn ang="0">
                          <a:pos x="connsiteX74" y="connsiteY74"/>
                        </a:cxn>
                        <a:cxn ang="0">
                          <a:pos x="connsiteX75" y="connsiteY75"/>
                        </a:cxn>
                        <a:cxn ang="0">
                          <a:pos x="connsiteX76" y="connsiteY76"/>
                        </a:cxn>
                        <a:cxn ang="0">
                          <a:pos x="connsiteX77" y="connsiteY77"/>
                        </a:cxn>
                        <a:cxn ang="0">
                          <a:pos x="connsiteX78" y="connsiteY78"/>
                        </a:cxn>
                        <a:cxn ang="0">
                          <a:pos x="connsiteX79" y="connsiteY79"/>
                        </a:cxn>
                        <a:cxn ang="0">
                          <a:pos x="connsiteX80" y="connsiteY80"/>
                        </a:cxn>
                        <a:cxn ang="0">
                          <a:pos x="connsiteX81" y="connsiteY81"/>
                        </a:cxn>
                        <a:cxn ang="0">
                          <a:pos x="connsiteX82" y="connsiteY82"/>
                        </a:cxn>
                        <a:cxn ang="0">
                          <a:pos x="connsiteX83" y="connsiteY83"/>
                        </a:cxn>
                        <a:cxn ang="0">
                          <a:pos x="connsiteX84" y="connsiteY84"/>
                        </a:cxn>
                      </a:cxnLst>
                      <a:rect l="l" t="t" r="r" b="b"/>
                      <a:pathLst>
                        <a:path w="485775" h="180975">
                          <a:moveTo>
                            <a:pt x="406616" y="182709"/>
                          </a:moveTo>
                          <a:cubicBezTo>
                            <a:pt x="404426" y="182709"/>
                            <a:pt x="402425" y="181185"/>
                            <a:pt x="401949" y="178994"/>
                          </a:cubicBezTo>
                          <a:lnTo>
                            <a:pt x="367564" y="20879"/>
                          </a:lnTo>
                          <a:lnTo>
                            <a:pt x="339465" y="89459"/>
                          </a:lnTo>
                          <a:cubicBezTo>
                            <a:pt x="338894" y="90983"/>
                            <a:pt x="337560" y="92031"/>
                            <a:pt x="335941" y="92317"/>
                          </a:cubicBezTo>
                          <a:cubicBezTo>
                            <a:pt x="334322" y="92602"/>
                            <a:pt x="332703" y="92126"/>
                            <a:pt x="331560" y="90983"/>
                          </a:cubicBezTo>
                          <a:lnTo>
                            <a:pt x="321653" y="80696"/>
                          </a:lnTo>
                          <a:lnTo>
                            <a:pt x="306223" y="91555"/>
                          </a:lnTo>
                          <a:cubicBezTo>
                            <a:pt x="304508" y="92793"/>
                            <a:pt x="302223" y="92698"/>
                            <a:pt x="300603" y="91364"/>
                          </a:cubicBezTo>
                          <a:lnTo>
                            <a:pt x="286792" y="80601"/>
                          </a:lnTo>
                          <a:lnTo>
                            <a:pt x="270981" y="94888"/>
                          </a:lnTo>
                          <a:cubicBezTo>
                            <a:pt x="269266" y="96412"/>
                            <a:pt x="266599" y="96508"/>
                            <a:pt x="264789" y="95079"/>
                          </a:cubicBezTo>
                          <a:lnTo>
                            <a:pt x="252978" y="85649"/>
                          </a:lnTo>
                          <a:lnTo>
                            <a:pt x="246215" y="178327"/>
                          </a:lnTo>
                          <a:cubicBezTo>
                            <a:pt x="246025" y="180709"/>
                            <a:pt x="244215" y="182518"/>
                            <a:pt x="241834" y="182709"/>
                          </a:cubicBezTo>
                          <a:cubicBezTo>
                            <a:pt x="239453" y="182899"/>
                            <a:pt x="237357" y="181280"/>
                            <a:pt x="236881" y="178994"/>
                          </a:cubicBezTo>
                          <a:lnTo>
                            <a:pt x="202496" y="20879"/>
                          </a:lnTo>
                          <a:lnTo>
                            <a:pt x="174397" y="89459"/>
                          </a:lnTo>
                          <a:cubicBezTo>
                            <a:pt x="173825" y="90983"/>
                            <a:pt x="172492" y="92031"/>
                            <a:pt x="170873" y="92317"/>
                          </a:cubicBezTo>
                          <a:cubicBezTo>
                            <a:pt x="169253" y="92602"/>
                            <a:pt x="167634" y="92126"/>
                            <a:pt x="166586" y="90983"/>
                          </a:cubicBezTo>
                          <a:lnTo>
                            <a:pt x="156681" y="80696"/>
                          </a:lnTo>
                          <a:lnTo>
                            <a:pt x="141155" y="91555"/>
                          </a:lnTo>
                          <a:cubicBezTo>
                            <a:pt x="139440" y="92793"/>
                            <a:pt x="137154" y="92698"/>
                            <a:pt x="135535" y="91364"/>
                          </a:cubicBezTo>
                          <a:lnTo>
                            <a:pt x="121724" y="80601"/>
                          </a:lnTo>
                          <a:lnTo>
                            <a:pt x="105817" y="94888"/>
                          </a:lnTo>
                          <a:cubicBezTo>
                            <a:pt x="104103" y="96412"/>
                            <a:pt x="101436" y="96508"/>
                            <a:pt x="99626" y="95079"/>
                          </a:cubicBezTo>
                          <a:lnTo>
                            <a:pt x="87815" y="85649"/>
                          </a:lnTo>
                          <a:lnTo>
                            <a:pt x="80957" y="178232"/>
                          </a:lnTo>
                          <a:cubicBezTo>
                            <a:pt x="80766" y="180613"/>
                            <a:pt x="78861" y="182423"/>
                            <a:pt x="76575" y="182614"/>
                          </a:cubicBezTo>
                          <a:cubicBezTo>
                            <a:pt x="74099" y="182804"/>
                            <a:pt x="72098" y="181185"/>
                            <a:pt x="71622" y="178899"/>
                          </a:cubicBezTo>
                          <a:lnTo>
                            <a:pt x="37237" y="20784"/>
                          </a:lnTo>
                          <a:lnTo>
                            <a:pt x="9138" y="89364"/>
                          </a:lnTo>
                          <a:cubicBezTo>
                            <a:pt x="8186" y="91840"/>
                            <a:pt x="5328" y="92983"/>
                            <a:pt x="2947" y="91936"/>
                          </a:cubicBezTo>
                          <a:cubicBezTo>
                            <a:pt x="566" y="90983"/>
                            <a:pt x="-673" y="88126"/>
                            <a:pt x="375" y="85744"/>
                          </a:cubicBezTo>
                          <a:lnTo>
                            <a:pt x="34284" y="2972"/>
                          </a:lnTo>
                          <a:cubicBezTo>
                            <a:pt x="35046" y="1067"/>
                            <a:pt x="37046" y="-171"/>
                            <a:pt x="39142" y="19"/>
                          </a:cubicBezTo>
                          <a:cubicBezTo>
                            <a:pt x="41237" y="210"/>
                            <a:pt x="42952" y="1734"/>
                            <a:pt x="43428" y="3734"/>
                          </a:cubicBezTo>
                          <a:lnTo>
                            <a:pt x="74099" y="144704"/>
                          </a:lnTo>
                          <a:lnTo>
                            <a:pt x="79242" y="75838"/>
                          </a:lnTo>
                          <a:cubicBezTo>
                            <a:pt x="79337" y="74124"/>
                            <a:pt x="80481" y="72505"/>
                            <a:pt x="82100" y="71838"/>
                          </a:cubicBezTo>
                          <a:cubicBezTo>
                            <a:pt x="83719" y="71171"/>
                            <a:pt x="85624" y="71362"/>
                            <a:pt x="86957" y="72505"/>
                          </a:cubicBezTo>
                          <a:lnTo>
                            <a:pt x="102578" y="85078"/>
                          </a:lnTo>
                          <a:lnTo>
                            <a:pt x="118390" y="70885"/>
                          </a:lnTo>
                          <a:cubicBezTo>
                            <a:pt x="120104" y="69361"/>
                            <a:pt x="122676" y="69266"/>
                            <a:pt x="124486" y="70695"/>
                          </a:cubicBezTo>
                          <a:lnTo>
                            <a:pt x="138678" y="81744"/>
                          </a:lnTo>
                          <a:lnTo>
                            <a:pt x="154585" y="70600"/>
                          </a:lnTo>
                          <a:cubicBezTo>
                            <a:pt x="156490" y="69266"/>
                            <a:pt x="159157" y="69552"/>
                            <a:pt x="160776" y="71171"/>
                          </a:cubicBezTo>
                          <a:lnTo>
                            <a:pt x="168396" y="79077"/>
                          </a:lnTo>
                          <a:lnTo>
                            <a:pt x="199448" y="3067"/>
                          </a:lnTo>
                          <a:cubicBezTo>
                            <a:pt x="200210" y="1162"/>
                            <a:pt x="202210" y="-76"/>
                            <a:pt x="204306" y="115"/>
                          </a:cubicBezTo>
                          <a:cubicBezTo>
                            <a:pt x="206401" y="305"/>
                            <a:pt x="208115" y="1829"/>
                            <a:pt x="208592" y="3829"/>
                          </a:cubicBezTo>
                          <a:lnTo>
                            <a:pt x="239262" y="144799"/>
                          </a:lnTo>
                          <a:lnTo>
                            <a:pt x="244406" y="75934"/>
                          </a:lnTo>
                          <a:cubicBezTo>
                            <a:pt x="244501" y="74219"/>
                            <a:pt x="245644" y="72600"/>
                            <a:pt x="247263" y="71933"/>
                          </a:cubicBezTo>
                          <a:cubicBezTo>
                            <a:pt x="248882" y="71266"/>
                            <a:pt x="250787" y="71457"/>
                            <a:pt x="252121" y="72600"/>
                          </a:cubicBezTo>
                          <a:lnTo>
                            <a:pt x="267837" y="85173"/>
                          </a:lnTo>
                          <a:lnTo>
                            <a:pt x="283649" y="70981"/>
                          </a:lnTo>
                          <a:cubicBezTo>
                            <a:pt x="285363" y="69457"/>
                            <a:pt x="287935" y="69361"/>
                            <a:pt x="289745" y="70790"/>
                          </a:cubicBezTo>
                          <a:lnTo>
                            <a:pt x="303937" y="81839"/>
                          </a:lnTo>
                          <a:lnTo>
                            <a:pt x="319844" y="70695"/>
                          </a:lnTo>
                          <a:cubicBezTo>
                            <a:pt x="321749" y="69361"/>
                            <a:pt x="324416" y="69647"/>
                            <a:pt x="326035" y="71266"/>
                          </a:cubicBezTo>
                          <a:lnTo>
                            <a:pt x="333655" y="79172"/>
                          </a:lnTo>
                          <a:lnTo>
                            <a:pt x="364802" y="3163"/>
                          </a:lnTo>
                          <a:cubicBezTo>
                            <a:pt x="365564" y="1258"/>
                            <a:pt x="367564" y="19"/>
                            <a:pt x="369660" y="210"/>
                          </a:cubicBezTo>
                          <a:cubicBezTo>
                            <a:pt x="371755" y="400"/>
                            <a:pt x="373470" y="1924"/>
                            <a:pt x="373946" y="3925"/>
                          </a:cubicBezTo>
                          <a:lnTo>
                            <a:pt x="404616" y="144895"/>
                          </a:lnTo>
                          <a:lnTo>
                            <a:pt x="409760" y="76029"/>
                          </a:lnTo>
                          <a:cubicBezTo>
                            <a:pt x="409855" y="74314"/>
                            <a:pt x="410998" y="72695"/>
                            <a:pt x="412617" y="72028"/>
                          </a:cubicBezTo>
                          <a:cubicBezTo>
                            <a:pt x="414236" y="71362"/>
                            <a:pt x="416141" y="71552"/>
                            <a:pt x="417475" y="72695"/>
                          </a:cubicBezTo>
                          <a:lnTo>
                            <a:pt x="433096" y="85268"/>
                          </a:lnTo>
                          <a:lnTo>
                            <a:pt x="448907" y="71076"/>
                          </a:lnTo>
                          <a:cubicBezTo>
                            <a:pt x="450622" y="69552"/>
                            <a:pt x="453194" y="69457"/>
                            <a:pt x="455003" y="70885"/>
                          </a:cubicBezTo>
                          <a:lnTo>
                            <a:pt x="469196" y="81934"/>
                          </a:lnTo>
                          <a:lnTo>
                            <a:pt x="485103" y="70790"/>
                          </a:lnTo>
                          <a:cubicBezTo>
                            <a:pt x="487198" y="69266"/>
                            <a:pt x="490246" y="69838"/>
                            <a:pt x="491770" y="71933"/>
                          </a:cubicBezTo>
                          <a:cubicBezTo>
                            <a:pt x="493294" y="74124"/>
                            <a:pt x="492723" y="77077"/>
                            <a:pt x="490627" y="78601"/>
                          </a:cubicBezTo>
                          <a:lnTo>
                            <a:pt x="471863" y="91745"/>
                          </a:lnTo>
                          <a:cubicBezTo>
                            <a:pt x="470148" y="92983"/>
                            <a:pt x="467862" y="92888"/>
                            <a:pt x="466243" y="91555"/>
                          </a:cubicBezTo>
                          <a:lnTo>
                            <a:pt x="452432" y="80791"/>
                          </a:lnTo>
                          <a:lnTo>
                            <a:pt x="436620" y="95079"/>
                          </a:lnTo>
                          <a:cubicBezTo>
                            <a:pt x="434906" y="96603"/>
                            <a:pt x="432334" y="96698"/>
                            <a:pt x="430429" y="95269"/>
                          </a:cubicBezTo>
                          <a:lnTo>
                            <a:pt x="418618" y="85840"/>
                          </a:lnTo>
                          <a:lnTo>
                            <a:pt x="411760" y="178423"/>
                          </a:lnTo>
                          <a:cubicBezTo>
                            <a:pt x="411570" y="180804"/>
                            <a:pt x="409665" y="182614"/>
                            <a:pt x="407378" y="182804"/>
                          </a:cubicBezTo>
                          <a:cubicBezTo>
                            <a:pt x="406807" y="182709"/>
                            <a:pt x="406712" y="182709"/>
                            <a:pt x="406616" y="182709"/>
                          </a:cubicBezTo>
                          <a:close/>
                        </a:path>
                      </a:pathLst>
                    </a:custGeom>
                    <a:solidFill>
                      <a:srgbClr val="17264B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192" name="Freeform: Shape 2191">
                      <a:extLst>
                        <a:ext uri="{FF2B5EF4-FFF2-40B4-BE49-F238E27FC236}">
                          <a16:creationId xmlns:a16="http://schemas.microsoft.com/office/drawing/2014/main" id="{60630EC9-018B-4B84-BD29-0DA87A1ED64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854365" y="3056430"/>
                      <a:ext cx="333375" cy="1476375"/>
                    </a:xfrm>
                    <a:custGeom>
                      <a:avLst/>
                      <a:gdLst>
                        <a:gd name="connsiteX0" fmla="*/ 164675 w 333375"/>
                        <a:gd name="connsiteY0" fmla="*/ 1485661 h 1476375"/>
                        <a:gd name="connsiteX1" fmla="*/ 2655 w 333375"/>
                        <a:gd name="connsiteY1" fmla="*/ 1479660 h 1476375"/>
                        <a:gd name="connsiteX2" fmla="*/ 47232 w 333375"/>
                        <a:gd name="connsiteY2" fmla="*/ 1277730 h 1476375"/>
                        <a:gd name="connsiteX3" fmla="*/ 47232 w 333375"/>
                        <a:gd name="connsiteY3" fmla="*/ 861488 h 1476375"/>
                        <a:gd name="connsiteX4" fmla="*/ 115526 w 333375"/>
                        <a:gd name="connsiteY4" fmla="*/ 443912 h 1476375"/>
                        <a:gd name="connsiteX5" fmla="*/ 106858 w 333375"/>
                        <a:gd name="connsiteY5" fmla="*/ 140636 h 1476375"/>
                        <a:gd name="connsiteX6" fmla="*/ 180296 w 333375"/>
                        <a:gd name="connsiteY6" fmla="*/ 428 h 1476375"/>
                        <a:gd name="connsiteX7" fmla="*/ 225635 w 333375"/>
                        <a:gd name="connsiteY7" fmla="*/ 108441 h 1476375"/>
                        <a:gd name="connsiteX8" fmla="*/ 310598 w 333375"/>
                        <a:gd name="connsiteY8" fmla="*/ 379142 h 1476375"/>
                        <a:gd name="connsiteX9" fmla="*/ 276308 w 333375"/>
                        <a:gd name="connsiteY9" fmla="*/ 835103 h 1476375"/>
                        <a:gd name="connsiteX10" fmla="*/ 164675 w 333375"/>
                        <a:gd name="connsiteY10" fmla="*/ 1485661 h 147637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</a:cxnLst>
                      <a:rect l="l" t="t" r="r" b="b"/>
                      <a:pathLst>
                        <a:path w="333375" h="1476375">
                          <a:moveTo>
                            <a:pt x="164675" y="1485661"/>
                          </a:moveTo>
                          <a:lnTo>
                            <a:pt x="2655" y="1479660"/>
                          </a:lnTo>
                          <a:lnTo>
                            <a:pt x="47232" y="1277730"/>
                          </a:lnTo>
                          <a:lnTo>
                            <a:pt x="47232" y="861488"/>
                          </a:lnTo>
                          <a:cubicBezTo>
                            <a:pt x="-80975" y="635269"/>
                            <a:pt x="89618" y="486488"/>
                            <a:pt x="115526" y="443912"/>
                          </a:cubicBezTo>
                          <a:cubicBezTo>
                            <a:pt x="141434" y="401240"/>
                            <a:pt x="117717" y="244934"/>
                            <a:pt x="106858" y="140636"/>
                          </a:cubicBezTo>
                          <a:cubicBezTo>
                            <a:pt x="97143" y="46529"/>
                            <a:pt x="125241" y="-5287"/>
                            <a:pt x="180296" y="428"/>
                          </a:cubicBezTo>
                          <a:cubicBezTo>
                            <a:pt x="180296" y="428"/>
                            <a:pt x="212681" y="-5287"/>
                            <a:pt x="225635" y="108441"/>
                          </a:cubicBezTo>
                          <a:cubicBezTo>
                            <a:pt x="238589" y="222170"/>
                            <a:pt x="270974" y="315038"/>
                            <a:pt x="310598" y="379142"/>
                          </a:cubicBezTo>
                          <a:cubicBezTo>
                            <a:pt x="335553" y="419528"/>
                            <a:pt x="365176" y="644603"/>
                            <a:pt x="276308" y="835103"/>
                          </a:cubicBezTo>
                          <a:cubicBezTo>
                            <a:pt x="143815" y="1119329"/>
                            <a:pt x="164675" y="1485661"/>
                            <a:pt x="164675" y="1485661"/>
                          </a:cubicBezTo>
                          <a:close/>
                        </a:path>
                      </a:pathLst>
                    </a:custGeom>
                    <a:solidFill>
                      <a:srgbClr val="F7CEBB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193" name="Freeform: Shape 2192">
                      <a:extLst>
                        <a:ext uri="{FF2B5EF4-FFF2-40B4-BE49-F238E27FC236}">
                          <a16:creationId xmlns:a16="http://schemas.microsoft.com/office/drawing/2014/main" id="{79DE38E2-B341-43A0-A4D9-DAC607F109E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1590846" y="2897695"/>
                      <a:ext cx="219075" cy="390525"/>
                    </a:xfrm>
                    <a:custGeom>
                      <a:avLst/>
                      <a:gdLst>
                        <a:gd name="connsiteX0" fmla="*/ 103151 w 219075"/>
                        <a:gd name="connsiteY0" fmla="*/ 0 h 390525"/>
                        <a:gd name="connsiteX1" fmla="*/ 6377 w 219075"/>
                        <a:gd name="connsiteY1" fmla="*/ 174974 h 390525"/>
                        <a:gd name="connsiteX2" fmla="*/ 196592 w 219075"/>
                        <a:gd name="connsiteY2" fmla="*/ 392049 h 390525"/>
                        <a:gd name="connsiteX3" fmla="*/ 185733 w 219075"/>
                        <a:gd name="connsiteY3" fmla="*/ 269367 h 390525"/>
                        <a:gd name="connsiteX4" fmla="*/ 116486 w 219075"/>
                        <a:gd name="connsiteY4" fmla="*/ 158877 h 390525"/>
                        <a:gd name="connsiteX5" fmla="*/ 103151 w 219075"/>
                        <a:gd name="connsiteY5" fmla="*/ 0 h 39052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219075" h="390525">
                          <a:moveTo>
                            <a:pt x="103151" y="0"/>
                          </a:moveTo>
                          <a:cubicBezTo>
                            <a:pt x="103151" y="0"/>
                            <a:pt x="-30294" y="68008"/>
                            <a:pt x="6377" y="174974"/>
                          </a:cubicBezTo>
                          <a:cubicBezTo>
                            <a:pt x="43049" y="281845"/>
                            <a:pt x="146490" y="401765"/>
                            <a:pt x="196592" y="392049"/>
                          </a:cubicBezTo>
                          <a:cubicBezTo>
                            <a:pt x="246598" y="382334"/>
                            <a:pt x="215832" y="324421"/>
                            <a:pt x="185733" y="269367"/>
                          </a:cubicBezTo>
                          <a:cubicBezTo>
                            <a:pt x="155729" y="214313"/>
                            <a:pt x="116486" y="158877"/>
                            <a:pt x="116486" y="158877"/>
                          </a:cubicBezTo>
                          <a:lnTo>
                            <a:pt x="103151" y="0"/>
                          </a:lnTo>
                          <a:close/>
                        </a:path>
                      </a:pathLst>
                    </a:custGeom>
                    <a:solidFill>
                      <a:srgbClr val="F7CEBB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194" name="Freeform: Shape 2193">
                      <a:extLst>
                        <a:ext uri="{FF2B5EF4-FFF2-40B4-BE49-F238E27FC236}">
                          <a16:creationId xmlns:a16="http://schemas.microsoft.com/office/drawing/2014/main" id="{45046E58-FB9C-4905-B357-673040BF388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1564371" y="2897695"/>
                      <a:ext cx="133350" cy="238125"/>
                    </a:xfrm>
                    <a:custGeom>
                      <a:avLst/>
                      <a:gdLst>
                        <a:gd name="connsiteX0" fmla="*/ 76676 w 133350"/>
                        <a:gd name="connsiteY0" fmla="*/ 0 h 238125"/>
                        <a:gd name="connsiteX1" fmla="*/ 90011 w 133350"/>
                        <a:gd name="connsiteY1" fmla="*/ 158782 h 238125"/>
                        <a:gd name="connsiteX2" fmla="*/ 142780 w 133350"/>
                        <a:gd name="connsiteY2" fmla="*/ 240411 h 238125"/>
                        <a:gd name="connsiteX3" fmla="*/ 0 w 133350"/>
                        <a:gd name="connsiteY3" fmla="*/ 64770 h 238125"/>
                        <a:gd name="connsiteX4" fmla="*/ 76676 w 133350"/>
                        <a:gd name="connsiteY4" fmla="*/ 0 h 23812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33350" h="238125">
                          <a:moveTo>
                            <a:pt x="76676" y="0"/>
                          </a:moveTo>
                          <a:lnTo>
                            <a:pt x="90011" y="158782"/>
                          </a:lnTo>
                          <a:cubicBezTo>
                            <a:pt x="90011" y="158782"/>
                            <a:pt x="116586" y="196405"/>
                            <a:pt x="142780" y="240411"/>
                          </a:cubicBezTo>
                          <a:cubicBezTo>
                            <a:pt x="99631" y="224885"/>
                            <a:pt x="36481" y="146304"/>
                            <a:pt x="0" y="64770"/>
                          </a:cubicBezTo>
                          <a:cubicBezTo>
                            <a:pt x="30575" y="23622"/>
                            <a:pt x="76676" y="0"/>
                            <a:pt x="76676" y="0"/>
                          </a:cubicBezTo>
                          <a:close/>
                        </a:path>
                      </a:pathLst>
                    </a:custGeom>
                    <a:solidFill>
                      <a:srgbClr val="DA905E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195" name="Freeform: Shape 2194">
                      <a:extLst>
                        <a:ext uri="{FF2B5EF4-FFF2-40B4-BE49-F238E27FC236}">
                          <a16:creationId xmlns:a16="http://schemas.microsoft.com/office/drawing/2014/main" id="{067973C6-AFAC-4683-BE9E-FC0A9ED344F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1584285" y="2733579"/>
                      <a:ext cx="209550" cy="390525"/>
                    </a:xfrm>
                    <a:custGeom>
                      <a:avLst/>
                      <a:gdLst>
                        <a:gd name="connsiteX0" fmla="*/ 100115 w 209550"/>
                        <a:gd name="connsiteY0" fmla="*/ 0 h 390525"/>
                        <a:gd name="connsiteX1" fmla="*/ 6199 w 209550"/>
                        <a:gd name="connsiteY1" fmla="*/ 174974 h 390525"/>
                        <a:gd name="connsiteX2" fmla="*/ 190889 w 209550"/>
                        <a:gd name="connsiteY2" fmla="*/ 392049 h 390525"/>
                        <a:gd name="connsiteX3" fmla="*/ 180411 w 209550"/>
                        <a:gd name="connsiteY3" fmla="*/ 269367 h 390525"/>
                        <a:gd name="connsiteX4" fmla="*/ 113165 w 209550"/>
                        <a:gd name="connsiteY4" fmla="*/ 158877 h 390525"/>
                        <a:gd name="connsiteX5" fmla="*/ 100115 w 209550"/>
                        <a:gd name="connsiteY5" fmla="*/ 0 h 39052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209550" h="390525">
                          <a:moveTo>
                            <a:pt x="100115" y="0"/>
                          </a:moveTo>
                          <a:cubicBezTo>
                            <a:pt x="100115" y="0"/>
                            <a:pt x="-29425" y="68008"/>
                            <a:pt x="6199" y="174974"/>
                          </a:cubicBezTo>
                          <a:cubicBezTo>
                            <a:pt x="41822" y="281845"/>
                            <a:pt x="142216" y="401669"/>
                            <a:pt x="190889" y="392049"/>
                          </a:cubicBezTo>
                          <a:cubicBezTo>
                            <a:pt x="239466" y="382333"/>
                            <a:pt x="209558" y="324422"/>
                            <a:pt x="180411" y="269367"/>
                          </a:cubicBezTo>
                          <a:cubicBezTo>
                            <a:pt x="151265" y="214312"/>
                            <a:pt x="113165" y="158877"/>
                            <a:pt x="113165" y="158877"/>
                          </a:cubicBezTo>
                          <a:lnTo>
                            <a:pt x="100115" y="0"/>
                          </a:lnTo>
                          <a:close/>
                        </a:path>
                      </a:pathLst>
                    </a:custGeom>
                    <a:solidFill>
                      <a:srgbClr val="F7CEBB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196" name="Freeform: Shape 2195">
                      <a:extLst>
                        <a:ext uri="{FF2B5EF4-FFF2-40B4-BE49-F238E27FC236}">
                          <a16:creationId xmlns:a16="http://schemas.microsoft.com/office/drawing/2014/main" id="{B63D30D7-6644-444E-9908-E64080D8CC2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1126030" y="3591496"/>
                      <a:ext cx="123825" cy="123825"/>
                    </a:xfrm>
                    <a:custGeom>
                      <a:avLst/>
                      <a:gdLst>
                        <a:gd name="connsiteX0" fmla="*/ 0 w 123825"/>
                        <a:gd name="connsiteY0" fmla="*/ 65913 h 123825"/>
                        <a:gd name="connsiteX1" fmla="*/ 66008 w 123825"/>
                        <a:gd name="connsiteY1" fmla="*/ 131826 h 123825"/>
                        <a:gd name="connsiteX2" fmla="*/ 131921 w 123825"/>
                        <a:gd name="connsiteY2" fmla="*/ 65913 h 123825"/>
                        <a:gd name="connsiteX3" fmla="*/ 66008 w 123825"/>
                        <a:gd name="connsiteY3" fmla="*/ 0 h 123825"/>
                        <a:gd name="connsiteX4" fmla="*/ 0 w 123825"/>
                        <a:gd name="connsiteY4" fmla="*/ 65913 h 12382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23825" h="123825">
                          <a:moveTo>
                            <a:pt x="0" y="65913"/>
                          </a:moveTo>
                          <a:cubicBezTo>
                            <a:pt x="0" y="102394"/>
                            <a:pt x="29528" y="131826"/>
                            <a:pt x="66008" y="131826"/>
                          </a:cubicBezTo>
                          <a:cubicBezTo>
                            <a:pt x="102394" y="131826"/>
                            <a:pt x="131921" y="102299"/>
                            <a:pt x="131921" y="65913"/>
                          </a:cubicBezTo>
                          <a:cubicBezTo>
                            <a:pt x="131921" y="29528"/>
                            <a:pt x="102394" y="0"/>
                            <a:pt x="66008" y="0"/>
                          </a:cubicBezTo>
                          <a:cubicBezTo>
                            <a:pt x="29528" y="0"/>
                            <a:pt x="0" y="29528"/>
                            <a:pt x="0" y="65913"/>
                          </a:cubicBezTo>
                          <a:close/>
                        </a:path>
                      </a:pathLst>
                    </a:custGeom>
                    <a:solidFill>
                      <a:srgbClr val="596A83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197" name="Freeform: Shape 2196">
                      <a:extLst>
                        <a:ext uri="{FF2B5EF4-FFF2-40B4-BE49-F238E27FC236}">
                          <a16:creationId xmlns:a16="http://schemas.microsoft.com/office/drawing/2014/main" id="{8E09CBC8-6130-46BD-9294-18DE4E68C58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1110123" y="3607308"/>
                      <a:ext cx="95250" cy="95250"/>
                    </a:xfrm>
                    <a:custGeom>
                      <a:avLst/>
                      <a:gdLst>
                        <a:gd name="connsiteX0" fmla="*/ 0 w 95250"/>
                        <a:gd name="connsiteY0" fmla="*/ 50101 h 95250"/>
                        <a:gd name="connsiteX1" fmla="*/ 50102 w 95250"/>
                        <a:gd name="connsiteY1" fmla="*/ 100203 h 95250"/>
                        <a:gd name="connsiteX2" fmla="*/ 100203 w 95250"/>
                        <a:gd name="connsiteY2" fmla="*/ 50101 h 95250"/>
                        <a:gd name="connsiteX3" fmla="*/ 50102 w 95250"/>
                        <a:gd name="connsiteY3" fmla="*/ 0 h 95250"/>
                        <a:gd name="connsiteX4" fmla="*/ 0 w 95250"/>
                        <a:gd name="connsiteY4" fmla="*/ 50101 h 952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95250" h="95250">
                          <a:moveTo>
                            <a:pt x="0" y="50101"/>
                          </a:moveTo>
                          <a:cubicBezTo>
                            <a:pt x="0" y="77819"/>
                            <a:pt x="22479" y="100203"/>
                            <a:pt x="50102" y="100203"/>
                          </a:cubicBezTo>
                          <a:cubicBezTo>
                            <a:pt x="77819" y="100203"/>
                            <a:pt x="100203" y="77724"/>
                            <a:pt x="100203" y="50101"/>
                          </a:cubicBezTo>
                          <a:cubicBezTo>
                            <a:pt x="100203" y="22384"/>
                            <a:pt x="77724" y="0"/>
                            <a:pt x="50102" y="0"/>
                          </a:cubicBezTo>
                          <a:cubicBezTo>
                            <a:pt x="22384" y="0"/>
                            <a:pt x="0" y="22479"/>
                            <a:pt x="0" y="50101"/>
                          </a:cubicBezTo>
                          <a:close/>
                        </a:path>
                      </a:pathLst>
                    </a:custGeom>
                    <a:solidFill>
                      <a:srgbClr val="17264B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198" name="Freeform: Shape 2197">
                      <a:extLst>
                        <a:ext uri="{FF2B5EF4-FFF2-40B4-BE49-F238E27FC236}">
                          <a16:creationId xmlns:a16="http://schemas.microsoft.com/office/drawing/2014/main" id="{7A2F4804-DA44-4D55-BB6B-953283DB0F4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1429211" y="2461641"/>
                      <a:ext cx="733425" cy="123825"/>
                    </a:xfrm>
                    <a:custGeom>
                      <a:avLst/>
                      <a:gdLst>
                        <a:gd name="connsiteX0" fmla="*/ 23812 w 733425"/>
                        <a:gd name="connsiteY0" fmla="*/ 0 h 123825"/>
                        <a:gd name="connsiteX1" fmla="*/ 714280 w 733425"/>
                        <a:gd name="connsiteY1" fmla="*/ 0 h 123825"/>
                        <a:gd name="connsiteX2" fmla="*/ 738092 w 733425"/>
                        <a:gd name="connsiteY2" fmla="*/ 21812 h 123825"/>
                        <a:gd name="connsiteX3" fmla="*/ 738092 w 733425"/>
                        <a:gd name="connsiteY3" fmla="*/ 128587 h 123825"/>
                        <a:gd name="connsiteX4" fmla="*/ 0 w 733425"/>
                        <a:gd name="connsiteY4" fmla="*/ 128587 h 123825"/>
                        <a:gd name="connsiteX5" fmla="*/ 0 w 733425"/>
                        <a:gd name="connsiteY5" fmla="*/ 21717 h 123825"/>
                        <a:gd name="connsiteX6" fmla="*/ 23812 w 733425"/>
                        <a:gd name="connsiteY6" fmla="*/ 0 h 12382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733425" h="123825">
                          <a:moveTo>
                            <a:pt x="23812" y="0"/>
                          </a:moveTo>
                          <a:lnTo>
                            <a:pt x="714280" y="0"/>
                          </a:lnTo>
                          <a:cubicBezTo>
                            <a:pt x="727424" y="0"/>
                            <a:pt x="738092" y="9811"/>
                            <a:pt x="738092" y="21812"/>
                          </a:cubicBezTo>
                          <a:lnTo>
                            <a:pt x="738092" y="128587"/>
                          </a:lnTo>
                          <a:lnTo>
                            <a:pt x="0" y="128587"/>
                          </a:lnTo>
                          <a:lnTo>
                            <a:pt x="0" y="21717"/>
                          </a:lnTo>
                          <a:cubicBezTo>
                            <a:pt x="0" y="9715"/>
                            <a:pt x="10573" y="0"/>
                            <a:pt x="23812" y="0"/>
                          </a:cubicBezTo>
                          <a:close/>
                        </a:path>
                      </a:pathLst>
                    </a:custGeom>
                    <a:solidFill>
                      <a:schemeClr val="bg1">
                        <a:lumMod val="85000"/>
                      </a:schemeClr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2177" name="Graphic 2009">
                    <a:extLst>
                      <a:ext uri="{FF2B5EF4-FFF2-40B4-BE49-F238E27FC236}">
                        <a16:creationId xmlns:a16="http://schemas.microsoft.com/office/drawing/2014/main" id="{DEF7A493-C477-422F-B11A-3E32377848BA}"/>
                      </a:ext>
                    </a:extLst>
                  </p:cNvPr>
                  <p:cNvGrpSpPr/>
                  <p:nvPr/>
                </p:nvGrpSpPr>
                <p:grpSpPr>
                  <a:xfrm>
                    <a:off x="-827612" y="2490120"/>
                    <a:ext cx="85725" cy="66675"/>
                    <a:chOff x="-827612" y="2490120"/>
                    <a:chExt cx="85725" cy="66675"/>
                  </a:xfrm>
                  <a:solidFill>
                    <a:srgbClr val="FFFFFF">
                      <a:alpha val="50000"/>
                    </a:srgbClr>
                  </a:solidFill>
                </p:grpSpPr>
                <p:sp>
                  <p:nvSpPr>
                    <p:cNvPr id="2182" name="Freeform: Shape 2181">
                      <a:extLst>
                        <a:ext uri="{FF2B5EF4-FFF2-40B4-BE49-F238E27FC236}">
                          <a16:creationId xmlns:a16="http://schemas.microsoft.com/office/drawing/2014/main" id="{D1FA88C5-69B4-4FD7-9874-63D52CF1EE7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827612" y="2490120"/>
                      <a:ext cx="85725" cy="9525"/>
                    </a:xfrm>
                    <a:custGeom>
                      <a:avLst/>
                      <a:gdLst>
                        <a:gd name="connsiteX0" fmla="*/ 0 w 85725"/>
                        <a:gd name="connsiteY0" fmla="*/ 0 h 9525"/>
                        <a:gd name="connsiteX1" fmla="*/ 92012 w 85725"/>
                        <a:gd name="connsiteY1" fmla="*/ 0 h 9525"/>
                        <a:gd name="connsiteX2" fmla="*/ 92012 w 85725"/>
                        <a:gd name="connsiteY2" fmla="*/ 12668 h 9525"/>
                        <a:gd name="connsiteX3" fmla="*/ 0 w 85725"/>
                        <a:gd name="connsiteY3" fmla="*/ 12668 h 952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85725" h="9525">
                          <a:moveTo>
                            <a:pt x="0" y="0"/>
                          </a:moveTo>
                          <a:lnTo>
                            <a:pt x="92012" y="0"/>
                          </a:lnTo>
                          <a:lnTo>
                            <a:pt x="92012" y="12668"/>
                          </a:lnTo>
                          <a:lnTo>
                            <a:pt x="0" y="12668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50000"/>
                      </a:srgbClr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183" name="Freeform: Shape 2182">
                      <a:extLst>
                        <a:ext uri="{FF2B5EF4-FFF2-40B4-BE49-F238E27FC236}">
                          <a16:creationId xmlns:a16="http://schemas.microsoft.com/office/drawing/2014/main" id="{E67AF787-E837-40DB-9093-C9FF671BEC1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827612" y="2521743"/>
                      <a:ext cx="85725" cy="9525"/>
                    </a:xfrm>
                    <a:custGeom>
                      <a:avLst/>
                      <a:gdLst>
                        <a:gd name="connsiteX0" fmla="*/ 0 w 85725"/>
                        <a:gd name="connsiteY0" fmla="*/ 0 h 9525"/>
                        <a:gd name="connsiteX1" fmla="*/ 92012 w 85725"/>
                        <a:gd name="connsiteY1" fmla="*/ 0 h 9525"/>
                        <a:gd name="connsiteX2" fmla="*/ 92012 w 85725"/>
                        <a:gd name="connsiteY2" fmla="*/ 12668 h 9525"/>
                        <a:gd name="connsiteX3" fmla="*/ 0 w 85725"/>
                        <a:gd name="connsiteY3" fmla="*/ 12668 h 952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85725" h="9525">
                          <a:moveTo>
                            <a:pt x="0" y="0"/>
                          </a:moveTo>
                          <a:lnTo>
                            <a:pt x="92012" y="0"/>
                          </a:lnTo>
                          <a:lnTo>
                            <a:pt x="92012" y="12668"/>
                          </a:lnTo>
                          <a:lnTo>
                            <a:pt x="0" y="12668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50000"/>
                      </a:srgbClr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184" name="Freeform: Shape 2183">
                      <a:extLst>
                        <a:ext uri="{FF2B5EF4-FFF2-40B4-BE49-F238E27FC236}">
                          <a16:creationId xmlns:a16="http://schemas.microsoft.com/office/drawing/2014/main" id="{DB161680-26B9-4394-94B1-A2A4161321D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827612" y="2553462"/>
                      <a:ext cx="85725" cy="9525"/>
                    </a:xfrm>
                    <a:custGeom>
                      <a:avLst/>
                      <a:gdLst>
                        <a:gd name="connsiteX0" fmla="*/ 0 w 85725"/>
                        <a:gd name="connsiteY0" fmla="*/ 0 h 9525"/>
                        <a:gd name="connsiteX1" fmla="*/ 92012 w 85725"/>
                        <a:gd name="connsiteY1" fmla="*/ 0 h 9525"/>
                        <a:gd name="connsiteX2" fmla="*/ 92012 w 85725"/>
                        <a:gd name="connsiteY2" fmla="*/ 12668 h 9525"/>
                        <a:gd name="connsiteX3" fmla="*/ 0 w 85725"/>
                        <a:gd name="connsiteY3" fmla="*/ 12668 h 952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85725" h="9525">
                          <a:moveTo>
                            <a:pt x="0" y="0"/>
                          </a:moveTo>
                          <a:lnTo>
                            <a:pt x="92012" y="0"/>
                          </a:lnTo>
                          <a:lnTo>
                            <a:pt x="92012" y="12668"/>
                          </a:lnTo>
                          <a:lnTo>
                            <a:pt x="0" y="12668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50000"/>
                      </a:srgbClr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2178" name="Graphic 2009">
                    <a:extLst>
                      <a:ext uri="{FF2B5EF4-FFF2-40B4-BE49-F238E27FC236}">
                        <a16:creationId xmlns:a16="http://schemas.microsoft.com/office/drawing/2014/main" id="{2701AB61-C43D-4953-B747-4B28668121E1}"/>
                      </a:ext>
                    </a:extLst>
                  </p:cNvPr>
                  <p:cNvGrpSpPr/>
                  <p:nvPr/>
                </p:nvGrpSpPr>
                <p:grpSpPr>
                  <a:xfrm>
                    <a:off x="-1369680" y="2476118"/>
                    <a:ext cx="19050" cy="85725"/>
                    <a:chOff x="-1369680" y="2476118"/>
                    <a:chExt cx="19050" cy="85725"/>
                  </a:xfrm>
                  <a:solidFill>
                    <a:srgbClr val="FFFFFF">
                      <a:alpha val="50000"/>
                    </a:srgbClr>
                  </a:solidFill>
                </p:grpSpPr>
                <p:sp>
                  <p:nvSpPr>
                    <p:cNvPr id="2179" name="Freeform: Shape 2178">
                      <a:extLst>
                        <a:ext uri="{FF2B5EF4-FFF2-40B4-BE49-F238E27FC236}">
                          <a16:creationId xmlns:a16="http://schemas.microsoft.com/office/drawing/2014/main" id="{D3690AC3-B8D1-4067-9BC4-51DECDFAD2E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1369680" y="2476118"/>
                      <a:ext cx="19050" cy="19050"/>
                    </a:xfrm>
                    <a:custGeom>
                      <a:avLst/>
                      <a:gdLst>
                        <a:gd name="connsiteX0" fmla="*/ 0 w 19050"/>
                        <a:gd name="connsiteY0" fmla="*/ 10001 h 19050"/>
                        <a:gd name="connsiteX1" fmla="*/ 10001 w 19050"/>
                        <a:gd name="connsiteY1" fmla="*/ 20003 h 19050"/>
                        <a:gd name="connsiteX2" fmla="*/ 20003 w 19050"/>
                        <a:gd name="connsiteY2" fmla="*/ 10001 h 19050"/>
                        <a:gd name="connsiteX3" fmla="*/ 10001 w 19050"/>
                        <a:gd name="connsiteY3" fmla="*/ 0 h 19050"/>
                        <a:gd name="connsiteX4" fmla="*/ 0 w 19050"/>
                        <a:gd name="connsiteY4" fmla="*/ 10001 h 190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9050" h="19050">
                          <a:moveTo>
                            <a:pt x="0" y="10001"/>
                          </a:moveTo>
                          <a:cubicBezTo>
                            <a:pt x="0" y="15526"/>
                            <a:pt x="4477" y="20003"/>
                            <a:pt x="10001" y="20003"/>
                          </a:cubicBezTo>
                          <a:cubicBezTo>
                            <a:pt x="15526" y="20003"/>
                            <a:pt x="20003" y="15526"/>
                            <a:pt x="20003" y="10001"/>
                          </a:cubicBezTo>
                          <a:cubicBezTo>
                            <a:pt x="20003" y="4477"/>
                            <a:pt x="15526" y="0"/>
                            <a:pt x="10001" y="0"/>
                          </a:cubicBezTo>
                          <a:cubicBezTo>
                            <a:pt x="4477" y="0"/>
                            <a:pt x="0" y="4477"/>
                            <a:pt x="0" y="10001"/>
                          </a:cubicBezTo>
                          <a:close/>
                        </a:path>
                      </a:pathLst>
                    </a:custGeom>
                    <a:solidFill>
                      <a:srgbClr val="FFFFFF">
                        <a:alpha val="50000"/>
                      </a:srgbClr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180" name="Freeform: Shape 2179">
                      <a:extLst>
                        <a:ext uri="{FF2B5EF4-FFF2-40B4-BE49-F238E27FC236}">
                          <a16:creationId xmlns:a16="http://schemas.microsoft.com/office/drawing/2014/main" id="{77CE7DEF-880E-4864-80D9-A086CC2645E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1369680" y="2510123"/>
                      <a:ext cx="19050" cy="19050"/>
                    </a:xfrm>
                    <a:custGeom>
                      <a:avLst/>
                      <a:gdLst>
                        <a:gd name="connsiteX0" fmla="*/ 0 w 19050"/>
                        <a:gd name="connsiteY0" fmla="*/ 10001 h 19050"/>
                        <a:gd name="connsiteX1" fmla="*/ 10001 w 19050"/>
                        <a:gd name="connsiteY1" fmla="*/ 20002 h 19050"/>
                        <a:gd name="connsiteX2" fmla="*/ 20003 w 19050"/>
                        <a:gd name="connsiteY2" fmla="*/ 10001 h 19050"/>
                        <a:gd name="connsiteX3" fmla="*/ 10001 w 19050"/>
                        <a:gd name="connsiteY3" fmla="*/ 0 h 19050"/>
                        <a:gd name="connsiteX4" fmla="*/ 0 w 19050"/>
                        <a:gd name="connsiteY4" fmla="*/ 10001 h 190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9050" h="19050">
                          <a:moveTo>
                            <a:pt x="0" y="10001"/>
                          </a:moveTo>
                          <a:cubicBezTo>
                            <a:pt x="0" y="15526"/>
                            <a:pt x="4477" y="20002"/>
                            <a:pt x="10001" y="20002"/>
                          </a:cubicBezTo>
                          <a:cubicBezTo>
                            <a:pt x="15526" y="20002"/>
                            <a:pt x="20003" y="15526"/>
                            <a:pt x="20003" y="10001"/>
                          </a:cubicBezTo>
                          <a:cubicBezTo>
                            <a:pt x="20003" y="4477"/>
                            <a:pt x="15526" y="0"/>
                            <a:pt x="10001" y="0"/>
                          </a:cubicBezTo>
                          <a:cubicBezTo>
                            <a:pt x="4477" y="0"/>
                            <a:pt x="0" y="4477"/>
                            <a:pt x="0" y="10001"/>
                          </a:cubicBezTo>
                          <a:close/>
                        </a:path>
                      </a:pathLst>
                    </a:custGeom>
                    <a:solidFill>
                      <a:srgbClr val="FFFFFF">
                        <a:alpha val="50000"/>
                      </a:srgbClr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181" name="Freeform: Shape 2180">
                      <a:extLst>
                        <a:ext uri="{FF2B5EF4-FFF2-40B4-BE49-F238E27FC236}">
                          <a16:creationId xmlns:a16="http://schemas.microsoft.com/office/drawing/2014/main" id="{E475EFDE-36CF-4E11-81DD-7F06DAB388D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1369680" y="2544127"/>
                      <a:ext cx="19050" cy="19050"/>
                    </a:xfrm>
                    <a:custGeom>
                      <a:avLst/>
                      <a:gdLst>
                        <a:gd name="connsiteX0" fmla="*/ 0 w 19050"/>
                        <a:gd name="connsiteY0" fmla="*/ 10001 h 19050"/>
                        <a:gd name="connsiteX1" fmla="*/ 10001 w 19050"/>
                        <a:gd name="connsiteY1" fmla="*/ 20003 h 19050"/>
                        <a:gd name="connsiteX2" fmla="*/ 20003 w 19050"/>
                        <a:gd name="connsiteY2" fmla="*/ 10001 h 19050"/>
                        <a:gd name="connsiteX3" fmla="*/ 10001 w 19050"/>
                        <a:gd name="connsiteY3" fmla="*/ 0 h 19050"/>
                        <a:gd name="connsiteX4" fmla="*/ 0 w 19050"/>
                        <a:gd name="connsiteY4" fmla="*/ 10001 h 190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9050" h="19050">
                          <a:moveTo>
                            <a:pt x="0" y="10001"/>
                          </a:moveTo>
                          <a:cubicBezTo>
                            <a:pt x="0" y="15526"/>
                            <a:pt x="4477" y="20003"/>
                            <a:pt x="10001" y="20003"/>
                          </a:cubicBezTo>
                          <a:cubicBezTo>
                            <a:pt x="15526" y="20003"/>
                            <a:pt x="20003" y="15526"/>
                            <a:pt x="20003" y="10001"/>
                          </a:cubicBezTo>
                          <a:cubicBezTo>
                            <a:pt x="20003" y="4477"/>
                            <a:pt x="15526" y="0"/>
                            <a:pt x="10001" y="0"/>
                          </a:cubicBezTo>
                          <a:cubicBezTo>
                            <a:pt x="4477" y="0"/>
                            <a:pt x="0" y="4477"/>
                            <a:pt x="0" y="10001"/>
                          </a:cubicBezTo>
                          <a:close/>
                        </a:path>
                      </a:pathLst>
                    </a:custGeom>
                    <a:solidFill>
                      <a:srgbClr val="FFFFFF">
                        <a:alpha val="50000"/>
                      </a:srgbClr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</p:grpSp>
            <p:grpSp>
              <p:nvGrpSpPr>
                <p:cNvPr id="2114" name="Graphic 2009">
                  <a:extLst>
                    <a:ext uri="{FF2B5EF4-FFF2-40B4-BE49-F238E27FC236}">
                      <a16:creationId xmlns:a16="http://schemas.microsoft.com/office/drawing/2014/main" id="{D805601D-2994-4700-894E-FF375881B049}"/>
                    </a:ext>
                  </a:extLst>
                </p:cNvPr>
                <p:cNvGrpSpPr/>
                <p:nvPr/>
              </p:nvGrpSpPr>
              <p:grpSpPr>
                <a:xfrm>
                  <a:off x="10210195" y="3188781"/>
                  <a:ext cx="928711" cy="1215426"/>
                  <a:chOff x="-2641648" y="2731085"/>
                  <a:chExt cx="1419225" cy="1857375"/>
                </a:xfrm>
                <a:solidFill>
                  <a:srgbClr val="725752"/>
                </a:solidFill>
              </p:grpSpPr>
              <p:grpSp>
                <p:nvGrpSpPr>
                  <p:cNvPr id="2170" name="Graphic 2009">
                    <a:extLst>
                      <a:ext uri="{FF2B5EF4-FFF2-40B4-BE49-F238E27FC236}">
                        <a16:creationId xmlns:a16="http://schemas.microsoft.com/office/drawing/2014/main" id="{3A62634B-728A-490E-A61D-16B936B0B53A}"/>
                      </a:ext>
                    </a:extLst>
                  </p:cNvPr>
                  <p:cNvGrpSpPr/>
                  <p:nvPr/>
                </p:nvGrpSpPr>
                <p:grpSpPr>
                  <a:xfrm>
                    <a:off x="-2641648" y="2731085"/>
                    <a:ext cx="1419225" cy="1857375"/>
                    <a:chOff x="-2641648" y="2731085"/>
                    <a:chExt cx="1419225" cy="1857375"/>
                  </a:xfrm>
                  <a:grpFill/>
                </p:grpSpPr>
                <p:sp>
                  <p:nvSpPr>
                    <p:cNvPr id="2172" name="Freeform: Shape 2171">
                      <a:extLst>
                        <a:ext uri="{FF2B5EF4-FFF2-40B4-BE49-F238E27FC236}">
                          <a16:creationId xmlns:a16="http://schemas.microsoft.com/office/drawing/2014/main" id="{BFFAAA4B-DB84-4A6C-A0F1-8AFBA8FCF07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2004806" y="2905314"/>
                      <a:ext cx="361950" cy="342900"/>
                    </a:xfrm>
                    <a:custGeom>
                      <a:avLst/>
                      <a:gdLst>
                        <a:gd name="connsiteX0" fmla="*/ 367665 w 361950"/>
                        <a:gd name="connsiteY0" fmla="*/ 1 h 342900"/>
                        <a:gd name="connsiteX1" fmla="*/ 0 w 361950"/>
                        <a:gd name="connsiteY1" fmla="*/ 233935 h 342900"/>
                        <a:gd name="connsiteX2" fmla="*/ 36767 w 361950"/>
                        <a:gd name="connsiteY2" fmla="*/ 351855 h 342900"/>
                        <a:gd name="connsiteX3" fmla="*/ 367665 w 361950"/>
                        <a:gd name="connsiteY3" fmla="*/ 1 h 3429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361950" h="342900">
                          <a:moveTo>
                            <a:pt x="367665" y="1"/>
                          </a:moveTo>
                          <a:cubicBezTo>
                            <a:pt x="367665" y="1"/>
                            <a:pt x="105918" y="-2475"/>
                            <a:pt x="0" y="233935"/>
                          </a:cubicBezTo>
                          <a:lnTo>
                            <a:pt x="36767" y="351855"/>
                          </a:lnTo>
                          <a:cubicBezTo>
                            <a:pt x="36767" y="351855"/>
                            <a:pt x="310420" y="81249"/>
                            <a:pt x="367665" y="1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173" name="Freeform: Shape 2172">
                      <a:extLst>
                        <a:ext uri="{FF2B5EF4-FFF2-40B4-BE49-F238E27FC236}">
                          <a16:creationId xmlns:a16="http://schemas.microsoft.com/office/drawing/2014/main" id="{087BAEF8-7626-4095-857B-99E2247046D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1908604" y="2876356"/>
                      <a:ext cx="400050" cy="352425"/>
                    </a:xfrm>
                    <a:custGeom>
                      <a:avLst/>
                      <a:gdLst>
                        <a:gd name="connsiteX0" fmla="*/ 401193 w 400050"/>
                        <a:gd name="connsiteY0" fmla="*/ 4861 h 352425"/>
                        <a:gd name="connsiteX1" fmla="*/ 0 w 400050"/>
                        <a:gd name="connsiteY1" fmla="*/ 277371 h 352425"/>
                        <a:gd name="connsiteX2" fmla="*/ 93536 w 400050"/>
                        <a:gd name="connsiteY2" fmla="*/ 355000 h 352425"/>
                        <a:gd name="connsiteX3" fmla="*/ 401193 w 400050"/>
                        <a:gd name="connsiteY3" fmla="*/ 4861 h 35242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400050" h="352425">
                          <a:moveTo>
                            <a:pt x="401193" y="4861"/>
                          </a:moveTo>
                          <a:cubicBezTo>
                            <a:pt x="401193" y="4861"/>
                            <a:pt x="205169" y="-59147"/>
                            <a:pt x="0" y="277371"/>
                          </a:cubicBezTo>
                          <a:lnTo>
                            <a:pt x="93536" y="355000"/>
                          </a:lnTo>
                          <a:cubicBezTo>
                            <a:pt x="93536" y="355000"/>
                            <a:pt x="343948" y="86205"/>
                            <a:pt x="401193" y="4861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174" name="Freeform: Shape 2173">
                      <a:extLst>
                        <a:ext uri="{FF2B5EF4-FFF2-40B4-BE49-F238E27FC236}">
                          <a16:creationId xmlns:a16="http://schemas.microsoft.com/office/drawing/2014/main" id="{659927E3-F239-4F95-8AEB-54679150976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1788113" y="2835736"/>
                      <a:ext cx="409575" cy="381000"/>
                    </a:xfrm>
                    <a:custGeom>
                      <a:avLst/>
                      <a:gdLst>
                        <a:gd name="connsiteX0" fmla="*/ 409956 w 409575"/>
                        <a:gd name="connsiteY0" fmla="*/ 808 h 381000"/>
                        <a:gd name="connsiteX1" fmla="*/ 0 w 409575"/>
                        <a:gd name="connsiteY1" fmla="*/ 330564 h 381000"/>
                        <a:gd name="connsiteX2" fmla="*/ 124206 w 409575"/>
                        <a:gd name="connsiteY2" fmla="*/ 382380 h 381000"/>
                        <a:gd name="connsiteX3" fmla="*/ 409956 w 409575"/>
                        <a:gd name="connsiteY3" fmla="*/ 808 h 3810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409575" h="381000">
                          <a:moveTo>
                            <a:pt x="409956" y="808"/>
                          </a:moveTo>
                          <a:cubicBezTo>
                            <a:pt x="409956" y="808"/>
                            <a:pt x="214027" y="-32625"/>
                            <a:pt x="0" y="330564"/>
                          </a:cubicBezTo>
                          <a:lnTo>
                            <a:pt x="124206" y="382380"/>
                          </a:lnTo>
                          <a:cubicBezTo>
                            <a:pt x="124206" y="382380"/>
                            <a:pt x="350330" y="88629"/>
                            <a:pt x="409956" y="808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175" name="Freeform: Shape 2174">
                      <a:extLst>
                        <a:ext uri="{FF2B5EF4-FFF2-40B4-BE49-F238E27FC236}">
                          <a16:creationId xmlns:a16="http://schemas.microsoft.com/office/drawing/2014/main" id="{41A9147F-8DAF-4001-8C65-E82B3D60651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2641648" y="2731085"/>
                      <a:ext cx="1419225" cy="1857375"/>
                    </a:xfrm>
                    <a:custGeom>
                      <a:avLst/>
                      <a:gdLst>
                        <a:gd name="connsiteX0" fmla="*/ 976694 w 1419225"/>
                        <a:gd name="connsiteY0" fmla="*/ 1232172 h 1857375"/>
                        <a:gd name="connsiteX1" fmla="*/ 718566 w 1419225"/>
                        <a:gd name="connsiteY1" fmla="*/ 1364379 h 1857375"/>
                        <a:gd name="connsiteX2" fmla="*/ 452438 w 1419225"/>
                        <a:gd name="connsiteY2" fmla="*/ 1866823 h 1857375"/>
                        <a:gd name="connsiteX3" fmla="*/ 223838 w 1419225"/>
                        <a:gd name="connsiteY3" fmla="*/ 1862060 h 1857375"/>
                        <a:gd name="connsiteX4" fmla="*/ 0 w 1419225"/>
                        <a:gd name="connsiteY4" fmla="*/ 1714423 h 1857375"/>
                        <a:gd name="connsiteX5" fmla="*/ 400431 w 1419225"/>
                        <a:gd name="connsiteY5" fmla="*/ 1022622 h 1857375"/>
                        <a:gd name="connsiteX6" fmla="*/ 636746 w 1419225"/>
                        <a:gd name="connsiteY6" fmla="*/ 408164 h 1857375"/>
                        <a:gd name="connsiteX7" fmla="*/ 973646 w 1419225"/>
                        <a:gd name="connsiteY7" fmla="*/ 487317 h 1857375"/>
                        <a:gd name="connsiteX8" fmla="*/ 1024700 w 1419225"/>
                        <a:gd name="connsiteY8" fmla="*/ 405973 h 1857375"/>
                        <a:gd name="connsiteX9" fmla="*/ 1269302 w 1419225"/>
                        <a:gd name="connsiteY9" fmla="*/ 95744 h 1857375"/>
                        <a:gd name="connsiteX10" fmla="*/ 1412843 w 1419225"/>
                        <a:gd name="connsiteY10" fmla="*/ 8781 h 1857375"/>
                        <a:gd name="connsiteX11" fmla="*/ 1362361 w 1419225"/>
                        <a:gd name="connsiteY11" fmla="*/ 189184 h 1857375"/>
                        <a:gd name="connsiteX12" fmla="*/ 1031938 w 1419225"/>
                        <a:gd name="connsiteY12" fmla="*/ 746873 h 1857375"/>
                        <a:gd name="connsiteX13" fmla="*/ 1033748 w 1419225"/>
                        <a:gd name="connsiteY13" fmla="*/ 913084 h 1857375"/>
                        <a:gd name="connsiteX14" fmla="*/ 1230059 w 1419225"/>
                        <a:gd name="connsiteY14" fmla="*/ 782592 h 1857375"/>
                        <a:gd name="connsiteX15" fmla="*/ 1399508 w 1419225"/>
                        <a:gd name="connsiteY15" fmla="*/ 729538 h 1857375"/>
                        <a:gd name="connsiteX16" fmla="*/ 976694 w 1419225"/>
                        <a:gd name="connsiteY16" fmla="*/ 1232172 h 185737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</a:cxnLst>
                      <a:rect l="l" t="t" r="r" b="b"/>
                      <a:pathLst>
                        <a:path w="1419225" h="1857375">
                          <a:moveTo>
                            <a:pt x="976694" y="1232172"/>
                          </a:moveTo>
                          <a:cubicBezTo>
                            <a:pt x="929164" y="1249698"/>
                            <a:pt x="775145" y="1282750"/>
                            <a:pt x="718566" y="1364379"/>
                          </a:cubicBezTo>
                          <a:lnTo>
                            <a:pt x="452438" y="1866823"/>
                          </a:lnTo>
                          <a:cubicBezTo>
                            <a:pt x="452438" y="1866823"/>
                            <a:pt x="397764" y="1867299"/>
                            <a:pt x="223838" y="1862060"/>
                          </a:cubicBezTo>
                          <a:cubicBezTo>
                            <a:pt x="49911" y="1856821"/>
                            <a:pt x="0" y="1714423"/>
                            <a:pt x="0" y="1714423"/>
                          </a:cubicBezTo>
                          <a:lnTo>
                            <a:pt x="400431" y="1022622"/>
                          </a:lnTo>
                          <a:cubicBezTo>
                            <a:pt x="432530" y="743349"/>
                            <a:pt x="636746" y="408164"/>
                            <a:pt x="636746" y="408164"/>
                          </a:cubicBezTo>
                          <a:cubicBezTo>
                            <a:pt x="659130" y="358539"/>
                            <a:pt x="988790" y="440740"/>
                            <a:pt x="973646" y="487317"/>
                          </a:cubicBezTo>
                          <a:cubicBezTo>
                            <a:pt x="998125" y="446264"/>
                            <a:pt x="1000030" y="442645"/>
                            <a:pt x="1024700" y="405973"/>
                          </a:cubicBezTo>
                          <a:cubicBezTo>
                            <a:pt x="1098804" y="286149"/>
                            <a:pt x="1269302" y="95744"/>
                            <a:pt x="1269302" y="95744"/>
                          </a:cubicBezTo>
                          <a:cubicBezTo>
                            <a:pt x="1341977" y="5257"/>
                            <a:pt x="1373696" y="-14079"/>
                            <a:pt x="1412843" y="8781"/>
                          </a:cubicBezTo>
                          <a:cubicBezTo>
                            <a:pt x="1451991" y="31641"/>
                            <a:pt x="1405223" y="136797"/>
                            <a:pt x="1362361" y="189184"/>
                          </a:cubicBezTo>
                          <a:cubicBezTo>
                            <a:pt x="1362361" y="189184"/>
                            <a:pt x="1074611" y="512177"/>
                            <a:pt x="1031938" y="746873"/>
                          </a:cubicBezTo>
                          <a:cubicBezTo>
                            <a:pt x="1005173" y="894034"/>
                            <a:pt x="988505" y="906226"/>
                            <a:pt x="1033748" y="913084"/>
                          </a:cubicBezTo>
                          <a:cubicBezTo>
                            <a:pt x="1078992" y="920038"/>
                            <a:pt x="1125093" y="889939"/>
                            <a:pt x="1230059" y="782592"/>
                          </a:cubicBezTo>
                          <a:cubicBezTo>
                            <a:pt x="1354264" y="645337"/>
                            <a:pt x="1399508" y="729538"/>
                            <a:pt x="1399508" y="729538"/>
                          </a:cubicBezTo>
                          <a:cubicBezTo>
                            <a:pt x="1153382" y="1161401"/>
                            <a:pt x="1119283" y="1179499"/>
                            <a:pt x="976694" y="1232172"/>
                          </a:cubicBezTo>
                          <a:close/>
                        </a:path>
                      </a:pathLst>
                    </a:custGeom>
                    <a:grpFill/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2171" name="Freeform: Shape 2170">
                    <a:extLst>
                      <a:ext uri="{FF2B5EF4-FFF2-40B4-BE49-F238E27FC236}">
                        <a16:creationId xmlns:a16="http://schemas.microsoft.com/office/drawing/2014/main" id="{733467EE-5FB8-4256-9E13-3390960CAEDE}"/>
                      </a:ext>
                    </a:extLst>
                  </p:cNvPr>
                  <p:cNvSpPr/>
                  <p:nvPr/>
                </p:nvSpPr>
                <p:spPr>
                  <a:xfrm>
                    <a:off x="-1353106" y="3473100"/>
                    <a:ext cx="95250" cy="95250"/>
                  </a:xfrm>
                  <a:custGeom>
                    <a:avLst/>
                    <a:gdLst>
                      <a:gd name="connsiteX0" fmla="*/ 103346 w 95250"/>
                      <a:gd name="connsiteY0" fmla="*/ 0 h 95250"/>
                      <a:gd name="connsiteX1" fmla="*/ 0 w 95250"/>
                      <a:gd name="connsiteY1" fmla="*/ 66865 h 95250"/>
                      <a:gd name="connsiteX2" fmla="*/ 44101 w 95250"/>
                      <a:gd name="connsiteY2" fmla="*/ 96012 h 95250"/>
                      <a:gd name="connsiteX3" fmla="*/ 103346 w 95250"/>
                      <a:gd name="connsiteY3" fmla="*/ 0 h 952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95250" h="95250">
                        <a:moveTo>
                          <a:pt x="103346" y="0"/>
                        </a:moveTo>
                        <a:cubicBezTo>
                          <a:pt x="103346" y="0"/>
                          <a:pt x="31528" y="3239"/>
                          <a:pt x="0" y="66865"/>
                        </a:cubicBezTo>
                        <a:lnTo>
                          <a:pt x="44101" y="96012"/>
                        </a:lnTo>
                        <a:lnTo>
                          <a:pt x="103346" y="0"/>
                        </a:ln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2115" name="Graphic 2009">
                  <a:extLst>
                    <a:ext uri="{FF2B5EF4-FFF2-40B4-BE49-F238E27FC236}">
                      <a16:creationId xmlns:a16="http://schemas.microsoft.com/office/drawing/2014/main" id="{C30ABDE8-C120-4759-9F6A-A2C0046F15A5}"/>
                    </a:ext>
                  </a:extLst>
                </p:cNvPr>
                <p:cNvGrpSpPr/>
                <p:nvPr/>
              </p:nvGrpSpPr>
              <p:grpSpPr>
                <a:xfrm>
                  <a:off x="10756157" y="2714847"/>
                  <a:ext cx="241118" cy="240004"/>
                  <a:chOff x="-2232019" y="2407390"/>
                  <a:chExt cx="368468" cy="366766"/>
                </a:xfrm>
                <a:solidFill>
                  <a:schemeClr val="accent1"/>
                </a:solidFill>
              </p:grpSpPr>
              <p:sp>
                <p:nvSpPr>
                  <p:cNvPr id="2144" name="Freeform: Shape 2143">
                    <a:extLst>
                      <a:ext uri="{FF2B5EF4-FFF2-40B4-BE49-F238E27FC236}">
                        <a16:creationId xmlns:a16="http://schemas.microsoft.com/office/drawing/2014/main" id="{10B4D43C-B7CA-45CD-9EA5-536704265E6F}"/>
                      </a:ext>
                    </a:extLst>
                  </p:cNvPr>
                  <p:cNvSpPr/>
                  <p:nvPr/>
                </p:nvSpPr>
                <p:spPr>
                  <a:xfrm>
                    <a:off x="-2168351" y="2507456"/>
                    <a:ext cx="304800" cy="266700"/>
                  </a:xfrm>
                  <a:custGeom>
                    <a:avLst/>
                    <a:gdLst>
                      <a:gd name="connsiteX0" fmla="*/ 0 w 304800"/>
                      <a:gd name="connsiteY0" fmla="*/ 215837 h 266700"/>
                      <a:gd name="connsiteX1" fmla="*/ 12192 w 304800"/>
                      <a:gd name="connsiteY1" fmla="*/ 254032 h 266700"/>
                      <a:gd name="connsiteX2" fmla="*/ 54293 w 304800"/>
                      <a:gd name="connsiteY2" fmla="*/ 275844 h 266700"/>
                      <a:gd name="connsiteX3" fmla="*/ 310610 w 304800"/>
                      <a:gd name="connsiteY3" fmla="*/ 194120 h 266700"/>
                      <a:gd name="connsiteX4" fmla="*/ 275749 w 304800"/>
                      <a:gd name="connsiteY4" fmla="*/ 84963 h 266700"/>
                      <a:gd name="connsiteX5" fmla="*/ 111538 w 304800"/>
                      <a:gd name="connsiteY5" fmla="*/ 0 h 2667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304800" h="266700">
                        <a:moveTo>
                          <a:pt x="0" y="215837"/>
                        </a:moveTo>
                        <a:lnTo>
                          <a:pt x="12192" y="254032"/>
                        </a:lnTo>
                        <a:lnTo>
                          <a:pt x="54293" y="275844"/>
                        </a:lnTo>
                        <a:lnTo>
                          <a:pt x="310610" y="194120"/>
                        </a:lnTo>
                        <a:lnTo>
                          <a:pt x="275749" y="84963"/>
                        </a:lnTo>
                        <a:lnTo>
                          <a:pt x="111538" y="0"/>
                        </a:lnTo>
                        <a:close/>
                      </a:path>
                    </a:pathLst>
                  </a:custGeom>
                  <a:solidFill>
                    <a:srgbClr val="BFD4F8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145" name="Freeform: Shape 2144">
                    <a:extLst>
                      <a:ext uri="{FF2B5EF4-FFF2-40B4-BE49-F238E27FC236}">
                        <a16:creationId xmlns:a16="http://schemas.microsoft.com/office/drawing/2014/main" id="{E9D8ABBF-BCD8-4330-B40D-4B548CD6D9F1}"/>
                      </a:ext>
                    </a:extLst>
                  </p:cNvPr>
                  <p:cNvSpPr/>
                  <p:nvPr/>
                </p:nvSpPr>
                <p:spPr>
                  <a:xfrm>
                    <a:off x="-2231978" y="2431732"/>
                    <a:ext cx="342900" cy="323850"/>
                  </a:xfrm>
                  <a:custGeom>
                    <a:avLst/>
                    <a:gdLst>
                      <a:gd name="connsiteX0" fmla="*/ 313277 w 342900"/>
                      <a:gd name="connsiteY0" fmla="*/ 253555 h 323850"/>
                      <a:gd name="connsiteX1" fmla="*/ 75629 w 342900"/>
                      <a:gd name="connsiteY1" fmla="*/ 329279 h 323850"/>
                      <a:gd name="connsiteX2" fmla="*/ 0 w 342900"/>
                      <a:gd name="connsiteY2" fmla="*/ 91821 h 323850"/>
                      <a:gd name="connsiteX3" fmla="*/ 288226 w 342900"/>
                      <a:gd name="connsiteY3" fmla="*/ 0 h 323850"/>
                      <a:gd name="connsiteX4" fmla="*/ 347758 w 342900"/>
                      <a:gd name="connsiteY4" fmla="*/ 186785 h 3238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42900" h="323850">
                        <a:moveTo>
                          <a:pt x="313277" y="253555"/>
                        </a:moveTo>
                        <a:lnTo>
                          <a:pt x="75629" y="329279"/>
                        </a:lnTo>
                        <a:lnTo>
                          <a:pt x="0" y="91821"/>
                        </a:lnTo>
                        <a:lnTo>
                          <a:pt x="288226" y="0"/>
                        </a:lnTo>
                        <a:lnTo>
                          <a:pt x="347758" y="186785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146" name="Freeform: Shape 2145">
                    <a:extLst>
                      <a:ext uri="{FF2B5EF4-FFF2-40B4-BE49-F238E27FC236}">
                        <a16:creationId xmlns:a16="http://schemas.microsoft.com/office/drawing/2014/main" id="{FBCDA3CF-CBB2-42F8-A56A-0C824CF1ED00}"/>
                      </a:ext>
                    </a:extLst>
                  </p:cNvPr>
                  <p:cNvSpPr/>
                  <p:nvPr/>
                </p:nvSpPr>
                <p:spPr>
                  <a:xfrm>
                    <a:off x="-1918129" y="2619089"/>
                    <a:ext cx="47625" cy="57150"/>
                  </a:xfrm>
                  <a:custGeom>
                    <a:avLst/>
                    <a:gdLst>
                      <a:gd name="connsiteX0" fmla="*/ 50006 w 47625"/>
                      <a:gd name="connsiteY0" fmla="*/ 50006 h 57150"/>
                      <a:gd name="connsiteX1" fmla="*/ 34100 w 47625"/>
                      <a:gd name="connsiteY1" fmla="*/ 0 h 57150"/>
                      <a:gd name="connsiteX2" fmla="*/ 0 w 47625"/>
                      <a:gd name="connsiteY2" fmla="*/ 66008 h 571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47625" h="57150">
                        <a:moveTo>
                          <a:pt x="50006" y="50006"/>
                        </a:moveTo>
                        <a:lnTo>
                          <a:pt x="34100" y="0"/>
                        </a:lnTo>
                        <a:lnTo>
                          <a:pt x="0" y="66008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147" name="Freeform: Shape 2146">
                    <a:extLst>
                      <a:ext uri="{FF2B5EF4-FFF2-40B4-BE49-F238E27FC236}">
                        <a16:creationId xmlns:a16="http://schemas.microsoft.com/office/drawing/2014/main" id="{1DDC8D42-B73A-4D4F-8ED7-1A9D682AA75B}"/>
                      </a:ext>
                    </a:extLst>
                  </p:cNvPr>
                  <p:cNvSpPr/>
                  <p:nvPr/>
                </p:nvSpPr>
                <p:spPr>
                  <a:xfrm>
                    <a:off x="-2232019" y="2431651"/>
                    <a:ext cx="304800" cy="142875"/>
                  </a:xfrm>
                  <a:custGeom>
                    <a:avLst/>
                    <a:gdLst>
                      <a:gd name="connsiteX0" fmla="*/ 0 w 304800"/>
                      <a:gd name="connsiteY0" fmla="*/ 91873 h 142875"/>
                      <a:gd name="connsiteX1" fmla="*/ 288235 w 304800"/>
                      <a:gd name="connsiteY1" fmla="*/ 0 h 142875"/>
                      <a:gd name="connsiteX2" fmla="*/ 304898 w 304800"/>
                      <a:gd name="connsiteY2" fmla="*/ 52274 h 142875"/>
                      <a:gd name="connsiteX3" fmla="*/ 16662 w 304800"/>
                      <a:gd name="connsiteY3" fmla="*/ 144148 h 1428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304800" h="142875">
                        <a:moveTo>
                          <a:pt x="0" y="91873"/>
                        </a:moveTo>
                        <a:lnTo>
                          <a:pt x="288235" y="0"/>
                        </a:lnTo>
                        <a:lnTo>
                          <a:pt x="304898" y="52274"/>
                        </a:lnTo>
                        <a:lnTo>
                          <a:pt x="16662" y="144148"/>
                        </a:lnTo>
                        <a:close/>
                      </a:path>
                    </a:pathLst>
                  </a:custGeom>
                  <a:solidFill>
                    <a:srgbClr val="FA7071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grpSp>
                <p:nvGrpSpPr>
                  <p:cNvPr id="2148" name="Graphic 2009">
                    <a:extLst>
                      <a:ext uri="{FF2B5EF4-FFF2-40B4-BE49-F238E27FC236}">
                        <a16:creationId xmlns:a16="http://schemas.microsoft.com/office/drawing/2014/main" id="{42E143A9-D3FC-41CD-A214-38E21368B6CC}"/>
                      </a:ext>
                    </a:extLst>
                  </p:cNvPr>
                  <p:cNvGrpSpPr/>
                  <p:nvPr/>
                </p:nvGrpSpPr>
                <p:grpSpPr>
                  <a:xfrm>
                    <a:off x="-2220770" y="2407390"/>
                    <a:ext cx="257175" cy="123825"/>
                    <a:chOff x="-2220770" y="2407390"/>
                    <a:chExt cx="257175" cy="123825"/>
                  </a:xfrm>
                  <a:solidFill>
                    <a:srgbClr val="3D4166"/>
                  </a:solidFill>
                </p:grpSpPr>
                <p:sp>
                  <p:nvSpPr>
                    <p:cNvPr id="2164" name="Freeform: Shape 2163">
                      <a:extLst>
                        <a:ext uri="{FF2B5EF4-FFF2-40B4-BE49-F238E27FC236}">
                          <a16:creationId xmlns:a16="http://schemas.microsoft.com/office/drawing/2014/main" id="{C48BD417-7716-49E2-A8EF-66A801605EE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2220770" y="2479418"/>
                      <a:ext cx="28575" cy="57150"/>
                    </a:xfrm>
                    <a:custGeom>
                      <a:avLst/>
                      <a:gdLst>
                        <a:gd name="connsiteX0" fmla="*/ 0 w 28575"/>
                        <a:gd name="connsiteY0" fmla="*/ 6321 h 57150"/>
                        <a:gd name="connsiteX1" fmla="*/ 19780 w 28575"/>
                        <a:gd name="connsiteY1" fmla="*/ 0 h 57150"/>
                        <a:gd name="connsiteX2" fmla="*/ 36481 w 28575"/>
                        <a:gd name="connsiteY2" fmla="*/ 52263 h 57150"/>
                        <a:gd name="connsiteX3" fmla="*/ 16701 w 28575"/>
                        <a:gd name="connsiteY3" fmla="*/ 58584 h 571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28575" h="57150">
                          <a:moveTo>
                            <a:pt x="0" y="6321"/>
                          </a:moveTo>
                          <a:lnTo>
                            <a:pt x="19780" y="0"/>
                          </a:lnTo>
                          <a:lnTo>
                            <a:pt x="36481" y="52263"/>
                          </a:lnTo>
                          <a:lnTo>
                            <a:pt x="16701" y="58584"/>
                          </a:lnTo>
                          <a:close/>
                        </a:path>
                      </a:pathLst>
                    </a:custGeom>
                    <a:solidFill>
                      <a:srgbClr val="3D4166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165" name="Freeform: Shape 2164">
                      <a:extLst>
                        <a:ext uri="{FF2B5EF4-FFF2-40B4-BE49-F238E27FC236}">
                          <a16:creationId xmlns:a16="http://schemas.microsoft.com/office/drawing/2014/main" id="{6688C059-6539-48AE-AFC7-896BB10A7F6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2175556" y="2465039"/>
                      <a:ext cx="28575" cy="57150"/>
                    </a:xfrm>
                    <a:custGeom>
                      <a:avLst/>
                      <a:gdLst>
                        <a:gd name="connsiteX0" fmla="*/ 0 w 28575"/>
                        <a:gd name="connsiteY0" fmla="*/ 6300 h 57150"/>
                        <a:gd name="connsiteX1" fmla="*/ 19784 w 28575"/>
                        <a:gd name="connsiteY1" fmla="*/ 0 h 57150"/>
                        <a:gd name="connsiteX2" fmla="*/ 36430 w 28575"/>
                        <a:gd name="connsiteY2" fmla="*/ 52274 h 57150"/>
                        <a:gd name="connsiteX3" fmla="*/ 16646 w 28575"/>
                        <a:gd name="connsiteY3" fmla="*/ 58574 h 571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28575" h="57150">
                          <a:moveTo>
                            <a:pt x="0" y="6300"/>
                          </a:moveTo>
                          <a:lnTo>
                            <a:pt x="19784" y="0"/>
                          </a:lnTo>
                          <a:lnTo>
                            <a:pt x="36430" y="52274"/>
                          </a:lnTo>
                          <a:lnTo>
                            <a:pt x="16646" y="58574"/>
                          </a:lnTo>
                          <a:close/>
                        </a:path>
                      </a:pathLst>
                    </a:custGeom>
                    <a:solidFill>
                      <a:srgbClr val="3D4166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166" name="Freeform: Shape 2165">
                      <a:extLst>
                        <a:ext uri="{FF2B5EF4-FFF2-40B4-BE49-F238E27FC236}">
                          <a16:creationId xmlns:a16="http://schemas.microsoft.com/office/drawing/2014/main" id="{34CA1613-C0D8-4BAF-A683-0B6A73B4DF3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2130250" y="2450633"/>
                      <a:ext cx="28575" cy="57150"/>
                    </a:xfrm>
                    <a:custGeom>
                      <a:avLst/>
                      <a:gdLst>
                        <a:gd name="connsiteX0" fmla="*/ 0 w 28575"/>
                        <a:gd name="connsiteY0" fmla="*/ 6285 h 57150"/>
                        <a:gd name="connsiteX1" fmla="*/ 19791 w 28575"/>
                        <a:gd name="connsiteY1" fmla="*/ 0 h 57150"/>
                        <a:gd name="connsiteX2" fmla="*/ 36398 w 28575"/>
                        <a:gd name="connsiteY2" fmla="*/ 52291 h 57150"/>
                        <a:gd name="connsiteX3" fmla="*/ 16607 w 28575"/>
                        <a:gd name="connsiteY3" fmla="*/ 58576 h 571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28575" h="57150">
                          <a:moveTo>
                            <a:pt x="0" y="6285"/>
                          </a:moveTo>
                          <a:lnTo>
                            <a:pt x="19791" y="0"/>
                          </a:lnTo>
                          <a:lnTo>
                            <a:pt x="36398" y="52291"/>
                          </a:lnTo>
                          <a:lnTo>
                            <a:pt x="16607" y="58576"/>
                          </a:lnTo>
                          <a:close/>
                        </a:path>
                      </a:pathLst>
                    </a:custGeom>
                    <a:solidFill>
                      <a:srgbClr val="3D4166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167" name="Freeform: Shape 2166">
                      <a:extLst>
                        <a:ext uri="{FF2B5EF4-FFF2-40B4-BE49-F238E27FC236}">
                          <a16:creationId xmlns:a16="http://schemas.microsoft.com/office/drawing/2014/main" id="{F8C54D91-CFCD-4EF2-AF66-BE65980F660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2084996" y="2436250"/>
                      <a:ext cx="28575" cy="57150"/>
                    </a:xfrm>
                    <a:custGeom>
                      <a:avLst/>
                      <a:gdLst>
                        <a:gd name="connsiteX0" fmla="*/ 0 w 28575"/>
                        <a:gd name="connsiteY0" fmla="*/ 6285 h 57150"/>
                        <a:gd name="connsiteX1" fmla="*/ 19791 w 28575"/>
                        <a:gd name="connsiteY1" fmla="*/ 0 h 57150"/>
                        <a:gd name="connsiteX2" fmla="*/ 36398 w 28575"/>
                        <a:gd name="connsiteY2" fmla="*/ 52291 h 57150"/>
                        <a:gd name="connsiteX3" fmla="*/ 16607 w 28575"/>
                        <a:gd name="connsiteY3" fmla="*/ 58576 h 571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28575" h="57150">
                          <a:moveTo>
                            <a:pt x="0" y="6285"/>
                          </a:moveTo>
                          <a:lnTo>
                            <a:pt x="19791" y="0"/>
                          </a:lnTo>
                          <a:lnTo>
                            <a:pt x="36398" y="52291"/>
                          </a:lnTo>
                          <a:lnTo>
                            <a:pt x="16607" y="58576"/>
                          </a:lnTo>
                          <a:close/>
                        </a:path>
                      </a:pathLst>
                    </a:custGeom>
                    <a:solidFill>
                      <a:srgbClr val="3D4166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168" name="Freeform: Shape 2167">
                      <a:extLst>
                        <a:ext uri="{FF2B5EF4-FFF2-40B4-BE49-F238E27FC236}">
                          <a16:creationId xmlns:a16="http://schemas.microsoft.com/office/drawing/2014/main" id="{0E5DB3A2-2488-4FC2-A2FF-BC9F0469040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2039909" y="2421809"/>
                      <a:ext cx="28575" cy="57150"/>
                    </a:xfrm>
                    <a:custGeom>
                      <a:avLst/>
                      <a:gdLst>
                        <a:gd name="connsiteX0" fmla="*/ 0 w 28575"/>
                        <a:gd name="connsiteY0" fmla="*/ 6302 h 57150"/>
                        <a:gd name="connsiteX1" fmla="*/ 19784 w 28575"/>
                        <a:gd name="connsiteY1" fmla="*/ 0 h 57150"/>
                        <a:gd name="connsiteX2" fmla="*/ 36436 w 28575"/>
                        <a:gd name="connsiteY2" fmla="*/ 52274 h 57150"/>
                        <a:gd name="connsiteX3" fmla="*/ 16651 w 28575"/>
                        <a:gd name="connsiteY3" fmla="*/ 58576 h 571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28575" h="57150">
                          <a:moveTo>
                            <a:pt x="0" y="6302"/>
                          </a:moveTo>
                          <a:lnTo>
                            <a:pt x="19784" y="0"/>
                          </a:lnTo>
                          <a:lnTo>
                            <a:pt x="36436" y="52274"/>
                          </a:lnTo>
                          <a:lnTo>
                            <a:pt x="16651" y="58576"/>
                          </a:lnTo>
                          <a:close/>
                        </a:path>
                      </a:pathLst>
                    </a:custGeom>
                    <a:solidFill>
                      <a:srgbClr val="3D4166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169" name="Freeform: Shape 2168">
                      <a:extLst>
                        <a:ext uri="{FF2B5EF4-FFF2-40B4-BE49-F238E27FC236}">
                          <a16:creationId xmlns:a16="http://schemas.microsoft.com/office/drawing/2014/main" id="{E51375FC-DEC6-4184-A4FE-307F3EC8E44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1994680" y="2407390"/>
                      <a:ext cx="28575" cy="57150"/>
                    </a:xfrm>
                    <a:custGeom>
                      <a:avLst/>
                      <a:gdLst>
                        <a:gd name="connsiteX0" fmla="*/ 0 w 28575"/>
                        <a:gd name="connsiteY0" fmla="*/ 6314 h 57150"/>
                        <a:gd name="connsiteX1" fmla="*/ 19780 w 28575"/>
                        <a:gd name="connsiteY1" fmla="*/ 0 h 57150"/>
                        <a:gd name="connsiteX2" fmla="*/ 36464 w 28575"/>
                        <a:gd name="connsiteY2" fmla="*/ 52263 h 57150"/>
                        <a:gd name="connsiteX3" fmla="*/ 16684 w 28575"/>
                        <a:gd name="connsiteY3" fmla="*/ 58578 h 571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28575" h="57150">
                          <a:moveTo>
                            <a:pt x="0" y="6314"/>
                          </a:moveTo>
                          <a:lnTo>
                            <a:pt x="19780" y="0"/>
                          </a:lnTo>
                          <a:lnTo>
                            <a:pt x="36464" y="52263"/>
                          </a:lnTo>
                          <a:lnTo>
                            <a:pt x="16684" y="58578"/>
                          </a:lnTo>
                          <a:close/>
                        </a:path>
                      </a:pathLst>
                    </a:custGeom>
                    <a:solidFill>
                      <a:srgbClr val="3D4166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2149" name="Graphic 2009">
                    <a:extLst>
                      <a:ext uri="{FF2B5EF4-FFF2-40B4-BE49-F238E27FC236}">
                        <a16:creationId xmlns:a16="http://schemas.microsoft.com/office/drawing/2014/main" id="{3859259B-D564-4309-AD1E-BFE4D7D029FC}"/>
                      </a:ext>
                    </a:extLst>
                  </p:cNvPr>
                  <p:cNvGrpSpPr/>
                  <p:nvPr/>
                </p:nvGrpSpPr>
                <p:grpSpPr>
                  <a:xfrm>
                    <a:off x="-2181563" y="2508634"/>
                    <a:ext cx="247650" cy="104775"/>
                    <a:chOff x="-2181563" y="2508634"/>
                    <a:chExt cx="247650" cy="104775"/>
                  </a:xfrm>
                  <a:solidFill>
                    <a:srgbClr val="BFD4F8"/>
                  </a:solidFill>
                </p:grpSpPr>
                <p:sp>
                  <p:nvSpPr>
                    <p:cNvPr id="2160" name="Freeform: Shape 2159">
                      <a:extLst>
                        <a:ext uri="{FF2B5EF4-FFF2-40B4-BE49-F238E27FC236}">
                          <a16:creationId xmlns:a16="http://schemas.microsoft.com/office/drawing/2014/main" id="{32BC808D-BF97-41A0-B158-6F864E9554C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2181563" y="2571561"/>
                      <a:ext cx="47625" cy="38100"/>
                    </a:xfrm>
                    <a:custGeom>
                      <a:avLst/>
                      <a:gdLst>
                        <a:gd name="connsiteX0" fmla="*/ 0 w 47625"/>
                        <a:gd name="connsiteY0" fmla="*/ 13638 h 38100"/>
                        <a:gd name="connsiteX1" fmla="*/ 42741 w 47625"/>
                        <a:gd name="connsiteY1" fmla="*/ 0 h 38100"/>
                        <a:gd name="connsiteX2" fmla="*/ 53252 w 47625"/>
                        <a:gd name="connsiteY2" fmla="*/ 32940 h 38100"/>
                        <a:gd name="connsiteX3" fmla="*/ 10511 w 47625"/>
                        <a:gd name="connsiteY3" fmla="*/ 46579 h 381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47625" h="38100">
                          <a:moveTo>
                            <a:pt x="0" y="13638"/>
                          </a:moveTo>
                          <a:lnTo>
                            <a:pt x="42741" y="0"/>
                          </a:lnTo>
                          <a:lnTo>
                            <a:pt x="53252" y="32940"/>
                          </a:lnTo>
                          <a:lnTo>
                            <a:pt x="10511" y="46579"/>
                          </a:lnTo>
                          <a:close/>
                        </a:path>
                      </a:pathLst>
                    </a:custGeom>
                    <a:solidFill>
                      <a:srgbClr val="BFD4F8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161" name="Freeform: Shape 2160">
                      <a:extLst>
                        <a:ext uri="{FF2B5EF4-FFF2-40B4-BE49-F238E27FC236}">
                          <a16:creationId xmlns:a16="http://schemas.microsoft.com/office/drawing/2014/main" id="{C1A1D02E-DE97-48ED-B38D-C4F9A4DCA03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2115849" y="2550509"/>
                      <a:ext cx="47625" cy="38100"/>
                    </a:xfrm>
                    <a:custGeom>
                      <a:avLst/>
                      <a:gdLst>
                        <a:gd name="connsiteX0" fmla="*/ 0 w 47625"/>
                        <a:gd name="connsiteY0" fmla="*/ 13643 h 38100"/>
                        <a:gd name="connsiteX1" fmla="*/ 42741 w 47625"/>
                        <a:gd name="connsiteY1" fmla="*/ 0 h 38100"/>
                        <a:gd name="connsiteX2" fmla="*/ 53255 w 47625"/>
                        <a:gd name="connsiteY2" fmla="*/ 32940 h 38100"/>
                        <a:gd name="connsiteX3" fmla="*/ 10514 w 47625"/>
                        <a:gd name="connsiteY3" fmla="*/ 46583 h 381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47625" h="38100">
                          <a:moveTo>
                            <a:pt x="0" y="13643"/>
                          </a:moveTo>
                          <a:lnTo>
                            <a:pt x="42741" y="0"/>
                          </a:lnTo>
                          <a:lnTo>
                            <a:pt x="53255" y="32940"/>
                          </a:lnTo>
                          <a:lnTo>
                            <a:pt x="10514" y="46583"/>
                          </a:lnTo>
                          <a:close/>
                        </a:path>
                      </a:pathLst>
                    </a:custGeom>
                    <a:solidFill>
                      <a:srgbClr val="BFD4F8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162" name="Freeform: Shape 2161">
                      <a:extLst>
                        <a:ext uri="{FF2B5EF4-FFF2-40B4-BE49-F238E27FC236}">
                          <a16:creationId xmlns:a16="http://schemas.microsoft.com/office/drawing/2014/main" id="{CBDAD75B-20A8-4CA3-BBC7-45073B021FF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2050108" y="2529628"/>
                      <a:ext cx="47625" cy="38100"/>
                    </a:xfrm>
                    <a:custGeom>
                      <a:avLst/>
                      <a:gdLst>
                        <a:gd name="connsiteX0" fmla="*/ 0 w 47625"/>
                        <a:gd name="connsiteY0" fmla="*/ 13654 h 38100"/>
                        <a:gd name="connsiteX1" fmla="*/ 42836 w 47625"/>
                        <a:gd name="connsiteY1" fmla="*/ 0 h 38100"/>
                        <a:gd name="connsiteX2" fmla="*/ 53337 w 47625"/>
                        <a:gd name="connsiteY2" fmla="*/ 32944 h 38100"/>
                        <a:gd name="connsiteX3" fmla="*/ 10501 w 47625"/>
                        <a:gd name="connsiteY3" fmla="*/ 46598 h 381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47625" h="38100">
                          <a:moveTo>
                            <a:pt x="0" y="13654"/>
                          </a:moveTo>
                          <a:lnTo>
                            <a:pt x="42836" y="0"/>
                          </a:lnTo>
                          <a:lnTo>
                            <a:pt x="53337" y="32944"/>
                          </a:lnTo>
                          <a:lnTo>
                            <a:pt x="10501" y="46598"/>
                          </a:lnTo>
                          <a:close/>
                        </a:path>
                      </a:pathLst>
                    </a:custGeom>
                    <a:solidFill>
                      <a:srgbClr val="BFD4F8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163" name="Freeform: Shape 2162">
                      <a:extLst>
                        <a:ext uri="{FF2B5EF4-FFF2-40B4-BE49-F238E27FC236}">
                          <a16:creationId xmlns:a16="http://schemas.microsoft.com/office/drawing/2014/main" id="{69A96694-97F4-4018-A44A-511C98B3434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1984422" y="2508634"/>
                      <a:ext cx="47625" cy="38100"/>
                    </a:xfrm>
                    <a:custGeom>
                      <a:avLst/>
                      <a:gdLst>
                        <a:gd name="connsiteX0" fmla="*/ 0 w 47625"/>
                        <a:gd name="connsiteY0" fmla="*/ 13638 h 38100"/>
                        <a:gd name="connsiteX1" fmla="*/ 42741 w 47625"/>
                        <a:gd name="connsiteY1" fmla="*/ 0 h 38100"/>
                        <a:gd name="connsiteX2" fmla="*/ 53252 w 47625"/>
                        <a:gd name="connsiteY2" fmla="*/ 32940 h 38100"/>
                        <a:gd name="connsiteX3" fmla="*/ 10511 w 47625"/>
                        <a:gd name="connsiteY3" fmla="*/ 46579 h 381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47625" h="38100">
                          <a:moveTo>
                            <a:pt x="0" y="13638"/>
                          </a:moveTo>
                          <a:lnTo>
                            <a:pt x="42741" y="0"/>
                          </a:lnTo>
                          <a:lnTo>
                            <a:pt x="53252" y="32940"/>
                          </a:lnTo>
                          <a:lnTo>
                            <a:pt x="10511" y="46579"/>
                          </a:lnTo>
                          <a:close/>
                        </a:path>
                      </a:pathLst>
                    </a:custGeom>
                    <a:solidFill>
                      <a:srgbClr val="BFD4F8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2150" name="Graphic 2009">
                    <a:extLst>
                      <a:ext uri="{FF2B5EF4-FFF2-40B4-BE49-F238E27FC236}">
                        <a16:creationId xmlns:a16="http://schemas.microsoft.com/office/drawing/2014/main" id="{84E01544-F025-4A80-AB3A-21EEFC112099}"/>
                      </a:ext>
                    </a:extLst>
                  </p:cNvPr>
                  <p:cNvGrpSpPr/>
                  <p:nvPr/>
                </p:nvGrpSpPr>
                <p:grpSpPr>
                  <a:xfrm>
                    <a:off x="-2164076" y="2563541"/>
                    <a:ext cx="247650" cy="104775"/>
                    <a:chOff x="-2164076" y="2563541"/>
                    <a:chExt cx="247650" cy="104775"/>
                  </a:xfrm>
                  <a:solidFill>
                    <a:schemeClr val="accent1"/>
                  </a:solidFill>
                </p:grpSpPr>
                <p:sp>
                  <p:nvSpPr>
                    <p:cNvPr id="2156" name="Freeform: Shape 2155">
                      <a:extLst>
                        <a:ext uri="{FF2B5EF4-FFF2-40B4-BE49-F238E27FC236}">
                          <a16:creationId xmlns:a16="http://schemas.microsoft.com/office/drawing/2014/main" id="{D969489F-CB1E-4511-AB56-31732AFC239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2164076" y="2626415"/>
                      <a:ext cx="47625" cy="38100"/>
                    </a:xfrm>
                    <a:custGeom>
                      <a:avLst/>
                      <a:gdLst>
                        <a:gd name="connsiteX0" fmla="*/ 0 w 47625"/>
                        <a:gd name="connsiteY0" fmla="*/ 13616 h 38100"/>
                        <a:gd name="connsiteX1" fmla="*/ 42745 w 47625"/>
                        <a:gd name="connsiteY1" fmla="*/ 0 h 38100"/>
                        <a:gd name="connsiteX2" fmla="*/ 53239 w 47625"/>
                        <a:gd name="connsiteY2" fmla="*/ 32944 h 38100"/>
                        <a:gd name="connsiteX3" fmla="*/ 10494 w 47625"/>
                        <a:gd name="connsiteY3" fmla="*/ 46560 h 381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47625" h="38100">
                          <a:moveTo>
                            <a:pt x="0" y="13616"/>
                          </a:moveTo>
                          <a:lnTo>
                            <a:pt x="42745" y="0"/>
                          </a:lnTo>
                          <a:lnTo>
                            <a:pt x="53239" y="32944"/>
                          </a:lnTo>
                          <a:lnTo>
                            <a:pt x="10494" y="46560"/>
                          </a:lnTo>
                          <a:close/>
                        </a:path>
                      </a:pathLst>
                    </a:custGeom>
                    <a:solidFill>
                      <a:srgbClr val="BFD4F8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157" name="Freeform: Shape 2156">
                      <a:extLst>
                        <a:ext uri="{FF2B5EF4-FFF2-40B4-BE49-F238E27FC236}">
                          <a16:creationId xmlns:a16="http://schemas.microsoft.com/office/drawing/2014/main" id="{FA6CDECE-4B26-466F-8A1E-07A57CAF458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2098331" y="2605426"/>
                      <a:ext cx="47625" cy="38100"/>
                    </a:xfrm>
                    <a:custGeom>
                      <a:avLst/>
                      <a:gdLst>
                        <a:gd name="connsiteX0" fmla="*/ 0 w 47625"/>
                        <a:gd name="connsiteY0" fmla="*/ 13649 h 38100"/>
                        <a:gd name="connsiteX1" fmla="*/ 42836 w 47625"/>
                        <a:gd name="connsiteY1" fmla="*/ 0 h 38100"/>
                        <a:gd name="connsiteX2" fmla="*/ 53333 w 47625"/>
                        <a:gd name="connsiteY2" fmla="*/ 32944 h 38100"/>
                        <a:gd name="connsiteX3" fmla="*/ 10497 w 47625"/>
                        <a:gd name="connsiteY3" fmla="*/ 46593 h 381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47625" h="38100">
                          <a:moveTo>
                            <a:pt x="0" y="13649"/>
                          </a:moveTo>
                          <a:lnTo>
                            <a:pt x="42836" y="0"/>
                          </a:lnTo>
                          <a:lnTo>
                            <a:pt x="53333" y="32944"/>
                          </a:lnTo>
                          <a:lnTo>
                            <a:pt x="10497" y="46593"/>
                          </a:lnTo>
                          <a:close/>
                        </a:path>
                      </a:pathLst>
                    </a:custGeom>
                    <a:solidFill>
                      <a:srgbClr val="FA7071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158" name="Freeform: Shape 2157">
                      <a:extLst>
                        <a:ext uri="{FF2B5EF4-FFF2-40B4-BE49-F238E27FC236}">
                          <a16:creationId xmlns:a16="http://schemas.microsoft.com/office/drawing/2014/main" id="{B4585F5B-11A0-454D-B99E-DF95E12F3DC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2032638" y="2584488"/>
                      <a:ext cx="47625" cy="38100"/>
                    </a:xfrm>
                    <a:custGeom>
                      <a:avLst/>
                      <a:gdLst>
                        <a:gd name="connsiteX0" fmla="*/ 0 w 47625"/>
                        <a:gd name="connsiteY0" fmla="*/ 13629 h 38100"/>
                        <a:gd name="connsiteX1" fmla="*/ 42741 w 47625"/>
                        <a:gd name="connsiteY1" fmla="*/ 0 h 38100"/>
                        <a:gd name="connsiteX2" fmla="*/ 53245 w 47625"/>
                        <a:gd name="connsiteY2" fmla="*/ 32940 h 38100"/>
                        <a:gd name="connsiteX3" fmla="*/ 10504 w 47625"/>
                        <a:gd name="connsiteY3" fmla="*/ 46570 h 381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47625" h="38100">
                          <a:moveTo>
                            <a:pt x="0" y="13629"/>
                          </a:moveTo>
                          <a:lnTo>
                            <a:pt x="42741" y="0"/>
                          </a:lnTo>
                          <a:lnTo>
                            <a:pt x="53245" y="32940"/>
                          </a:lnTo>
                          <a:lnTo>
                            <a:pt x="10504" y="46570"/>
                          </a:lnTo>
                          <a:close/>
                        </a:path>
                      </a:pathLst>
                    </a:custGeom>
                    <a:solidFill>
                      <a:srgbClr val="FA7071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159" name="Freeform: Shape 2158">
                      <a:extLst>
                        <a:ext uri="{FF2B5EF4-FFF2-40B4-BE49-F238E27FC236}">
                          <a16:creationId xmlns:a16="http://schemas.microsoft.com/office/drawing/2014/main" id="{5CEC5343-A763-4DF0-9703-46354083096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1966907" y="2563541"/>
                      <a:ext cx="47625" cy="38100"/>
                    </a:xfrm>
                    <a:custGeom>
                      <a:avLst/>
                      <a:gdLst>
                        <a:gd name="connsiteX0" fmla="*/ 0 w 47625"/>
                        <a:gd name="connsiteY0" fmla="*/ 13647 h 38100"/>
                        <a:gd name="connsiteX1" fmla="*/ 42736 w 47625"/>
                        <a:gd name="connsiteY1" fmla="*/ 0 h 38100"/>
                        <a:gd name="connsiteX2" fmla="*/ 53254 w 47625"/>
                        <a:gd name="connsiteY2" fmla="*/ 32937 h 38100"/>
                        <a:gd name="connsiteX3" fmla="*/ 10518 w 47625"/>
                        <a:gd name="connsiteY3" fmla="*/ 46584 h 381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47625" h="38100">
                          <a:moveTo>
                            <a:pt x="0" y="13647"/>
                          </a:moveTo>
                          <a:lnTo>
                            <a:pt x="42736" y="0"/>
                          </a:lnTo>
                          <a:lnTo>
                            <a:pt x="53254" y="32937"/>
                          </a:lnTo>
                          <a:lnTo>
                            <a:pt x="10518" y="46584"/>
                          </a:lnTo>
                          <a:close/>
                        </a:path>
                      </a:pathLst>
                    </a:custGeom>
                    <a:solidFill>
                      <a:srgbClr val="BFD4F8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2151" name="Graphic 2009">
                    <a:extLst>
                      <a:ext uri="{FF2B5EF4-FFF2-40B4-BE49-F238E27FC236}">
                        <a16:creationId xmlns:a16="http://schemas.microsoft.com/office/drawing/2014/main" id="{2C70BE2E-8661-4EA2-A929-49F5EB357199}"/>
                      </a:ext>
                    </a:extLst>
                  </p:cNvPr>
                  <p:cNvGrpSpPr/>
                  <p:nvPr/>
                </p:nvGrpSpPr>
                <p:grpSpPr>
                  <a:xfrm>
                    <a:off x="-2146609" y="2618532"/>
                    <a:ext cx="247650" cy="104775"/>
                    <a:chOff x="-2146609" y="2618532"/>
                    <a:chExt cx="247650" cy="104775"/>
                  </a:xfrm>
                  <a:solidFill>
                    <a:srgbClr val="BFD4F8"/>
                  </a:solidFill>
                </p:grpSpPr>
                <p:sp>
                  <p:nvSpPr>
                    <p:cNvPr id="2152" name="Freeform: Shape 2151">
                      <a:extLst>
                        <a:ext uri="{FF2B5EF4-FFF2-40B4-BE49-F238E27FC236}">
                          <a16:creationId xmlns:a16="http://schemas.microsoft.com/office/drawing/2014/main" id="{FF877B59-02FE-4A69-BDAE-234374CAB09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2146609" y="2681359"/>
                      <a:ext cx="47625" cy="38100"/>
                    </a:xfrm>
                    <a:custGeom>
                      <a:avLst/>
                      <a:gdLst>
                        <a:gd name="connsiteX0" fmla="*/ 0 w 47625"/>
                        <a:gd name="connsiteY0" fmla="*/ 13649 h 38100"/>
                        <a:gd name="connsiteX1" fmla="*/ 42836 w 47625"/>
                        <a:gd name="connsiteY1" fmla="*/ 0 h 38100"/>
                        <a:gd name="connsiteX2" fmla="*/ 53333 w 47625"/>
                        <a:gd name="connsiteY2" fmla="*/ 32944 h 38100"/>
                        <a:gd name="connsiteX3" fmla="*/ 10497 w 47625"/>
                        <a:gd name="connsiteY3" fmla="*/ 46593 h 381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47625" h="38100">
                          <a:moveTo>
                            <a:pt x="0" y="13649"/>
                          </a:moveTo>
                          <a:lnTo>
                            <a:pt x="42836" y="0"/>
                          </a:lnTo>
                          <a:lnTo>
                            <a:pt x="53333" y="32944"/>
                          </a:lnTo>
                          <a:lnTo>
                            <a:pt x="10497" y="46593"/>
                          </a:lnTo>
                          <a:close/>
                        </a:path>
                      </a:pathLst>
                    </a:custGeom>
                    <a:solidFill>
                      <a:srgbClr val="BFD4F8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153" name="Freeform: Shape 2152">
                      <a:extLst>
                        <a:ext uri="{FF2B5EF4-FFF2-40B4-BE49-F238E27FC236}">
                          <a16:creationId xmlns:a16="http://schemas.microsoft.com/office/drawing/2014/main" id="{61C9DA29-DB63-4095-89B6-EF424B6AC31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2080806" y="2660428"/>
                      <a:ext cx="47625" cy="38100"/>
                    </a:xfrm>
                    <a:custGeom>
                      <a:avLst/>
                      <a:gdLst>
                        <a:gd name="connsiteX0" fmla="*/ 0 w 47625"/>
                        <a:gd name="connsiteY0" fmla="*/ 13620 h 38100"/>
                        <a:gd name="connsiteX1" fmla="*/ 42745 w 47625"/>
                        <a:gd name="connsiteY1" fmla="*/ 0 h 38100"/>
                        <a:gd name="connsiteX2" fmla="*/ 53242 w 47625"/>
                        <a:gd name="connsiteY2" fmla="*/ 32944 h 38100"/>
                        <a:gd name="connsiteX3" fmla="*/ 10497 w 47625"/>
                        <a:gd name="connsiteY3" fmla="*/ 46564 h 381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47625" h="38100">
                          <a:moveTo>
                            <a:pt x="0" y="13620"/>
                          </a:moveTo>
                          <a:lnTo>
                            <a:pt x="42745" y="0"/>
                          </a:lnTo>
                          <a:lnTo>
                            <a:pt x="53242" y="32944"/>
                          </a:lnTo>
                          <a:lnTo>
                            <a:pt x="10497" y="46564"/>
                          </a:lnTo>
                          <a:close/>
                        </a:path>
                      </a:pathLst>
                    </a:custGeom>
                    <a:solidFill>
                      <a:srgbClr val="BFD4F8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154" name="Freeform: Shape 2153">
                      <a:extLst>
                        <a:ext uri="{FF2B5EF4-FFF2-40B4-BE49-F238E27FC236}">
                          <a16:creationId xmlns:a16="http://schemas.microsoft.com/office/drawing/2014/main" id="{A02ABE8C-03A0-449D-A9B3-45CB3753B47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2015081" y="2639441"/>
                      <a:ext cx="47625" cy="38100"/>
                    </a:xfrm>
                    <a:custGeom>
                      <a:avLst/>
                      <a:gdLst>
                        <a:gd name="connsiteX0" fmla="*/ 0 w 47625"/>
                        <a:gd name="connsiteY0" fmla="*/ 13634 h 38100"/>
                        <a:gd name="connsiteX1" fmla="*/ 42741 w 47625"/>
                        <a:gd name="connsiteY1" fmla="*/ 0 h 38100"/>
                        <a:gd name="connsiteX2" fmla="*/ 53248 w 47625"/>
                        <a:gd name="connsiteY2" fmla="*/ 32940 h 38100"/>
                        <a:gd name="connsiteX3" fmla="*/ 10508 w 47625"/>
                        <a:gd name="connsiteY3" fmla="*/ 46574 h 381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47625" h="38100">
                          <a:moveTo>
                            <a:pt x="0" y="13634"/>
                          </a:moveTo>
                          <a:lnTo>
                            <a:pt x="42741" y="0"/>
                          </a:lnTo>
                          <a:lnTo>
                            <a:pt x="53248" y="32940"/>
                          </a:lnTo>
                          <a:lnTo>
                            <a:pt x="10508" y="46574"/>
                          </a:lnTo>
                          <a:close/>
                        </a:path>
                      </a:pathLst>
                    </a:custGeom>
                    <a:solidFill>
                      <a:srgbClr val="BFD4F8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155" name="Freeform: Shape 2154">
                      <a:extLst>
                        <a:ext uri="{FF2B5EF4-FFF2-40B4-BE49-F238E27FC236}">
                          <a16:creationId xmlns:a16="http://schemas.microsoft.com/office/drawing/2014/main" id="{41B4F1F2-BE7E-43B8-90AA-CD2C192E3C7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1949362" y="2618532"/>
                      <a:ext cx="47625" cy="38100"/>
                    </a:xfrm>
                    <a:custGeom>
                      <a:avLst/>
                      <a:gdLst>
                        <a:gd name="connsiteX0" fmla="*/ 0 w 47625"/>
                        <a:gd name="connsiteY0" fmla="*/ 13620 h 38100"/>
                        <a:gd name="connsiteX1" fmla="*/ 42745 w 47625"/>
                        <a:gd name="connsiteY1" fmla="*/ 0 h 38100"/>
                        <a:gd name="connsiteX2" fmla="*/ 53242 w 47625"/>
                        <a:gd name="connsiteY2" fmla="*/ 32944 h 38100"/>
                        <a:gd name="connsiteX3" fmla="*/ 10497 w 47625"/>
                        <a:gd name="connsiteY3" fmla="*/ 46564 h 381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47625" h="38100">
                          <a:moveTo>
                            <a:pt x="0" y="13620"/>
                          </a:moveTo>
                          <a:lnTo>
                            <a:pt x="42745" y="0"/>
                          </a:lnTo>
                          <a:lnTo>
                            <a:pt x="53242" y="32944"/>
                          </a:lnTo>
                          <a:lnTo>
                            <a:pt x="10497" y="46564"/>
                          </a:lnTo>
                          <a:close/>
                        </a:path>
                      </a:pathLst>
                    </a:custGeom>
                    <a:solidFill>
                      <a:srgbClr val="BFD4F8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</p:grpSp>
            <p:grpSp>
              <p:nvGrpSpPr>
                <p:cNvPr id="2116" name="Graphic 2009">
                  <a:extLst>
                    <a:ext uri="{FF2B5EF4-FFF2-40B4-BE49-F238E27FC236}">
                      <a16:creationId xmlns:a16="http://schemas.microsoft.com/office/drawing/2014/main" id="{C01771AE-C8D7-4F86-AF52-24735E1FE9E5}"/>
                    </a:ext>
                  </a:extLst>
                </p:cNvPr>
                <p:cNvGrpSpPr/>
                <p:nvPr/>
              </p:nvGrpSpPr>
              <p:grpSpPr>
                <a:xfrm>
                  <a:off x="11589211" y="3370845"/>
                  <a:ext cx="137125" cy="193222"/>
                  <a:chOff x="-534281" y="3009309"/>
                  <a:chExt cx="209550" cy="295275"/>
                </a:xfrm>
                <a:solidFill>
                  <a:schemeClr val="accent1"/>
                </a:solidFill>
              </p:grpSpPr>
              <p:sp>
                <p:nvSpPr>
                  <p:cNvPr id="2140" name="Freeform: Shape 2139">
                    <a:extLst>
                      <a:ext uri="{FF2B5EF4-FFF2-40B4-BE49-F238E27FC236}">
                        <a16:creationId xmlns:a16="http://schemas.microsoft.com/office/drawing/2014/main" id="{BE168F12-33E5-4B7A-A3F5-E735E8876011}"/>
                      </a:ext>
                    </a:extLst>
                  </p:cNvPr>
                  <p:cNvSpPr/>
                  <p:nvPr/>
                </p:nvSpPr>
                <p:spPr>
                  <a:xfrm>
                    <a:off x="-518909" y="3027330"/>
                    <a:ext cx="180975" cy="257175"/>
                  </a:xfrm>
                  <a:custGeom>
                    <a:avLst/>
                    <a:gdLst>
                      <a:gd name="connsiteX0" fmla="*/ 124113 w 180975"/>
                      <a:gd name="connsiteY0" fmla="*/ 0 h 257175"/>
                      <a:gd name="connsiteX1" fmla="*/ 126113 w 180975"/>
                      <a:gd name="connsiteY1" fmla="*/ 62103 h 257175"/>
                      <a:gd name="connsiteX2" fmla="*/ 92394 w 180975"/>
                      <a:gd name="connsiteY2" fmla="*/ 133159 h 257175"/>
                      <a:gd name="connsiteX3" fmla="*/ 90490 w 180975"/>
                      <a:gd name="connsiteY3" fmla="*/ 125444 h 257175"/>
                      <a:gd name="connsiteX4" fmla="*/ 153640 w 180975"/>
                      <a:gd name="connsiteY4" fmla="*/ 172307 h 257175"/>
                      <a:gd name="connsiteX5" fmla="*/ 180977 w 180975"/>
                      <a:gd name="connsiteY5" fmla="*/ 228124 h 257175"/>
                      <a:gd name="connsiteX6" fmla="*/ 56866 w 180975"/>
                      <a:gd name="connsiteY6" fmla="*/ 261747 h 257175"/>
                      <a:gd name="connsiteX7" fmla="*/ 54771 w 180975"/>
                      <a:gd name="connsiteY7" fmla="*/ 199644 h 257175"/>
                      <a:gd name="connsiteX8" fmla="*/ 88585 w 180975"/>
                      <a:gd name="connsiteY8" fmla="*/ 128588 h 257175"/>
                      <a:gd name="connsiteX9" fmla="*/ 90490 w 180975"/>
                      <a:gd name="connsiteY9" fmla="*/ 136303 h 257175"/>
                      <a:gd name="connsiteX10" fmla="*/ 27339 w 180975"/>
                      <a:gd name="connsiteY10" fmla="*/ 89440 h 257175"/>
                      <a:gd name="connsiteX11" fmla="*/ 2 w 180975"/>
                      <a:gd name="connsiteY11" fmla="*/ 33623 h 257175"/>
                      <a:gd name="connsiteX12" fmla="*/ 124113 w 180975"/>
                      <a:gd name="connsiteY12" fmla="*/ 0 h 2571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</a:cxnLst>
                    <a:rect l="l" t="t" r="r" b="b"/>
                    <a:pathLst>
                      <a:path w="180975" h="257175">
                        <a:moveTo>
                          <a:pt x="124113" y="0"/>
                        </a:moveTo>
                        <a:cubicBezTo>
                          <a:pt x="124113" y="0"/>
                          <a:pt x="140210" y="28670"/>
                          <a:pt x="126113" y="62103"/>
                        </a:cubicBezTo>
                        <a:cubicBezTo>
                          <a:pt x="112111" y="95536"/>
                          <a:pt x="88585" y="117729"/>
                          <a:pt x="92394" y="133159"/>
                        </a:cubicBezTo>
                        <a:lnTo>
                          <a:pt x="90490" y="125444"/>
                        </a:lnTo>
                        <a:cubicBezTo>
                          <a:pt x="94299" y="140875"/>
                          <a:pt x="125541" y="149352"/>
                          <a:pt x="153640" y="172307"/>
                        </a:cubicBezTo>
                        <a:cubicBezTo>
                          <a:pt x="181739" y="195263"/>
                          <a:pt x="180977" y="228124"/>
                          <a:pt x="180977" y="228124"/>
                        </a:cubicBezTo>
                        <a:lnTo>
                          <a:pt x="56866" y="261747"/>
                        </a:lnTo>
                        <a:cubicBezTo>
                          <a:pt x="56866" y="261747"/>
                          <a:pt x="40769" y="233077"/>
                          <a:pt x="54771" y="199644"/>
                        </a:cubicBezTo>
                        <a:cubicBezTo>
                          <a:pt x="68868" y="166211"/>
                          <a:pt x="92394" y="144018"/>
                          <a:pt x="88585" y="128588"/>
                        </a:cubicBezTo>
                        <a:lnTo>
                          <a:pt x="90490" y="136303"/>
                        </a:lnTo>
                        <a:cubicBezTo>
                          <a:pt x="86680" y="120872"/>
                          <a:pt x="55437" y="112395"/>
                          <a:pt x="27339" y="89440"/>
                        </a:cubicBezTo>
                        <a:cubicBezTo>
                          <a:pt x="-760" y="66484"/>
                          <a:pt x="2" y="33623"/>
                          <a:pt x="2" y="33623"/>
                        </a:cubicBezTo>
                        <a:lnTo>
                          <a:pt x="124113" y="0"/>
                        </a:lnTo>
                        <a:close/>
                      </a:path>
                    </a:pathLst>
                  </a:custGeom>
                  <a:solidFill>
                    <a:srgbClr val="7AB6F6">
                      <a:alpha val="60000"/>
                    </a:srgbClr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grpSp>
                <p:nvGrpSpPr>
                  <p:cNvPr id="2141" name="Graphic 2009">
                    <a:extLst>
                      <a:ext uri="{FF2B5EF4-FFF2-40B4-BE49-F238E27FC236}">
                        <a16:creationId xmlns:a16="http://schemas.microsoft.com/office/drawing/2014/main" id="{4EEF260C-A5BB-4FEF-885E-AD2F1A6E02F9}"/>
                      </a:ext>
                    </a:extLst>
                  </p:cNvPr>
                  <p:cNvGrpSpPr/>
                  <p:nvPr/>
                </p:nvGrpSpPr>
                <p:grpSpPr>
                  <a:xfrm>
                    <a:off x="-534281" y="3009309"/>
                    <a:ext cx="209550" cy="295275"/>
                    <a:chOff x="-534281" y="3009309"/>
                    <a:chExt cx="209550" cy="295275"/>
                  </a:xfrm>
                  <a:solidFill>
                    <a:srgbClr val="2A2B7C"/>
                  </a:solidFill>
                </p:grpSpPr>
                <p:sp>
                  <p:nvSpPr>
                    <p:cNvPr id="2142" name="Freeform: Shape 2141">
                      <a:extLst>
                        <a:ext uri="{FF2B5EF4-FFF2-40B4-BE49-F238E27FC236}">
                          <a16:creationId xmlns:a16="http://schemas.microsoft.com/office/drawing/2014/main" id="{E8CFF871-51AE-492E-9384-ABA325AEB24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534281" y="3009309"/>
                      <a:ext cx="142875" cy="57150"/>
                    </a:xfrm>
                    <a:custGeom>
                      <a:avLst/>
                      <a:gdLst>
                        <a:gd name="connsiteX0" fmla="*/ 0 w 142875"/>
                        <a:gd name="connsiteY0" fmla="*/ 35914 h 57150"/>
                        <a:gd name="connsiteX1" fmla="*/ 144192 w 142875"/>
                        <a:gd name="connsiteY1" fmla="*/ 0 h 57150"/>
                        <a:gd name="connsiteX2" fmla="*/ 151375 w 142875"/>
                        <a:gd name="connsiteY2" fmla="*/ 28838 h 57150"/>
                        <a:gd name="connsiteX3" fmla="*/ 7183 w 142875"/>
                        <a:gd name="connsiteY3" fmla="*/ 64753 h 571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142875" h="57150">
                          <a:moveTo>
                            <a:pt x="0" y="35914"/>
                          </a:moveTo>
                          <a:lnTo>
                            <a:pt x="144192" y="0"/>
                          </a:lnTo>
                          <a:lnTo>
                            <a:pt x="151375" y="28838"/>
                          </a:lnTo>
                          <a:lnTo>
                            <a:pt x="7183" y="64753"/>
                          </a:lnTo>
                          <a:close/>
                        </a:path>
                      </a:pathLst>
                    </a:custGeom>
                    <a:solidFill>
                      <a:srgbClr val="2A2B7C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143" name="Freeform: Shape 2142">
                      <a:extLst>
                        <a:ext uri="{FF2B5EF4-FFF2-40B4-BE49-F238E27FC236}">
                          <a16:creationId xmlns:a16="http://schemas.microsoft.com/office/drawing/2014/main" id="{A55D4364-EFB3-4FEE-BB51-7D6FF94E630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476084" y="3242993"/>
                      <a:ext cx="142875" cy="57150"/>
                    </a:xfrm>
                    <a:custGeom>
                      <a:avLst/>
                      <a:gdLst>
                        <a:gd name="connsiteX0" fmla="*/ 0 w 142875"/>
                        <a:gd name="connsiteY0" fmla="*/ 35914 h 57150"/>
                        <a:gd name="connsiteX1" fmla="*/ 144192 w 142875"/>
                        <a:gd name="connsiteY1" fmla="*/ 0 h 57150"/>
                        <a:gd name="connsiteX2" fmla="*/ 151375 w 142875"/>
                        <a:gd name="connsiteY2" fmla="*/ 28838 h 57150"/>
                        <a:gd name="connsiteX3" fmla="*/ 7183 w 142875"/>
                        <a:gd name="connsiteY3" fmla="*/ 64753 h 571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142875" h="57150">
                          <a:moveTo>
                            <a:pt x="0" y="35914"/>
                          </a:moveTo>
                          <a:lnTo>
                            <a:pt x="144192" y="0"/>
                          </a:lnTo>
                          <a:lnTo>
                            <a:pt x="151375" y="28838"/>
                          </a:lnTo>
                          <a:lnTo>
                            <a:pt x="7183" y="64753"/>
                          </a:lnTo>
                          <a:close/>
                        </a:path>
                      </a:pathLst>
                    </a:custGeom>
                    <a:solidFill>
                      <a:srgbClr val="2A2B7C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</p:grpSp>
            <p:grpSp>
              <p:nvGrpSpPr>
                <p:cNvPr id="2117" name="Graphic 2009">
                  <a:extLst>
                    <a:ext uri="{FF2B5EF4-FFF2-40B4-BE49-F238E27FC236}">
                      <a16:creationId xmlns:a16="http://schemas.microsoft.com/office/drawing/2014/main" id="{6BA7B7F2-01AC-4E8E-A829-A8123725CE51}"/>
                    </a:ext>
                  </a:extLst>
                </p:cNvPr>
                <p:cNvGrpSpPr/>
                <p:nvPr/>
              </p:nvGrpSpPr>
              <p:grpSpPr>
                <a:xfrm>
                  <a:off x="11641250" y="3244674"/>
                  <a:ext cx="68563" cy="68563"/>
                  <a:chOff x="-454756" y="2816499"/>
                  <a:chExt cx="104775" cy="104775"/>
                </a:xfrm>
                <a:solidFill>
                  <a:srgbClr val="C00000"/>
                </a:solidFill>
              </p:grpSpPr>
              <p:sp>
                <p:nvSpPr>
                  <p:cNvPr id="2138" name="Freeform: Shape 2137">
                    <a:extLst>
                      <a:ext uri="{FF2B5EF4-FFF2-40B4-BE49-F238E27FC236}">
                        <a16:creationId xmlns:a16="http://schemas.microsoft.com/office/drawing/2014/main" id="{2D8E5AE0-D637-45DE-ACE2-6EAC5F6AD1D2}"/>
                      </a:ext>
                    </a:extLst>
                  </p:cNvPr>
                  <p:cNvSpPr/>
                  <p:nvPr/>
                </p:nvSpPr>
                <p:spPr>
                  <a:xfrm>
                    <a:off x="-454756" y="2834215"/>
                    <a:ext cx="85725" cy="85725"/>
                  </a:xfrm>
                  <a:custGeom>
                    <a:avLst/>
                    <a:gdLst>
                      <a:gd name="connsiteX0" fmla="*/ 47578 w 85725"/>
                      <a:gd name="connsiteY0" fmla="*/ 95198 h 85725"/>
                      <a:gd name="connsiteX1" fmla="*/ 37005 w 85725"/>
                      <a:gd name="connsiteY1" fmla="*/ 93960 h 85725"/>
                      <a:gd name="connsiteX2" fmla="*/ 1191 w 85725"/>
                      <a:gd name="connsiteY2" fmla="*/ 37001 h 85725"/>
                      <a:gd name="connsiteX3" fmla="*/ 58151 w 85725"/>
                      <a:gd name="connsiteY3" fmla="*/ 1187 h 85725"/>
                      <a:gd name="connsiteX4" fmla="*/ 60818 w 85725"/>
                      <a:gd name="connsiteY4" fmla="*/ 5473 h 85725"/>
                      <a:gd name="connsiteX5" fmla="*/ 56532 w 85725"/>
                      <a:gd name="connsiteY5" fmla="*/ 8140 h 85725"/>
                      <a:gd name="connsiteX6" fmla="*/ 8145 w 85725"/>
                      <a:gd name="connsiteY6" fmla="*/ 38525 h 85725"/>
                      <a:gd name="connsiteX7" fmla="*/ 38625 w 85725"/>
                      <a:gd name="connsiteY7" fmla="*/ 86912 h 85725"/>
                      <a:gd name="connsiteX8" fmla="*/ 87012 w 85725"/>
                      <a:gd name="connsiteY8" fmla="*/ 56432 h 85725"/>
                      <a:gd name="connsiteX9" fmla="*/ 86631 w 85725"/>
                      <a:gd name="connsiteY9" fmla="*/ 36905 h 85725"/>
                      <a:gd name="connsiteX10" fmla="*/ 89107 w 85725"/>
                      <a:gd name="connsiteY10" fmla="*/ 32524 h 85725"/>
                      <a:gd name="connsiteX11" fmla="*/ 93489 w 85725"/>
                      <a:gd name="connsiteY11" fmla="*/ 35096 h 85725"/>
                      <a:gd name="connsiteX12" fmla="*/ 93870 w 85725"/>
                      <a:gd name="connsiteY12" fmla="*/ 58051 h 85725"/>
                      <a:gd name="connsiteX13" fmla="*/ 47578 w 85725"/>
                      <a:gd name="connsiteY13" fmla="*/ 95198 h 857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85725" h="85725">
                        <a:moveTo>
                          <a:pt x="47578" y="95198"/>
                        </a:moveTo>
                        <a:cubicBezTo>
                          <a:pt x="44054" y="95198"/>
                          <a:pt x="40530" y="94817"/>
                          <a:pt x="37005" y="93960"/>
                        </a:cubicBezTo>
                        <a:cubicBezTo>
                          <a:pt x="11383" y="88150"/>
                          <a:pt x="-4619" y="62528"/>
                          <a:pt x="1191" y="37001"/>
                        </a:cubicBezTo>
                        <a:cubicBezTo>
                          <a:pt x="7002" y="11474"/>
                          <a:pt x="32624" y="-4624"/>
                          <a:pt x="58151" y="1187"/>
                        </a:cubicBezTo>
                        <a:cubicBezTo>
                          <a:pt x="60056" y="1663"/>
                          <a:pt x="61294" y="3568"/>
                          <a:pt x="60818" y="5473"/>
                        </a:cubicBezTo>
                        <a:cubicBezTo>
                          <a:pt x="60342" y="7378"/>
                          <a:pt x="58437" y="8616"/>
                          <a:pt x="56532" y="8140"/>
                        </a:cubicBezTo>
                        <a:cubicBezTo>
                          <a:pt x="34815" y="3187"/>
                          <a:pt x="13098" y="16808"/>
                          <a:pt x="8145" y="38525"/>
                        </a:cubicBezTo>
                        <a:cubicBezTo>
                          <a:pt x="3192" y="60242"/>
                          <a:pt x="16812" y="81959"/>
                          <a:pt x="38625" y="86912"/>
                        </a:cubicBezTo>
                        <a:cubicBezTo>
                          <a:pt x="60342" y="91865"/>
                          <a:pt x="82059" y="78244"/>
                          <a:pt x="87012" y="56432"/>
                        </a:cubicBezTo>
                        <a:cubicBezTo>
                          <a:pt x="88536" y="49955"/>
                          <a:pt x="88345" y="43287"/>
                          <a:pt x="86631" y="36905"/>
                        </a:cubicBezTo>
                        <a:cubicBezTo>
                          <a:pt x="86154" y="35000"/>
                          <a:pt x="87202" y="33000"/>
                          <a:pt x="89107" y="32524"/>
                        </a:cubicBezTo>
                        <a:cubicBezTo>
                          <a:pt x="91012" y="32048"/>
                          <a:pt x="93012" y="33095"/>
                          <a:pt x="93489" y="35096"/>
                        </a:cubicBezTo>
                        <a:cubicBezTo>
                          <a:pt x="95489" y="42525"/>
                          <a:pt x="95679" y="50526"/>
                          <a:pt x="93870" y="58051"/>
                        </a:cubicBezTo>
                        <a:cubicBezTo>
                          <a:pt x="88917" y="80244"/>
                          <a:pt x="69295" y="95198"/>
                          <a:pt x="47578" y="95198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139" name="Freeform: Shape 2138">
                    <a:extLst>
                      <a:ext uri="{FF2B5EF4-FFF2-40B4-BE49-F238E27FC236}">
                        <a16:creationId xmlns:a16="http://schemas.microsoft.com/office/drawing/2014/main" id="{8FE1327C-72AD-405F-8592-49327B0B9F55}"/>
                      </a:ext>
                    </a:extLst>
                  </p:cNvPr>
                  <p:cNvSpPr/>
                  <p:nvPr/>
                </p:nvSpPr>
                <p:spPr>
                  <a:xfrm>
                    <a:off x="-437225" y="2816499"/>
                    <a:ext cx="85725" cy="66675"/>
                  </a:xfrm>
                  <a:custGeom>
                    <a:avLst/>
                    <a:gdLst>
                      <a:gd name="connsiteX0" fmla="*/ 29476 w 85725"/>
                      <a:gd name="connsiteY0" fmla="*/ 75577 h 66675"/>
                      <a:gd name="connsiteX1" fmla="*/ 27094 w 85725"/>
                      <a:gd name="connsiteY1" fmla="*/ 74624 h 66675"/>
                      <a:gd name="connsiteX2" fmla="*/ 1186 w 85725"/>
                      <a:gd name="connsiteY2" fmla="*/ 51193 h 66675"/>
                      <a:gd name="connsiteX3" fmla="*/ 901 w 85725"/>
                      <a:gd name="connsiteY3" fmla="*/ 46144 h 66675"/>
                      <a:gd name="connsiteX4" fmla="*/ 5949 w 85725"/>
                      <a:gd name="connsiteY4" fmla="*/ 45859 h 66675"/>
                      <a:gd name="connsiteX5" fmla="*/ 29285 w 85725"/>
                      <a:gd name="connsiteY5" fmla="*/ 66909 h 66675"/>
                      <a:gd name="connsiteX6" fmla="*/ 88150 w 85725"/>
                      <a:gd name="connsiteY6" fmla="*/ 1186 h 66675"/>
                      <a:gd name="connsiteX7" fmla="*/ 93198 w 85725"/>
                      <a:gd name="connsiteY7" fmla="*/ 901 h 66675"/>
                      <a:gd name="connsiteX8" fmla="*/ 93484 w 85725"/>
                      <a:gd name="connsiteY8" fmla="*/ 5949 h 66675"/>
                      <a:gd name="connsiteX9" fmla="*/ 32143 w 85725"/>
                      <a:gd name="connsiteY9" fmla="*/ 74338 h 66675"/>
                      <a:gd name="connsiteX10" fmla="*/ 29666 w 85725"/>
                      <a:gd name="connsiteY10" fmla="*/ 75577 h 66675"/>
                      <a:gd name="connsiteX11" fmla="*/ 29476 w 85725"/>
                      <a:gd name="connsiteY11" fmla="*/ 75577 h 666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</a:cxnLst>
                    <a:rect l="l" t="t" r="r" b="b"/>
                    <a:pathLst>
                      <a:path w="85725" h="66675">
                        <a:moveTo>
                          <a:pt x="29476" y="75577"/>
                        </a:moveTo>
                        <a:cubicBezTo>
                          <a:pt x="28618" y="75577"/>
                          <a:pt x="27761" y="75196"/>
                          <a:pt x="27094" y="74624"/>
                        </a:cubicBezTo>
                        <a:lnTo>
                          <a:pt x="1186" y="51193"/>
                        </a:lnTo>
                        <a:cubicBezTo>
                          <a:pt x="-242" y="49859"/>
                          <a:pt x="-433" y="47573"/>
                          <a:pt x="901" y="46144"/>
                        </a:cubicBezTo>
                        <a:cubicBezTo>
                          <a:pt x="2234" y="44716"/>
                          <a:pt x="4520" y="44525"/>
                          <a:pt x="5949" y="45859"/>
                        </a:cubicBezTo>
                        <a:lnTo>
                          <a:pt x="29285" y="66909"/>
                        </a:lnTo>
                        <a:lnTo>
                          <a:pt x="88150" y="1186"/>
                        </a:lnTo>
                        <a:cubicBezTo>
                          <a:pt x="89483" y="-242"/>
                          <a:pt x="91769" y="-433"/>
                          <a:pt x="93198" y="901"/>
                        </a:cubicBezTo>
                        <a:cubicBezTo>
                          <a:pt x="94627" y="2234"/>
                          <a:pt x="94817" y="4520"/>
                          <a:pt x="93484" y="5949"/>
                        </a:cubicBezTo>
                        <a:lnTo>
                          <a:pt x="32143" y="74338"/>
                        </a:lnTo>
                        <a:cubicBezTo>
                          <a:pt x="31476" y="75005"/>
                          <a:pt x="30619" y="75481"/>
                          <a:pt x="29666" y="75577"/>
                        </a:cubicBezTo>
                        <a:cubicBezTo>
                          <a:pt x="29571" y="75577"/>
                          <a:pt x="29476" y="75577"/>
                          <a:pt x="29476" y="75577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sp>
              <p:nvSpPr>
                <p:cNvPr id="2118" name="Freeform: Shape 2117">
                  <a:extLst>
                    <a:ext uri="{FF2B5EF4-FFF2-40B4-BE49-F238E27FC236}">
                      <a16:creationId xmlns:a16="http://schemas.microsoft.com/office/drawing/2014/main" id="{69090E54-9E95-4733-B5DC-8D088A127FDF}"/>
                    </a:ext>
                  </a:extLst>
                </p:cNvPr>
                <p:cNvSpPr/>
                <p:nvPr/>
              </p:nvSpPr>
              <p:spPr>
                <a:xfrm>
                  <a:off x="11550860" y="2921312"/>
                  <a:ext cx="174523" cy="174523"/>
                </a:xfrm>
                <a:custGeom>
                  <a:avLst/>
                  <a:gdLst>
                    <a:gd name="connsiteX0" fmla="*/ 263243 w 266700"/>
                    <a:gd name="connsiteY0" fmla="*/ 164438 h 266700"/>
                    <a:gd name="connsiteX1" fmla="*/ 102556 w 266700"/>
                    <a:gd name="connsiteY1" fmla="*/ 263308 h 266700"/>
                    <a:gd name="connsiteX2" fmla="*/ 3687 w 266700"/>
                    <a:gd name="connsiteY2" fmla="*/ 102526 h 266700"/>
                    <a:gd name="connsiteX3" fmla="*/ 164469 w 266700"/>
                    <a:gd name="connsiteY3" fmla="*/ 3656 h 266700"/>
                    <a:gd name="connsiteX4" fmla="*/ 263243 w 266700"/>
                    <a:gd name="connsiteY4" fmla="*/ 164438 h 2667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66700" h="266700">
                      <a:moveTo>
                        <a:pt x="263243" y="164438"/>
                      </a:moveTo>
                      <a:cubicBezTo>
                        <a:pt x="246193" y="236162"/>
                        <a:pt x="174184" y="280358"/>
                        <a:pt x="102556" y="263308"/>
                      </a:cubicBezTo>
                      <a:cubicBezTo>
                        <a:pt x="30833" y="246258"/>
                        <a:pt x="-13458" y="174249"/>
                        <a:pt x="3687" y="102526"/>
                      </a:cubicBezTo>
                      <a:cubicBezTo>
                        <a:pt x="20737" y="30803"/>
                        <a:pt x="92745" y="-13393"/>
                        <a:pt x="164469" y="3656"/>
                      </a:cubicBezTo>
                      <a:cubicBezTo>
                        <a:pt x="236097" y="20801"/>
                        <a:pt x="280293" y="92810"/>
                        <a:pt x="263243" y="164438"/>
                      </a:cubicBezTo>
                      <a:close/>
                    </a:path>
                  </a:pathLst>
                </a:custGeom>
                <a:solidFill>
                  <a:schemeClr val="bg1">
                    <a:lumMod val="95000"/>
                  </a:schemeClr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grpSp>
              <p:nvGrpSpPr>
                <p:cNvPr id="2119" name="Graphic 2009">
                  <a:extLst>
                    <a:ext uri="{FF2B5EF4-FFF2-40B4-BE49-F238E27FC236}">
                      <a16:creationId xmlns:a16="http://schemas.microsoft.com/office/drawing/2014/main" id="{28BBD348-0128-47F6-9EF2-1D9523A8B14F}"/>
                    </a:ext>
                  </a:extLst>
                </p:cNvPr>
                <p:cNvGrpSpPr/>
                <p:nvPr/>
              </p:nvGrpSpPr>
              <p:grpSpPr>
                <a:xfrm>
                  <a:off x="11597829" y="2941095"/>
                  <a:ext cx="99727" cy="130892"/>
                  <a:chOff x="-521111" y="2352579"/>
                  <a:chExt cx="152400" cy="200025"/>
                </a:xfrm>
                <a:solidFill>
                  <a:schemeClr val="accent4"/>
                </a:solidFill>
              </p:grpSpPr>
              <p:sp>
                <p:nvSpPr>
                  <p:cNvPr id="2130" name="Freeform: Shape 2129">
                    <a:extLst>
                      <a:ext uri="{FF2B5EF4-FFF2-40B4-BE49-F238E27FC236}">
                        <a16:creationId xmlns:a16="http://schemas.microsoft.com/office/drawing/2014/main" id="{72E4FDE3-CD96-4A94-9E13-F5C888EB39FD}"/>
                      </a:ext>
                    </a:extLst>
                  </p:cNvPr>
                  <p:cNvSpPr/>
                  <p:nvPr/>
                </p:nvSpPr>
                <p:spPr>
                  <a:xfrm>
                    <a:off x="-521111" y="2384394"/>
                    <a:ext cx="133350" cy="171450"/>
                  </a:xfrm>
                  <a:custGeom>
                    <a:avLst/>
                    <a:gdLst>
                      <a:gd name="connsiteX0" fmla="*/ 40876 w 133350"/>
                      <a:gd name="connsiteY0" fmla="*/ 173639 h 171450"/>
                      <a:gd name="connsiteX1" fmla="*/ 39828 w 133350"/>
                      <a:gd name="connsiteY1" fmla="*/ 173353 h 171450"/>
                      <a:gd name="connsiteX2" fmla="*/ 16111 w 133350"/>
                      <a:gd name="connsiteY2" fmla="*/ 146112 h 171450"/>
                      <a:gd name="connsiteX3" fmla="*/ 4586 w 133350"/>
                      <a:gd name="connsiteY3" fmla="*/ 51433 h 171450"/>
                      <a:gd name="connsiteX4" fmla="*/ 44877 w 133350"/>
                      <a:gd name="connsiteY4" fmla="*/ 5809 h 171450"/>
                      <a:gd name="connsiteX5" fmla="*/ 98407 w 133350"/>
                      <a:gd name="connsiteY5" fmla="*/ 4189 h 171450"/>
                      <a:gd name="connsiteX6" fmla="*/ 123172 w 133350"/>
                      <a:gd name="connsiteY6" fmla="*/ 20001 h 171450"/>
                      <a:gd name="connsiteX7" fmla="*/ 118314 w 133350"/>
                      <a:gd name="connsiteY7" fmla="*/ 24382 h 171450"/>
                      <a:gd name="connsiteX8" fmla="*/ 96216 w 133350"/>
                      <a:gd name="connsiteY8" fmla="*/ 10285 h 171450"/>
                      <a:gd name="connsiteX9" fmla="*/ 47353 w 133350"/>
                      <a:gd name="connsiteY9" fmla="*/ 11714 h 171450"/>
                      <a:gd name="connsiteX10" fmla="*/ 10587 w 133350"/>
                      <a:gd name="connsiteY10" fmla="*/ 53529 h 171450"/>
                      <a:gd name="connsiteX11" fmla="*/ 21731 w 133350"/>
                      <a:gd name="connsiteY11" fmla="*/ 143159 h 171450"/>
                      <a:gd name="connsiteX12" fmla="*/ 41543 w 133350"/>
                      <a:gd name="connsiteY12" fmla="*/ 167162 h 171450"/>
                      <a:gd name="connsiteX13" fmla="*/ 123363 w 133350"/>
                      <a:gd name="connsiteY13" fmla="*/ 92867 h 171450"/>
                      <a:gd name="connsiteX14" fmla="*/ 129173 w 133350"/>
                      <a:gd name="connsiteY14" fmla="*/ 48481 h 171450"/>
                      <a:gd name="connsiteX15" fmla="*/ 135555 w 133350"/>
                      <a:gd name="connsiteY15" fmla="*/ 47433 h 171450"/>
                      <a:gd name="connsiteX16" fmla="*/ 129459 w 133350"/>
                      <a:gd name="connsiteY16" fmla="*/ 94963 h 171450"/>
                      <a:gd name="connsiteX17" fmla="*/ 40876 w 133350"/>
                      <a:gd name="connsiteY17" fmla="*/ 173639 h 1714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</a:cxnLst>
                    <a:rect l="l" t="t" r="r" b="b"/>
                    <a:pathLst>
                      <a:path w="133350" h="171450">
                        <a:moveTo>
                          <a:pt x="40876" y="173639"/>
                        </a:moveTo>
                        <a:cubicBezTo>
                          <a:pt x="40495" y="173544"/>
                          <a:pt x="40209" y="173449"/>
                          <a:pt x="39828" y="173353"/>
                        </a:cubicBezTo>
                        <a:cubicBezTo>
                          <a:pt x="32304" y="170972"/>
                          <a:pt x="23731" y="161066"/>
                          <a:pt x="16111" y="146112"/>
                        </a:cubicBezTo>
                        <a:cubicBezTo>
                          <a:pt x="4014" y="122109"/>
                          <a:pt x="-6273" y="82866"/>
                          <a:pt x="4586" y="51433"/>
                        </a:cubicBezTo>
                        <a:cubicBezTo>
                          <a:pt x="12110" y="29716"/>
                          <a:pt x="26112" y="13905"/>
                          <a:pt x="44877" y="5809"/>
                        </a:cubicBezTo>
                        <a:cubicBezTo>
                          <a:pt x="61355" y="-1335"/>
                          <a:pt x="80881" y="-1907"/>
                          <a:pt x="98407" y="4189"/>
                        </a:cubicBezTo>
                        <a:cubicBezTo>
                          <a:pt x="108599" y="7714"/>
                          <a:pt x="116981" y="13048"/>
                          <a:pt x="123172" y="20001"/>
                        </a:cubicBezTo>
                        <a:lnTo>
                          <a:pt x="118314" y="24382"/>
                        </a:lnTo>
                        <a:cubicBezTo>
                          <a:pt x="112790" y="18286"/>
                          <a:pt x="105360" y="13524"/>
                          <a:pt x="96216" y="10285"/>
                        </a:cubicBezTo>
                        <a:cubicBezTo>
                          <a:pt x="80214" y="4761"/>
                          <a:pt x="62307" y="5237"/>
                          <a:pt x="47353" y="11714"/>
                        </a:cubicBezTo>
                        <a:cubicBezTo>
                          <a:pt x="30208" y="19144"/>
                          <a:pt x="17540" y="33526"/>
                          <a:pt x="10587" y="53529"/>
                        </a:cubicBezTo>
                        <a:cubicBezTo>
                          <a:pt x="966" y="81151"/>
                          <a:pt x="9253" y="118394"/>
                          <a:pt x="21731" y="143159"/>
                        </a:cubicBezTo>
                        <a:cubicBezTo>
                          <a:pt x="28303" y="156208"/>
                          <a:pt x="35923" y="165352"/>
                          <a:pt x="41543" y="167162"/>
                        </a:cubicBezTo>
                        <a:cubicBezTo>
                          <a:pt x="58688" y="171258"/>
                          <a:pt x="108027" y="137158"/>
                          <a:pt x="123363" y="92867"/>
                        </a:cubicBezTo>
                        <a:cubicBezTo>
                          <a:pt x="129173" y="76008"/>
                          <a:pt x="131173" y="61054"/>
                          <a:pt x="129173" y="48481"/>
                        </a:cubicBezTo>
                        <a:lnTo>
                          <a:pt x="135555" y="47433"/>
                        </a:lnTo>
                        <a:cubicBezTo>
                          <a:pt x="137650" y="61149"/>
                          <a:pt x="135650" y="77151"/>
                          <a:pt x="129459" y="94963"/>
                        </a:cubicBezTo>
                        <a:cubicBezTo>
                          <a:pt x="114600" y="138873"/>
                          <a:pt x="63736" y="179068"/>
                          <a:pt x="40876" y="173639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131" name="Freeform: Shape 2130">
                    <a:extLst>
                      <a:ext uri="{FF2B5EF4-FFF2-40B4-BE49-F238E27FC236}">
                        <a16:creationId xmlns:a16="http://schemas.microsoft.com/office/drawing/2014/main" id="{0103ABDA-25D3-4A31-A0F5-72B261011CC9}"/>
                      </a:ext>
                    </a:extLst>
                  </p:cNvPr>
                  <p:cNvSpPr/>
                  <p:nvPr/>
                </p:nvSpPr>
                <p:spPr>
                  <a:xfrm>
                    <a:off x="-417751" y="2393537"/>
                    <a:ext cx="38100" cy="28575"/>
                  </a:xfrm>
                  <a:custGeom>
                    <a:avLst/>
                    <a:gdLst>
                      <a:gd name="connsiteX0" fmla="*/ 4667 w 38100"/>
                      <a:gd name="connsiteY0" fmla="*/ 28956 h 28575"/>
                      <a:gd name="connsiteX1" fmla="*/ 0 w 38100"/>
                      <a:gd name="connsiteY1" fmla="*/ 24384 h 28575"/>
                      <a:gd name="connsiteX2" fmla="*/ 38005 w 38100"/>
                      <a:gd name="connsiteY2" fmla="*/ 0 h 28575"/>
                      <a:gd name="connsiteX3" fmla="*/ 39529 w 38100"/>
                      <a:gd name="connsiteY3" fmla="*/ 6286 h 28575"/>
                      <a:gd name="connsiteX4" fmla="*/ 4667 w 38100"/>
                      <a:gd name="connsiteY4" fmla="*/ 28956 h 285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8100" h="28575">
                        <a:moveTo>
                          <a:pt x="4667" y="28956"/>
                        </a:moveTo>
                        <a:lnTo>
                          <a:pt x="0" y="24384"/>
                        </a:lnTo>
                        <a:cubicBezTo>
                          <a:pt x="762" y="23527"/>
                          <a:pt x="20003" y="4286"/>
                          <a:pt x="38005" y="0"/>
                        </a:cubicBezTo>
                        <a:lnTo>
                          <a:pt x="39529" y="6286"/>
                        </a:lnTo>
                        <a:cubicBezTo>
                          <a:pt x="23336" y="10192"/>
                          <a:pt x="4858" y="28765"/>
                          <a:pt x="4667" y="28956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132" name="Freeform: Shape 2131">
                    <a:extLst>
                      <a:ext uri="{FF2B5EF4-FFF2-40B4-BE49-F238E27FC236}">
                        <a16:creationId xmlns:a16="http://schemas.microsoft.com/office/drawing/2014/main" id="{A1C9F743-7836-40CA-8968-00AEE35C32F4}"/>
                      </a:ext>
                    </a:extLst>
                  </p:cNvPr>
                  <p:cNvSpPr/>
                  <p:nvPr/>
                </p:nvSpPr>
                <p:spPr>
                  <a:xfrm>
                    <a:off x="-399273" y="2410682"/>
                    <a:ext cx="19050" cy="28575"/>
                  </a:xfrm>
                  <a:custGeom>
                    <a:avLst/>
                    <a:gdLst>
                      <a:gd name="connsiteX0" fmla="*/ 5715 w 19050"/>
                      <a:gd name="connsiteY0" fmla="*/ 34576 h 28575"/>
                      <a:gd name="connsiteX1" fmla="*/ 0 w 19050"/>
                      <a:gd name="connsiteY1" fmla="*/ 31528 h 28575"/>
                      <a:gd name="connsiteX2" fmla="*/ 25527 w 19050"/>
                      <a:gd name="connsiteY2" fmla="*/ 0 h 28575"/>
                      <a:gd name="connsiteX3" fmla="*/ 28384 w 19050"/>
                      <a:gd name="connsiteY3" fmla="*/ 5905 h 28575"/>
                      <a:gd name="connsiteX4" fmla="*/ 5715 w 19050"/>
                      <a:gd name="connsiteY4" fmla="*/ 34576 h 285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9050" h="28575">
                        <a:moveTo>
                          <a:pt x="5715" y="34576"/>
                        </a:moveTo>
                        <a:lnTo>
                          <a:pt x="0" y="31528"/>
                        </a:lnTo>
                        <a:cubicBezTo>
                          <a:pt x="1429" y="28861"/>
                          <a:pt x="14002" y="5620"/>
                          <a:pt x="25527" y="0"/>
                        </a:cubicBezTo>
                        <a:lnTo>
                          <a:pt x="28384" y="5905"/>
                        </a:lnTo>
                        <a:cubicBezTo>
                          <a:pt x="20098" y="9811"/>
                          <a:pt x="9239" y="27908"/>
                          <a:pt x="5715" y="34576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133" name="Freeform: Shape 2132">
                    <a:extLst>
                      <a:ext uri="{FF2B5EF4-FFF2-40B4-BE49-F238E27FC236}">
                        <a16:creationId xmlns:a16="http://schemas.microsoft.com/office/drawing/2014/main" id="{919C0753-C48C-44C2-B467-E8224E401952}"/>
                      </a:ext>
                    </a:extLst>
                  </p:cNvPr>
                  <p:cNvSpPr/>
                  <p:nvPr/>
                </p:nvSpPr>
                <p:spPr>
                  <a:xfrm>
                    <a:off x="-387262" y="2393112"/>
                    <a:ext cx="19050" cy="19050"/>
                  </a:xfrm>
                  <a:custGeom>
                    <a:avLst/>
                    <a:gdLst>
                      <a:gd name="connsiteX0" fmla="*/ 9897 w 19050"/>
                      <a:gd name="connsiteY0" fmla="*/ 24142 h 19050"/>
                      <a:gd name="connsiteX1" fmla="*/ 1134 w 19050"/>
                      <a:gd name="connsiteY1" fmla="*/ 16141 h 19050"/>
                      <a:gd name="connsiteX2" fmla="*/ 943 w 19050"/>
                      <a:gd name="connsiteY2" fmla="*/ 5854 h 19050"/>
                      <a:gd name="connsiteX3" fmla="*/ 6087 w 19050"/>
                      <a:gd name="connsiteY3" fmla="*/ 616 h 19050"/>
                      <a:gd name="connsiteX4" fmla="*/ 20565 w 19050"/>
                      <a:gd name="connsiteY4" fmla="*/ 8236 h 19050"/>
                      <a:gd name="connsiteX5" fmla="*/ 21232 w 19050"/>
                      <a:gd name="connsiteY5" fmla="*/ 17189 h 19050"/>
                      <a:gd name="connsiteX6" fmla="*/ 15612 w 19050"/>
                      <a:gd name="connsiteY6" fmla="*/ 23761 h 19050"/>
                      <a:gd name="connsiteX7" fmla="*/ 9897 w 19050"/>
                      <a:gd name="connsiteY7" fmla="*/ 24142 h 19050"/>
                      <a:gd name="connsiteX8" fmla="*/ 10278 w 19050"/>
                      <a:gd name="connsiteY8" fmla="*/ 6426 h 19050"/>
                      <a:gd name="connsiteX9" fmla="*/ 8563 w 19050"/>
                      <a:gd name="connsiteY9" fmla="*/ 6521 h 19050"/>
                      <a:gd name="connsiteX10" fmla="*/ 6944 w 19050"/>
                      <a:gd name="connsiteY10" fmla="*/ 8236 h 19050"/>
                      <a:gd name="connsiteX11" fmla="*/ 7135 w 19050"/>
                      <a:gd name="connsiteY11" fmla="*/ 13570 h 19050"/>
                      <a:gd name="connsiteX12" fmla="*/ 13135 w 19050"/>
                      <a:gd name="connsiteY12" fmla="*/ 17665 h 19050"/>
                      <a:gd name="connsiteX13" fmla="*/ 14945 w 19050"/>
                      <a:gd name="connsiteY13" fmla="*/ 15284 h 19050"/>
                      <a:gd name="connsiteX14" fmla="*/ 14564 w 19050"/>
                      <a:gd name="connsiteY14" fmla="*/ 10522 h 19050"/>
                      <a:gd name="connsiteX15" fmla="*/ 10278 w 19050"/>
                      <a:gd name="connsiteY15" fmla="*/ 6426 h 190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</a:cxnLst>
                    <a:rect l="l" t="t" r="r" b="b"/>
                    <a:pathLst>
                      <a:path w="19050" h="19050">
                        <a:moveTo>
                          <a:pt x="9897" y="24142"/>
                        </a:moveTo>
                        <a:cubicBezTo>
                          <a:pt x="6087" y="23285"/>
                          <a:pt x="2848" y="20237"/>
                          <a:pt x="1134" y="16141"/>
                        </a:cubicBezTo>
                        <a:cubicBezTo>
                          <a:pt x="-295" y="12712"/>
                          <a:pt x="-390" y="8998"/>
                          <a:pt x="943" y="5854"/>
                        </a:cubicBezTo>
                        <a:cubicBezTo>
                          <a:pt x="1991" y="3378"/>
                          <a:pt x="3801" y="1473"/>
                          <a:pt x="6087" y="616"/>
                        </a:cubicBezTo>
                        <a:cubicBezTo>
                          <a:pt x="11326" y="-1480"/>
                          <a:pt x="17993" y="1949"/>
                          <a:pt x="20565" y="8236"/>
                        </a:cubicBezTo>
                        <a:cubicBezTo>
                          <a:pt x="21803" y="11188"/>
                          <a:pt x="21994" y="14427"/>
                          <a:pt x="21232" y="17189"/>
                        </a:cubicBezTo>
                        <a:cubicBezTo>
                          <a:pt x="20374" y="20237"/>
                          <a:pt x="18279" y="22714"/>
                          <a:pt x="15612" y="23761"/>
                        </a:cubicBezTo>
                        <a:cubicBezTo>
                          <a:pt x="13802" y="24428"/>
                          <a:pt x="11802" y="24619"/>
                          <a:pt x="9897" y="24142"/>
                        </a:cubicBezTo>
                        <a:close/>
                        <a:moveTo>
                          <a:pt x="10278" y="6426"/>
                        </a:moveTo>
                        <a:cubicBezTo>
                          <a:pt x="9611" y="6235"/>
                          <a:pt x="9040" y="6331"/>
                          <a:pt x="8563" y="6521"/>
                        </a:cubicBezTo>
                        <a:cubicBezTo>
                          <a:pt x="7706" y="6902"/>
                          <a:pt x="7230" y="7664"/>
                          <a:pt x="6944" y="8236"/>
                        </a:cubicBezTo>
                        <a:cubicBezTo>
                          <a:pt x="6277" y="9760"/>
                          <a:pt x="6373" y="11760"/>
                          <a:pt x="7135" y="13570"/>
                        </a:cubicBezTo>
                        <a:cubicBezTo>
                          <a:pt x="8373" y="16522"/>
                          <a:pt x="11135" y="18427"/>
                          <a:pt x="13135" y="17665"/>
                        </a:cubicBezTo>
                        <a:cubicBezTo>
                          <a:pt x="14278" y="17189"/>
                          <a:pt x="14755" y="16046"/>
                          <a:pt x="14945" y="15284"/>
                        </a:cubicBezTo>
                        <a:cubicBezTo>
                          <a:pt x="15326" y="13855"/>
                          <a:pt x="15231" y="12141"/>
                          <a:pt x="14564" y="10522"/>
                        </a:cubicBezTo>
                        <a:cubicBezTo>
                          <a:pt x="13707" y="8521"/>
                          <a:pt x="11992" y="6902"/>
                          <a:pt x="10278" y="6426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134" name="Freeform: Shape 2133">
                    <a:extLst>
                      <a:ext uri="{FF2B5EF4-FFF2-40B4-BE49-F238E27FC236}">
                        <a16:creationId xmlns:a16="http://schemas.microsoft.com/office/drawing/2014/main" id="{498F022A-B765-4B24-A377-31D58C90418E}"/>
                      </a:ext>
                    </a:extLst>
                  </p:cNvPr>
                  <p:cNvSpPr/>
                  <p:nvPr/>
                </p:nvSpPr>
                <p:spPr>
                  <a:xfrm>
                    <a:off x="-482235" y="2360485"/>
                    <a:ext cx="19050" cy="28575"/>
                  </a:xfrm>
                  <a:custGeom>
                    <a:avLst/>
                    <a:gdLst>
                      <a:gd name="connsiteX0" fmla="*/ 13525 w 19050"/>
                      <a:gd name="connsiteY0" fmla="*/ 29147 h 28575"/>
                      <a:gd name="connsiteX1" fmla="*/ 0 w 19050"/>
                      <a:gd name="connsiteY1" fmla="*/ 4572 h 28575"/>
                      <a:gd name="connsiteX2" fmla="*/ 4667 w 19050"/>
                      <a:gd name="connsiteY2" fmla="*/ 0 h 28575"/>
                      <a:gd name="connsiteX3" fmla="*/ 19526 w 19050"/>
                      <a:gd name="connsiteY3" fmla="*/ 26670 h 28575"/>
                      <a:gd name="connsiteX4" fmla="*/ 13525 w 19050"/>
                      <a:gd name="connsiteY4" fmla="*/ 29147 h 285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9050" h="28575">
                        <a:moveTo>
                          <a:pt x="13525" y="29147"/>
                        </a:moveTo>
                        <a:cubicBezTo>
                          <a:pt x="9715" y="20003"/>
                          <a:pt x="4096" y="8668"/>
                          <a:pt x="0" y="4572"/>
                        </a:cubicBezTo>
                        <a:lnTo>
                          <a:pt x="4667" y="0"/>
                        </a:lnTo>
                        <a:cubicBezTo>
                          <a:pt x="10668" y="6096"/>
                          <a:pt x="17526" y="21908"/>
                          <a:pt x="19526" y="26670"/>
                        </a:cubicBezTo>
                        <a:lnTo>
                          <a:pt x="13525" y="29147"/>
                        </a:ln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135" name="Freeform: Shape 2134">
                    <a:extLst>
                      <a:ext uri="{FF2B5EF4-FFF2-40B4-BE49-F238E27FC236}">
                        <a16:creationId xmlns:a16="http://schemas.microsoft.com/office/drawing/2014/main" id="{3E3526F7-103D-4A45-9216-3E8C63ED63EA}"/>
                      </a:ext>
                    </a:extLst>
                  </p:cNvPr>
                  <p:cNvSpPr/>
                  <p:nvPr/>
                </p:nvSpPr>
                <p:spPr>
                  <a:xfrm>
                    <a:off x="-497190" y="2371915"/>
                    <a:ext cx="9525" cy="19050"/>
                  </a:xfrm>
                  <a:custGeom>
                    <a:avLst/>
                    <a:gdLst>
                      <a:gd name="connsiteX0" fmla="*/ 4191 w 9525"/>
                      <a:gd name="connsiteY0" fmla="*/ 28384 h 19050"/>
                      <a:gd name="connsiteX1" fmla="*/ 0 w 9525"/>
                      <a:gd name="connsiteY1" fmla="*/ 3429 h 19050"/>
                      <a:gd name="connsiteX2" fmla="*/ 5525 w 9525"/>
                      <a:gd name="connsiteY2" fmla="*/ 0 h 19050"/>
                      <a:gd name="connsiteX3" fmla="*/ 10668 w 9525"/>
                      <a:gd name="connsiteY3" fmla="*/ 28289 h 19050"/>
                      <a:gd name="connsiteX4" fmla="*/ 4191 w 9525"/>
                      <a:gd name="connsiteY4" fmla="*/ 28384 h 190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9525" h="19050">
                        <a:moveTo>
                          <a:pt x="4191" y="28384"/>
                        </a:moveTo>
                        <a:cubicBezTo>
                          <a:pt x="4096" y="16383"/>
                          <a:pt x="2572" y="7525"/>
                          <a:pt x="0" y="3429"/>
                        </a:cubicBezTo>
                        <a:lnTo>
                          <a:pt x="5525" y="0"/>
                        </a:lnTo>
                        <a:cubicBezTo>
                          <a:pt x="8858" y="5239"/>
                          <a:pt x="10573" y="14764"/>
                          <a:pt x="10668" y="28289"/>
                        </a:cubicBezTo>
                        <a:lnTo>
                          <a:pt x="4191" y="28384"/>
                        </a:ln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136" name="Freeform: Shape 2135">
                    <a:extLst>
                      <a:ext uri="{FF2B5EF4-FFF2-40B4-BE49-F238E27FC236}">
                        <a16:creationId xmlns:a16="http://schemas.microsoft.com/office/drawing/2014/main" id="{5A024595-25FC-4639-99A2-FBE6064F0753}"/>
                      </a:ext>
                    </a:extLst>
                  </p:cNvPr>
                  <p:cNvSpPr/>
                  <p:nvPr/>
                </p:nvSpPr>
                <p:spPr>
                  <a:xfrm>
                    <a:off x="-498497" y="2357437"/>
                    <a:ext cx="19050" cy="9525"/>
                  </a:xfrm>
                  <a:custGeom>
                    <a:avLst/>
                    <a:gdLst>
                      <a:gd name="connsiteX0" fmla="*/ 1689 w 19050"/>
                      <a:gd name="connsiteY0" fmla="*/ 18573 h 9525"/>
                      <a:gd name="connsiteX1" fmla="*/ 165 w 19050"/>
                      <a:gd name="connsiteY1" fmla="*/ 11334 h 9525"/>
                      <a:gd name="connsiteX2" fmla="*/ 5784 w 19050"/>
                      <a:gd name="connsiteY2" fmla="*/ 2667 h 9525"/>
                      <a:gd name="connsiteX3" fmla="*/ 22072 w 19050"/>
                      <a:gd name="connsiteY3" fmla="*/ 3905 h 9525"/>
                      <a:gd name="connsiteX4" fmla="*/ 16833 w 19050"/>
                      <a:gd name="connsiteY4" fmla="*/ 7715 h 9525"/>
                      <a:gd name="connsiteX5" fmla="*/ 9594 w 19050"/>
                      <a:gd name="connsiteY5" fmla="*/ 8001 h 9525"/>
                      <a:gd name="connsiteX6" fmla="*/ 6642 w 19050"/>
                      <a:gd name="connsiteY6" fmla="*/ 12382 h 9525"/>
                      <a:gd name="connsiteX7" fmla="*/ 7118 w 19050"/>
                      <a:gd name="connsiteY7" fmla="*/ 14763 h 9525"/>
                      <a:gd name="connsiteX8" fmla="*/ 1689 w 19050"/>
                      <a:gd name="connsiteY8" fmla="*/ 18573 h 95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9050" h="9525">
                        <a:moveTo>
                          <a:pt x="1689" y="18573"/>
                        </a:moveTo>
                        <a:cubicBezTo>
                          <a:pt x="260" y="16573"/>
                          <a:pt x="-312" y="14001"/>
                          <a:pt x="165" y="11334"/>
                        </a:cubicBezTo>
                        <a:cubicBezTo>
                          <a:pt x="736" y="8001"/>
                          <a:pt x="2736" y="4857"/>
                          <a:pt x="5784" y="2667"/>
                        </a:cubicBezTo>
                        <a:cubicBezTo>
                          <a:pt x="11309" y="-1334"/>
                          <a:pt x="18643" y="-762"/>
                          <a:pt x="22072" y="3905"/>
                        </a:cubicBezTo>
                        <a:lnTo>
                          <a:pt x="16833" y="7715"/>
                        </a:lnTo>
                        <a:cubicBezTo>
                          <a:pt x="15595" y="6000"/>
                          <a:pt x="12261" y="6096"/>
                          <a:pt x="9594" y="8001"/>
                        </a:cubicBezTo>
                        <a:cubicBezTo>
                          <a:pt x="7975" y="9144"/>
                          <a:pt x="6832" y="10763"/>
                          <a:pt x="6642" y="12382"/>
                        </a:cubicBezTo>
                        <a:cubicBezTo>
                          <a:pt x="6546" y="13049"/>
                          <a:pt x="6546" y="13906"/>
                          <a:pt x="7118" y="14763"/>
                        </a:cubicBezTo>
                        <a:lnTo>
                          <a:pt x="1689" y="18573"/>
                        </a:ln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137" name="Freeform: Shape 2136">
                    <a:extLst>
                      <a:ext uri="{FF2B5EF4-FFF2-40B4-BE49-F238E27FC236}">
                        <a16:creationId xmlns:a16="http://schemas.microsoft.com/office/drawing/2014/main" id="{995139B1-DC97-467A-9B54-1289CC56C3BC}"/>
                      </a:ext>
                    </a:extLst>
                  </p:cNvPr>
                  <p:cNvSpPr/>
                  <p:nvPr/>
                </p:nvSpPr>
                <p:spPr>
                  <a:xfrm>
                    <a:off x="-461661" y="2352579"/>
                    <a:ext cx="66675" cy="57150"/>
                  </a:xfrm>
                  <a:custGeom>
                    <a:avLst/>
                    <a:gdLst>
                      <a:gd name="connsiteX0" fmla="*/ 61150 w 66675"/>
                      <a:gd name="connsiteY0" fmla="*/ 58103 h 57150"/>
                      <a:gd name="connsiteX1" fmla="*/ 54959 w 66675"/>
                      <a:gd name="connsiteY1" fmla="*/ 56007 h 57150"/>
                      <a:gd name="connsiteX2" fmla="*/ 51721 w 66675"/>
                      <a:gd name="connsiteY2" fmla="*/ 46673 h 57150"/>
                      <a:gd name="connsiteX3" fmla="*/ 49054 w 66675"/>
                      <a:gd name="connsiteY3" fmla="*/ 43625 h 57150"/>
                      <a:gd name="connsiteX4" fmla="*/ 52578 w 66675"/>
                      <a:gd name="connsiteY4" fmla="*/ 41720 h 57150"/>
                      <a:gd name="connsiteX5" fmla="*/ 65627 w 66675"/>
                      <a:gd name="connsiteY5" fmla="*/ 32385 h 57150"/>
                      <a:gd name="connsiteX6" fmla="*/ 63913 w 66675"/>
                      <a:gd name="connsiteY6" fmla="*/ 30194 h 57150"/>
                      <a:gd name="connsiteX7" fmla="*/ 60389 w 66675"/>
                      <a:gd name="connsiteY7" fmla="*/ 31337 h 57150"/>
                      <a:gd name="connsiteX8" fmla="*/ 52959 w 66675"/>
                      <a:gd name="connsiteY8" fmla="*/ 34100 h 57150"/>
                      <a:gd name="connsiteX9" fmla="*/ 42482 w 66675"/>
                      <a:gd name="connsiteY9" fmla="*/ 37529 h 57150"/>
                      <a:gd name="connsiteX10" fmla="*/ 45339 w 66675"/>
                      <a:gd name="connsiteY10" fmla="*/ 30861 h 57150"/>
                      <a:gd name="connsiteX11" fmla="*/ 49625 w 66675"/>
                      <a:gd name="connsiteY11" fmla="*/ 17431 h 57150"/>
                      <a:gd name="connsiteX12" fmla="*/ 46958 w 66675"/>
                      <a:gd name="connsiteY12" fmla="*/ 15907 h 57150"/>
                      <a:gd name="connsiteX13" fmla="*/ 36481 w 66675"/>
                      <a:gd name="connsiteY13" fmla="*/ 26289 h 57150"/>
                      <a:gd name="connsiteX14" fmla="*/ 35147 w 66675"/>
                      <a:gd name="connsiteY14" fmla="*/ 27908 h 57150"/>
                      <a:gd name="connsiteX15" fmla="*/ 33052 w 66675"/>
                      <a:gd name="connsiteY15" fmla="*/ 27337 h 57150"/>
                      <a:gd name="connsiteX16" fmla="*/ 27908 w 66675"/>
                      <a:gd name="connsiteY16" fmla="*/ 20098 h 57150"/>
                      <a:gd name="connsiteX17" fmla="*/ 29051 w 66675"/>
                      <a:gd name="connsiteY17" fmla="*/ 8858 h 57150"/>
                      <a:gd name="connsiteX18" fmla="*/ 25051 w 66675"/>
                      <a:gd name="connsiteY18" fmla="*/ 6953 h 57150"/>
                      <a:gd name="connsiteX19" fmla="*/ 18098 w 66675"/>
                      <a:gd name="connsiteY19" fmla="*/ 16955 h 57150"/>
                      <a:gd name="connsiteX20" fmla="*/ 16002 w 66675"/>
                      <a:gd name="connsiteY20" fmla="*/ 20384 h 57150"/>
                      <a:gd name="connsiteX21" fmla="*/ 5525 w 66675"/>
                      <a:gd name="connsiteY21" fmla="*/ 36862 h 57150"/>
                      <a:gd name="connsiteX22" fmla="*/ 0 w 66675"/>
                      <a:gd name="connsiteY22" fmla="*/ 33433 h 57150"/>
                      <a:gd name="connsiteX23" fmla="*/ 10573 w 66675"/>
                      <a:gd name="connsiteY23" fmla="*/ 16859 h 57150"/>
                      <a:gd name="connsiteX24" fmla="*/ 12573 w 66675"/>
                      <a:gd name="connsiteY24" fmla="*/ 13621 h 57150"/>
                      <a:gd name="connsiteX25" fmla="*/ 24575 w 66675"/>
                      <a:gd name="connsiteY25" fmla="*/ 191 h 57150"/>
                      <a:gd name="connsiteX26" fmla="*/ 25527 w 66675"/>
                      <a:gd name="connsiteY26" fmla="*/ 0 h 57150"/>
                      <a:gd name="connsiteX27" fmla="*/ 39338 w 66675"/>
                      <a:gd name="connsiteY27" fmla="*/ 6382 h 57150"/>
                      <a:gd name="connsiteX28" fmla="*/ 36386 w 66675"/>
                      <a:gd name="connsiteY28" fmla="*/ 9620 h 57150"/>
                      <a:gd name="connsiteX29" fmla="*/ 34385 w 66675"/>
                      <a:gd name="connsiteY29" fmla="*/ 18764 h 57150"/>
                      <a:gd name="connsiteX30" fmla="*/ 44577 w 66675"/>
                      <a:gd name="connsiteY30" fmla="*/ 9239 h 57150"/>
                      <a:gd name="connsiteX31" fmla="*/ 46387 w 66675"/>
                      <a:gd name="connsiteY31" fmla="*/ 7715 h 57150"/>
                      <a:gd name="connsiteX32" fmla="*/ 56579 w 66675"/>
                      <a:gd name="connsiteY32" fmla="*/ 13811 h 57150"/>
                      <a:gd name="connsiteX33" fmla="*/ 56388 w 66675"/>
                      <a:gd name="connsiteY33" fmla="*/ 15811 h 57150"/>
                      <a:gd name="connsiteX34" fmla="*/ 53912 w 66675"/>
                      <a:gd name="connsiteY34" fmla="*/ 26765 h 57150"/>
                      <a:gd name="connsiteX35" fmla="*/ 56007 w 66675"/>
                      <a:gd name="connsiteY35" fmla="*/ 26098 h 57150"/>
                      <a:gd name="connsiteX36" fmla="*/ 64199 w 66675"/>
                      <a:gd name="connsiteY36" fmla="*/ 23051 h 57150"/>
                      <a:gd name="connsiteX37" fmla="*/ 66294 w 66675"/>
                      <a:gd name="connsiteY37" fmla="*/ 22384 h 57150"/>
                      <a:gd name="connsiteX38" fmla="*/ 74771 w 66675"/>
                      <a:gd name="connsiteY38" fmla="*/ 33147 h 57150"/>
                      <a:gd name="connsiteX39" fmla="*/ 72295 w 66675"/>
                      <a:gd name="connsiteY39" fmla="*/ 35147 h 57150"/>
                      <a:gd name="connsiteX40" fmla="*/ 58960 w 66675"/>
                      <a:gd name="connsiteY40" fmla="*/ 45148 h 57150"/>
                      <a:gd name="connsiteX41" fmla="*/ 61150 w 66675"/>
                      <a:gd name="connsiteY41" fmla="*/ 58103 h 571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</a:cxnLst>
                    <a:rect l="l" t="t" r="r" b="b"/>
                    <a:pathLst>
                      <a:path w="66675" h="57150">
                        <a:moveTo>
                          <a:pt x="61150" y="58103"/>
                        </a:moveTo>
                        <a:lnTo>
                          <a:pt x="54959" y="56007"/>
                        </a:lnTo>
                        <a:cubicBezTo>
                          <a:pt x="56198" y="52578"/>
                          <a:pt x="53435" y="48673"/>
                          <a:pt x="51721" y="46673"/>
                        </a:cubicBezTo>
                        <a:lnTo>
                          <a:pt x="49054" y="43625"/>
                        </a:lnTo>
                        <a:lnTo>
                          <a:pt x="52578" y="41720"/>
                        </a:lnTo>
                        <a:cubicBezTo>
                          <a:pt x="56102" y="39719"/>
                          <a:pt x="62198" y="35052"/>
                          <a:pt x="65627" y="32385"/>
                        </a:cubicBezTo>
                        <a:lnTo>
                          <a:pt x="63913" y="30194"/>
                        </a:lnTo>
                        <a:cubicBezTo>
                          <a:pt x="62675" y="30575"/>
                          <a:pt x="61246" y="31052"/>
                          <a:pt x="60389" y="31337"/>
                        </a:cubicBezTo>
                        <a:cubicBezTo>
                          <a:pt x="59246" y="32099"/>
                          <a:pt x="57055" y="32861"/>
                          <a:pt x="52959" y="34100"/>
                        </a:cubicBezTo>
                        <a:lnTo>
                          <a:pt x="42482" y="37529"/>
                        </a:lnTo>
                        <a:lnTo>
                          <a:pt x="45339" y="30861"/>
                        </a:lnTo>
                        <a:cubicBezTo>
                          <a:pt x="47625" y="25622"/>
                          <a:pt x="49054" y="21146"/>
                          <a:pt x="49625" y="17431"/>
                        </a:cubicBezTo>
                        <a:lnTo>
                          <a:pt x="46958" y="15907"/>
                        </a:lnTo>
                        <a:cubicBezTo>
                          <a:pt x="44291" y="18288"/>
                          <a:pt x="39243" y="22955"/>
                          <a:pt x="36481" y="26289"/>
                        </a:cubicBezTo>
                        <a:lnTo>
                          <a:pt x="35147" y="27908"/>
                        </a:lnTo>
                        <a:lnTo>
                          <a:pt x="33052" y="27337"/>
                        </a:lnTo>
                        <a:cubicBezTo>
                          <a:pt x="30575" y="26670"/>
                          <a:pt x="28575" y="22574"/>
                          <a:pt x="27908" y="20098"/>
                        </a:cubicBezTo>
                        <a:cubicBezTo>
                          <a:pt x="26765" y="16288"/>
                          <a:pt x="27242" y="12383"/>
                          <a:pt x="29051" y="8858"/>
                        </a:cubicBezTo>
                        <a:lnTo>
                          <a:pt x="25051" y="6953"/>
                        </a:lnTo>
                        <a:cubicBezTo>
                          <a:pt x="23146" y="8573"/>
                          <a:pt x="19621" y="14288"/>
                          <a:pt x="18098" y="16955"/>
                        </a:cubicBezTo>
                        <a:cubicBezTo>
                          <a:pt x="17336" y="18193"/>
                          <a:pt x="16574" y="19431"/>
                          <a:pt x="16002" y="20384"/>
                        </a:cubicBezTo>
                        <a:cubicBezTo>
                          <a:pt x="13716" y="23908"/>
                          <a:pt x="8096" y="32861"/>
                          <a:pt x="5525" y="36862"/>
                        </a:cubicBezTo>
                        <a:lnTo>
                          <a:pt x="0" y="33433"/>
                        </a:lnTo>
                        <a:cubicBezTo>
                          <a:pt x="2572" y="29337"/>
                          <a:pt x="8192" y="20479"/>
                          <a:pt x="10573" y="16859"/>
                        </a:cubicBezTo>
                        <a:cubicBezTo>
                          <a:pt x="11144" y="15907"/>
                          <a:pt x="11811" y="14764"/>
                          <a:pt x="12573" y="13621"/>
                        </a:cubicBezTo>
                        <a:cubicBezTo>
                          <a:pt x="17050" y="6191"/>
                          <a:pt x="20479" y="953"/>
                          <a:pt x="24575" y="191"/>
                        </a:cubicBezTo>
                        <a:lnTo>
                          <a:pt x="25527" y="0"/>
                        </a:lnTo>
                        <a:lnTo>
                          <a:pt x="39338" y="6382"/>
                        </a:lnTo>
                        <a:lnTo>
                          <a:pt x="36386" y="9620"/>
                        </a:lnTo>
                        <a:cubicBezTo>
                          <a:pt x="33242" y="13145"/>
                          <a:pt x="33528" y="16478"/>
                          <a:pt x="34385" y="18764"/>
                        </a:cubicBezTo>
                        <a:cubicBezTo>
                          <a:pt x="38671" y="14288"/>
                          <a:pt x="44291" y="9525"/>
                          <a:pt x="44577" y="9239"/>
                        </a:cubicBezTo>
                        <a:lnTo>
                          <a:pt x="46387" y="7715"/>
                        </a:lnTo>
                        <a:lnTo>
                          <a:pt x="56579" y="13811"/>
                        </a:lnTo>
                        <a:lnTo>
                          <a:pt x="56388" y="15811"/>
                        </a:lnTo>
                        <a:cubicBezTo>
                          <a:pt x="56102" y="18955"/>
                          <a:pt x="55340" y="22574"/>
                          <a:pt x="53912" y="26765"/>
                        </a:cubicBezTo>
                        <a:cubicBezTo>
                          <a:pt x="54769" y="26480"/>
                          <a:pt x="55436" y="26289"/>
                          <a:pt x="56007" y="26098"/>
                        </a:cubicBezTo>
                        <a:cubicBezTo>
                          <a:pt x="57245" y="25241"/>
                          <a:pt x="59627" y="24479"/>
                          <a:pt x="64199" y="23051"/>
                        </a:cubicBezTo>
                        <a:lnTo>
                          <a:pt x="66294" y="22384"/>
                        </a:lnTo>
                        <a:lnTo>
                          <a:pt x="74771" y="33147"/>
                        </a:lnTo>
                        <a:lnTo>
                          <a:pt x="72295" y="35147"/>
                        </a:lnTo>
                        <a:cubicBezTo>
                          <a:pt x="71914" y="35433"/>
                          <a:pt x="64579" y="41434"/>
                          <a:pt x="58960" y="45148"/>
                        </a:cubicBezTo>
                        <a:cubicBezTo>
                          <a:pt x="61722" y="49721"/>
                          <a:pt x="62484" y="54197"/>
                          <a:pt x="61150" y="58103"/>
                        </a:cubicBezTo>
                        <a:close/>
                      </a:path>
                    </a:pathLst>
                  </a:custGeom>
                  <a:grpFill/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2120" name="Group 2119">
                  <a:extLst>
                    <a:ext uri="{FF2B5EF4-FFF2-40B4-BE49-F238E27FC236}">
                      <a16:creationId xmlns:a16="http://schemas.microsoft.com/office/drawing/2014/main" id="{7D50931F-7024-4AB2-A8D1-68477EAA206C}"/>
                    </a:ext>
                  </a:extLst>
                </p:cNvPr>
                <p:cNvGrpSpPr/>
                <p:nvPr/>
              </p:nvGrpSpPr>
              <p:grpSpPr>
                <a:xfrm>
                  <a:off x="10622571" y="3059995"/>
                  <a:ext cx="218153" cy="218153"/>
                  <a:chOff x="-2011468" y="2534279"/>
                  <a:chExt cx="333375" cy="333375"/>
                </a:xfrm>
              </p:grpSpPr>
              <p:sp>
                <p:nvSpPr>
                  <p:cNvPr id="2121" name="Freeform: Shape 2120">
                    <a:extLst>
                      <a:ext uri="{FF2B5EF4-FFF2-40B4-BE49-F238E27FC236}">
                        <a16:creationId xmlns:a16="http://schemas.microsoft.com/office/drawing/2014/main" id="{CB147B22-0CC1-46FC-B45B-3EA784A263E3}"/>
                      </a:ext>
                    </a:extLst>
                  </p:cNvPr>
                  <p:cNvSpPr/>
                  <p:nvPr/>
                </p:nvSpPr>
                <p:spPr>
                  <a:xfrm>
                    <a:off x="-2011468" y="2534279"/>
                    <a:ext cx="333375" cy="333375"/>
                  </a:xfrm>
                  <a:custGeom>
                    <a:avLst/>
                    <a:gdLst>
                      <a:gd name="connsiteX0" fmla="*/ 342329 w 333375"/>
                      <a:gd name="connsiteY0" fmla="*/ 171164 h 333375"/>
                      <a:gd name="connsiteX1" fmla="*/ 171164 w 333375"/>
                      <a:gd name="connsiteY1" fmla="*/ 342329 h 333375"/>
                      <a:gd name="connsiteX2" fmla="*/ 0 w 333375"/>
                      <a:gd name="connsiteY2" fmla="*/ 171164 h 333375"/>
                      <a:gd name="connsiteX3" fmla="*/ 171164 w 333375"/>
                      <a:gd name="connsiteY3" fmla="*/ 0 h 333375"/>
                      <a:gd name="connsiteX4" fmla="*/ 342329 w 333375"/>
                      <a:gd name="connsiteY4" fmla="*/ 171164 h 3333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33375" h="333375">
                        <a:moveTo>
                          <a:pt x="342329" y="171164"/>
                        </a:moveTo>
                        <a:cubicBezTo>
                          <a:pt x="342329" y="265748"/>
                          <a:pt x="265652" y="342329"/>
                          <a:pt x="171164" y="342329"/>
                        </a:cubicBezTo>
                        <a:cubicBezTo>
                          <a:pt x="76581" y="342329"/>
                          <a:pt x="0" y="265652"/>
                          <a:pt x="0" y="171164"/>
                        </a:cubicBezTo>
                        <a:cubicBezTo>
                          <a:pt x="0" y="76676"/>
                          <a:pt x="76676" y="0"/>
                          <a:pt x="171164" y="0"/>
                        </a:cubicBezTo>
                        <a:cubicBezTo>
                          <a:pt x="265652" y="0"/>
                          <a:pt x="342329" y="76581"/>
                          <a:pt x="342329" y="171164"/>
                        </a:cubicBezTo>
                        <a:close/>
                      </a:path>
                    </a:pathLst>
                  </a:custGeom>
                  <a:solidFill>
                    <a:schemeClr val="bg2">
                      <a:lumMod val="85000"/>
                    </a:schemeClr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grpSp>
                <p:nvGrpSpPr>
                  <p:cNvPr id="2122" name="Graphic 2009">
                    <a:extLst>
                      <a:ext uri="{FF2B5EF4-FFF2-40B4-BE49-F238E27FC236}">
                        <a16:creationId xmlns:a16="http://schemas.microsoft.com/office/drawing/2014/main" id="{EBB93180-2F5A-4E9B-839A-4A44C24A0B09}"/>
                      </a:ext>
                    </a:extLst>
                  </p:cNvPr>
                  <p:cNvGrpSpPr/>
                  <p:nvPr/>
                </p:nvGrpSpPr>
                <p:grpSpPr>
                  <a:xfrm>
                    <a:off x="-1937173" y="2593905"/>
                    <a:ext cx="123825" cy="120301"/>
                    <a:chOff x="-2433527" y="3068478"/>
                    <a:chExt cx="123825" cy="120301"/>
                  </a:xfrm>
                  <a:solidFill>
                    <a:srgbClr val="FFFFFF"/>
                  </a:solidFill>
                </p:grpSpPr>
                <p:sp>
                  <p:nvSpPr>
                    <p:cNvPr id="2123" name="Freeform: Shape 2122">
                      <a:extLst>
                        <a:ext uri="{FF2B5EF4-FFF2-40B4-BE49-F238E27FC236}">
                          <a16:creationId xmlns:a16="http://schemas.microsoft.com/office/drawing/2014/main" id="{471A7245-BCDC-4792-B69B-C5B41AA0E98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2422192" y="3103054"/>
                      <a:ext cx="95250" cy="85725"/>
                    </a:xfrm>
                    <a:custGeom>
                      <a:avLst/>
                      <a:gdLst>
                        <a:gd name="connsiteX0" fmla="*/ 51911 w 95250"/>
                        <a:gd name="connsiteY0" fmla="*/ 85725 h 85725"/>
                        <a:gd name="connsiteX1" fmla="*/ 0 w 95250"/>
                        <a:gd name="connsiteY1" fmla="*/ 14097 h 85725"/>
                        <a:gd name="connsiteX2" fmla="*/ 7620 w 95250"/>
                        <a:gd name="connsiteY2" fmla="*/ 13525 h 85725"/>
                        <a:gd name="connsiteX3" fmla="*/ 51911 w 95250"/>
                        <a:gd name="connsiteY3" fmla="*/ 78200 h 85725"/>
                        <a:gd name="connsiteX4" fmla="*/ 96202 w 95250"/>
                        <a:gd name="connsiteY4" fmla="*/ 13621 h 85725"/>
                        <a:gd name="connsiteX5" fmla="*/ 98869 w 95250"/>
                        <a:gd name="connsiteY5" fmla="*/ 13811 h 85725"/>
                        <a:gd name="connsiteX6" fmla="*/ 96488 w 95250"/>
                        <a:gd name="connsiteY6" fmla="*/ 12192 h 85725"/>
                        <a:gd name="connsiteX7" fmla="*/ 104680 w 95250"/>
                        <a:gd name="connsiteY7" fmla="*/ 0 h 85725"/>
                        <a:gd name="connsiteX8" fmla="*/ 103727 w 95250"/>
                        <a:gd name="connsiteY8" fmla="*/ 14192 h 85725"/>
                        <a:gd name="connsiteX9" fmla="*/ 51911 w 95250"/>
                        <a:gd name="connsiteY9" fmla="*/ 85725 h 8572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</a:cxnLst>
                      <a:rect l="l" t="t" r="r" b="b"/>
                      <a:pathLst>
                        <a:path w="95250" h="85725">
                          <a:moveTo>
                            <a:pt x="51911" y="85725"/>
                          </a:moveTo>
                          <a:cubicBezTo>
                            <a:pt x="25527" y="85725"/>
                            <a:pt x="3238" y="54959"/>
                            <a:pt x="0" y="14097"/>
                          </a:cubicBezTo>
                          <a:lnTo>
                            <a:pt x="7620" y="13525"/>
                          </a:lnTo>
                          <a:cubicBezTo>
                            <a:pt x="10573" y="50387"/>
                            <a:pt x="29623" y="78200"/>
                            <a:pt x="51911" y="78200"/>
                          </a:cubicBezTo>
                          <a:cubicBezTo>
                            <a:pt x="74200" y="78200"/>
                            <a:pt x="93250" y="50483"/>
                            <a:pt x="96202" y="13621"/>
                          </a:cubicBezTo>
                          <a:lnTo>
                            <a:pt x="98869" y="13811"/>
                          </a:lnTo>
                          <a:lnTo>
                            <a:pt x="96488" y="12192"/>
                          </a:lnTo>
                          <a:lnTo>
                            <a:pt x="104680" y="0"/>
                          </a:lnTo>
                          <a:lnTo>
                            <a:pt x="103727" y="14192"/>
                          </a:lnTo>
                          <a:cubicBezTo>
                            <a:pt x="100489" y="54959"/>
                            <a:pt x="78200" y="85725"/>
                            <a:pt x="51911" y="85725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grpSp>
                  <p:nvGrpSpPr>
                    <p:cNvPr id="2124" name="Graphic 2009">
                      <a:extLst>
                        <a:ext uri="{FF2B5EF4-FFF2-40B4-BE49-F238E27FC236}">
                          <a16:creationId xmlns:a16="http://schemas.microsoft.com/office/drawing/2014/main" id="{81678B4B-5321-40C8-B03C-F03A57512A0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-2433527" y="3068478"/>
                      <a:ext cx="123825" cy="47625"/>
                      <a:chOff x="-2433527" y="3068478"/>
                      <a:chExt cx="123825" cy="47625"/>
                    </a:xfrm>
                    <a:solidFill>
                      <a:srgbClr val="FFFFFF"/>
                    </a:solidFill>
                  </p:grpSpPr>
                  <p:sp>
                    <p:nvSpPr>
                      <p:cNvPr id="2128" name="Freeform: Shape 2127">
                        <a:extLst>
                          <a:ext uri="{FF2B5EF4-FFF2-40B4-BE49-F238E27FC236}">
                            <a16:creationId xmlns:a16="http://schemas.microsoft.com/office/drawing/2014/main" id="{6963BBB5-311B-43F9-894E-155309FEDBF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-2433527" y="3068478"/>
                        <a:ext cx="38100" cy="47625"/>
                      </a:xfrm>
                      <a:custGeom>
                        <a:avLst/>
                        <a:gdLst>
                          <a:gd name="connsiteX0" fmla="*/ 20098 w 38100"/>
                          <a:gd name="connsiteY0" fmla="*/ 51054 h 47625"/>
                          <a:gd name="connsiteX1" fmla="*/ 0 w 38100"/>
                          <a:gd name="connsiteY1" fmla="*/ 25527 h 47625"/>
                          <a:gd name="connsiteX2" fmla="*/ 20098 w 38100"/>
                          <a:gd name="connsiteY2" fmla="*/ 0 h 47625"/>
                          <a:gd name="connsiteX3" fmla="*/ 40195 w 38100"/>
                          <a:gd name="connsiteY3" fmla="*/ 25527 h 47625"/>
                          <a:gd name="connsiteX4" fmla="*/ 20098 w 38100"/>
                          <a:gd name="connsiteY4" fmla="*/ 51054 h 47625"/>
                          <a:gd name="connsiteX5" fmla="*/ 20098 w 38100"/>
                          <a:gd name="connsiteY5" fmla="*/ 7620 h 47625"/>
                          <a:gd name="connsiteX6" fmla="*/ 7620 w 38100"/>
                          <a:gd name="connsiteY6" fmla="*/ 25527 h 47625"/>
                          <a:gd name="connsiteX7" fmla="*/ 20098 w 38100"/>
                          <a:gd name="connsiteY7" fmla="*/ 43434 h 47625"/>
                          <a:gd name="connsiteX8" fmla="*/ 32576 w 38100"/>
                          <a:gd name="connsiteY8" fmla="*/ 25527 h 47625"/>
                          <a:gd name="connsiteX9" fmla="*/ 20098 w 38100"/>
                          <a:gd name="connsiteY9" fmla="*/ 7620 h 47625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</a:cxnLst>
                        <a:rect l="l" t="t" r="r" b="b"/>
                        <a:pathLst>
                          <a:path w="38100" h="47625">
                            <a:moveTo>
                              <a:pt x="20098" y="51054"/>
                            </a:moveTo>
                            <a:cubicBezTo>
                              <a:pt x="9049" y="51054"/>
                              <a:pt x="0" y="39624"/>
                              <a:pt x="0" y="25527"/>
                            </a:cubicBezTo>
                            <a:cubicBezTo>
                              <a:pt x="0" y="11430"/>
                              <a:pt x="9049" y="0"/>
                              <a:pt x="20098" y="0"/>
                            </a:cubicBezTo>
                            <a:cubicBezTo>
                              <a:pt x="31147" y="0"/>
                              <a:pt x="40195" y="11430"/>
                              <a:pt x="40195" y="25527"/>
                            </a:cubicBezTo>
                            <a:cubicBezTo>
                              <a:pt x="40195" y="39624"/>
                              <a:pt x="31242" y="51054"/>
                              <a:pt x="20098" y="51054"/>
                            </a:cubicBezTo>
                            <a:close/>
                            <a:moveTo>
                              <a:pt x="20098" y="7620"/>
                            </a:moveTo>
                            <a:cubicBezTo>
                              <a:pt x="13335" y="7620"/>
                              <a:pt x="7620" y="15811"/>
                              <a:pt x="7620" y="25527"/>
                            </a:cubicBezTo>
                            <a:cubicBezTo>
                              <a:pt x="7620" y="35242"/>
                              <a:pt x="13335" y="43434"/>
                              <a:pt x="20098" y="43434"/>
                            </a:cubicBezTo>
                            <a:cubicBezTo>
                              <a:pt x="26860" y="43434"/>
                              <a:pt x="32576" y="35242"/>
                              <a:pt x="32576" y="25527"/>
                            </a:cubicBezTo>
                            <a:cubicBezTo>
                              <a:pt x="32576" y="15811"/>
                              <a:pt x="26860" y="7620"/>
                              <a:pt x="20098" y="7620"/>
                            </a:cubicBezTo>
                            <a:close/>
                          </a:path>
                        </a:pathLst>
                      </a:custGeom>
                      <a:solidFill>
                        <a:srgbClr val="FFFFFF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2129" name="Freeform: Shape 2128">
                        <a:extLst>
                          <a:ext uri="{FF2B5EF4-FFF2-40B4-BE49-F238E27FC236}">
                            <a16:creationId xmlns:a16="http://schemas.microsoft.com/office/drawing/2014/main" id="{92D2833C-01BA-4512-B984-D8DAA3F9479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-2343896" y="3068478"/>
                        <a:ext cx="38100" cy="47625"/>
                      </a:xfrm>
                      <a:custGeom>
                        <a:avLst/>
                        <a:gdLst>
                          <a:gd name="connsiteX0" fmla="*/ 20098 w 38100"/>
                          <a:gd name="connsiteY0" fmla="*/ 51054 h 47625"/>
                          <a:gd name="connsiteX1" fmla="*/ 0 w 38100"/>
                          <a:gd name="connsiteY1" fmla="*/ 25527 h 47625"/>
                          <a:gd name="connsiteX2" fmla="*/ 20098 w 38100"/>
                          <a:gd name="connsiteY2" fmla="*/ 0 h 47625"/>
                          <a:gd name="connsiteX3" fmla="*/ 40195 w 38100"/>
                          <a:gd name="connsiteY3" fmla="*/ 25527 h 47625"/>
                          <a:gd name="connsiteX4" fmla="*/ 20098 w 38100"/>
                          <a:gd name="connsiteY4" fmla="*/ 51054 h 47625"/>
                          <a:gd name="connsiteX5" fmla="*/ 20098 w 38100"/>
                          <a:gd name="connsiteY5" fmla="*/ 7620 h 47625"/>
                          <a:gd name="connsiteX6" fmla="*/ 7620 w 38100"/>
                          <a:gd name="connsiteY6" fmla="*/ 25527 h 47625"/>
                          <a:gd name="connsiteX7" fmla="*/ 20098 w 38100"/>
                          <a:gd name="connsiteY7" fmla="*/ 43434 h 47625"/>
                          <a:gd name="connsiteX8" fmla="*/ 32576 w 38100"/>
                          <a:gd name="connsiteY8" fmla="*/ 25527 h 47625"/>
                          <a:gd name="connsiteX9" fmla="*/ 20098 w 38100"/>
                          <a:gd name="connsiteY9" fmla="*/ 7620 h 47625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</a:cxnLst>
                        <a:rect l="l" t="t" r="r" b="b"/>
                        <a:pathLst>
                          <a:path w="38100" h="47625">
                            <a:moveTo>
                              <a:pt x="20098" y="51054"/>
                            </a:moveTo>
                            <a:cubicBezTo>
                              <a:pt x="9049" y="51054"/>
                              <a:pt x="0" y="39624"/>
                              <a:pt x="0" y="25527"/>
                            </a:cubicBezTo>
                            <a:cubicBezTo>
                              <a:pt x="0" y="11430"/>
                              <a:pt x="9049" y="0"/>
                              <a:pt x="20098" y="0"/>
                            </a:cubicBezTo>
                            <a:cubicBezTo>
                              <a:pt x="31147" y="0"/>
                              <a:pt x="40195" y="11430"/>
                              <a:pt x="40195" y="25527"/>
                            </a:cubicBezTo>
                            <a:cubicBezTo>
                              <a:pt x="40195" y="39624"/>
                              <a:pt x="31242" y="51054"/>
                              <a:pt x="20098" y="51054"/>
                            </a:cubicBezTo>
                            <a:close/>
                            <a:moveTo>
                              <a:pt x="20098" y="7620"/>
                            </a:moveTo>
                            <a:cubicBezTo>
                              <a:pt x="13335" y="7620"/>
                              <a:pt x="7620" y="15811"/>
                              <a:pt x="7620" y="25527"/>
                            </a:cubicBezTo>
                            <a:cubicBezTo>
                              <a:pt x="7620" y="35242"/>
                              <a:pt x="13335" y="43434"/>
                              <a:pt x="20098" y="43434"/>
                            </a:cubicBezTo>
                            <a:cubicBezTo>
                              <a:pt x="26861" y="43434"/>
                              <a:pt x="32576" y="35242"/>
                              <a:pt x="32576" y="25527"/>
                            </a:cubicBezTo>
                            <a:cubicBezTo>
                              <a:pt x="32576" y="15811"/>
                              <a:pt x="26861" y="7620"/>
                              <a:pt x="20098" y="7620"/>
                            </a:cubicBezTo>
                            <a:close/>
                          </a:path>
                        </a:pathLst>
                      </a:custGeom>
                      <a:solidFill>
                        <a:srgbClr val="FFFFFF"/>
                      </a:solidFill>
                      <a:ln w="9525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</p:grpSp>
                <p:sp>
                  <p:nvSpPr>
                    <p:cNvPr id="2125" name="Freeform: Shape 2124">
                      <a:extLst>
                        <a:ext uri="{FF2B5EF4-FFF2-40B4-BE49-F238E27FC236}">
                          <a16:creationId xmlns:a16="http://schemas.microsoft.com/office/drawing/2014/main" id="{01C5B3FC-65AA-4DED-A84C-B8F5BFDDB0A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2373519" y="3186398"/>
                      <a:ext cx="104775" cy="76200"/>
                    </a:xfrm>
                    <a:custGeom>
                      <a:avLst/>
                      <a:gdLst>
                        <a:gd name="connsiteX0" fmla="*/ 46768 w 104775"/>
                        <a:gd name="connsiteY0" fmla="*/ 81820 h 76200"/>
                        <a:gd name="connsiteX1" fmla="*/ 0 w 104775"/>
                        <a:gd name="connsiteY1" fmla="*/ 286 h 76200"/>
                        <a:gd name="connsiteX2" fmla="*/ 7620 w 104775"/>
                        <a:gd name="connsiteY2" fmla="*/ 0 h 76200"/>
                        <a:gd name="connsiteX3" fmla="*/ 46768 w 104775"/>
                        <a:gd name="connsiteY3" fmla="*/ 74200 h 76200"/>
                        <a:gd name="connsiteX4" fmla="*/ 77343 w 104775"/>
                        <a:gd name="connsiteY4" fmla="*/ 40481 h 76200"/>
                        <a:gd name="connsiteX5" fmla="*/ 108776 w 104775"/>
                        <a:gd name="connsiteY5" fmla="*/ 9620 h 76200"/>
                        <a:gd name="connsiteX6" fmla="*/ 107633 w 104775"/>
                        <a:gd name="connsiteY6" fmla="*/ 17145 h 76200"/>
                        <a:gd name="connsiteX7" fmla="*/ 84487 w 104775"/>
                        <a:gd name="connsiteY7" fmla="*/ 43053 h 76200"/>
                        <a:gd name="connsiteX8" fmla="*/ 47339 w 104775"/>
                        <a:gd name="connsiteY8" fmla="*/ 81820 h 76200"/>
                        <a:gd name="connsiteX9" fmla="*/ 46768 w 104775"/>
                        <a:gd name="connsiteY9" fmla="*/ 81820 h 762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</a:cxnLst>
                      <a:rect l="l" t="t" r="r" b="b"/>
                      <a:pathLst>
                        <a:path w="104775" h="76200">
                          <a:moveTo>
                            <a:pt x="46768" y="81820"/>
                          </a:moveTo>
                          <a:cubicBezTo>
                            <a:pt x="3143" y="81820"/>
                            <a:pt x="191" y="3620"/>
                            <a:pt x="0" y="286"/>
                          </a:cubicBezTo>
                          <a:lnTo>
                            <a:pt x="7620" y="0"/>
                          </a:lnTo>
                          <a:cubicBezTo>
                            <a:pt x="7620" y="762"/>
                            <a:pt x="10478" y="74200"/>
                            <a:pt x="46768" y="74200"/>
                          </a:cubicBezTo>
                          <a:cubicBezTo>
                            <a:pt x="65341" y="73819"/>
                            <a:pt x="71438" y="56864"/>
                            <a:pt x="77343" y="40481"/>
                          </a:cubicBezTo>
                          <a:cubicBezTo>
                            <a:pt x="83630" y="23146"/>
                            <a:pt x="89535" y="6668"/>
                            <a:pt x="108776" y="9620"/>
                          </a:cubicBezTo>
                          <a:lnTo>
                            <a:pt x="107633" y="17145"/>
                          </a:lnTo>
                          <a:cubicBezTo>
                            <a:pt x="95726" y="15335"/>
                            <a:pt x="91726" y="23241"/>
                            <a:pt x="84487" y="43053"/>
                          </a:cubicBezTo>
                          <a:cubicBezTo>
                            <a:pt x="78295" y="60103"/>
                            <a:pt x="70676" y="81344"/>
                            <a:pt x="47339" y="81820"/>
                          </a:cubicBezTo>
                          <a:cubicBezTo>
                            <a:pt x="47244" y="81820"/>
                            <a:pt x="47054" y="81820"/>
                            <a:pt x="46768" y="81820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126" name="Freeform: Shape 2125">
                      <a:extLst>
                        <a:ext uri="{FF2B5EF4-FFF2-40B4-BE49-F238E27FC236}">
                          <a16:creationId xmlns:a16="http://schemas.microsoft.com/office/drawing/2014/main" id="{BAD13316-31D2-41EB-9F0B-A923D821D96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2270554" y="3155251"/>
                      <a:ext cx="57150" cy="57150"/>
                    </a:xfrm>
                    <a:custGeom>
                      <a:avLst/>
                      <a:gdLst>
                        <a:gd name="connsiteX0" fmla="*/ 32671 w 57150"/>
                        <a:gd name="connsiteY0" fmla="*/ 65342 h 57150"/>
                        <a:gd name="connsiteX1" fmla="*/ 0 w 57150"/>
                        <a:gd name="connsiteY1" fmla="*/ 32671 h 57150"/>
                        <a:gd name="connsiteX2" fmla="*/ 32671 w 57150"/>
                        <a:gd name="connsiteY2" fmla="*/ 0 h 57150"/>
                        <a:gd name="connsiteX3" fmla="*/ 65342 w 57150"/>
                        <a:gd name="connsiteY3" fmla="*/ 32671 h 57150"/>
                        <a:gd name="connsiteX4" fmla="*/ 32671 w 57150"/>
                        <a:gd name="connsiteY4" fmla="*/ 65342 h 57150"/>
                        <a:gd name="connsiteX5" fmla="*/ 32671 w 57150"/>
                        <a:gd name="connsiteY5" fmla="*/ 7620 h 57150"/>
                        <a:gd name="connsiteX6" fmla="*/ 7620 w 57150"/>
                        <a:gd name="connsiteY6" fmla="*/ 32671 h 57150"/>
                        <a:gd name="connsiteX7" fmla="*/ 32671 w 57150"/>
                        <a:gd name="connsiteY7" fmla="*/ 57721 h 57150"/>
                        <a:gd name="connsiteX8" fmla="*/ 57722 w 57150"/>
                        <a:gd name="connsiteY8" fmla="*/ 32671 h 57150"/>
                        <a:gd name="connsiteX9" fmla="*/ 32671 w 57150"/>
                        <a:gd name="connsiteY9" fmla="*/ 7620 h 571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</a:cxnLst>
                      <a:rect l="l" t="t" r="r" b="b"/>
                      <a:pathLst>
                        <a:path w="57150" h="57150">
                          <a:moveTo>
                            <a:pt x="32671" y="65342"/>
                          </a:moveTo>
                          <a:cubicBezTo>
                            <a:pt x="14669" y="65342"/>
                            <a:pt x="0" y="50673"/>
                            <a:pt x="0" y="32671"/>
                          </a:cubicBezTo>
                          <a:cubicBezTo>
                            <a:pt x="0" y="14669"/>
                            <a:pt x="14669" y="0"/>
                            <a:pt x="32671" y="0"/>
                          </a:cubicBezTo>
                          <a:cubicBezTo>
                            <a:pt x="50673" y="0"/>
                            <a:pt x="65342" y="14669"/>
                            <a:pt x="65342" y="32671"/>
                          </a:cubicBezTo>
                          <a:cubicBezTo>
                            <a:pt x="65342" y="50673"/>
                            <a:pt x="50673" y="65342"/>
                            <a:pt x="32671" y="65342"/>
                          </a:cubicBezTo>
                          <a:close/>
                          <a:moveTo>
                            <a:pt x="32671" y="7620"/>
                          </a:moveTo>
                          <a:cubicBezTo>
                            <a:pt x="18859" y="7620"/>
                            <a:pt x="7620" y="18859"/>
                            <a:pt x="7620" y="32671"/>
                          </a:cubicBezTo>
                          <a:cubicBezTo>
                            <a:pt x="7620" y="46482"/>
                            <a:pt x="18859" y="57721"/>
                            <a:pt x="32671" y="57721"/>
                          </a:cubicBezTo>
                          <a:cubicBezTo>
                            <a:pt x="46482" y="57721"/>
                            <a:pt x="57722" y="46482"/>
                            <a:pt x="57722" y="32671"/>
                          </a:cubicBezTo>
                          <a:cubicBezTo>
                            <a:pt x="57722" y="18859"/>
                            <a:pt x="46482" y="7620"/>
                            <a:pt x="32671" y="7620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127" name="Freeform: Shape 2126">
                      <a:extLst>
                        <a:ext uri="{FF2B5EF4-FFF2-40B4-BE49-F238E27FC236}">
                          <a16:creationId xmlns:a16="http://schemas.microsoft.com/office/drawing/2014/main" id="{4F2E1152-FC59-40AC-BBBC-E91892FC180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-2250551" y="3174872"/>
                      <a:ext cx="19050" cy="19050"/>
                    </a:xfrm>
                    <a:custGeom>
                      <a:avLst/>
                      <a:gdLst>
                        <a:gd name="connsiteX0" fmla="*/ 12954 w 19050"/>
                        <a:gd name="connsiteY0" fmla="*/ 25908 h 19050"/>
                        <a:gd name="connsiteX1" fmla="*/ 0 w 19050"/>
                        <a:gd name="connsiteY1" fmla="*/ 12954 h 19050"/>
                        <a:gd name="connsiteX2" fmla="*/ 12954 w 19050"/>
                        <a:gd name="connsiteY2" fmla="*/ 0 h 19050"/>
                        <a:gd name="connsiteX3" fmla="*/ 25908 w 19050"/>
                        <a:gd name="connsiteY3" fmla="*/ 12954 h 19050"/>
                        <a:gd name="connsiteX4" fmla="*/ 12954 w 19050"/>
                        <a:gd name="connsiteY4" fmla="*/ 25908 h 19050"/>
                        <a:gd name="connsiteX5" fmla="*/ 12954 w 19050"/>
                        <a:gd name="connsiteY5" fmla="*/ 7620 h 19050"/>
                        <a:gd name="connsiteX6" fmla="*/ 7620 w 19050"/>
                        <a:gd name="connsiteY6" fmla="*/ 12954 h 19050"/>
                        <a:gd name="connsiteX7" fmla="*/ 12954 w 19050"/>
                        <a:gd name="connsiteY7" fmla="*/ 18288 h 19050"/>
                        <a:gd name="connsiteX8" fmla="*/ 18288 w 19050"/>
                        <a:gd name="connsiteY8" fmla="*/ 12954 h 19050"/>
                        <a:gd name="connsiteX9" fmla="*/ 12954 w 19050"/>
                        <a:gd name="connsiteY9" fmla="*/ 7620 h 190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</a:cxnLst>
                      <a:rect l="l" t="t" r="r" b="b"/>
                      <a:pathLst>
                        <a:path w="19050" h="19050">
                          <a:moveTo>
                            <a:pt x="12954" y="25908"/>
                          </a:moveTo>
                          <a:cubicBezTo>
                            <a:pt x="5810" y="25908"/>
                            <a:pt x="0" y="20098"/>
                            <a:pt x="0" y="12954"/>
                          </a:cubicBezTo>
                          <a:cubicBezTo>
                            <a:pt x="0" y="5810"/>
                            <a:pt x="5810" y="0"/>
                            <a:pt x="12954" y="0"/>
                          </a:cubicBezTo>
                          <a:cubicBezTo>
                            <a:pt x="20098" y="0"/>
                            <a:pt x="25908" y="5810"/>
                            <a:pt x="25908" y="12954"/>
                          </a:cubicBezTo>
                          <a:cubicBezTo>
                            <a:pt x="25813" y="20098"/>
                            <a:pt x="20002" y="25908"/>
                            <a:pt x="12954" y="25908"/>
                          </a:cubicBezTo>
                          <a:close/>
                          <a:moveTo>
                            <a:pt x="12954" y="7620"/>
                          </a:moveTo>
                          <a:cubicBezTo>
                            <a:pt x="10001" y="7620"/>
                            <a:pt x="7620" y="10001"/>
                            <a:pt x="7620" y="12954"/>
                          </a:cubicBezTo>
                          <a:cubicBezTo>
                            <a:pt x="7620" y="15907"/>
                            <a:pt x="10001" y="18288"/>
                            <a:pt x="12954" y="18288"/>
                          </a:cubicBezTo>
                          <a:cubicBezTo>
                            <a:pt x="15907" y="18288"/>
                            <a:pt x="18288" y="15907"/>
                            <a:pt x="18288" y="12954"/>
                          </a:cubicBezTo>
                          <a:cubicBezTo>
                            <a:pt x="18193" y="10001"/>
                            <a:pt x="15811" y="7620"/>
                            <a:pt x="12954" y="7620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</p:grpSp>
            <p:sp>
              <p:nvSpPr>
                <p:cNvPr id="2203" name="Freeform: Shape 2202">
                  <a:extLst>
                    <a:ext uri="{FF2B5EF4-FFF2-40B4-BE49-F238E27FC236}">
                      <a16:creationId xmlns:a16="http://schemas.microsoft.com/office/drawing/2014/main" id="{A54FD241-6538-4A7D-BD42-72DAEEB310CE}"/>
                    </a:ext>
                  </a:extLst>
                </p:cNvPr>
                <p:cNvSpPr/>
                <p:nvPr/>
              </p:nvSpPr>
              <p:spPr>
                <a:xfrm>
                  <a:off x="11076940" y="4147820"/>
                  <a:ext cx="510540" cy="332740"/>
                </a:xfrm>
                <a:custGeom>
                  <a:avLst/>
                  <a:gdLst>
                    <a:gd name="connsiteX0" fmla="*/ 490220 w 510540"/>
                    <a:gd name="connsiteY0" fmla="*/ 0 h 332740"/>
                    <a:gd name="connsiteX1" fmla="*/ 0 w 510540"/>
                    <a:gd name="connsiteY1" fmla="*/ 165100 h 332740"/>
                    <a:gd name="connsiteX2" fmla="*/ 91440 w 510540"/>
                    <a:gd name="connsiteY2" fmla="*/ 332740 h 332740"/>
                    <a:gd name="connsiteX3" fmla="*/ 510540 w 510540"/>
                    <a:gd name="connsiteY3" fmla="*/ 327660 h 332740"/>
                    <a:gd name="connsiteX4" fmla="*/ 508000 w 510540"/>
                    <a:gd name="connsiteY4" fmla="*/ 299720 h 332740"/>
                    <a:gd name="connsiteX5" fmla="*/ 490220 w 510540"/>
                    <a:gd name="connsiteY5" fmla="*/ 0 h 332740"/>
                    <a:gd name="connsiteX0" fmla="*/ 490220 w 510540"/>
                    <a:gd name="connsiteY0" fmla="*/ 0 h 332740"/>
                    <a:gd name="connsiteX1" fmla="*/ 0 w 510540"/>
                    <a:gd name="connsiteY1" fmla="*/ 170815 h 332740"/>
                    <a:gd name="connsiteX2" fmla="*/ 91440 w 510540"/>
                    <a:gd name="connsiteY2" fmla="*/ 332740 h 332740"/>
                    <a:gd name="connsiteX3" fmla="*/ 510540 w 510540"/>
                    <a:gd name="connsiteY3" fmla="*/ 327660 h 332740"/>
                    <a:gd name="connsiteX4" fmla="*/ 508000 w 510540"/>
                    <a:gd name="connsiteY4" fmla="*/ 299720 h 332740"/>
                    <a:gd name="connsiteX5" fmla="*/ 490220 w 510540"/>
                    <a:gd name="connsiteY5" fmla="*/ 0 h 332740"/>
                    <a:gd name="connsiteX0" fmla="*/ 490220 w 510540"/>
                    <a:gd name="connsiteY0" fmla="*/ 0 h 332740"/>
                    <a:gd name="connsiteX1" fmla="*/ 0 w 510540"/>
                    <a:gd name="connsiteY1" fmla="*/ 170815 h 332740"/>
                    <a:gd name="connsiteX2" fmla="*/ 91440 w 510540"/>
                    <a:gd name="connsiteY2" fmla="*/ 332740 h 332740"/>
                    <a:gd name="connsiteX3" fmla="*/ 510540 w 510540"/>
                    <a:gd name="connsiteY3" fmla="*/ 327660 h 332740"/>
                    <a:gd name="connsiteX4" fmla="*/ 508000 w 510540"/>
                    <a:gd name="connsiteY4" fmla="*/ 299720 h 332740"/>
                    <a:gd name="connsiteX5" fmla="*/ 490220 w 510540"/>
                    <a:gd name="connsiteY5" fmla="*/ 0 h 332740"/>
                    <a:gd name="connsiteX0" fmla="*/ 490220 w 510540"/>
                    <a:gd name="connsiteY0" fmla="*/ 0 h 332740"/>
                    <a:gd name="connsiteX1" fmla="*/ 0 w 510540"/>
                    <a:gd name="connsiteY1" fmla="*/ 170815 h 332740"/>
                    <a:gd name="connsiteX2" fmla="*/ 91440 w 510540"/>
                    <a:gd name="connsiteY2" fmla="*/ 332740 h 332740"/>
                    <a:gd name="connsiteX3" fmla="*/ 510540 w 510540"/>
                    <a:gd name="connsiteY3" fmla="*/ 327660 h 332740"/>
                    <a:gd name="connsiteX4" fmla="*/ 508000 w 510540"/>
                    <a:gd name="connsiteY4" fmla="*/ 299720 h 332740"/>
                    <a:gd name="connsiteX5" fmla="*/ 490220 w 510540"/>
                    <a:gd name="connsiteY5" fmla="*/ 0 h 3327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510540" h="332740">
                      <a:moveTo>
                        <a:pt x="490220" y="0"/>
                      </a:moveTo>
                      <a:cubicBezTo>
                        <a:pt x="321098" y="75988"/>
                        <a:pt x="199602" y="117687"/>
                        <a:pt x="0" y="170815"/>
                      </a:cubicBezTo>
                      <a:lnTo>
                        <a:pt x="91440" y="332740"/>
                      </a:lnTo>
                      <a:lnTo>
                        <a:pt x="510540" y="327660"/>
                      </a:lnTo>
                      <a:lnTo>
                        <a:pt x="508000" y="299720"/>
                      </a:lnTo>
                      <a:lnTo>
                        <a:pt x="49022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>
                    <a:solidFill>
                      <a:schemeClr val="tx1"/>
                    </a:solidFill>
                  </a:endParaRPr>
                </a:p>
              </p:txBody>
            </p:sp>
          </p:grpSp>
          <p:pic>
            <p:nvPicPr>
              <p:cNvPr id="4" name="Graphic 3">
                <a:extLst>
                  <a:ext uri="{FF2B5EF4-FFF2-40B4-BE49-F238E27FC236}">
                    <a16:creationId xmlns:a16="http://schemas.microsoft.com/office/drawing/2014/main" id="{3FAD9595-CAE1-4749-9A57-E3198D556EE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3">
                <a:extLst>
                  <a:ext uri="{96DAC541-7B7A-43D3-8B79-37D633B846F1}">
                    <asvg:svgBlip xmlns:asvg="http://schemas.microsoft.com/office/drawing/2016/SVG/main" xmlns="" r:embed="rId24"/>
                  </a:ext>
                </a:extLst>
              </a:blip>
              <a:stretch>
                <a:fillRect/>
              </a:stretch>
            </p:blipFill>
            <p:spPr>
              <a:xfrm>
                <a:off x="2402719" y="2909124"/>
                <a:ext cx="1604342" cy="1479258"/>
              </a:xfrm>
              <a:prstGeom prst="rect">
                <a:avLst/>
              </a:prstGeom>
            </p:spPr>
          </p:pic>
        </p:grpSp>
        <p:cxnSp>
          <p:nvCxnSpPr>
            <p:cNvPr id="1922" name="Straight Connector 1921">
              <a:extLst>
                <a:ext uri="{FF2B5EF4-FFF2-40B4-BE49-F238E27FC236}">
                  <a16:creationId xmlns:a16="http://schemas.microsoft.com/office/drawing/2014/main" id="{8E7222B0-4894-4CA2-AF4F-F686C3BECFFA}"/>
                </a:ext>
              </a:extLst>
            </p:cNvPr>
            <p:cNvCxnSpPr>
              <a:cxnSpLocks/>
            </p:cNvCxnSpPr>
            <p:nvPr/>
          </p:nvCxnSpPr>
          <p:spPr>
            <a:xfrm>
              <a:off x="430922" y="6060200"/>
              <a:ext cx="5320467" cy="0"/>
            </a:xfrm>
            <a:prstGeom prst="line">
              <a:avLst/>
            </a:prstGeom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23" name="Straight Connector 1922">
              <a:extLst>
                <a:ext uri="{FF2B5EF4-FFF2-40B4-BE49-F238E27FC236}">
                  <a16:creationId xmlns:a16="http://schemas.microsoft.com/office/drawing/2014/main" id="{91278464-A640-4070-B7EF-424F8DBD1078}"/>
                </a:ext>
              </a:extLst>
            </p:cNvPr>
            <p:cNvCxnSpPr>
              <a:cxnSpLocks/>
            </p:cNvCxnSpPr>
            <p:nvPr/>
          </p:nvCxnSpPr>
          <p:spPr>
            <a:xfrm>
              <a:off x="6440612" y="6060200"/>
              <a:ext cx="5320466" cy="0"/>
            </a:xfrm>
            <a:prstGeom prst="line">
              <a:avLst/>
            </a:prstGeom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24" name="TextBox 1923">
              <a:extLst>
                <a:ext uri="{FF2B5EF4-FFF2-40B4-BE49-F238E27FC236}">
                  <a16:creationId xmlns:a16="http://schemas.microsoft.com/office/drawing/2014/main" id="{B5D6A8B2-BBDB-4FD2-B9B9-A455602B84EC}"/>
                </a:ext>
              </a:extLst>
            </p:cNvPr>
            <p:cNvSpPr txBox="1">
              <a:spLocks/>
            </p:cNvSpPr>
            <p:nvPr/>
          </p:nvSpPr>
          <p:spPr>
            <a:xfrm>
              <a:off x="1462160" y="6149599"/>
              <a:ext cx="3257990" cy="184666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1218026" eaLnBrk="1" latinLnBrk="0" hangingPunct="1"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192024" lvl="1" indent="-192024" defTabSz="12180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x-none" sz="1600" baseline="0">
                  <a:latin typeface="+mn-lt"/>
                </a:defRPr>
              </a:lvl2pPr>
              <a:lvl3pPr marL="457200" lvl="2" indent="-265176" defTabSz="12180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sz="1600" baseline="0">
                  <a:latin typeface="+mn-lt"/>
                </a:defRPr>
              </a:lvl3pPr>
              <a:lvl4pPr marL="612648" lvl="3" indent="-155448" defTabSz="12180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x-none" sz="1600" baseline="0">
                  <a:latin typeface="+mn-lt"/>
                </a:defRPr>
              </a:lvl4pPr>
              <a:lvl5pPr marL="749808" lvl="4" indent="-128016" defTabSz="12180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5pPr>
              <a:lvl6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6pPr>
              <a:lvl7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7pPr>
              <a:lvl8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8pPr>
              <a:lvl9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9pPr>
            </a:lstStyle>
            <a:p>
              <a:pPr algn="ctr"/>
              <a:r>
                <a:rPr lang="en-GB" sz="1200" i="1" spc="-50" dirty="0">
                  <a:solidFill>
                    <a:schemeClr val="bg1">
                      <a:lumMod val="50000"/>
                    </a:schemeClr>
                  </a:solidFill>
                  <a:latin typeface="+mj-lt"/>
                  <a:ea typeface="+mj-ea"/>
                  <a:cs typeface="+mj-cs"/>
                </a:rPr>
                <a:t>Pre-payment process</a:t>
              </a:r>
            </a:p>
          </p:txBody>
        </p:sp>
        <p:sp>
          <p:nvSpPr>
            <p:cNvPr id="1925" name="TextBox 1924">
              <a:extLst>
                <a:ext uri="{FF2B5EF4-FFF2-40B4-BE49-F238E27FC236}">
                  <a16:creationId xmlns:a16="http://schemas.microsoft.com/office/drawing/2014/main" id="{70C879A8-AEB5-458A-BF14-ED5E3DF1AD0E}"/>
                </a:ext>
              </a:extLst>
            </p:cNvPr>
            <p:cNvSpPr txBox="1">
              <a:spLocks/>
            </p:cNvSpPr>
            <p:nvPr/>
          </p:nvSpPr>
          <p:spPr>
            <a:xfrm>
              <a:off x="7471850" y="6149599"/>
              <a:ext cx="3257990" cy="184666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1218026" eaLnBrk="1" latinLnBrk="0" hangingPunct="1"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192024" lvl="1" indent="-192024" defTabSz="12180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x-none" sz="1600" baseline="0">
                  <a:latin typeface="+mn-lt"/>
                </a:defRPr>
              </a:lvl2pPr>
              <a:lvl3pPr marL="457200" lvl="2" indent="-265176" defTabSz="12180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sz="1600" baseline="0">
                  <a:latin typeface="+mn-lt"/>
                </a:defRPr>
              </a:lvl3pPr>
              <a:lvl4pPr marL="612648" lvl="3" indent="-155448" defTabSz="12180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x-none" sz="1600" baseline="0">
                  <a:latin typeface="+mn-lt"/>
                </a:defRPr>
              </a:lvl4pPr>
              <a:lvl5pPr marL="749808" lvl="4" indent="-128016" defTabSz="12180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5pPr>
              <a:lvl6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6pPr>
              <a:lvl7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7pPr>
              <a:lvl8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8pPr>
              <a:lvl9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9pPr>
            </a:lstStyle>
            <a:p>
              <a:pPr algn="ctr"/>
              <a:r>
                <a:rPr lang="en-GB" sz="1200" i="1" spc="-50" dirty="0">
                  <a:solidFill>
                    <a:schemeClr val="bg1">
                      <a:lumMod val="50000"/>
                    </a:schemeClr>
                  </a:solidFill>
                  <a:latin typeface="+mj-lt"/>
                  <a:ea typeface="+mj-ea"/>
                  <a:cs typeface="+mj-cs"/>
                </a:rPr>
                <a:t>Post-payment proces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1279991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8" name="Object 47" hidden="1">
            <a:extLst>
              <a:ext uri="{FF2B5EF4-FFF2-40B4-BE49-F238E27FC236}">
                <a16:creationId xmlns:a16="http://schemas.microsoft.com/office/drawing/2014/main" id="{14BA6171-6AF2-4866-B9A0-B0D03AD6530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4997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48" name="Object 47" hidden="1">
                        <a:extLst>
                          <a:ext uri="{FF2B5EF4-FFF2-40B4-BE49-F238E27FC236}">
                            <a16:creationId xmlns:a16="http://schemas.microsoft.com/office/drawing/2014/main" id="{14BA6171-6AF2-4866-B9A0-B0D03AD653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Rectangle 46" hidden="1">
            <a:extLst>
              <a:ext uri="{FF2B5EF4-FFF2-40B4-BE49-F238E27FC236}">
                <a16:creationId xmlns:a16="http://schemas.microsoft.com/office/drawing/2014/main" id="{06E0B02D-CB87-4A54-9B04-DDB41854653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000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9DAA4D2-AAAC-4587-9CB3-B6CE46C15581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4399280" y="2020204"/>
            <a:ext cx="7361798" cy="265662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 lvl="1">
              <a:spcBef>
                <a:spcPct val="82000"/>
              </a:spcBef>
            </a:pPr>
            <a:r>
              <a:rPr lang="en-US" sz="1300" b="1" dirty="0">
                <a:solidFill>
                  <a:schemeClr val="tx1">
                    <a:lumMod val="75000"/>
                    <a:lumOff val="25000"/>
                  </a:schemeClr>
                </a:solidFill>
                <a:cs typeface="Helvetica" panose="020B0604020202020204" pitchFamily="34" charset="0"/>
              </a:rPr>
              <a:t>Billed Medicare fee-for-service </a:t>
            </a: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  <a:cs typeface="Helvetica" panose="020B0604020202020204" pitchFamily="34" charset="0"/>
              </a:rPr>
              <a:t>during the period of Jan.1, 2019-Dec. 31, 2019; or</a:t>
            </a:r>
          </a:p>
          <a:p>
            <a:pPr lvl="1">
              <a:spcBef>
                <a:spcPct val="82000"/>
              </a:spcBef>
            </a:pPr>
            <a:r>
              <a:rPr lang="en-US" sz="1300" b="1" dirty="0">
                <a:solidFill>
                  <a:schemeClr val="tx1">
                    <a:lumMod val="75000"/>
                    <a:lumOff val="25000"/>
                  </a:schemeClr>
                </a:solidFill>
                <a:cs typeface="Helvetica" panose="020B0604020202020204" pitchFamily="34" charset="0"/>
              </a:rPr>
              <a:t>Be a Medicare Part A provider that experienced a change in ownership </a:t>
            </a: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  <a:cs typeface="Helvetica" panose="020B0604020202020204" pitchFamily="34" charset="0"/>
              </a:rPr>
              <a:t>and billed Medicare fee-for-service in 2019 or 2020 that prevented the otherwise eligible provider from receiving Phase 1 General Distribution payment</a:t>
            </a:r>
            <a:endParaRPr lang="en-US" sz="1300" b="1" dirty="0">
              <a:solidFill>
                <a:schemeClr val="tx1">
                  <a:lumMod val="75000"/>
                  <a:lumOff val="25000"/>
                </a:schemeClr>
              </a:solidFill>
              <a:cs typeface="Helvetica" panose="020B0604020202020204" pitchFamily="34" charset="0"/>
            </a:endParaRPr>
          </a:p>
          <a:p>
            <a:pPr lvl="1">
              <a:spcBef>
                <a:spcPct val="82000"/>
              </a:spcBef>
            </a:pPr>
            <a:r>
              <a:rPr lang="en-US" sz="1300" b="1" dirty="0">
                <a:solidFill>
                  <a:schemeClr val="tx1">
                    <a:lumMod val="75000"/>
                    <a:lumOff val="25000"/>
                  </a:schemeClr>
                </a:solidFill>
                <a:cs typeface="Helvetica" panose="020B0604020202020204" pitchFamily="34" charset="0"/>
              </a:rPr>
              <a:t>Billed Medicaid / CHIP programs or Medicaid managed care plans </a:t>
            </a: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  <a:cs typeface="Helvetica" panose="020B0604020202020204" pitchFamily="34" charset="0"/>
              </a:rPr>
              <a:t>for health-related services between Jan.1, 2018-Dec.31, 2019; or </a:t>
            </a:r>
          </a:p>
          <a:p>
            <a:pPr lvl="1">
              <a:spcBef>
                <a:spcPct val="82000"/>
              </a:spcBef>
            </a:pPr>
            <a:r>
              <a:rPr lang="en-US" sz="1300" b="1" dirty="0">
                <a:solidFill>
                  <a:schemeClr val="tx1">
                    <a:lumMod val="75000"/>
                    <a:lumOff val="25000"/>
                  </a:schemeClr>
                </a:solidFill>
                <a:cs typeface="Helvetica" panose="020B0604020202020204" pitchFamily="34" charset="0"/>
              </a:rPr>
              <a:t>Billed a health insurance company for oral healthcare-related services </a:t>
            </a: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  <a:cs typeface="Helvetica" panose="020B0604020202020204" pitchFamily="34" charset="0"/>
              </a:rPr>
              <a:t>as a dental service provider; or </a:t>
            </a:r>
          </a:p>
          <a:p>
            <a:pPr lvl="1">
              <a:spcBef>
                <a:spcPct val="82000"/>
              </a:spcBef>
            </a:pP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  <a:cs typeface="Helvetica" panose="020B0604020202020204" pitchFamily="34" charset="0"/>
              </a:rPr>
              <a:t>Be a licensed dental service provider who </a:t>
            </a:r>
            <a:r>
              <a:rPr lang="en-US" sz="1300" b="1" dirty="0">
                <a:solidFill>
                  <a:schemeClr val="tx1">
                    <a:lumMod val="75000"/>
                    <a:lumOff val="25000"/>
                  </a:schemeClr>
                </a:solidFill>
                <a:cs typeface="Helvetica" panose="020B0604020202020204" pitchFamily="34" charset="0"/>
              </a:rPr>
              <a:t>does not accept insurance and has billed patients for oral healthcare-related services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855C69E3-53C9-47FD-96D1-5B899DA41792}"/>
              </a:ext>
            </a:extLst>
          </p:cNvPr>
          <p:cNvSpPr txBox="1">
            <a:spLocks/>
          </p:cNvSpPr>
          <p:nvPr/>
        </p:nvSpPr>
        <p:spPr bwMode="gray">
          <a:xfrm>
            <a:off x="346891" y="278741"/>
            <a:ext cx="9741325" cy="8617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algn="l" defTabSz="12180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7135" algn="l"/>
              </a:tabLst>
              <a:defRPr lang="x-none" sz="20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2pPr>
            <a:lvl3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3pPr>
            <a:lvl4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4pPr>
            <a:lvl5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5pPr>
            <a:lvl6pPr marL="62197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6pPr>
            <a:lvl7pPr marL="1243941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7pPr>
            <a:lvl8pPr marL="1865909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8pPr>
            <a:lvl9pPr marL="248788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3000"/>
              </a:lnSpc>
            </a:pPr>
            <a:r>
              <a:rPr lang="en-US" sz="2800" spc="-150" dirty="0">
                <a:solidFill>
                  <a:srgbClr val="A33134"/>
                </a:solidFill>
              </a:rPr>
              <a:t>Actions for providers</a:t>
            </a:r>
            <a:r>
              <a:rPr lang="en-US" sz="2800" kern="0" spc="-150" dirty="0"/>
              <a:t/>
            </a:r>
            <a:br>
              <a:rPr lang="en-US" sz="2800" kern="0" spc="-150" dirty="0"/>
            </a:br>
            <a:r>
              <a:rPr lang="en-US" sz="2800" kern="0" spc="-150" dirty="0"/>
              <a:t>Phase 2 General </a:t>
            </a:r>
            <a:r>
              <a:rPr lang="en-US" sz="2800" spc="-150" dirty="0"/>
              <a:t>Distribution</a:t>
            </a:r>
            <a:endParaRPr lang="en-US" sz="2800" strike="sngStrike" spc="-150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AEA08D4-22B2-44D6-871C-ABC9982C4055}"/>
              </a:ext>
            </a:extLst>
          </p:cNvPr>
          <p:cNvSpPr>
            <a:spLocks/>
          </p:cNvSpPr>
          <p:nvPr/>
        </p:nvSpPr>
        <p:spPr>
          <a:xfrm>
            <a:off x="346892" y="1960553"/>
            <a:ext cx="2850758" cy="95410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r>
              <a:rPr lang="en-US" sz="2800" b="1" spc="-15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Determine</a:t>
            </a:r>
            <a:br>
              <a:rPr lang="en-US" sz="2800" b="1" spc="-15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</a:br>
            <a:r>
              <a:rPr lang="en-US" sz="2800" b="1" spc="-15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eligibility (1/2)</a:t>
            </a:r>
          </a:p>
        </p:txBody>
      </p:sp>
      <p:sp>
        <p:nvSpPr>
          <p:cNvPr id="20" name="TitleTrackerNum 7">
            <a:extLst>
              <a:ext uri="{FF2B5EF4-FFF2-40B4-BE49-F238E27FC236}">
                <a16:creationId xmlns:a16="http://schemas.microsoft.com/office/drawing/2014/main" id="{02531B9C-A881-47DA-9646-D40FFF3BD84E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46892" y="1484823"/>
            <a:ext cx="340408" cy="340409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4800" b="1" dirty="0">
                <a:solidFill>
                  <a:srgbClr val="A33134"/>
                </a:solidFill>
                <a:latin typeface="+mj-lt"/>
              </a:rPr>
              <a:t>1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D15B2C44-445B-42AB-AD48-5BDD5CDEBFBD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4399280" y="5836194"/>
            <a:ext cx="7361798" cy="43088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 marL="0" lvl="1" indent="0">
              <a:spcBef>
                <a:spcPct val="110000"/>
              </a:spcBef>
              <a:buNone/>
            </a:pPr>
            <a:r>
              <a:rPr lang="en-US" sz="1400" b="1" dirty="0">
                <a:solidFill>
                  <a:schemeClr val="tx2"/>
                </a:solidFill>
                <a:cs typeface="Helvetica" panose="020B0604020202020204" pitchFamily="34" charset="0"/>
              </a:rPr>
              <a:t>For more detailed information on eligibility, please see </a:t>
            </a:r>
            <a:r>
              <a:rPr lang="en-US" sz="1400" b="1" dirty="0">
                <a:solidFill>
                  <a:srgbClr val="0B8CE3"/>
                </a:solidFill>
                <a:cs typeface="Helvetica" panose="020B0604020202020204" pitchFamily="34" charset="0"/>
                <a:hlinkClick r:id="rId11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FAQs</a:t>
            </a:r>
            <a:r>
              <a:rPr lang="en-US" sz="1400" b="1" dirty="0">
                <a:solidFill>
                  <a:schemeClr val="tx2"/>
                </a:solidFill>
                <a:cs typeface="Helvetica" panose="020B0604020202020204" pitchFamily="34" charset="0"/>
              </a:rPr>
              <a:t>. Providers that are not eligible for the Phase 2 General Distribution may be eligible for future distributions</a:t>
            </a:r>
            <a:endParaRPr lang="en-GB" sz="1400" b="1" dirty="0">
              <a:solidFill>
                <a:schemeClr val="tx2"/>
              </a:solidFill>
              <a:cs typeface="Helvetica" panose="020B0604020202020204" pitchFamily="34" charset="0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5E5915D8-BDBA-4466-9407-4EB0710F6698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4399280" y="1544190"/>
            <a:ext cx="7361798" cy="20005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 marL="0" lvl="1" indent="0">
              <a:spcBef>
                <a:spcPct val="165000"/>
              </a:spcBef>
              <a:buNone/>
            </a:pP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  <a:cs typeface="Helvetica" panose="020B0604020202020204" pitchFamily="34" charset="0"/>
              </a:rPr>
              <a:t>To be eligible to apply, the applicant must have either:</a:t>
            </a:r>
          </a:p>
        </p:txBody>
      </p: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CBA39F5D-3BE5-42F8-8000-9A6BE870C6FD}"/>
              </a:ext>
            </a:extLst>
          </p:cNvPr>
          <p:cNvCxnSpPr>
            <a:cxnSpLocks/>
          </p:cNvCxnSpPr>
          <p:nvPr/>
        </p:nvCxnSpPr>
        <p:spPr>
          <a:xfrm>
            <a:off x="346892" y="3110489"/>
            <a:ext cx="3676468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itle 1">
            <a:extLst>
              <a:ext uri="{FF2B5EF4-FFF2-40B4-BE49-F238E27FC236}">
                <a16:creationId xmlns:a16="http://schemas.microsoft.com/office/drawing/2014/main" id="{06ABEFF3-D25A-46C8-8DFE-5197A8A9CC21}"/>
              </a:ext>
            </a:extLst>
          </p:cNvPr>
          <p:cNvSpPr txBox="1">
            <a:spLocks/>
          </p:cNvSpPr>
          <p:nvPr/>
        </p:nvSpPr>
        <p:spPr bwMode="gray">
          <a:xfrm>
            <a:off x="11094720" y="379920"/>
            <a:ext cx="580788" cy="384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 defTabSz="12180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7135" algn="l"/>
              </a:tabLst>
              <a:defRPr lang="x-none" sz="20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2pPr>
            <a:lvl3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3pPr>
            <a:lvl4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4pPr>
            <a:lvl5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5pPr>
            <a:lvl6pPr marL="62197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6pPr>
            <a:lvl7pPr marL="1243941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7pPr>
            <a:lvl8pPr marL="1865909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8pPr>
            <a:lvl9pPr marL="248788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r">
              <a:lnSpc>
                <a:spcPts val="3000"/>
              </a:lnSpc>
            </a:pPr>
            <a:r>
              <a:rPr lang="en-US" sz="2800" b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1/6</a:t>
            </a:r>
            <a:endParaRPr lang="en-US" sz="2800" b="0" kern="0" spc="-15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BF09BF06-7472-4BEC-ADB2-A95EE2176B89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xmlns="" r:embed="rId13"/>
              </a:ext>
            </a:extLst>
          </a:blip>
          <a:stretch>
            <a:fillRect/>
          </a:stretch>
        </p:blipFill>
        <p:spPr>
          <a:xfrm>
            <a:off x="517096" y="3411208"/>
            <a:ext cx="3208499" cy="2716807"/>
          </a:xfrm>
          <a:prstGeom prst="rect">
            <a:avLst/>
          </a:prstGeom>
        </p:spPr>
      </p:pic>
      <p:sp>
        <p:nvSpPr>
          <p:cNvPr id="21" name="5. Source">
            <a:extLst>
              <a:ext uri="{FF2B5EF4-FFF2-40B4-BE49-F238E27FC236}">
                <a16:creationId xmlns:a16="http://schemas.microsoft.com/office/drawing/2014/main" id="{876B7B78-E1DC-4F7C-B6EE-2E8DFA295077}"/>
              </a:ext>
            </a:extLst>
          </p:cNvPr>
          <p:cNvSpPr>
            <a:spLocks noChangeArrowheads="1"/>
          </p:cNvSpPr>
          <p:nvPr/>
        </p:nvSpPr>
        <p:spPr bwMode="gray">
          <a:xfrm>
            <a:off x="346893" y="6642955"/>
            <a:ext cx="9531411" cy="123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519113" indent="-519113" defTabSz="1218026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  <a:hlinkClick r:id="rId14"/>
              </a:rPr>
              <a:t>Provider Relief Fund website</a:t>
            </a:r>
            <a:endParaRPr lang="en-US" sz="8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09726654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8" name="Object 47" hidden="1">
            <a:extLst>
              <a:ext uri="{FF2B5EF4-FFF2-40B4-BE49-F238E27FC236}">
                <a16:creationId xmlns:a16="http://schemas.microsoft.com/office/drawing/2014/main" id="{14BA6171-6AF2-4866-B9A0-B0D03AD6530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20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48" name="Object 47" hidden="1">
                        <a:extLst>
                          <a:ext uri="{FF2B5EF4-FFF2-40B4-BE49-F238E27FC236}">
                            <a16:creationId xmlns:a16="http://schemas.microsoft.com/office/drawing/2014/main" id="{14BA6171-6AF2-4866-B9A0-B0D03AD653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Rectangle 46" hidden="1">
            <a:extLst>
              <a:ext uri="{FF2B5EF4-FFF2-40B4-BE49-F238E27FC236}">
                <a16:creationId xmlns:a16="http://schemas.microsoft.com/office/drawing/2014/main" id="{06E0B02D-CB87-4A54-9B04-DDB41854653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000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9DAA4D2-AAAC-4587-9CB3-B6CE46C15581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4399280" y="2020204"/>
            <a:ext cx="7361798" cy="245657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 lvl="1">
              <a:spcBef>
                <a:spcPct val="82000"/>
              </a:spcBef>
            </a:pP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  <a:cs typeface="Helvetica" panose="020B0604020202020204" pitchFamily="34" charset="0"/>
              </a:rPr>
              <a:t>Filed a </a:t>
            </a:r>
            <a:r>
              <a:rPr lang="en-US" sz="1300" b="1" dirty="0">
                <a:solidFill>
                  <a:schemeClr val="tx1">
                    <a:lumMod val="75000"/>
                    <a:lumOff val="25000"/>
                  </a:schemeClr>
                </a:solidFill>
                <a:cs typeface="Helvetica" panose="020B0604020202020204" pitchFamily="34" charset="0"/>
              </a:rPr>
              <a:t>federal income tax return </a:t>
            </a: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  <a:cs typeface="Helvetica" panose="020B0604020202020204" pitchFamily="34" charset="0"/>
              </a:rPr>
              <a:t>for fiscal years 2017, 2018, 2019; or be exempt from filing a return</a:t>
            </a:r>
          </a:p>
          <a:p>
            <a:pPr lvl="1">
              <a:spcBef>
                <a:spcPct val="82000"/>
              </a:spcBef>
            </a:pPr>
            <a:r>
              <a:rPr lang="en-US" sz="1300" b="1" dirty="0">
                <a:solidFill>
                  <a:schemeClr val="tx1">
                    <a:lumMod val="75000"/>
                    <a:lumOff val="25000"/>
                  </a:schemeClr>
                </a:solidFill>
                <a:cs typeface="Helvetica" panose="020B0604020202020204" pitchFamily="34" charset="0"/>
              </a:rPr>
              <a:t>Provided patient care </a:t>
            </a: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  <a:cs typeface="Helvetica" panose="020B0604020202020204" pitchFamily="34" charset="0"/>
              </a:rPr>
              <a:t>after January 31, 2020 (Note: patient care includes health care, services and support, as provided in a medical setting, at home, or in the community)</a:t>
            </a:r>
          </a:p>
          <a:p>
            <a:pPr lvl="1">
              <a:spcBef>
                <a:spcPct val="82000"/>
              </a:spcBef>
            </a:pPr>
            <a:r>
              <a:rPr lang="en-US" sz="1300" b="1" dirty="0">
                <a:solidFill>
                  <a:schemeClr val="tx1">
                    <a:lumMod val="75000"/>
                    <a:lumOff val="25000"/>
                  </a:schemeClr>
                </a:solidFill>
                <a:cs typeface="Helvetica" panose="020B0604020202020204" pitchFamily="34" charset="0"/>
              </a:rPr>
              <a:t>Did not permanently cease </a:t>
            </a: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  <a:cs typeface="Helvetica" panose="020B0604020202020204" pitchFamily="34" charset="0"/>
              </a:rPr>
              <a:t>providing patient care directly or indirectly </a:t>
            </a:r>
          </a:p>
          <a:p>
            <a:pPr lvl="1">
              <a:spcBef>
                <a:spcPct val="82000"/>
              </a:spcBef>
            </a:pP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  <a:cs typeface="Helvetica" panose="020B0604020202020204" pitchFamily="34" charset="0"/>
              </a:rPr>
              <a:t>For individuals, reported on </a:t>
            </a:r>
            <a:r>
              <a:rPr lang="en-US" sz="1300" b="1" dirty="0">
                <a:solidFill>
                  <a:schemeClr val="tx1">
                    <a:lumMod val="75000"/>
                    <a:lumOff val="25000"/>
                  </a:schemeClr>
                </a:solidFill>
                <a:cs typeface="Helvetica" panose="020B0604020202020204" pitchFamily="34" charset="0"/>
              </a:rPr>
              <a:t>Form 1040 </a:t>
            </a: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  <a:cs typeface="Helvetica" panose="020B0604020202020204" pitchFamily="34" charset="0"/>
              </a:rPr>
              <a:t>(or other tax form) gross receipts or sales from providing patient care </a:t>
            </a:r>
          </a:p>
          <a:p>
            <a:pPr marL="0" lvl="1" indent="0">
              <a:spcBef>
                <a:spcPct val="82000"/>
              </a:spcBef>
              <a:buNone/>
            </a:pP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  <a:cs typeface="Helvetica" panose="020B0604020202020204" pitchFamily="34" charset="0"/>
              </a:rPr>
              <a:t>Please note: </a:t>
            </a: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ceipt of funds from SBA and FEMA for coronavirus recovery or of Medicaid HCBS retainer payments does not preclude a healthcare provider from being eligible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855C69E3-53C9-47FD-96D1-5B899DA41792}"/>
              </a:ext>
            </a:extLst>
          </p:cNvPr>
          <p:cNvSpPr txBox="1">
            <a:spLocks/>
          </p:cNvSpPr>
          <p:nvPr/>
        </p:nvSpPr>
        <p:spPr bwMode="gray">
          <a:xfrm>
            <a:off x="346891" y="278741"/>
            <a:ext cx="9741325" cy="8617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algn="l" defTabSz="12180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7135" algn="l"/>
              </a:tabLst>
              <a:defRPr lang="x-none" sz="20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2pPr>
            <a:lvl3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3pPr>
            <a:lvl4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4pPr>
            <a:lvl5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5pPr>
            <a:lvl6pPr marL="62197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6pPr>
            <a:lvl7pPr marL="1243941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7pPr>
            <a:lvl8pPr marL="1865909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8pPr>
            <a:lvl9pPr marL="248788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3000"/>
              </a:lnSpc>
            </a:pPr>
            <a:r>
              <a:rPr lang="en-US" sz="2800" spc="-150" dirty="0">
                <a:solidFill>
                  <a:srgbClr val="A33134"/>
                </a:solidFill>
              </a:rPr>
              <a:t>Actions for providers</a:t>
            </a:r>
            <a:r>
              <a:rPr lang="en-US" sz="2800" kern="0" spc="-150" dirty="0"/>
              <a:t/>
            </a:r>
            <a:br>
              <a:rPr lang="en-US" sz="2800" kern="0" spc="-150" dirty="0"/>
            </a:br>
            <a:r>
              <a:rPr lang="en-US" sz="2800" kern="0" spc="-150" dirty="0"/>
              <a:t>Phase 2 General </a:t>
            </a:r>
            <a:r>
              <a:rPr lang="en-US" sz="2800" spc="-150" dirty="0"/>
              <a:t>Distribution</a:t>
            </a:r>
            <a:endParaRPr lang="en-US" sz="2800" strike="sngStrike" spc="-150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AEA08D4-22B2-44D6-871C-ABC9982C4055}"/>
              </a:ext>
            </a:extLst>
          </p:cNvPr>
          <p:cNvSpPr>
            <a:spLocks/>
          </p:cNvSpPr>
          <p:nvPr/>
        </p:nvSpPr>
        <p:spPr>
          <a:xfrm>
            <a:off x="346892" y="1960553"/>
            <a:ext cx="2850758" cy="95410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r>
              <a:rPr lang="en-US" sz="2800" b="1" spc="-15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Determine</a:t>
            </a:r>
            <a:br>
              <a:rPr lang="en-US" sz="2800" b="1" spc="-15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</a:br>
            <a:r>
              <a:rPr lang="en-US" sz="2800" b="1" spc="-15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eligibility (2/2) </a:t>
            </a:r>
          </a:p>
        </p:txBody>
      </p:sp>
      <p:sp>
        <p:nvSpPr>
          <p:cNvPr id="20" name="TitleTrackerNum 7">
            <a:extLst>
              <a:ext uri="{FF2B5EF4-FFF2-40B4-BE49-F238E27FC236}">
                <a16:creationId xmlns:a16="http://schemas.microsoft.com/office/drawing/2014/main" id="{02531B9C-A881-47DA-9646-D40FFF3BD84E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46892" y="1484823"/>
            <a:ext cx="340408" cy="340409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4800" b="1" dirty="0">
                <a:solidFill>
                  <a:srgbClr val="A33134"/>
                </a:solidFill>
                <a:latin typeface="+mj-lt"/>
              </a:rPr>
              <a:t>1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D15B2C44-445B-42AB-AD48-5BDD5CDEBFBD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4399280" y="5836194"/>
            <a:ext cx="7361798" cy="43088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 marL="0" lvl="1" indent="0">
              <a:spcBef>
                <a:spcPct val="110000"/>
              </a:spcBef>
              <a:buNone/>
            </a:pPr>
            <a:r>
              <a:rPr lang="en-US" sz="1400" b="1" dirty="0">
                <a:solidFill>
                  <a:schemeClr val="tx2"/>
                </a:solidFill>
                <a:cs typeface="Helvetica" panose="020B0604020202020204" pitchFamily="34" charset="0"/>
              </a:rPr>
              <a:t>For more detailed information on eligibility, please see </a:t>
            </a:r>
            <a:r>
              <a:rPr lang="en-US" sz="1400" b="1" dirty="0">
                <a:solidFill>
                  <a:srgbClr val="0B8CE3"/>
                </a:solidFill>
                <a:cs typeface="Helvetica" panose="020B0604020202020204" pitchFamily="34" charset="0"/>
                <a:hlinkClick r:id="rId11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FAQs</a:t>
            </a:r>
            <a:r>
              <a:rPr lang="en-US" sz="1400" b="1" dirty="0">
                <a:solidFill>
                  <a:schemeClr val="tx2"/>
                </a:solidFill>
                <a:cs typeface="Helvetica" panose="020B0604020202020204" pitchFamily="34" charset="0"/>
              </a:rPr>
              <a:t>. Providers that are not eligible for the Phase 2 General Distribution may be eligible for future distributions</a:t>
            </a:r>
            <a:endParaRPr lang="en-GB" sz="1400" b="1" dirty="0">
              <a:solidFill>
                <a:schemeClr val="tx2"/>
              </a:solidFill>
              <a:cs typeface="Helvetica" panose="020B0604020202020204" pitchFamily="34" charset="0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5E5915D8-BDBA-4466-9407-4EB0710F6698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4399280" y="1544190"/>
            <a:ext cx="7361798" cy="20005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 marL="0" lvl="1" indent="0">
              <a:spcBef>
                <a:spcPct val="165000"/>
              </a:spcBef>
              <a:buNone/>
            </a:pP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  <a:cs typeface="Helvetica" panose="020B0604020202020204" pitchFamily="34" charset="0"/>
              </a:rPr>
              <a:t>Additionally, to be eligible to apply, the applicant must meet all of the following requirements:</a:t>
            </a:r>
          </a:p>
        </p:txBody>
      </p: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CBA39F5D-3BE5-42F8-8000-9A6BE870C6FD}"/>
              </a:ext>
            </a:extLst>
          </p:cNvPr>
          <p:cNvCxnSpPr>
            <a:cxnSpLocks/>
          </p:cNvCxnSpPr>
          <p:nvPr/>
        </p:nvCxnSpPr>
        <p:spPr>
          <a:xfrm>
            <a:off x="346892" y="3110489"/>
            <a:ext cx="3676468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itle 1">
            <a:extLst>
              <a:ext uri="{FF2B5EF4-FFF2-40B4-BE49-F238E27FC236}">
                <a16:creationId xmlns:a16="http://schemas.microsoft.com/office/drawing/2014/main" id="{06ABEFF3-D25A-46C8-8DFE-5197A8A9CC21}"/>
              </a:ext>
            </a:extLst>
          </p:cNvPr>
          <p:cNvSpPr txBox="1">
            <a:spLocks/>
          </p:cNvSpPr>
          <p:nvPr/>
        </p:nvSpPr>
        <p:spPr bwMode="gray">
          <a:xfrm>
            <a:off x="11094720" y="379920"/>
            <a:ext cx="580788" cy="384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 defTabSz="12180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7135" algn="l"/>
              </a:tabLst>
              <a:defRPr lang="x-none" sz="20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2pPr>
            <a:lvl3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3pPr>
            <a:lvl4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4pPr>
            <a:lvl5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5pPr>
            <a:lvl6pPr marL="62197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6pPr>
            <a:lvl7pPr marL="1243941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7pPr>
            <a:lvl8pPr marL="1865909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8pPr>
            <a:lvl9pPr marL="248788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r">
              <a:lnSpc>
                <a:spcPts val="3000"/>
              </a:lnSpc>
            </a:pPr>
            <a:r>
              <a:rPr lang="en-US" sz="2800" b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1/6</a:t>
            </a:r>
            <a:endParaRPr lang="en-US" sz="2800" b="0" kern="0" spc="-15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BF09BF06-7472-4BEC-ADB2-A95EE2176B89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xmlns="" r:embed="rId13"/>
              </a:ext>
            </a:extLst>
          </a:blip>
          <a:stretch>
            <a:fillRect/>
          </a:stretch>
        </p:blipFill>
        <p:spPr>
          <a:xfrm>
            <a:off x="517096" y="3411208"/>
            <a:ext cx="3208499" cy="2716807"/>
          </a:xfrm>
          <a:prstGeom prst="rect">
            <a:avLst/>
          </a:prstGeom>
        </p:spPr>
      </p:pic>
      <p:sp>
        <p:nvSpPr>
          <p:cNvPr id="21" name="5. Source">
            <a:extLst>
              <a:ext uri="{FF2B5EF4-FFF2-40B4-BE49-F238E27FC236}">
                <a16:creationId xmlns:a16="http://schemas.microsoft.com/office/drawing/2014/main" id="{876B7B78-E1DC-4F7C-B6EE-2E8DFA295077}"/>
              </a:ext>
            </a:extLst>
          </p:cNvPr>
          <p:cNvSpPr>
            <a:spLocks noChangeArrowheads="1"/>
          </p:cNvSpPr>
          <p:nvPr/>
        </p:nvSpPr>
        <p:spPr bwMode="gray">
          <a:xfrm>
            <a:off x="346893" y="6642955"/>
            <a:ext cx="9531411" cy="123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519113" indent="-519113" defTabSz="1218026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  <a:hlinkClick r:id="rId14"/>
              </a:rPr>
              <a:t>Provider Relief Fund website</a:t>
            </a:r>
            <a:endParaRPr lang="en-US" sz="8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9975967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8" name="Object 47" hidden="1">
            <a:extLst>
              <a:ext uri="{FF2B5EF4-FFF2-40B4-BE49-F238E27FC236}">
                <a16:creationId xmlns:a16="http://schemas.microsoft.com/office/drawing/2014/main" id="{14BA6171-6AF2-4866-B9A0-B0D03AD6530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2972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48" name="Object 47" hidden="1">
                        <a:extLst>
                          <a:ext uri="{FF2B5EF4-FFF2-40B4-BE49-F238E27FC236}">
                            <a16:creationId xmlns:a16="http://schemas.microsoft.com/office/drawing/2014/main" id="{14BA6171-6AF2-4866-B9A0-B0D03AD653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Rectangle 46" hidden="1">
            <a:extLst>
              <a:ext uri="{FF2B5EF4-FFF2-40B4-BE49-F238E27FC236}">
                <a16:creationId xmlns:a16="http://schemas.microsoft.com/office/drawing/2014/main" id="{06E0B02D-CB87-4A54-9B04-DDB41854653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000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A5DACD64-55EB-427B-B060-8BE8A75286AD}"/>
              </a:ext>
            </a:extLst>
          </p:cNvPr>
          <p:cNvSpPr>
            <a:spLocks/>
          </p:cNvSpPr>
          <p:nvPr/>
        </p:nvSpPr>
        <p:spPr>
          <a:xfrm>
            <a:off x="346892" y="1960553"/>
            <a:ext cx="3472964" cy="95410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r>
              <a:rPr lang="en-US" sz="2800" b="1" spc="-15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Validate</a:t>
            </a:r>
          </a:p>
          <a:p>
            <a:r>
              <a:rPr lang="en-US" sz="2800" b="1" spc="-15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Tax ID Number (TIN)</a:t>
            </a:r>
          </a:p>
        </p:txBody>
      </p:sp>
      <p:sp>
        <p:nvSpPr>
          <p:cNvPr id="76" name="TitleTrackerNum 7">
            <a:extLst>
              <a:ext uri="{FF2B5EF4-FFF2-40B4-BE49-F238E27FC236}">
                <a16:creationId xmlns:a16="http://schemas.microsoft.com/office/drawing/2014/main" id="{45B64782-C14E-4A4B-A81A-41B7C73CA30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46892" y="1484823"/>
            <a:ext cx="340408" cy="340409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4800" b="1" dirty="0">
                <a:solidFill>
                  <a:srgbClr val="A33134"/>
                </a:solidFill>
                <a:latin typeface="+mj-lt"/>
              </a:rPr>
              <a:t>2</a:t>
            </a:r>
          </a:p>
        </p:txBody>
      </p: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09C3C959-1906-477E-89BB-F9E1EE4EBD5D}"/>
              </a:ext>
            </a:extLst>
          </p:cNvPr>
          <p:cNvCxnSpPr>
            <a:cxnSpLocks/>
          </p:cNvCxnSpPr>
          <p:nvPr/>
        </p:nvCxnSpPr>
        <p:spPr>
          <a:xfrm>
            <a:off x="346892" y="3110489"/>
            <a:ext cx="3676468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Title 1">
            <a:extLst>
              <a:ext uri="{FF2B5EF4-FFF2-40B4-BE49-F238E27FC236}">
                <a16:creationId xmlns:a16="http://schemas.microsoft.com/office/drawing/2014/main" id="{A824252F-8F3D-4D89-8647-00DEC670FD64}"/>
              </a:ext>
            </a:extLst>
          </p:cNvPr>
          <p:cNvSpPr txBox="1">
            <a:spLocks/>
          </p:cNvSpPr>
          <p:nvPr/>
        </p:nvSpPr>
        <p:spPr bwMode="gray">
          <a:xfrm>
            <a:off x="11094720" y="379920"/>
            <a:ext cx="580788" cy="384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 defTabSz="12180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7135" algn="l"/>
              </a:tabLst>
              <a:defRPr lang="x-none" sz="20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2pPr>
            <a:lvl3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3pPr>
            <a:lvl4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4pPr>
            <a:lvl5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5pPr>
            <a:lvl6pPr marL="62197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6pPr>
            <a:lvl7pPr marL="1243941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7pPr>
            <a:lvl8pPr marL="1865909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8pPr>
            <a:lvl9pPr marL="248788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r">
              <a:lnSpc>
                <a:spcPts val="3000"/>
              </a:lnSpc>
            </a:pPr>
            <a:r>
              <a:rPr lang="en-US" sz="2800" b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/6</a:t>
            </a:r>
            <a:endParaRPr lang="en-US" sz="2800" b="0" kern="0" spc="-15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7B380BA8-9518-47F4-BB51-A912B45ECC66}"/>
              </a:ext>
            </a:extLst>
          </p:cNvPr>
          <p:cNvSpPr>
            <a:spLocks/>
          </p:cNvSpPr>
          <p:nvPr/>
        </p:nvSpPr>
        <p:spPr>
          <a:xfrm flipH="1">
            <a:off x="4399280" y="1222813"/>
            <a:ext cx="7361797" cy="2917560"/>
          </a:xfrm>
          <a:prstGeom prst="rect">
            <a:avLst/>
          </a:prstGeom>
          <a:solidFill>
            <a:srgbClr val="F4F4F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2A883F5B-D89E-4146-997B-02C9C4E454BA}"/>
              </a:ext>
            </a:extLst>
          </p:cNvPr>
          <p:cNvSpPr txBox="1"/>
          <p:nvPr/>
        </p:nvSpPr>
        <p:spPr>
          <a:xfrm>
            <a:off x="4558309" y="1341534"/>
            <a:ext cx="7043743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r>
              <a:rPr lang="en-US" sz="2000" b="1" spc="-15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Tax ID Number (TIN) Validation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064C1425-345B-4D9B-8E9B-CA9589EA7C4B}"/>
              </a:ext>
            </a:extLst>
          </p:cNvPr>
          <p:cNvSpPr txBox="1">
            <a:spLocks/>
          </p:cNvSpPr>
          <p:nvPr/>
        </p:nvSpPr>
        <p:spPr>
          <a:xfrm>
            <a:off x="4864629" y="3745854"/>
            <a:ext cx="1761273" cy="15528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 algn="ctr"/>
            <a:r>
              <a:rPr lang="en-US" sz="1050" b="1" i="1" dirty="0">
                <a:solidFill>
                  <a:schemeClr val="bg1">
                    <a:lumMod val="50000"/>
                  </a:schemeClr>
                </a:solidFill>
              </a:rPr>
              <a:t>Timing: 7-10 </a:t>
            </a:r>
            <a:br>
              <a:rPr lang="en-US" sz="1050" b="1" i="1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sz="1050" b="1" i="1" dirty="0">
                <a:solidFill>
                  <a:schemeClr val="bg1">
                    <a:lumMod val="50000"/>
                  </a:schemeClr>
                </a:solidFill>
              </a:rPr>
              <a:t>business days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5069548F-A67F-4207-8483-E2722A453276}"/>
              </a:ext>
            </a:extLst>
          </p:cNvPr>
          <p:cNvSpPr txBox="1">
            <a:spLocks/>
          </p:cNvSpPr>
          <p:nvPr/>
        </p:nvSpPr>
        <p:spPr>
          <a:xfrm>
            <a:off x="7439425" y="3745854"/>
            <a:ext cx="1761273" cy="15528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 algn="ctr"/>
            <a:r>
              <a:rPr lang="en-US" sz="1050" b="1" i="1" dirty="0">
                <a:solidFill>
                  <a:schemeClr val="bg1">
                    <a:lumMod val="50000"/>
                  </a:schemeClr>
                </a:solidFill>
              </a:rPr>
              <a:t>Timing: 7-10 </a:t>
            </a:r>
            <a:br>
              <a:rPr lang="en-US" sz="1050" b="1" i="1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sz="1050" b="1" i="1" dirty="0">
                <a:solidFill>
                  <a:schemeClr val="bg1">
                    <a:lumMod val="50000"/>
                  </a:schemeClr>
                </a:solidFill>
              </a:rPr>
              <a:t>business days***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0AC85309-8C8C-4AB2-ADDE-AF5445103C7D}"/>
              </a:ext>
            </a:extLst>
          </p:cNvPr>
          <p:cNvSpPr txBox="1">
            <a:spLocks/>
          </p:cNvSpPr>
          <p:nvPr/>
        </p:nvSpPr>
        <p:spPr>
          <a:xfrm>
            <a:off x="9784548" y="3745854"/>
            <a:ext cx="1761273" cy="15528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 algn="ctr"/>
            <a:r>
              <a:rPr lang="en-US" sz="1050" b="1" i="1" dirty="0">
                <a:solidFill>
                  <a:schemeClr val="bg1">
                    <a:lumMod val="50000"/>
                  </a:schemeClr>
                </a:solidFill>
              </a:rPr>
              <a:t>Timing: 3-5 </a:t>
            </a:r>
            <a:br>
              <a:rPr lang="en-US" sz="1050" b="1" i="1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sz="1050" b="1" i="1" dirty="0">
                <a:solidFill>
                  <a:schemeClr val="bg1">
                    <a:lumMod val="50000"/>
                  </a:schemeClr>
                </a:solidFill>
              </a:rPr>
              <a:t>business days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FEB870A1-14F1-4941-AE55-5AAFA5018035}"/>
              </a:ext>
            </a:extLst>
          </p:cNvPr>
          <p:cNvSpPr txBox="1">
            <a:spLocks/>
          </p:cNvSpPr>
          <p:nvPr/>
        </p:nvSpPr>
        <p:spPr>
          <a:xfrm>
            <a:off x="4580523" y="2720864"/>
            <a:ext cx="2329482" cy="9233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 algn="ctr"/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rovider registers in portal and enters TIN*</a:t>
            </a:r>
          </a:p>
          <a:p>
            <a:pPr algn="ctr"/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HHS shares unrecognized provider TINs with 3rd party validators**</a:t>
            </a:r>
          </a:p>
        </p:txBody>
      </p:sp>
      <p:sp>
        <p:nvSpPr>
          <p:cNvPr id="51" name="TitleTrackerNum 7">
            <a:extLst>
              <a:ext uri="{FF2B5EF4-FFF2-40B4-BE49-F238E27FC236}">
                <a16:creationId xmlns:a16="http://schemas.microsoft.com/office/drawing/2014/main" id="{56B8E537-342A-4FFF-B893-5436551BAB91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4580523" y="1816402"/>
            <a:ext cx="296007" cy="229005"/>
          </a:xfrm>
          <a:prstGeom prst="rect">
            <a:avLst/>
          </a:prstGeom>
          <a:solidFill>
            <a:srgbClr val="F4F4F5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57200" tIns="0" rIns="457200" bIns="0" rtlCol="0" anchor="ctr" anchorCtr="1"/>
          <a:lstStyle/>
          <a:p>
            <a:pPr algn="ctr"/>
            <a:r>
              <a:rPr lang="en-US" sz="4000" b="1" dirty="0">
                <a:solidFill>
                  <a:srgbClr val="A33134"/>
                </a:solidFill>
                <a:latin typeface="+mj-lt"/>
              </a:rPr>
              <a:t>1</a:t>
            </a:r>
          </a:p>
        </p:txBody>
      </p: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77446D02-04BE-482D-ABC6-EAA8BCFF81D2}"/>
              </a:ext>
            </a:extLst>
          </p:cNvPr>
          <p:cNvGrpSpPr/>
          <p:nvPr/>
        </p:nvGrpSpPr>
        <p:grpSpPr>
          <a:xfrm>
            <a:off x="5331876" y="1814952"/>
            <a:ext cx="920914" cy="720236"/>
            <a:chOff x="1232421" y="2272910"/>
            <a:chExt cx="1345098" cy="1070607"/>
          </a:xfrm>
        </p:grpSpPr>
        <p:pic>
          <p:nvPicPr>
            <p:cNvPr id="104" name="Graphic 103">
              <a:extLst>
                <a:ext uri="{FF2B5EF4-FFF2-40B4-BE49-F238E27FC236}">
                  <a16:creationId xmlns:a16="http://schemas.microsoft.com/office/drawing/2014/main" id="{05E3C4C4-6E4F-4F86-B3C3-5AB93CE0B9BB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xmlns="" r:embed="rId14"/>
                </a:ext>
              </a:extLst>
            </a:blip>
            <a:stretch>
              <a:fillRect/>
            </a:stretch>
          </p:blipFill>
          <p:spPr>
            <a:xfrm>
              <a:off x="1232421" y="2272910"/>
              <a:ext cx="1345098" cy="1056125"/>
            </a:xfrm>
            <a:prstGeom prst="rect">
              <a:avLst/>
            </a:prstGeom>
          </p:spPr>
        </p:pic>
        <p:grpSp>
          <p:nvGrpSpPr>
            <p:cNvPr id="105" name="Group 104">
              <a:extLst>
                <a:ext uri="{FF2B5EF4-FFF2-40B4-BE49-F238E27FC236}">
                  <a16:creationId xmlns:a16="http://schemas.microsoft.com/office/drawing/2014/main" id="{ED8BEDB9-F1BA-4A63-94DE-7B763373C314}"/>
                </a:ext>
              </a:extLst>
            </p:cNvPr>
            <p:cNvGrpSpPr/>
            <p:nvPr/>
          </p:nvGrpSpPr>
          <p:grpSpPr>
            <a:xfrm>
              <a:off x="1385186" y="2452153"/>
              <a:ext cx="752451" cy="891364"/>
              <a:chOff x="848679" y="1560509"/>
              <a:chExt cx="1857375" cy="2200275"/>
            </a:xfrm>
          </p:grpSpPr>
          <p:grpSp>
            <p:nvGrpSpPr>
              <p:cNvPr id="106" name="Graphic 1">
                <a:extLst>
                  <a:ext uri="{FF2B5EF4-FFF2-40B4-BE49-F238E27FC236}">
                    <a16:creationId xmlns:a16="http://schemas.microsoft.com/office/drawing/2014/main" id="{33DAA86C-BBA5-4435-86BF-943790E6F72E}"/>
                  </a:ext>
                </a:extLst>
              </p:cNvPr>
              <p:cNvGrpSpPr/>
              <p:nvPr/>
            </p:nvGrpSpPr>
            <p:grpSpPr>
              <a:xfrm>
                <a:off x="848679" y="1560509"/>
                <a:ext cx="1857375" cy="2200275"/>
                <a:chOff x="848679" y="1560509"/>
                <a:chExt cx="1857375" cy="2200275"/>
              </a:xfrm>
              <a:solidFill>
                <a:schemeClr val="accent1"/>
              </a:solidFill>
            </p:grpSpPr>
            <p:sp>
              <p:nvSpPr>
                <p:cNvPr id="109" name="Freeform: Shape 108">
                  <a:extLst>
                    <a:ext uri="{FF2B5EF4-FFF2-40B4-BE49-F238E27FC236}">
                      <a16:creationId xmlns:a16="http://schemas.microsoft.com/office/drawing/2014/main" id="{D8403B6B-D2EE-4976-842D-0231B4B6CF88}"/>
                    </a:ext>
                  </a:extLst>
                </p:cNvPr>
                <p:cNvSpPr/>
                <p:nvPr/>
              </p:nvSpPr>
              <p:spPr>
                <a:xfrm>
                  <a:off x="1485582" y="3166458"/>
                  <a:ext cx="590550" cy="590550"/>
                </a:xfrm>
                <a:custGeom>
                  <a:avLst/>
                  <a:gdLst>
                    <a:gd name="connsiteX0" fmla="*/ 293797 w 590550"/>
                    <a:gd name="connsiteY0" fmla="*/ 3 h 590550"/>
                    <a:gd name="connsiteX1" fmla="*/ 594216 w 590550"/>
                    <a:gd name="connsiteY1" fmla="*/ 292230 h 590550"/>
                    <a:gd name="connsiteX2" fmla="*/ 299608 w 590550"/>
                    <a:gd name="connsiteY2" fmla="*/ 596078 h 590550"/>
                    <a:gd name="connsiteX3" fmla="*/ 46 w 590550"/>
                    <a:gd name="connsiteY3" fmla="*/ 297850 h 590550"/>
                    <a:gd name="connsiteX4" fmla="*/ 293797 w 590550"/>
                    <a:gd name="connsiteY4" fmla="*/ 3 h 5905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90550" h="590550">
                      <a:moveTo>
                        <a:pt x="293797" y="3"/>
                      </a:moveTo>
                      <a:cubicBezTo>
                        <a:pt x="461247" y="-759"/>
                        <a:pt x="592120" y="126495"/>
                        <a:pt x="594216" y="292230"/>
                      </a:cubicBezTo>
                      <a:cubicBezTo>
                        <a:pt x="596311" y="453108"/>
                        <a:pt x="459913" y="593792"/>
                        <a:pt x="299608" y="596078"/>
                      </a:cubicBezTo>
                      <a:cubicBezTo>
                        <a:pt x="140826" y="598364"/>
                        <a:pt x="2809" y="460918"/>
                        <a:pt x="46" y="297850"/>
                      </a:cubicBezTo>
                      <a:cubicBezTo>
                        <a:pt x="-2811" y="132401"/>
                        <a:pt x="127014" y="765"/>
                        <a:pt x="293797" y="3"/>
                      </a:cubicBezTo>
                      <a:close/>
                    </a:path>
                  </a:pathLst>
                </a:custGeom>
                <a:solidFill>
                  <a:srgbClr val="B88C0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10" name="Freeform: Shape 109">
                  <a:extLst>
                    <a:ext uri="{FF2B5EF4-FFF2-40B4-BE49-F238E27FC236}">
                      <a16:creationId xmlns:a16="http://schemas.microsoft.com/office/drawing/2014/main" id="{68F0AE3C-AF6D-4FF7-83AB-85D003EA15EC}"/>
                    </a:ext>
                  </a:extLst>
                </p:cNvPr>
                <p:cNvSpPr/>
                <p:nvPr/>
              </p:nvSpPr>
              <p:spPr>
                <a:xfrm>
                  <a:off x="848679" y="1560509"/>
                  <a:ext cx="1409700" cy="1971675"/>
                </a:xfrm>
                <a:custGeom>
                  <a:avLst/>
                  <a:gdLst>
                    <a:gd name="connsiteX0" fmla="*/ 1269599 w 1409700"/>
                    <a:gd name="connsiteY0" fmla="*/ 1088458 h 1971675"/>
                    <a:gd name="connsiteX1" fmla="*/ 1416856 w 1409700"/>
                    <a:gd name="connsiteY1" fmla="*/ 1084934 h 1971675"/>
                    <a:gd name="connsiteX2" fmla="*/ 1414855 w 1409700"/>
                    <a:gd name="connsiteY2" fmla="*/ 927962 h 1971675"/>
                    <a:gd name="connsiteX3" fmla="*/ 1134154 w 1409700"/>
                    <a:gd name="connsiteY3" fmla="*/ 458189 h 1971675"/>
                    <a:gd name="connsiteX4" fmla="*/ 1126057 w 1409700"/>
                    <a:gd name="connsiteY4" fmla="*/ 422470 h 1971675"/>
                    <a:gd name="connsiteX5" fmla="*/ 1183969 w 1409700"/>
                    <a:gd name="connsiteY5" fmla="*/ 224160 h 1971675"/>
                    <a:gd name="connsiteX6" fmla="*/ 1099578 w 1409700"/>
                    <a:gd name="connsiteY6" fmla="*/ 66235 h 1971675"/>
                    <a:gd name="connsiteX7" fmla="*/ 742676 w 1409700"/>
                    <a:gd name="connsiteY7" fmla="*/ 423613 h 1971675"/>
                    <a:gd name="connsiteX8" fmla="*/ 730960 w 1409700"/>
                    <a:gd name="connsiteY8" fmla="*/ 458284 h 1971675"/>
                    <a:gd name="connsiteX9" fmla="*/ 454545 w 1409700"/>
                    <a:gd name="connsiteY9" fmla="*/ 913484 h 1971675"/>
                    <a:gd name="connsiteX10" fmla="*/ 413873 w 1409700"/>
                    <a:gd name="connsiteY10" fmla="*/ 1289341 h 1971675"/>
                    <a:gd name="connsiteX11" fmla="*/ 220039 w 1409700"/>
                    <a:gd name="connsiteY11" fmla="*/ 1617191 h 1971675"/>
                    <a:gd name="connsiteX12" fmla="*/ 199275 w 1409700"/>
                    <a:gd name="connsiteY12" fmla="*/ 1641956 h 1971675"/>
                    <a:gd name="connsiteX13" fmla="*/ 167842 w 1409700"/>
                    <a:gd name="connsiteY13" fmla="*/ 1724538 h 1971675"/>
                    <a:gd name="connsiteX14" fmla="*/ 74116 w 1409700"/>
                    <a:gd name="connsiteY14" fmla="*/ 1811215 h 1971675"/>
                    <a:gd name="connsiteX15" fmla="*/ 14014 w 1409700"/>
                    <a:gd name="connsiteY15" fmla="*/ 1840838 h 1971675"/>
                    <a:gd name="connsiteX16" fmla="*/ 93928 w 1409700"/>
                    <a:gd name="connsiteY16" fmla="*/ 1977046 h 1971675"/>
                    <a:gd name="connsiteX17" fmla="*/ 739247 w 1409700"/>
                    <a:gd name="connsiteY17" fmla="*/ 1977046 h 1971675"/>
                    <a:gd name="connsiteX18" fmla="*/ 1218355 w 1409700"/>
                    <a:gd name="connsiteY18" fmla="*/ 1974950 h 1971675"/>
                    <a:gd name="connsiteX19" fmla="*/ 1041094 w 1409700"/>
                    <a:gd name="connsiteY19" fmla="*/ 1864270 h 1971675"/>
                    <a:gd name="connsiteX20" fmla="*/ 968609 w 1409700"/>
                    <a:gd name="connsiteY20" fmla="*/ 1673674 h 1971675"/>
                    <a:gd name="connsiteX21" fmla="*/ 969276 w 1409700"/>
                    <a:gd name="connsiteY21" fmla="*/ 1404307 h 1971675"/>
                    <a:gd name="connsiteX22" fmla="*/ 1269599 w 1409700"/>
                    <a:gd name="connsiteY22" fmla="*/ 1088458 h 1971675"/>
                    <a:gd name="connsiteX23" fmla="*/ 932414 w 1409700"/>
                    <a:gd name="connsiteY23" fmla="*/ 109669 h 1971675"/>
                    <a:gd name="connsiteX24" fmla="*/ 1084338 w 1409700"/>
                    <a:gd name="connsiteY24" fmla="*/ 257402 h 1971675"/>
                    <a:gd name="connsiteX25" fmla="*/ 935367 w 1409700"/>
                    <a:gd name="connsiteY25" fmla="*/ 411040 h 1971675"/>
                    <a:gd name="connsiteX26" fmla="*/ 783919 w 1409700"/>
                    <a:gd name="connsiteY26" fmla="*/ 260260 h 1971675"/>
                    <a:gd name="connsiteX27" fmla="*/ 932414 w 1409700"/>
                    <a:gd name="connsiteY27" fmla="*/ 109669 h 19716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</a:cxnLst>
                  <a:rect l="l" t="t" r="r" b="b"/>
                  <a:pathLst>
                    <a:path w="1409700" h="1971675">
                      <a:moveTo>
                        <a:pt x="1269599" y="1088458"/>
                      </a:moveTo>
                      <a:cubicBezTo>
                        <a:pt x="1318653" y="1086839"/>
                        <a:pt x="1367707" y="1086077"/>
                        <a:pt x="1416856" y="1084934"/>
                      </a:cubicBezTo>
                      <a:cubicBezTo>
                        <a:pt x="1416189" y="1032642"/>
                        <a:pt x="1415522" y="980254"/>
                        <a:pt x="1414855" y="927962"/>
                      </a:cubicBezTo>
                      <a:cubicBezTo>
                        <a:pt x="1411903" y="717174"/>
                        <a:pt x="1326654" y="555344"/>
                        <a:pt x="1134154" y="458189"/>
                      </a:cubicBezTo>
                      <a:cubicBezTo>
                        <a:pt x="1113865" y="447902"/>
                        <a:pt x="1108531" y="442663"/>
                        <a:pt x="1126057" y="422470"/>
                      </a:cubicBezTo>
                      <a:cubicBezTo>
                        <a:pt x="1175206" y="365892"/>
                        <a:pt x="1195495" y="299312"/>
                        <a:pt x="1183969" y="224160"/>
                      </a:cubicBezTo>
                      <a:cubicBezTo>
                        <a:pt x="1174825" y="161390"/>
                        <a:pt x="1146536" y="109098"/>
                        <a:pt x="1099578" y="66235"/>
                      </a:cubicBezTo>
                      <a:cubicBezTo>
                        <a:pt x="871549" y="-141410"/>
                        <a:pt x="561796" y="184155"/>
                        <a:pt x="742676" y="423613"/>
                      </a:cubicBezTo>
                      <a:cubicBezTo>
                        <a:pt x="761059" y="447997"/>
                        <a:pt x="747629" y="449712"/>
                        <a:pt x="730960" y="458284"/>
                      </a:cubicBezTo>
                      <a:cubicBezTo>
                        <a:pt x="545509" y="553153"/>
                        <a:pt x="453973" y="707744"/>
                        <a:pt x="454545" y="913484"/>
                      </a:cubicBezTo>
                      <a:cubicBezTo>
                        <a:pt x="454926" y="1040929"/>
                        <a:pt x="441877" y="1165801"/>
                        <a:pt x="413873" y="1289341"/>
                      </a:cubicBezTo>
                      <a:cubicBezTo>
                        <a:pt x="384536" y="1418976"/>
                        <a:pt x="346150" y="1544039"/>
                        <a:pt x="220039" y="1617191"/>
                      </a:cubicBezTo>
                      <a:cubicBezTo>
                        <a:pt x="211276" y="1622239"/>
                        <a:pt x="206133" y="1633574"/>
                        <a:pt x="199275" y="1641956"/>
                      </a:cubicBezTo>
                      <a:cubicBezTo>
                        <a:pt x="178891" y="1665673"/>
                        <a:pt x="170890" y="1694534"/>
                        <a:pt x="167842" y="1724538"/>
                      </a:cubicBezTo>
                      <a:cubicBezTo>
                        <a:pt x="159270" y="1807501"/>
                        <a:pt x="159746" y="1807786"/>
                        <a:pt x="74116" y="1811215"/>
                      </a:cubicBezTo>
                      <a:cubicBezTo>
                        <a:pt x="49351" y="1812263"/>
                        <a:pt x="27063" y="1816168"/>
                        <a:pt x="14014" y="1840838"/>
                      </a:cubicBezTo>
                      <a:cubicBezTo>
                        <a:pt x="-22753" y="1910656"/>
                        <a:pt x="15919" y="1976950"/>
                        <a:pt x="93928" y="1977046"/>
                      </a:cubicBezTo>
                      <a:cubicBezTo>
                        <a:pt x="309003" y="1977236"/>
                        <a:pt x="524173" y="1977427"/>
                        <a:pt x="739247" y="1977046"/>
                      </a:cubicBezTo>
                      <a:cubicBezTo>
                        <a:pt x="898981" y="1976760"/>
                        <a:pt x="1058620" y="1975617"/>
                        <a:pt x="1218355" y="1974950"/>
                      </a:cubicBezTo>
                      <a:cubicBezTo>
                        <a:pt x="1150251" y="1952471"/>
                        <a:pt x="1087862" y="1921229"/>
                        <a:pt x="1041094" y="1864270"/>
                      </a:cubicBezTo>
                      <a:cubicBezTo>
                        <a:pt x="995470" y="1808739"/>
                        <a:pt x="970228" y="1744826"/>
                        <a:pt x="968609" y="1673674"/>
                      </a:cubicBezTo>
                      <a:cubicBezTo>
                        <a:pt x="966609" y="1583949"/>
                        <a:pt x="968895" y="1494128"/>
                        <a:pt x="969276" y="1404307"/>
                      </a:cubicBezTo>
                      <a:cubicBezTo>
                        <a:pt x="966799" y="1233143"/>
                        <a:pt x="1098721" y="1094078"/>
                        <a:pt x="1269599" y="1088458"/>
                      </a:cubicBezTo>
                      <a:close/>
                      <a:moveTo>
                        <a:pt x="932414" y="109669"/>
                      </a:moveTo>
                      <a:cubicBezTo>
                        <a:pt x="1017091" y="109288"/>
                        <a:pt x="1083195" y="173582"/>
                        <a:pt x="1084338" y="257402"/>
                      </a:cubicBezTo>
                      <a:cubicBezTo>
                        <a:pt x="1085386" y="338746"/>
                        <a:pt x="1016425" y="409897"/>
                        <a:pt x="935367" y="411040"/>
                      </a:cubicBezTo>
                      <a:cubicBezTo>
                        <a:pt x="855071" y="412183"/>
                        <a:pt x="785253" y="342746"/>
                        <a:pt x="783919" y="260260"/>
                      </a:cubicBezTo>
                      <a:cubicBezTo>
                        <a:pt x="782395" y="176630"/>
                        <a:pt x="848023" y="110050"/>
                        <a:pt x="932414" y="109669"/>
                      </a:cubicBezTo>
                      <a:close/>
                    </a:path>
                  </a:pathLst>
                </a:custGeom>
                <a:solidFill>
                  <a:schemeClr val="accent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11" name="Freeform: Shape 110">
                  <a:extLst>
                    <a:ext uri="{FF2B5EF4-FFF2-40B4-BE49-F238E27FC236}">
                      <a16:creationId xmlns:a16="http://schemas.microsoft.com/office/drawing/2014/main" id="{57BEBB34-719C-4D80-ACB9-12A625E363B3}"/>
                    </a:ext>
                  </a:extLst>
                </p:cNvPr>
                <p:cNvSpPr/>
                <p:nvPr/>
              </p:nvSpPr>
              <p:spPr>
                <a:xfrm>
                  <a:off x="2470799" y="3372868"/>
                  <a:ext cx="238125" cy="161925"/>
                </a:xfrm>
                <a:custGeom>
                  <a:avLst/>
                  <a:gdLst>
                    <a:gd name="connsiteX0" fmla="*/ 0 w 238125"/>
                    <a:gd name="connsiteY0" fmla="*/ 162877 h 161925"/>
                    <a:gd name="connsiteX1" fmla="*/ 204121 w 238125"/>
                    <a:gd name="connsiteY1" fmla="*/ 0 h 161925"/>
                    <a:gd name="connsiteX2" fmla="*/ 235648 w 238125"/>
                    <a:gd name="connsiteY2" fmla="*/ 122492 h 161925"/>
                    <a:gd name="connsiteX3" fmla="*/ 155829 w 238125"/>
                    <a:gd name="connsiteY3" fmla="*/ 164783 h 161925"/>
                    <a:gd name="connsiteX4" fmla="*/ 0 w 238125"/>
                    <a:gd name="connsiteY4" fmla="*/ 162877 h 1619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38125" h="161925">
                      <a:moveTo>
                        <a:pt x="0" y="162877"/>
                      </a:moveTo>
                      <a:cubicBezTo>
                        <a:pt x="87725" y="133255"/>
                        <a:pt x="157448" y="81058"/>
                        <a:pt x="204121" y="0"/>
                      </a:cubicBezTo>
                      <a:cubicBezTo>
                        <a:pt x="237744" y="26289"/>
                        <a:pt x="250126" y="74771"/>
                        <a:pt x="235648" y="122492"/>
                      </a:cubicBezTo>
                      <a:cubicBezTo>
                        <a:pt x="223171" y="163449"/>
                        <a:pt x="189929" y="165068"/>
                        <a:pt x="155829" y="164783"/>
                      </a:cubicBezTo>
                      <a:cubicBezTo>
                        <a:pt x="103918" y="164306"/>
                        <a:pt x="51911" y="163449"/>
                        <a:pt x="0" y="162877"/>
                      </a:cubicBezTo>
                      <a:close/>
                    </a:path>
                  </a:pathLst>
                </a:custGeom>
                <a:solidFill>
                  <a:schemeClr val="accent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12" name="Freeform: Shape 111">
                  <a:extLst>
                    <a:ext uri="{FF2B5EF4-FFF2-40B4-BE49-F238E27FC236}">
                      <a16:creationId xmlns:a16="http://schemas.microsoft.com/office/drawing/2014/main" id="{2A8FE1A5-D4A4-4CCB-93B0-C46D458C6078}"/>
                    </a:ext>
                  </a:extLst>
                </p:cNvPr>
                <p:cNvSpPr/>
                <p:nvPr/>
              </p:nvSpPr>
              <p:spPr>
                <a:xfrm>
                  <a:off x="1816418" y="2645634"/>
                  <a:ext cx="895350" cy="885825"/>
                </a:xfrm>
                <a:custGeom>
                  <a:avLst/>
                  <a:gdLst>
                    <a:gd name="connsiteX0" fmla="*/ 1537 w 895350"/>
                    <a:gd name="connsiteY0" fmla="*/ 319278 h 885825"/>
                    <a:gd name="connsiteX1" fmla="*/ 870 w 895350"/>
                    <a:gd name="connsiteY1" fmla="*/ 588645 h 885825"/>
                    <a:gd name="connsiteX2" fmla="*/ 73356 w 895350"/>
                    <a:gd name="connsiteY2" fmla="*/ 779240 h 885825"/>
                    <a:gd name="connsiteX3" fmla="*/ 250616 w 895350"/>
                    <a:gd name="connsiteY3" fmla="*/ 889921 h 885825"/>
                    <a:gd name="connsiteX4" fmla="*/ 561226 w 895350"/>
                    <a:gd name="connsiteY4" fmla="*/ 890397 h 885825"/>
                    <a:gd name="connsiteX5" fmla="*/ 654381 w 895350"/>
                    <a:gd name="connsiteY5" fmla="*/ 890207 h 885825"/>
                    <a:gd name="connsiteX6" fmla="*/ 858501 w 895350"/>
                    <a:gd name="connsiteY6" fmla="*/ 727329 h 885825"/>
                    <a:gd name="connsiteX7" fmla="*/ 889077 w 895350"/>
                    <a:gd name="connsiteY7" fmla="*/ 623316 h 885825"/>
                    <a:gd name="connsiteX8" fmla="*/ 888029 w 895350"/>
                    <a:gd name="connsiteY8" fmla="*/ 276892 h 885825"/>
                    <a:gd name="connsiteX9" fmla="*/ 572656 w 895350"/>
                    <a:gd name="connsiteY9" fmla="*/ 1810 h 885825"/>
                    <a:gd name="connsiteX10" fmla="*/ 449117 w 895350"/>
                    <a:gd name="connsiteY10" fmla="*/ 0 h 885825"/>
                    <a:gd name="connsiteX11" fmla="*/ 301860 w 895350"/>
                    <a:gd name="connsiteY11" fmla="*/ 3524 h 885825"/>
                    <a:gd name="connsiteX12" fmla="*/ 1537 w 895350"/>
                    <a:gd name="connsiteY12" fmla="*/ 319278 h 8858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895350" h="885825">
                      <a:moveTo>
                        <a:pt x="1537" y="319278"/>
                      </a:moveTo>
                      <a:cubicBezTo>
                        <a:pt x="1061" y="409099"/>
                        <a:pt x="-1225" y="498920"/>
                        <a:pt x="870" y="588645"/>
                      </a:cubicBezTo>
                      <a:cubicBezTo>
                        <a:pt x="2490" y="659797"/>
                        <a:pt x="27731" y="723709"/>
                        <a:pt x="73356" y="779240"/>
                      </a:cubicBezTo>
                      <a:cubicBezTo>
                        <a:pt x="120123" y="836105"/>
                        <a:pt x="182512" y="867442"/>
                        <a:pt x="250616" y="889921"/>
                      </a:cubicBezTo>
                      <a:cubicBezTo>
                        <a:pt x="354153" y="894017"/>
                        <a:pt x="457689" y="894302"/>
                        <a:pt x="561226" y="890397"/>
                      </a:cubicBezTo>
                      <a:cubicBezTo>
                        <a:pt x="592278" y="901446"/>
                        <a:pt x="623329" y="889730"/>
                        <a:pt x="654381" y="890207"/>
                      </a:cubicBezTo>
                      <a:cubicBezTo>
                        <a:pt x="742106" y="860584"/>
                        <a:pt x="811829" y="808387"/>
                        <a:pt x="858501" y="727329"/>
                      </a:cubicBezTo>
                      <a:cubicBezTo>
                        <a:pt x="871741" y="693515"/>
                        <a:pt x="886695" y="660083"/>
                        <a:pt x="889077" y="623316"/>
                      </a:cubicBezTo>
                      <a:cubicBezTo>
                        <a:pt x="896506" y="507778"/>
                        <a:pt x="902221" y="391382"/>
                        <a:pt x="888029" y="276892"/>
                      </a:cubicBezTo>
                      <a:cubicBezTo>
                        <a:pt x="867360" y="109442"/>
                        <a:pt x="741915" y="5048"/>
                        <a:pt x="572656" y="1810"/>
                      </a:cubicBezTo>
                      <a:cubicBezTo>
                        <a:pt x="531508" y="1048"/>
                        <a:pt x="490265" y="572"/>
                        <a:pt x="449117" y="0"/>
                      </a:cubicBezTo>
                      <a:cubicBezTo>
                        <a:pt x="400063" y="1143"/>
                        <a:pt x="350914" y="1905"/>
                        <a:pt x="301860" y="3524"/>
                      </a:cubicBezTo>
                      <a:cubicBezTo>
                        <a:pt x="130982" y="8954"/>
                        <a:pt x="-939" y="148019"/>
                        <a:pt x="1537" y="319278"/>
                      </a:cubicBezTo>
                    </a:path>
                  </a:pathLst>
                </a:custGeom>
                <a:solidFill>
                  <a:schemeClr val="tx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107" name="Oval 106">
                <a:extLst>
                  <a:ext uri="{FF2B5EF4-FFF2-40B4-BE49-F238E27FC236}">
                    <a16:creationId xmlns:a16="http://schemas.microsoft.com/office/drawing/2014/main" id="{F21C95CA-D6D9-4803-B392-9A84E4E09451}"/>
                  </a:ext>
                </a:extLst>
              </p:cNvPr>
              <p:cNvSpPr/>
              <p:nvPr/>
            </p:nvSpPr>
            <p:spPr>
              <a:xfrm>
                <a:off x="2163006" y="3243650"/>
                <a:ext cx="179952" cy="179952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1218026">
                  <a:lnSpc>
                    <a:spcPts val="3000"/>
                  </a:lnSpc>
                  <a:tabLst>
                    <a:tab pos="367135" algn="l"/>
                  </a:tabLst>
                </a:pPr>
                <a:endParaRPr lang="en-US" sz="2800" b="1" spc="-150">
                  <a:solidFill>
                    <a:schemeClr val="tx2"/>
                  </a:solidFill>
                  <a:latin typeface="+mj-lt"/>
                  <a:ea typeface="+mj-ea"/>
                  <a:cs typeface="+mj-cs"/>
                </a:endParaRPr>
              </a:p>
            </p:txBody>
          </p:sp>
          <p:sp>
            <p:nvSpPr>
              <p:cNvPr id="108" name="Oval 77">
                <a:extLst>
                  <a:ext uri="{FF2B5EF4-FFF2-40B4-BE49-F238E27FC236}">
                    <a16:creationId xmlns:a16="http://schemas.microsoft.com/office/drawing/2014/main" id="{2BC6FD92-51EC-4A2E-B986-69B0D158AFE3}"/>
                  </a:ext>
                </a:extLst>
              </p:cNvPr>
              <p:cNvSpPr/>
              <p:nvPr/>
            </p:nvSpPr>
            <p:spPr>
              <a:xfrm>
                <a:off x="2163006" y="2750361"/>
                <a:ext cx="179952" cy="439032"/>
              </a:xfrm>
              <a:custGeom>
                <a:avLst/>
                <a:gdLst>
                  <a:gd name="connsiteX0" fmla="*/ 0 w 179952"/>
                  <a:gd name="connsiteY0" fmla="*/ 89976 h 179952"/>
                  <a:gd name="connsiteX1" fmla="*/ 89976 w 179952"/>
                  <a:gd name="connsiteY1" fmla="*/ 0 h 179952"/>
                  <a:gd name="connsiteX2" fmla="*/ 179952 w 179952"/>
                  <a:gd name="connsiteY2" fmla="*/ 89976 h 179952"/>
                  <a:gd name="connsiteX3" fmla="*/ 89976 w 179952"/>
                  <a:gd name="connsiteY3" fmla="*/ 179952 h 179952"/>
                  <a:gd name="connsiteX4" fmla="*/ 0 w 179952"/>
                  <a:gd name="connsiteY4" fmla="*/ 89976 h 179952"/>
                  <a:gd name="connsiteX0" fmla="*/ 0 w 179952"/>
                  <a:gd name="connsiteY0" fmla="*/ 89976 h 439032"/>
                  <a:gd name="connsiteX1" fmla="*/ 89976 w 179952"/>
                  <a:gd name="connsiteY1" fmla="*/ 0 h 439032"/>
                  <a:gd name="connsiteX2" fmla="*/ 179952 w 179952"/>
                  <a:gd name="connsiteY2" fmla="*/ 89976 h 439032"/>
                  <a:gd name="connsiteX3" fmla="*/ 89976 w 179952"/>
                  <a:gd name="connsiteY3" fmla="*/ 439032 h 439032"/>
                  <a:gd name="connsiteX4" fmla="*/ 0 w 179952"/>
                  <a:gd name="connsiteY4" fmla="*/ 89976 h 4390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9952" h="439032">
                    <a:moveTo>
                      <a:pt x="0" y="89976"/>
                    </a:moveTo>
                    <a:cubicBezTo>
                      <a:pt x="0" y="16804"/>
                      <a:pt x="40284" y="0"/>
                      <a:pt x="89976" y="0"/>
                    </a:cubicBezTo>
                    <a:cubicBezTo>
                      <a:pt x="139668" y="0"/>
                      <a:pt x="179952" y="40284"/>
                      <a:pt x="179952" y="89976"/>
                    </a:cubicBezTo>
                    <a:cubicBezTo>
                      <a:pt x="179952" y="139668"/>
                      <a:pt x="139668" y="439032"/>
                      <a:pt x="89976" y="439032"/>
                    </a:cubicBezTo>
                    <a:cubicBezTo>
                      <a:pt x="40284" y="439032"/>
                      <a:pt x="0" y="163148"/>
                      <a:pt x="0" y="89976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1218026">
                  <a:lnSpc>
                    <a:spcPts val="3000"/>
                  </a:lnSpc>
                  <a:tabLst>
                    <a:tab pos="367135" algn="l"/>
                  </a:tabLst>
                </a:pPr>
                <a:endParaRPr lang="en-US" sz="2800" b="1" spc="-150">
                  <a:solidFill>
                    <a:schemeClr val="tx2"/>
                  </a:solidFill>
                  <a:latin typeface="+mj-lt"/>
                  <a:ea typeface="+mj-ea"/>
                  <a:cs typeface="+mj-cs"/>
                </a:endParaRPr>
              </a:p>
            </p:txBody>
          </p:sp>
        </p:grpSp>
      </p:grpSp>
      <p:sp>
        <p:nvSpPr>
          <p:cNvPr id="40" name="TextBox 39">
            <a:extLst>
              <a:ext uri="{FF2B5EF4-FFF2-40B4-BE49-F238E27FC236}">
                <a16:creationId xmlns:a16="http://schemas.microsoft.com/office/drawing/2014/main" id="{2AB46E8F-B7F1-4210-8B10-BF57CBDD7DDF}"/>
              </a:ext>
            </a:extLst>
          </p:cNvPr>
          <p:cNvSpPr txBox="1">
            <a:spLocks/>
          </p:cNvSpPr>
          <p:nvPr/>
        </p:nvSpPr>
        <p:spPr>
          <a:xfrm>
            <a:off x="7296098" y="2720864"/>
            <a:ext cx="2047924" cy="9233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 algn="ctr"/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Validator reviews provider information for eligibility (e.g. actively in practice, in good standing, etc.) and shares results with HRSA</a:t>
            </a:r>
          </a:p>
        </p:txBody>
      </p:sp>
      <p:sp>
        <p:nvSpPr>
          <p:cNvPr id="52" name="TitleTrackerNum 7">
            <a:extLst>
              <a:ext uri="{FF2B5EF4-FFF2-40B4-BE49-F238E27FC236}">
                <a16:creationId xmlns:a16="http://schemas.microsoft.com/office/drawing/2014/main" id="{051EA9B0-3F1A-4AD1-939F-B0F35455821C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>
          <a:xfrm>
            <a:off x="7296098" y="1786913"/>
            <a:ext cx="484469" cy="287985"/>
          </a:xfrm>
          <a:prstGeom prst="rect">
            <a:avLst/>
          </a:prstGeom>
          <a:solidFill>
            <a:srgbClr val="F4F4F5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57200" tIns="0" rIns="457200" bIns="0" rtlCol="0" anchor="ctr" anchorCtr="1">
            <a:noAutofit/>
          </a:bodyPr>
          <a:lstStyle/>
          <a:p>
            <a:pPr algn="ctr"/>
            <a:r>
              <a:rPr lang="en-US" sz="4000" b="1" dirty="0">
                <a:solidFill>
                  <a:srgbClr val="A33134"/>
                </a:solidFill>
                <a:latin typeface="+mj-lt"/>
              </a:rPr>
              <a:t>2</a:t>
            </a:r>
          </a:p>
        </p:txBody>
      </p: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498CAF59-0115-497A-A048-30EE1B47266E}"/>
              </a:ext>
            </a:extLst>
          </p:cNvPr>
          <p:cNvGrpSpPr/>
          <p:nvPr/>
        </p:nvGrpSpPr>
        <p:grpSpPr>
          <a:xfrm>
            <a:off x="7863076" y="1837085"/>
            <a:ext cx="913968" cy="688977"/>
            <a:chOff x="4073264" y="2305811"/>
            <a:chExt cx="1334953" cy="1024142"/>
          </a:xfrm>
        </p:grpSpPr>
        <p:grpSp>
          <p:nvGrpSpPr>
            <p:cNvPr id="114" name="Group 113">
              <a:extLst>
                <a:ext uri="{FF2B5EF4-FFF2-40B4-BE49-F238E27FC236}">
                  <a16:creationId xmlns:a16="http://schemas.microsoft.com/office/drawing/2014/main" id="{E5633DF0-B495-4A81-9F42-2B189650EDCA}"/>
                </a:ext>
              </a:extLst>
            </p:cNvPr>
            <p:cNvGrpSpPr/>
            <p:nvPr/>
          </p:nvGrpSpPr>
          <p:grpSpPr>
            <a:xfrm>
              <a:off x="4233607" y="2305811"/>
              <a:ext cx="1174610" cy="1024142"/>
              <a:chOff x="4233607" y="2305811"/>
              <a:chExt cx="1174610" cy="1024142"/>
            </a:xfrm>
          </p:grpSpPr>
          <p:grpSp>
            <p:nvGrpSpPr>
              <p:cNvPr id="117" name="Group 116">
                <a:extLst>
                  <a:ext uri="{FF2B5EF4-FFF2-40B4-BE49-F238E27FC236}">
                    <a16:creationId xmlns:a16="http://schemas.microsoft.com/office/drawing/2014/main" id="{280F2974-4F1C-41A0-BF75-9EA69A8712E7}"/>
                  </a:ext>
                </a:extLst>
              </p:cNvPr>
              <p:cNvGrpSpPr/>
              <p:nvPr/>
            </p:nvGrpSpPr>
            <p:grpSpPr>
              <a:xfrm>
                <a:off x="4233607" y="2305811"/>
                <a:ext cx="1174610" cy="1024142"/>
                <a:chOff x="4233607" y="2305811"/>
                <a:chExt cx="1174610" cy="1024142"/>
              </a:xfrm>
            </p:grpSpPr>
            <p:grpSp>
              <p:nvGrpSpPr>
                <p:cNvPr id="121" name="Group 120">
                  <a:extLst>
                    <a:ext uri="{FF2B5EF4-FFF2-40B4-BE49-F238E27FC236}">
                      <a16:creationId xmlns:a16="http://schemas.microsoft.com/office/drawing/2014/main" id="{B8D63B6E-D44F-4B68-8E37-99C21751315B}"/>
                    </a:ext>
                  </a:extLst>
                </p:cNvPr>
                <p:cNvGrpSpPr/>
                <p:nvPr/>
              </p:nvGrpSpPr>
              <p:grpSpPr>
                <a:xfrm>
                  <a:off x="4233607" y="2305811"/>
                  <a:ext cx="1174610" cy="1024142"/>
                  <a:chOff x="4233607" y="2305811"/>
                  <a:chExt cx="1174610" cy="1024142"/>
                </a:xfrm>
              </p:grpSpPr>
              <p:grpSp>
                <p:nvGrpSpPr>
                  <p:cNvPr id="126" name="Group 125">
                    <a:extLst>
                      <a:ext uri="{FF2B5EF4-FFF2-40B4-BE49-F238E27FC236}">
                        <a16:creationId xmlns:a16="http://schemas.microsoft.com/office/drawing/2014/main" id="{F94F2B49-5CEA-4F80-B255-F3B5D65FFFEA}"/>
                      </a:ext>
                    </a:extLst>
                  </p:cNvPr>
                  <p:cNvGrpSpPr/>
                  <p:nvPr/>
                </p:nvGrpSpPr>
                <p:grpSpPr>
                  <a:xfrm>
                    <a:off x="4233607" y="2305811"/>
                    <a:ext cx="1174610" cy="1024142"/>
                    <a:chOff x="4233607" y="2305811"/>
                    <a:chExt cx="1174610" cy="1024142"/>
                  </a:xfrm>
                </p:grpSpPr>
                <p:grpSp>
                  <p:nvGrpSpPr>
                    <p:cNvPr id="130" name="Group 129">
                      <a:extLst>
                        <a:ext uri="{FF2B5EF4-FFF2-40B4-BE49-F238E27FC236}">
                          <a16:creationId xmlns:a16="http://schemas.microsoft.com/office/drawing/2014/main" id="{2CE8FDFC-5917-46EB-A702-558368816A4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4272192" y="2305811"/>
                      <a:ext cx="1136025" cy="1024142"/>
                      <a:chOff x="4272192" y="2305811"/>
                      <a:chExt cx="1136025" cy="1024142"/>
                    </a:xfrm>
                  </p:grpSpPr>
                  <p:pic>
                    <p:nvPicPr>
                      <p:cNvPr id="134" name="Graphic 133">
                        <a:extLst>
                          <a:ext uri="{FF2B5EF4-FFF2-40B4-BE49-F238E27FC236}">
                            <a16:creationId xmlns:a16="http://schemas.microsoft.com/office/drawing/2014/main" id="{A309668F-12FB-4BB7-9C8F-E72E2D6F35D7}"/>
                          </a:ext>
                        </a:extLst>
                      </p:cNvPr>
                      <p:cNvPicPr>
                        <a:picLocks noChangeAspect="1"/>
                      </p:cNvPicPr>
                      <p:nvPr/>
                    </p:nvPicPr>
                    <p:blipFill>
                      <a:blip r:embed="rId15">
                        <a:extLst>
                          <a:ext uri="{96DAC541-7B7A-43D3-8B79-37D633B846F1}">
                            <asvg:svgBlip xmlns:asvg="http://schemas.microsoft.com/office/drawing/2016/SVG/main" xmlns="" r:embed="rId16"/>
                          </a:ext>
                        </a:extLst>
                      </a:blip>
                      <a:stretch>
                        <a:fillRect/>
                      </a:stretch>
                    </p:blipFill>
                    <p:spPr>
                      <a:xfrm>
                        <a:off x="4272192" y="2305811"/>
                        <a:ext cx="1136025" cy="1001960"/>
                      </a:xfrm>
                      <a:prstGeom prst="rect">
                        <a:avLst/>
                      </a:prstGeom>
                    </p:spPr>
                  </p:pic>
                  <p:grpSp>
                    <p:nvGrpSpPr>
                      <p:cNvPr id="135" name="Group 134">
                        <a:extLst>
                          <a:ext uri="{FF2B5EF4-FFF2-40B4-BE49-F238E27FC236}">
                            <a16:creationId xmlns:a16="http://schemas.microsoft.com/office/drawing/2014/main" id="{82D0B16A-BC2D-4DF0-9935-9096125754C0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4559470" y="2314933"/>
                        <a:ext cx="683204" cy="1015020"/>
                        <a:chOff x="4559470" y="2314933"/>
                        <a:chExt cx="683204" cy="1015020"/>
                      </a:xfrm>
                    </p:grpSpPr>
                    <p:sp>
                      <p:nvSpPr>
                        <p:cNvPr id="136" name="Freeform: Shape 135">
                          <a:extLst>
                            <a:ext uri="{FF2B5EF4-FFF2-40B4-BE49-F238E27FC236}">
                              <a16:creationId xmlns:a16="http://schemas.microsoft.com/office/drawing/2014/main" id="{DA828E77-AAB0-451C-9E57-EDEFE0CA6AE1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4581105" y="2375940"/>
                          <a:ext cx="661569" cy="945108"/>
                        </a:xfrm>
                        <a:custGeom>
                          <a:avLst/>
                          <a:gdLst>
                            <a:gd name="connsiteX0" fmla="*/ 972820 w 972820"/>
                            <a:gd name="connsiteY0" fmla="*/ 949960 h 1366520"/>
                            <a:gd name="connsiteX1" fmla="*/ 972820 w 972820"/>
                            <a:gd name="connsiteY1" fmla="*/ 0 h 1366520"/>
                            <a:gd name="connsiteX2" fmla="*/ 0 w 972820"/>
                            <a:gd name="connsiteY2" fmla="*/ 0 h 1366520"/>
                            <a:gd name="connsiteX3" fmla="*/ 0 w 972820"/>
                            <a:gd name="connsiteY3" fmla="*/ 1366520 h 1366520"/>
                            <a:gd name="connsiteX4" fmla="*/ 769620 w 972820"/>
                            <a:gd name="connsiteY4" fmla="*/ 1366520 h 1366520"/>
                            <a:gd name="connsiteX5" fmla="*/ 972820 w 972820"/>
                            <a:gd name="connsiteY5" fmla="*/ 949960 h 1366520"/>
                            <a:gd name="connsiteX0" fmla="*/ 972820 w 972820"/>
                            <a:gd name="connsiteY0" fmla="*/ 949960 h 1366520"/>
                            <a:gd name="connsiteX1" fmla="*/ 972820 w 972820"/>
                            <a:gd name="connsiteY1" fmla="*/ 0 h 1366520"/>
                            <a:gd name="connsiteX2" fmla="*/ 0 w 972820"/>
                            <a:gd name="connsiteY2" fmla="*/ 0 h 1366520"/>
                            <a:gd name="connsiteX3" fmla="*/ 0 w 972820"/>
                            <a:gd name="connsiteY3" fmla="*/ 1366520 h 1366520"/>
                            <a:gd name="connsiteX4" fmla="*/ 454660 w 972820"/>
                            <a:gd name="connsiteY4" fmla="*/ 1353820 h 1366520"/>
                            <a:gd name="connsiteX5" fmla="*/ 972820 w 972820"/>
                            <a:gd name="connsiteY5" fmla="*/ 949960 h 1366520"/>
                            <a:gd name="connsiteX0" fmla="*/ 972820 w 972820"/>
                            <a:gd name="connsiteY0" fmla="*/ 949960 h 1366520"/>
                            <a:gd name="connsiteX1" fmla="*/ 972820 w 972820"/>
                            <a:gd name="connsiteY1" fmla="*/ 0 h 1366520"/>
                            <a:gd name="connsiteX2" fmla="*/ 0 w 972820"/>
                            <a:gd name="connsiteY2" fmla="*/ 0 h 1366520"/>
                            <a:gd name="connsiteX3" fmla="*/ 0 w 972820"/>
                            <a:gd name="connsiteY3" fmla="*/ 1366520 h 1366520"/>
                            <a:gd name="connsiteX4" fmla="*/ 454660 w 972820"/>
                            <a:gd name="connsiteY4" fmla="*/ 1353820 h 1366520"/>
                            <a:gd name="connsiteX5" fmla="*/ 972820 w 972820"/>
                            <a:gd name="connsiteY5" fmla="*/ 949960 h 1366520"/>
                            <a:gd name="connsiteX0" fmla="*/ 972820 w 972820"/>
                            <a:gd name="connsiteY0" fmla="*/ 949960 h 1366520"/>
                            <a:gd name="connsiteX1" fmla="*/ 972820 w 972820"/>
                            <a:gd name="connsiteY1" fmla="*/ 0 h 1366520"/>
                            <a:gd name="connsiteX2" fmla="*/ 0 w 972820"/>
                            <a:gd name="connsiteY2" fmla="*/ 0 h 1366520"/>
                            <a:gd name="connsiteX3" fmla="*/ 0 w 972820"/>
                            <a:gd name="connsiteY3" fmla="*/ 1366520 h 1366520"/>
                            <a:gd name="connsiteX4" fmla="*/ 454660 w 972820"/>
                            <a:gd name="connsiteY4" fmla="*/ 1353820 h 1366520"/>
                            <a:gd name="connsiteX5" fmla="*/ 972820 w 972820"/>
                            <a:gd name="connsiteY5" fmla="*/ 949960 h 1366520"/>
                            <a:gd name="connsiteX0" fmla="*/ 972820 w 972820"/>
                            <a:gd name="connsiteY0" fmla="*/ 949960 h 1366520"/>
                            <a:gd name="connsiteX1" fmla="*/ 972820 w 972820"/>
                            <a:gd name="connsiteY1" fmla="*/ 0 h 1366520"/>
                            <a:gd name="connsiteX2" fmla="*/ 0 w 972820"/>
                            <a:gd name="connsiteY2" fmla="*/ 0 h 1366520"/>
                            <a:gd name="connsiteX3" fmla="*/ 0 w 972820"/>
                            <a:gd name="connsiteY3" fmla="*/ 1366520 h 1366520"/>
                            <a:gd name="connsiteX4" fmla="*/ 454660 w 972820"/>
                            <a:gd name="connsiteY4" fmla="*/ 1353820 h 1366520"/>
                            <a:gd name="connsiteX5" fmla="*/ 972820 w 972820"/>
                            <a:gd name="connsiteY5" fmla="*/ 949960 h 1366520"/>
                            <a:gd name="connsiteX0" fmla="*/ 972820 w 972820"/>
                            <a:gd name="connsiteY0" fmla="*/ 949960 h 1390979"/>
                            <a:gd name="connsiteX1" fmla="*/ 972820 w 972820"/>
                            <a:gd name="connsiteY1" fmla="*/ 0 h 1390979"/>
                            <a:gd name="connsiteX2" fmla="*/ 0 w 972820"/>
                            <a:gd name="connsiteY2" fmla="*/ 0 h 1390979"/>
                            <a:gd name="connsiteX3" fmla="*/ 0 w 972820"/>
                            <a:gd name="connsiteY3" fmla="*/ 1366520 h 1390979"/>
                            <a:gd name="connsiteX4" fmla="*/ 454660 w 972820"/>
                            <a:gd name="connsiteY4" fmla="*/ 1353820 h 1390979"/>
                            <a:gd name="connsiteX5" fmla="*/ 972820 w 972820"/>
                            <a:gd name="connsiteY5" fmla="*/ 949960 h 1390979"/>
                            <a:gd name="connsiteX0" fmla="*/ 972820 w 972820"/>
                            <a:gd name="connsiteY0" fmla="*/ 949960 h 1398991"/>
                            <a:gd name="connsiteX1" fmla="*/ 972820 w 972820"/>
                            <a:gd name="connsiteY1" fmla="*/ 0 h 1398991"/>
                            <a:gd name="connsiteX2" fmla="*/ 0 w 972820"/>
                            <a:gd name="connsiteY2" fmla="*/ 0 h 1398991"/>
                            <a:gd name="connsiteX3" fmla="*/ 0 w 972820"/>
                            <a:gd name="connsiteY3" fmla="*/ 1366520 h 1398991"/>
                            <a:gd name="connsiteX4" fmla="*/ 454660 w 972820"/>
                            <a:gd name="connsiteY4" fmla="*/ 1353820 h 1398991"/>
                            <a:gd name="connsiteX5" fmla="*/ 972820 w 972820"/>
                            <a:gd name="connsiteY5" fmla="*/ 949960 h 1398991"/>
                            <a:gd name="connsiteX0" fmla="*/ 972820 w 972820"/>
                            <a:gd name="connsiteY0" fmla="*/ 949960 h 1393771"/>
                            <a:gd name="connsiteX1" fmla="*/ 972820 w 972820"/>
                            <a:gd name="connsiteY1" fmla="*/ 0 h 1393771"/>
                            <a:gd name="connsiteX2" fmla="*/ 0 w 972820"/>
                            <a:gd name="connsiteY2" fmla="*/ 0 h 1393771"/>
                            <a:gd name="connsiteX3" fmla="*/ 0 w 972820"/>
                            <a:gd name="connsiteY3" fmla="*/ 1366520 h 1393771"/>
                            <a:gd name="connsiteX4" fmla="*/ 454660 w 972820"/>
                            <a:gd name="connsiteY4" fmla="*/ 1353820 h 1393771"/>
                            <a:gd name="connsiteX5" fmla="*/ 972820 w 972820"/>
                            <a:gd name="connsiteY5" fmla="*/ 949960 h 1393771"/>
                            <a:gd name="connsiteX0" fmla="*/ 972820 w 972820"/>
                            <a:gd name="connsiteY0" fmla="*/ 949960 h 1393771"/>
                            <a:gd name="connsiteX1" fmla="*/ 972820 w 972820"/>
                            <a:gd name="connsiteY1" fmla="*/ 0 h 1393771"/>
                            <a:gd name="connsiteX2" fmla="*/ 0 w 972820"/>
                            <a:gd name="connsiteY2" fmla="*/ 0 h 1393771"/>
                            <a:gd name="connsiteX3" fmla="*/ 0 w 972820"/>
                            <a:gd name="connsiteY3" fmla="*/ 1366520 h 1393771"/>
                            <a:gd name="connsiteX4" fmla="*/ 454660 w 972820"/>
                            <a:gd name="connsiteY4" fmla="*/ 1353820 h 1393771"/>
                            <a:gd name="connsiteX5" fmla="*/ 972820 w 972820"/>
                            <a:gd name="connsiteY5" fmla="*/ 949960 h 1393771"/>
                            <a:gd name="connsiteX0" fmla="*/ 975629 w 975629"/>
                            <a:gd name="connsiteY0" fmla="*/ 1107283 h 1393771"/>
                            <a:gd name="connsiteX1" fmla="*/ 972820 w 975629"/>
                            <a:gd name="connsiteY1" fmla="*/ 0 h 1393771"/>
                            <a:gd name="connsiteX2" fmla="*/ 0 w 975629"/>
                            <a:gd name="connsiteY2" fmla="*/ 0 h 1393771"/>
                            <a:gd name="connsiteX3" fmla="*/ 0 w 975629"/>
                            <a:gd name="connsiteY3" fmla="*/ 1366520 h 1393771"/>
                            <a:gd name="connsiteX4" fmla="*/ 454660 w 975629"/>
                            <a:gd name="connsiteY4" fmla="*/ 1353820 h 1393771"/>
                            <a:gd name="connsiteX5" fmla="*/ 975629 w 975629"/>
                            <a:gd name="connsiteY5" fmla="*/ 1107283 h 1393771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</a:cxnLst>
                          <a:rect l="l" t="t" r="r" b="b"/>
                          <a:pathLst>
                            <a:path w="975629" h="1393771">
                              <a:moveTo>
                                <a:pt x="975629" y="1107283"/>
                              </a:moveTo>
                              <a:cubicBezTo>
                                <a:pt x="974693" y="738189"/>
                                <a:pt x="973756" y="369094"/>
                                <a:pt x="972820" y="0"/>
                              </a:cubicBezTo>
                              <a:lnTo>
                                <a:pt x="0" y="0"/>
                              </a:lnTo>
                              <a:lnTo>
                                <a:pt x="0" y="1366520"/>
                              </a:lnTo>
                              <a:cubicBezTo>
                                <a:pt x="108373" y="1390227"/>
                                <a:pt x="196427" y="1419013"/>
                                <a:pt x="454660" y="1353820"/>
                              </a:cubicBezTo>
                              <a:cubicBezTo>
                                <a:pt x="782320" y="1252220"/>
                                <a:pt x="914669" y="1175863"/>
                                <a:pt x="975629" y="1107283"/>
                              </a:cubicBezTo>
                              <a:close/>
                            </a:path>
                          </a:pathLst>
                        </a:custGeom>
                        <a:solidFill>
                          <a:srgbClr val="BCB5AF"/>
                        </a:solidFill>
                        <a:ln w="9525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en-US" sz="1600">
                            <a:solidFill>
                              <a:schemeClr val="tx1"/>
                            </a:solidFill>
                          </a:endParaRPr>
                        </a:p>
                      </p:txBody>
                    </p:sp>
                    <p:grpSp>
                      <p:nvGrpSpPr>
                        <p:cNvPr id="137" name="Group 136">
                          <a:extLst>
                            <a:ext uri="{FF2B5EF4-FFF2-40B4-BE49-F238E27FC236}">
                              <a16:creationId xmlns:a16="http://schemas.microsoft.com/office/drawing/2014/main" id="{9BE4BEA6-4DD6-4C81-9BBF-14D93AAAF357}"/>
                            </a:ext>
                          </a:extLst>
                        </p:cNvPr>
                        <p:cNvGrpSpPr/>
                        <p:nvPr/>
                      </p:nvGrpSpPr>
                      <p:grpSpPr>
                        <a:xfrm>
                          <a:off x="4559470" y="2314933"/>
                          <a:ext cx="669189" cy="1015020"/>
                          <a:chOff x="4559470" y="2314933"/>
                          <a:chExt cx="669189" cy="1015020"/>
                        </a:xfrm>
                      </p:grpSpPr>
                      <p:sp>
                        <p:nvSpPr>
                          <p:cNvPr id="138" name="Freeform: Shape 137">
                            <a:extLst>
                              <a:ext uri="{FF2B5EF4-FFF2-40B4-BE49-F238E27FC236}">
                                <a16:creationId xmlns:a16="http://schemas.microsoft.com/office/drawing/2014/main" id="{76B267C6-822F-4B73-80C3-28884A2F7409}"/>
                              </a:ext>
                            </a:extLst>
                          </p:cNvPr>
                          <p:cNvSpPr/>
                          <p:nvPr/>
                        </p:nvSpPr>
                        <p:spPr>
                          <a:xfrm>
                            <a:off x="4559470" y="2375940"/>
                            <a:ext cx="669189" cy="949305"/>
                          </a:xfrm>
                          <a:custGeom>
                            <a:avLst/>
                            <a:gdLst>
                              <a:gd name="connsiteX0" fmla="*/ 972820 w 972820"/>
                              <a:gd name="connsiteY0" fmla="*/ 949960 h 1366520"/>
                              <a:gd name="connsiteX1" fmla="*/ 972820 w 972820"/>
                              <a:gd name="connsiteY1" fmla="*/ 0 h 1366520"/>
                              <a:gd name="connsiteX2" fmla="*/ 0 w 972820"/>
                              <a:gd name="connsiteY2" fmla="*/ 0 h 1366520"/>
                              <a:gd name="connsiteX3" fmla="*/ 0 w 972820"/>
                              <a:gd name="connsiteY3" fmla="*/ 1366520 h 1366520"/>
                              <a:gd name="connsiteX4" fmla="*/ 769620 w 972820"/>
                              <a:gd name="connsiteY4" fmla="*/ 1366520 h 1366520"/>
                              <a:gd name="connsiteX5" fmla="*/ 972820 w 972820"/>
                              <a:gd name="connsiteY5" fmla="*/ 949960 h 1366520"/>
                              <a:gd name="connsiteX0" fmla="*/ 972820 w 972820"/>
                              <a:gd name="connsiteY0" fmla="*/ 949960 h 1366520"/>
                              <a:gd name="connsiteX1" fmla="*/ 972820 w 972820"/>
                              <a:gd name="connsiteY1" fmla="*/ 0 h 1366520"/>
                              <a:gd name="connsiteX2" fmla="*/ 0 w 972820"/>
                              <a:gd name="connsiteY2" fmla="*/ 0 h 1366520"/>
                              <a:gd name="connsiteX3" fmla="*/ 0 w 972820"/>
                              <a:gd name="connsiteY3" fmla="*/ 1366520 h 1366520"/>
                              <a:gd name="connsiteX4" fmla="*/ 454660 w 972820"/>
                              <a:gd name="connsiteY4" fmla="*/ 1353820 h 1366520"/>
                              <a:gd name="connsiteX5" fmla="*/ 972820 w 972820"/>
                              <a:gd name="connsiteY5" fmla="*/ 949960 h 1366520"/>
                              <a:gd name="connsiteX0" fmla="*/ 972820 w 972820"/>
                              <a:gd name="connsiteY0" fmla="*/ 949960 h 1366520"/>
                              <a:gd name="connsiteX1" fmla="*/ 972820 w 972820"/>
                              <a:gd name="connsiteY1" fmla="*/ 0 h 1366520"/>
                              <a:gd name="connsiteX2" fmla="*/ 0 w 972820"/>
                              <a:gd name="connsiteY2" fmla="*/ 0 h 1366520"/>
                              <a:gd name="connsiteX3" fmla="*/ 0 w 972820"/>
                              <a:gd name="connsiteY3" fmla="*/ 1366520 h 1366520"/>
                              <a:gd name="connsiteX4" fmla="*/ 454660 w 972820"/>
                              <a:gd name="connsiteY4" fmla="*/ 1353820 h 1366520"/>
                              <a:gd name="connsiteX5" fmla="*/ 972820 w 972820"/>
                              <a:gd name="connsiteY5" fmla="*/ 949960 h 1366520"/>
                              <a:gd name="connsiteX0" fmla="*/ 972820 w 972820"/>
                              <a:gd name="connsiteY0" fmla="*/ 949960 h 1366520"/>
                              <a:gd name="connsiteX1" fmla="*/ 972820 w 972820"/>
                              <a:gd name="connsiteY1" fmla="*/ 0 h 1366520"/>
                              <a:gd name="connsiteX2" fmla="*/ 0 w 972820"/>
                              <a:gd name="connsiteY2" fmla="*/ 0 h 1366520"/>
                              <a:gd name="connsiteX3" fmla="*/ 0 w 972820"/>
                              <a:gd name="connsiteY3" fmla="*/ 1366520 h 1366520"/>
                              <a:gd name="connsiteX4" fmla="*/ 454660 w 972820"/>
                              <a:gd name="connsiteY4" fmla="*/ 1353820 h 1366520"/>
                              <a:gd name="connsiteX5" fmla="*/ 972820 w 972820"/>
                              <a:gd name="connsiteY5" fmla="*/ 949960 h 1366520"/>
                              <a:gd name="connsiteX0" fmla="*/ 972820 w 972820"/>
                              <a:gd name="connsiteY0" fmla="*/ 949960 h 1366520"/>
                              <a:gd name="connsiteX1" fmla="*/ 972820 w 972820"/>
                              <a:gd name="connsiteY1" fmla="*/ 0 h 1366520"/>
                              <a:gd name="connsiteX2" fmla="*/ 0 w 972820"/>
                              <a:gd name="connsiteY2" fmla="*/ 0 h 1366520"/>
                              <a:gd name="connsiteX3" fmla="*/ 0 w 972820"/>
                              <a:gd name="connsiteY3" fmla="*/ 1366520 h 1366520"/>
                              <a:gd name="connsiteX4" fmla="*/ 454660 w 972820"/>
                              <a:gd name="connsiteY4" fmla="*/ 1353820 h 1366520"/>
                              <a:gd name="connsiteX5" fmla="*/ 972820 w 972820"/>
                              <a:gd name="connsiteY5" fmla="*/ 949960 h 1366520"/>
                              <a:gd name="connsiteX0" fmla="*/ 972820 w 972820"/>
                              <a:gd name="connsiteY0" fmla="*/ 949960 h 1390979"/>
                              <a:gd name="connsiteX1" fmla="*/ 972820 w 972820"/>
                              <a:gd name="connsiteY1" fmla="*/ 0 h 1390979"/>
                              <a:gd name="connsiteX2" fmla="*/ 0 w 972820"/>
                              <a:gd name="connsiteY2" fmla="*/ 0 h 1390979"/>
                              <a:gd name="connsiteX3" fmla="*/ 0 w 972820"/>
                              <a:gd name="connsiteY3" fmla="*/ 1366520 h 1390979"/>
                              <a:gd name="connsiteX4" fmla="*/ 454660 w 972820"/>
                              <a:gd name="connsiteY4" fmla="*/ 1353820 h 1390979"/>
                              <a:gd name="connsiteX5" fmla="*/ 972820 w 972820"/>
                              <a:gd name="connsiteY5" fmla="*/ 949960 h 1390979"/>
                              <a:gd name="connsiteX0" fmla="*/ 972820 w 972820"/>
                              <a:gd name="connsiteY0" fmla="*/ 949960 h 1398991"/>
                              <a:gd name="connsiteX1" fmla="*/ 972820 w 972820"/>
                              <a:gd name="connsiteY1" fmla="*/ 0 h 1398991"/>
                              <a:gd name="connsiteX2" fmla="*/ 0 w 972820"/>
                              <a:gd name="connsiteY2" fmla="*/ 0 h 1398991"/>
                              <a:gd name="connsiteX3" fmla="*/ 0 w 972820"/>
                              <a:gd name="connsiteY3" fmla="*/ 1366520 h 1398991"/>
                              <a:gd name="connsiteX4" fmla="*/ 454660 w 972820"/>
                              <a:gd name="connsiteY4" fmla="*/ 1353820 h 1398991"/>
                              <a:gd name="connsiteX5" fmla="*/ 972820 w 972820"/>
                              <a:gd name="connsiteY5" fmla="*/ 949960 h 1398991"/>
                              <a:gd name="connsiteX0" fmla="*/ 972820 w 972820"/>
                              <a:gd name="connsiteY0" fmla="*/ 949960 h 1393771"/>
                              <a:gd name="connsiteX1" fmla="*/ 972820 w 972820"/>
                              <a:gd name="connsiteY1" fmla="*/ 0 h 1393771"/>
                              <a:gd name="connsiteX2" fmla="*/ 0 w 972820"/>
                              <a:gd name="connsiteY2" fmla="*/ 0 h 1393771"/>
                              <a:gd name="connsiteX3" fmla="*/ 0 w 972820"/>
                              <a:gd name="connsiteY3" fmla="*/ 1366520 h 1393771"/>
                              <a:gd name="connsiteX4" fmla="*/ 454660 w 972820"/>
                              <a:gd name="connsiteY4" fmla="*/ 1353820 h 1393771"/>
                              <a:gd name="connsiteX5" fmla="*/ 972820 w 972820"/>
                              <a:gd name="connsiteY5" fmla="*/ 949960 h 1393771"/>
                              <a:gd name="connsiteX0" fmla="*/ 972820 w 972820"/>
                              <a:gd name="connsiteY0" fmla="*/ 949960 h 1393771"/>
                              <a:gd name="connsiteX1" fmla="*/ 972820 w 972820"/>
                              <a:gd name="connsiteY1" fmla="*/ 0 h 1393771"/>
                              <a:gd name="connsiteX2" fmla="*/ 0 w 972820"/>
                              <a:gd name="connsiteY2" fmla="*/ 0 h 1393771"/>
                              <a:gd name="connsiteX3" fmla="*/ 0 w 972820"/>
                              <a:gd name="connsiteY3" fmla="*/ 1366520 h 1393771"/>
                              <a:gd name="connsiteX4" fmla="*/ 454660 w 972820"/>
                              <a:gd name="connsiteY4" fmla="*/ 1353820 h 1393771"/>
                              <a:gd name="connsiteX5" fmla="*/ 972820 w 972820"/>
                              <a:gd name="connsiteY5" fmla="*/ 949960 h 1393771"/>
                              <a:gd name="connsiteX0" fmla="*/ 986867 w 986867"/>
                              <a:gd name="connsiteY0" fmla="*/ 1123369 h 1393771"/>
                              <a:gd name="connsiteX1" fmla="*/ 972820 w 986867"/>
                              <a:gd name="connsiteY1" fmla="*/ 0 h 1393771"/>
                              <a:gd name="connsiteX2" fmla="*/ 0 w 986867"/>
                              <a:gd name="connsiteY2" fmla="*/ 0 h 1393771"/>
                              <a:gd name="connsiteX3" fmla="*/ 0 w 986867"/>
                              <a:gd name="connsiteY3" fmla="*/ 1366520 h 1393771"/>
                              <a:gd name="connsiteX4" fmla="*/ 454660 w 986867"/>
                              <a:gd name="connsiteY4" fmla="*/ 1353820 h 1393771"/>
                              <a:gd name="connsiteX5" fmla="*/ 986867 w 986867"/>
                              <a:gd name="connsiteY5" fmla="*/ 1123369 h 1393771"/>
                              <a:gd name="connsiteX0" fmla="*/ 986867 w 986867"/>
                              <a:gd name="connsiteY0" fmla="*/ 1123369 h 1393771"/>
                              <a:gd name="connsiteX1" fmla="*/ 972820 w 986867"/>
                              <a:gd name="connsiteY1" fmla="*/ 0 h 1393771"/>
                              <a:gd name="connsiteX2" fmla="*/ 0 w 986867"/>
                              <a:gd name="connsiteY2" fmla="*/ 0 h 1393771"/>
                              <a:gd name="connsiteX3" fmla="*/ 0 w 986867"/>
                              <a:gd name="connsiteY3" fmla="*/ 1366520 h 1393771"/>
                              <a:gd name="connsiteX4" fmla="*/ 454660 w 986867"/>
                              <a:gd name="connsiteY4" fmla="*/ 1353820 h 1393771"/>
                              <a:gd name="connsiteX5" fmla="*/ 986867 w 986867"/>
                              <a:gd name="connsiteY5" fmla="*/ 1123369 h 1393771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  <a:cxn ang="0">
                                <a:pos x="connsiteX2" y="connsiteY2"/>
                              </a:cxn>
                              <a:cxn ang="0">
                                <a:pos x="connsiteX3" y="connsiteY3"/>
                              </a:cxn>
                              <a:cxn ang="0">
                                <a:pos x="connsiteX4" y="connsiteY4"/>
                              </a:cxn>
                              <a:cxn ang="0">
                                <a:pos x="connsiteX5" y="connsiteY5"/>
                              </a:cxn>
                            </a:cxnLst>
                            <a:rect l="l" t="t" r="r" b="b"/>
                            <a:pathLst>
                              <a:path w="986867" h="1393771">
                                <a:moveTo>
                                  <a:pt x="986867" y="1123369"/>
                                </a:moveTo>
                                <a:lnTo>
                                  <a:pt x="972820" y="0"/>
                                </a:lnTo>
                                <a:lnTo>
                                  <a:pt x="0" y="0"/>
                                </a:lnTo>
                                <a:lnTo>
                                  <a:pt x="0" y="1366520"/>
                                </a:lnTo>
                                <a:cubicBezTo>
                                  <a:pt x="108373" y="1390227"/>
                                  <a:pt x="196427" y="1419013"/>
                                  <a:pt x="454660" y="1353820"/>
                                </a:cubicBezTo>
                                <a:cubicBezTo>
                                  <a:pt x="782320" y="1252220"/>
                                  <a:pt x="914669" y="1189152"/>
                                  <a:pt x="986867" y="1123369"/>
                                </a:cubicBezTo>
                                <a:close/>
                              </a:path>
                            </a:pathLst>
                          </a:custGeom>
                          <a:solidFill>
                            <a:srgbClr val="C9BAAF"/>
                          </a:solidFill>
                          <a:ln w="9525">
                            <a:noFill/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algn="ctr"/>
                            <a:endParaRPr lang="en-US" sz="1600">
                              <a:solidFill>
                                <a:schemeClr val="tx1"/>
                              </a:solidFill>
                            </a:endParaRPr>
                          </a:p>
                        </p:txBody>
                      </p:sp>
                      <p:sp>
                        <p:nvSpPr>
                          <p:cNvPr id="139" name="Freeform: Shape 138">
                            <a:extLst>
                              <a:ext uri="{FF2B5EF4-FFF2-40B4-BE49-F238E27FC236}">
                                <a16:creationId xmlns:a16="http://schemas.microsoft.com/office/drawing/2014/main" id="{AAB9A86B-2878-413D-A31A-624064F80A6B}"/>
                              </a:ext>
                            </a:extLst>
                          </p:cNvPr>
                          <p:cNvSpPr/>
                          <p:nvPr/>
                        </p:nvSpPr>
                        <p:spPr>
                          <a:xfrm>
                            <a:off x="4632906" y="2435579"/>
                            <a:ext cx="553608" cy="894374"/>
                          </a:xfrm>
                          <a:custGeom>
                            <a:avLst/>
                            <a:gdLst>
                              <a:gd name="connsiteX0" fmla="*/ 972820 w 972820"/>
                              <a:gd name="connsiteY0" fmla="*/ 949960 h 1366520"/>
                              <a:gd name="connsiteX1" fmla="*/ 972820 w 972820"/>
                              <a:gd name="connsiteY1" fmla="*/ 0 h 1366520"/>
                              <a:gd name="connsiteX2" fmla="*/ 0 w 972820"/>
                              <a:gd name="connsiteY2" fmla="*/ 0 h 1366520"/>
                              <a:gd name="connsiteX3" fmla="*/ 0 w 972820"/>
                              <a:gd name="connsiteY3" fmla="*/ 1366520 h 1366520"/>
                              <a:gd name="connsiteX4" fmla="*/ 769620 w 972820"/>
                              <a:gd name="connsiteY4" fmla="*/ 1366520 h 1366520"/>
                              <a:gd name="connsiteX5" fmla="*/ 972820 w 972820"/>
                              <a:gd name="connsiteY5" fmla="*/ 949960 h 1366520"/>
                              <a:gd name="connsiteX0" fmla="*/ 972820 w 972820"/>
                              <a:gd name="connsiteY0" fmla="*/ 949960 h 1366520"/>
                              <a:gd name="connsiteX1" fmla="*/ 972820 w 972820"/>
                              <a:gd name="connsiteY1" fmla="*/ 0 h 1366520"/>
                              <a:gd name="connsiteX2" fmla="*/ 0 w 972820"/>
                              <a:gd name="connsiteY2" fmla="*/ 0 h 1366520"/>
                              <a:gd name="connsiteX3" fmla="*/ 0 w 972820"/>
                              <a:gd name="connsiteY3" fmla="*/ 1366520 h 1366520"/>
                              <a:gd name="connsiteX4" fmla="*/ 454660 w 972820"/>
                              <a:gd name="connsiteY4" fmla="*/ 1353820 h 1366520"/>
                              <a:gd name="connsiteX5" fmla="*/ 972820 w 972820"/>
                              <a:gd name="connsiteY5" fmla="*/ 949960 h 1366520"/>
                              <a:gd name="connsiteX0" fmla="*/ 972820 w 972820"/>
                              <a:gd name="connsiteY0" fmla="*/ 949960 h 1366520"/>
                              <a:gd name="connsiteX1" fmla="*/ 972820 w 972820"/>
                              <a:gd name="connsiteY1" fmla="*/ 0 h 1366520"/>
                              <a:gd name="connsiteX2" fmla="*/ 0 w 972820"/>
                              <a:gd name="connsiteY2" fmla="*/ 0 h 1366520"/>
                              <a:gd name="connsiteX3" fmla="*/ 0 w 972820"/>
                              <a:gd name="connsiteY3" fmla="*/ 1366520 h 1366520"/>
                              <a:gd name="connsiteX4" fmla="*/ 454660 w 972820"/>
                              <a:gd name="connsiteY4" fmla="*/ 1353820 h 1366520"/>
                              <a:gd name="connsiteX5" fmla="*/ 972820 w 972820"/>
                              <a:gd name="connsiteY5" fmla="*/ 949960 h 1366520"/>
                              <a:gd name="connsiteX0" fmla="*/ 972820 w 972820"/>
                              <a:gd name="connsiteY0" fmla="*/ 949960 h 1366520"/>
                              <a:gd name="connsiteX1" fmla="*/ 972820 w 972820"/>
                              <a:gd name="connsiteY1" fmla="*/ 0 h 1366520"/>
                              <a:gd name="connsiteX2" fmla="*/ 0 w 972820"/>
                              <a:gd name="connsiteY2" fmla="*/ 0 h 1366520"/>
                              <a:gd name="connsiteX3" fmla="*/ 0 w 972820"/>
                              <a:gd name="connsiteY3" fmla="*/ 1366520 h 1366520"/>
                              <a:gd name="connsiteX4" fmla="*/ 454660 w 972820"/>
                              <a:gd name="connsiteY4" fmla="*/ 1353820 h 1366520"/>
                              <a:gd name="connsiteX5" fmla="*/ 972820 w 972820"/>
                              <a:gd name="connsiteY5" fmla="*/ 949960 h 1366520"/>
                              <a:gd name="connsiteX0" fmla="*/ 972820 w 972820"/>
                              <a:gd name="connsiteY0" fmla="*/ 949960 h 1366520"/>
                              <a:gd name="connsiteX1" fmla="*/ 972820 w 972820"/>
                              <a:gd name="connsiteY1" fmla="*/ 0 h 1366520"/>
                              <a:gd name="connsiteX2" fmla="*/ 0 w 972820"/>
                              <a:gd name="connsiteY2" fmla="*/ 0 h 1366520"/>
                              <a:gd name="connsiteX3" fmla="*/ 0 w 972820"/>
                              <a:gd name="connsiteY3" fmla="*/ 1366520 h 1366520"/>
                              <a:gd name="connsiteX4" fmla="*/ 454660 w 972820"/>
                              <a:gd name="connsiteY4" fmla="*/ 1353820 h 1366520"/>
                              <a:gd name="connsiteX5" fmla="*/ 972820 w 972820"/>
                              <a:gd name="connsiteY5" fmla="*/ 949960 h 1366520"/>
                              <a:gd name="connsiteX0" fmla="*/ 972820 w 972820"/>
                              <a:gd name="connsiteY0" fmla="*/ 949960 h 1390979"/>
                              <a:gd name="connsiteX1" fmla="*/ 972820 w 972820"/>
                              <a:gd name="connsiteY1" fmla="*/ 0 h 1390979"/>
                              <a:gd name="connsiteX2" fmla="*/ 0 w 972820"/>
                              <a:gd name="connsiteY2" fmla="*/ 0 h 1390979"/>
                              <a:gd name="connsiteX3" fmla="*/ 0 w 972820"/>
                              <a:gd name="connsiteY3" fmla="*/ 1366520 h 1390979"/>
                              <a:gd name="connsiteX4" fmla="*/ 454660 w 972820"/>
                              <a:gd name="connsiteY4" fmla="*/ 1353820 h 1390979"/>
                              <a:gd name="connsiteX5" fmla="*/ 972820 w 972820"/>
                              <a:gd name="connsiteY5" fmla="*/ 949960 h 1390979"/>
                              <a:gd name="connsiteX0" fmla="*/ 972820 w 972820"/>
                              <a:gd name="connsiteY0" fmla="*/ 949960 h 1398991"/>
                              <a:gd name="connsiteX1" fmla="*/ 972820 w 972820"/>
                              <a:gd name="connsiteY1" fmla="*/ 0 h 1398991"/>
                              <a:gd name="connsiteX2" fmla="*/ 0 w 972820"/>
                              <a:gd name="connsiteY2" fmla="*/ 0 h 1398991"/>
                              <a:gd name="connsiteX3" fmla="*/ 0 w 972820"/>
                              <a:gd name="connsiteY3" fmla="*/ 1366520 h 1398991"/>
                              <a:gd name="connsiteX4" fmla="*/ 454660 w 972820"/>
                              <a:gd name="connsiteY4" fmla="*/ 1353820 h 1398991"/>
                              <a:gd name="connsiteX5" fmla="*/ 972820 w 972820"/>
                              <a:gd name="connsiteY5" fmla="*/ 949960 h 1398991"/>
                              <a:gd name="connsiteX0" fmla="*/ 972820 w 972820"/>
                              <a:gd name="connsiteY0" fmla="*/ 949960 h 1393771"/>
                              <a:gd name="connsiteX1" fmla="*/ 972820 w 972820"/>
                              <a:gd name="connsiteY1" fmla="*/ 0 h 1393771"/>
                              <a:gd name="connsiteX2" fmla="*/ 0 w 972820"/>
                              <a:gd name="connsiteY2" fmla="*/ 0 h 1393771"/>
                              <a:gd name="connsiteX3" fmla="*/ 0 w 972820"/>
                              <a:gd name="connsiteY3" fmla="*/ 1366520 h 1393771"/>
                              <a:gd name="connsiteX4" fmla="*/ 454660 w 972820"/>
                              <a:gd name="connsiteY4" fmla="*/ 1353820 h 1393771"/>
                              <a:gd name="connsiteX5" fmla="*/ 972820 w 972820"/>
                              <a:gd name="connsiteY5" fmla="*/ 949960 h 1393771"/>
                              <a:gd name="connsiteX0" fmla="*/ 972820 w 972820"/>
                              <a:gd name="connsiteY0" fmla="*/ 949960 h 1393771"/>
                              <a:gd name="connsiteX1" fmla="*/ 972820 w 972820"/>
                              <a:gd name="connsiteY1" fmla="*/ 0 h 1393771"/>
                              <a:gd name="connsiteX2" fmla="*/ 0 w 972820"/>
                              <a:gd name="connsiteY2" fmla="*/ 0 h 1393771"/>
                              <a:gd name="connsiteX3" fmla="*/ 0 w 972820"/>
                              <a:gd name="connsiteY3" fmla="*/ 1366520 h 1393771"/>
                              <a:gd name="connsiteX4" fmla="*/ 454660 w 972820"/>
                              <a:gd name="connsiteY4" fmla="*/ 1353820 h 1393771"/>
                              <a:gd name="connsiteX5" fmla="*/ 972820 w 972820"/>
                              <a:gd name="connsiteY5" fmla="*/ 949960 h 1393771"/>
                              <a:gd name="connsiteX0" fmla="*/ 972820 w 972820"/>
                              <a:gd name="connsiteY0" fmla="*/ 949960 h 1393771"/>
                              <a:gd name="connsiteX1" fmla="*/ 885190 w 972820"/>
                              <a:gd name="connsiteY1" fmla="*/ 99060 h 1393771"/>
                              <a:gd name="connsiteX2" fmla="*/ 0 w 972820"/>
                              <a:gd name="connsiteY2" fmla="*/ 0 h 1393771"/>
                              <a:gd name="connsiteX3" fmla="*/ 0 w 972820"/>
                              <a:gd name="connsiteY3" fmla="*/ 1366520 h 1393771"/>
                              <a:gd name="connsiteX4" fmla="*/ 454660 w 972820"/>
                              <a:gd name="connsiteY4" fmla="*/ 1353820 h 1393771"/>
                              <a:gd name="connsiteX5" fmla="*/ 972820 w 972820"/>
                              <a:gd name="connsiteY5" fmla="*/ 949960 h 1393771"/>
                              <a:gd name="connsiteX0" fmla="*/ 900430 w 900430"/>
                              <a:gd name="connsiteY0" fmla="*/ 1049020 h 1393771"/>
                              <a:gd name="connsiteX1" fmla="*/ 885190 w 900430"/>
                              <a:gd name="connsiteY1" fmla="*/ 99060 h 1393771"/>
                              <a:gd name="connsiteX2" fmla="*/ 0 w 900430"/>
                              <a:gd name="connsiteY2" fmla="*/ 0 h 1393771"/>
                              <a:gd name="connsiteX3" fmla="*/ 0 w 900430"/>
                              <a:gd name="connsiteY3" fmla="*/ 1366520 h 1393771"/>
                              <a:gd name="connsiteX4" fmla="*/ 454660 w 900430"/>
                              <a:gd name="connsiteY4" fmla="*/ 1353820 h 1393771"/>
                              <a:gd name="connsiteX5" fmla="*/ 900430 w 900430"/>
                              <a:gd name="connsiteY5" fmla="*/ 1049020 h 1393771"/>
                              <a:gd name="connsiteX0" fmla="*/ 900430 w 900430"/>
                              <a:gd name="connsiteY0" fmla="*/ 1049020 h 1393771"/>
                              <a:gd name="connsiteX1" fmla="*/ 877570 w 900430"/>
                              <a:gd name="connsiteY1" fmla="*/ 80010 h 1393771"/>
                              <a:gd name="connsiteX2" fmla="*/ 0 w 900430"/>
                              <a:gd name="connsiteY2" fmla="*/ 0 h 1393771"/>
                              <a:gd name="connsiteX3" fmla="*/ 0 w 900430"/>
                              <a:gd name="connsiteY3" fmla="*/ 1366520 h 1393771"/>
                              <a:gd name="connsiteX4" fmla="*/ 454660 w 900430"/>
                              <a:gd name="connsiteY4" fmla="*/ 1353820 h 1393771"/>
                              <a:gd name="connsiteX5" fmla="*/ 900430 w 900430"/>
                              <a:gd name="connsiteY5" fmla="*/ 1049020 h 1393771"/>
                              <a:gd name="connsiteX0" fmla="*/ 900430 w 900430"/>
                              <a:gd name="connsiteY0" fmla="*/ 1049020 h 1393771"/>
                              <a:gd name="connsiteX1" fmla="*/ 892810 w 900430"/>
                              <a:gd name="connsiteY1" fmla="*/ 80010 h 1393771"/>
                              <a:gd name="connsiteX2" fmla="*/ 0 w 900430"/>
                              <a:gd name="connsiteY2" fmla="*/ 0 h 1393771"/>
                              <a:gd name="connsiteX3" fmla="*/ 0 w 900430"/>
                              <a:gd name="connsiteY3" fmla="*/ 1366520 h 1393771"/>
                              <a:gd name="connsiteX4" fmla="*/ 454660 w 900430"/>
                              <a:gd name="connsiteY4" fmla="*/ 1353820 h 1393771"/>
                              <a:gd name="connsiteX5" fmla="*/ 900430 w 900430"/>
                              <a:gd name="connsiteY5" fmla="*/ 1049020 h 1393771"/>
                              <a:gd name="connsiteX0" fmla="*/ 900430 w 900430"/>
                              <a:gd name="connsiteY0" fmla="*/ 969010 h 1313761"/>
                              <a:gd name="connsiteX1" fmla="*/ 892810 w 900430"/>
                              <a:gd name="connsiteY1" fmla="*/ 0 h 1313761"/>
                              <a:gd name="connsiteX2" fmla="*/ 80010 w 900430"/>
                              <a:gd name="connsiteY2" fmla="*/ 30480 h 1313761"/>
                              <a:gd name="connsiteX3" fmla="*/ 0 w 900430"/>
                              <a:gd name="connsiteY3" fmla="*/ 1286510 h 1313761"/>
                              <a:gd name="connsiteX4" fmla="*/ 454660 w 900430"/>
                              <a:gd name="connsiteY4" fmla="*/ 1273810 h 1313761"/>
                              <a:gd name="connsiteX5" fmla="*/ 900430 w 900430"/>
                              <a:gd name="connsiteY5" fmla="*/ 969010 h 1313761"/>
                              <a:gd name="connsiteX0" fmla="*/ 820420 w 820420"/>
                              <a:gd name="connsiteY0" fmla="*/ 969010 h 1323549"/>
                              <a:gd name="connsiteX1" fmla="*/ 812800 w 820420"/>
                              <a:gd name="connsiteY1" fmla="*/ 0 h 1323549"/>
                              <a:gd name="connsiteX2" fmla="*/ 0 w 820420"/>
                              <a:gd name="connsiteY2" fmla="*/ 30480 h 1323549"/>
                              <a:gd name="connsiteX3" fmla="*/ 7620 w 820420"/>
                              <a:gd name="connsiteY3" fmla="*/ 1305560 h 1323549"/>
                              <a:gd name="connsiteX4" fmla="*/ 374650 w 820420"/>
                              <a:gd name="connsiteY4" fmla="*/ 1273810 h 1323549"/>
                              <a:gd name="connsiteX5" fmla="*/ 820420 w 820420"/>
                              <a:gd name="connsiteY5" fmla="*/ 969010 h 1323549"/>
                              <a:gd name="connsiteX0" fmla="*/ 820420 w 820420"/>
                              <a:gd name="connsiteY0" fmla="*/ 969010 h 1323549"/>
                              <a:gd name="connsiteX1" fmla="*/ 812800 w 820420"/>
                              <a:gd name="connsiteY1" fmla="*/ 0 h 1323549"/>
                              <a:gd name="connsiteX2" fmla="*/ 0 w 820420"/>
                              <a:gd name="connsiteY2" fmla="*/ 15240 h 1323549"/>
                              <a:gd name="connsiteX3" fmla="*/ 7620 w 820420"/>
                              <a:gd name="connsiteY3" fmla="*/ 1305560 h 1323549"/>
                              <a:gd name="connsiteX4" fmla="*/ 374650 w 820420"/>
                              <a:gd name="connsiteY4" fmla="*/ 1273810 h 1323549"/>
                              <a:gd name="connsiteX5" fmla="*/ 820420 w 820420"/>
                              <a:gd name="connsiteY5" fmla="*/ 969010 h 1323549"/>
                              <a:gd name="connsiteX0" fmla="*/ 820420 w 820420"/>
                              <a:gd name="connsiteY0" fmla="*/ 969010 h 1323549"/>
                              <a:gd name="connsiteX1" fmla="*/ 812800 w 820420"/>
                              <a:gd name="connsiteY1" fmla="*/ 0 h 1323549"/>
                              <a:gd name="connsiteX2" fmla="*/ 0 w 820420"/>
                              <a:gd name="connsiteY2" fmla="*/ 7620 h 1323549"/>
                              <a:gd name="connsiteX3" fmla="*/ 7620 w 820420"/>
                              <a:gd name="connsiteY3" fmla="*/ 1305560 h 1323549"/>
                              <a:gd name="connsiteX4" fmla="*/ 374650 w 820420"/>
                              <a:gd name="connsiteY4" fmla="*/ 1273810 h 1323549"/>
                              <a:gd name="connsiteX5" fmla="*/ 820420 w 820420"/>
                              <a:gd name="connsiteY5" fmla="*/ 969010 h 1323549"/>
                              <a:gd name="connsiteX0" fmla="*/ 820420 w 820420"/>
                              <a:gd name="connsiteY0" fmla="*/ 969010 h 1323549"/>
                              <a:gd name="connsiteX1" fmla="*/ 812800 w 820420"/>
                              <a:gd name="connsiteY1" fmla="*/ 0 h 1323549"/>
                              <a:gd name="connsiteX2" fmla="*/ 0 w 820420"/>
                              <a:gd name="connsiteY2" fmla="*/ 0 h 1323549"/>
                              <a:gd name="connsiteX3" fmla="*/ 7620 w 820420"/>
                              <a:gd name="connsiteY3" fmla="*/ 1305560 h 1323549"/>
                              <a:gd name="connsiteX4" fmla="*/ 374650 w 820420"/>
                              <a:gd name="connsiteY4" fmla="*/ 1273810 h 1323549"/>
                              <a:gd name="connsiteX5" fmla="*/ 820420 w 820420"/>
                              <a:gd name="connsiteY5" fmla="*/ 969010 h 1323549"/>
                              <a:gd name="connsiteX0" fmla="*/ 816610 w 816610"/>
                              <a:gd name="connsiteY0" fmla="*/ 976630 h 1323549"/>
                              <a:gd name="connsiteX1" fmla="*/ 812800 w 816610"/>
                              <a:gd name="connsiteY1" fmla="*/ 0 h 1323549"/>
                              <a:gd name="connsiteX2" fmla="*/ 0 w 816610"/>
                              <a:gd name="connsiteY2" fmla="*/ 0 h 1323549"/>
                              <a:gd name="connsiteX3" fmla="*/ 7620 w 816610"/>
                              <a:gd name="connsiteY3" fmla="*/ 1305560 h 1323549"/>
                              <a:gd name="connsiteX4" fmla="*/ 374650 w 816610"/>
                              <a:gd name="connsiteY4" fmla="*/ 1273810 h 1323549"/>
                              <a:gd name="connsiteX5" fmla="*/ 816610 w 816610"/>
                              <a:gd name="connsiteY5" fmla="*/ 976630 h 1323549"/>
                              <a:gd name="connsiteX0" fmla="*/ 808182 w 812799"/>
                              <a:gd name="connsiteY0" fmla="*/ 1086194 h 1323549"/>
                              <a:gd name="connsiteX1" fmla="*/ 812800 w 812799"/>
                              <a:gd name="connsiteY1" fmla="*/ 0 h 1323549"/>
                              <a:gd name="connsiteX2" fmla="*/ 0 w 812799"/>
                              <a:gd name="connsiteY2" fmla="*/ 0 h 1323549"/>
                              <a:gd name="connsiteX3" fmla="*/ 7620 w 812799"/>
                              <a:gd name="connsiteY3" fmla="*/ 1305560 h 1323549"/>
                              <a:gd name="connsiteX4" fmla="*/ 374650 w 812799"/>
                              <a:gd name="connsiteY4" fmla="*/ 1273810 h 1323549"/>
                              <a:gd name="connsiteX5" fmla="*/ 808182 w 812799"/>
                              <a:gd name="connsiteY5" fmla="*/ 1086194 h 1323549"/>
                              <a:gd name="connsiteX0" fmla="*/ 808182 w 812800"/>
                              <a:gd name="connsiteY0" fmla="*/ 1086194 h 1323549"/>
                              <a:gd name="connsiteX1" fmla="*/ 812800 w 812800"/>
                              <a:gd name="connsiteY1" fmla="*/ 0 h 1323549"/>
                              <a:gd name="connsiteX2" fmla="*/ 0 w 812800"/>
                              <a:gd name="connsiteY2" fmla="*/ 0 h 1323549"/>
                              <a:gd name="connsiteX3" fmla="*/ 7620 w 812800"/>
                              <a:gd name="connsiteY3" fmla="*/ 1305560 h 1323549"/>
                              <a:gd name="connsiteX4" fmla="*/ 374650 w 812800"/>
                              <a:gd name="connsiteY4" fmla="*/ 1273810 h 1323549"/>
                              <a:gd name="connsiteX5" fmla="*/ 808182 w 812800"/>
                              <a:gd name="connsiteY5" fmla="*/ 1086194 h 1323549"/>
                              <a:gd name="connsiteX0" fmla="*/ 811799 w 816417"/>
                              <a:gd name="connsiteY0" fmla="*/ 1086194 h 1323549"/>
                              <a:gd name="connsiteX1" fmla="*/ 816417 w 816417"/>
                              <a:gd name="connsiteY1" fmla="*/ 0 h 1323549"/>
                              <a:gd name="connsiteX2" fmla="*/ 3617 w 816417"/>
                              <a:gd name="connsiteY2" fmla="*/ 0 h 1323549"/>
                              <a:gd name="connsiteX3" fmla="*/ 0 w 816417"/>
                              <a:gd name="connsiteY3" fmla="*/ 1305560 h 1323549"/>
                              <a:gd name="connsiteX4" fmla="*/ 378267 w 816417"/>
                              <a:gd name="connsiteY4" fmla="*/ 1273810 h 1323549"/>
                              <a:gd name="connsiteX5" fmla="*/ 811799 w 816417"/>
                              <a:gd name="connsiteY5" fmla="*/ 1086194 h 1323549"/>
                              <a:gd name="connsiteX0" fmla="*/ 811799 w 816417"/>
                              <a:gd name="connsiteY0" fmla="*/ 1086194 h 1318952"/>
                              <a:gd name="connsiteX1" fmla="*/ 816417 w 816417"/>
                              <a:gd name="connsiteY1" fmla="*/ 0 h 1318952"/>
                              <a:gd name="connsiteX2" fmla="*/ 3617 w 816417"/>
                              <a:gd name="connsiteY2" fmla="*/ 0 h 1318952"/>
                              <a:gd name="connsiteX3" fmla="*/ 0 w 816417"/>
                              <a:gd name="connsiteY3" fmla="*/ 1305560 h 1318952"/>
                              <a:gd name="connsiteX4" fmla="*/ 378267 w 816417"/>
                              <a:gd name="connsiteY4" fmla="*/ 1273810 h 1318952"/>
                              <a:gd name="connsiteX5" fmla="*/ 811799 w 816417"/>
                              <a:gd name="connsiteY5" fmla="*/ 1086194 h 1318952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  <a:cxn ang="0">
                                <a:pos x="connsiteX2" y="connsiteY2"/>
                              </a:cxn>
                              <a:cxn ang="0">
                                <a:pos x="connsiteX3" y="connsiteY3"/>
                              </a:cxn>
                              <a:cxn ang="0">
                                <a:pos x="connsiteX4" y="connsiteY4"/>
                              </a:cxn>
                              <a:cxn ang="0">
                                <a:pos x="connsiteX5" y="connsiteY5"/>
                              </a:cxn>
                            </a:cxnLst>
                            <a:rect l="l" t="t" r="r" b="b"/>
                            <a:pathLst>
                              <a:path w="816417" h="1318952">
                                <a:moveTo>
                                  <a:pt x="811799" y="1086194"/>
                                </a:moveTo>
                                <a:cubicBezTo>
                                  <a:pt x="813338" y="724129"/>
                                  <a:pt x="814878" y="362065"/>
                                  <a:pt x="816417" y="0"/>
                                </a:cubicBezTo>
                                <a:lnTo>
                                  <a:pt x="3617" y="0"/>
                                </a:lnTo>
                                <a:cubicBezTo>
                                  <a:pt x="2411" y="435187"/>
                                  <a:pt x="1206" y="870373"/>
                                  <a:pt x="0" y="1305560"/>
                                </a:cubicBezTo>
                                <a:cubicBezTo>
                                  <a:pt x="128038" y="1318029"/>
                                  <a:pt x="120034" y="1339003"/>
                                  <a:pt x="378267" y="1273810"/>
                                </a:cubicBezTo>
                                <a:cubicBezTo>
                                  <a:pt x="705927" y="1172210"/>
                                  <a:pt x="686225" y="1177249"/>
                                  <a:pt x="811799" y="1086194"/>
                                </a:cubicBezTo>
                                <a:close/>
                              </a:path>
                            </a:pathLst>
                          </a:custGeom>
                          <a:solidFill>
                            <a:schemeClr val="bg1"/>
                          </a:solidFill>
                          <a:ln w="9525">
                            <a:noFill/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algn="ctr"/>
                            <a:endParaRPr lang="en-US" sz="1600">
                              <a:solidFill>
                                <a:schemeClr val="tx1"/>
                              </a:solidFill>
                            </a:endParaRPr>
                          </a:p>
                        </p:txBody>
                      </p:sp>
                      <p:grpSp>
                        <p:nvGrpSpPr>
                          <p:cNvPr id="140" name="Group 139">
                            <a:extLst>
                              <a:ext uri="{FF2B5EF4-FFF2-40B4-BE49-F238E27FC236}">
                                <a16:creationId xmlns:a16="http://schemas.microsoft.com/office/drawing/2014/main" id="{50DF24F6-FC10-4333-A97B-DE45C12F93F9}"/>
                              </a:ext>
                            </a:extLst>
                          </p:cNvPr>
                          <p:cNvGrpSpPr/>
                          <p:nvPr/>
                        </p:nvGrpSpPr>
                        <p:grpSpPr>
                          <a:xfrm>
                            <a:off x="4780265" y="2314933"/>
                            <a:ext cx="262944" cy="164987"/>
                            <a:chOff x="5124984" y="2886287"/>
                            <a:chExt cx="387768" cy="146897"/>
                          </a:xfrm>
                        </p:grpSpPr>
                        <p:sp>
                          <p:nvSpPr>
                            <p:cNvPr id="141" name="Rectangle: Top Corners Rounded 140">
                              <a:extLst>
                                <a:ext uri="{FF2B5EF4-FFF2-40B4-BE49-F238E27FC236}">
                                  <a16:creationId xmlns:a16="http://schemas.microsoft.com/office/drawing/2014/main" id="{3A004CEA-EE23-40F7-B10B-95C178CC181A}"/>
                                </a:ext>
                              </a:extLst>
                            </p:cNvPr>
                            <p:cNvSpPr/>
                            <p:nvPr/>
                          </p:nvSpPr>
                          <p:spPr>
                            <a:xfrm>
                              <a:off x="5152707" y="2886287"/>
                              <a:ext cx="360045" cy="146897"/>
                            </a:xfrm>
                            <a:prstGeom prst="round2SameRect">
                              <a:avLst/>
                            </a:prstGeom>
                            <a:solidFill>
                              <a:srgbClr val="999999"/>
                            </a:solidFill>
                            <a:ln w="9525"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en-US" sz="1600">
                                <a:solidFill>
                                  <a:schemeClr val="tx1"/>
                                </a:solidFill>
                              </a:endParaRPr>
                            </a:p>
                          </p:txBody>
                        </p:sp>
                        <p:sp>
                          <p:nvSpPr>
                            <p:cNvPr id="142" name="Rectangle: Top Corners Rounded 141">
                              <a:extLst>
                                <a:ext uri="{FF2B5EF4-FFF2-40B4-BE49-F238E27FC236}">
                                  <a16:creationId xmlns:a16="http://schemas.microsoft.com/office/drawing/2014/main" id="{6B5810B1-27D7-47CD-A9C1-D3819506C499}"/>
                                </a:ext>
                              </a:extLst>
                            </p:cNvPr>
                            <p:cNvSpPr/>
                            <p:nvPr/>
                          </p:nvSpPr>
                          <p:spPr>
                            <a:xfrm>
                              <a:off x="5124984" y="2886287"/>
                              <a:ext cx="360045" cy="146897"/>
                            </a:xfrm>
                            <a:prstGeom prst="round2SameRect">
                              <a:avLst/>
                            </a:prstGeom>
                            <a:solidFill>
                              <a:srgbClr val="CCCCCC"/>
                            </a:solidFill>
                            <a:ln w="9525"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en-US" sz="1600">
                                <a:solidFill>
                                  <a:schemeClr val="tx1"/>
                                </a:solidFill>
                              </a:endParaRPr>
                            </a:p>
                          </p:txBody>
                        </p:sp>
                      </p:grpSp>
                    </p:grpSp>
                  </p:grpSp>
                </p:grpSp>
                <p:grpSp>
                  <p:nvGrpSpPr>
                    <p:cNvPr id="131" name="Group 130">
                      <a:extLst>
                        <a:ext uri="{FF2B5EF4-FFF2-40B4-BE49-F238E27FC236}">
                          <a16:creationId xmlns:a16="http://schemas.microsoft.com/office/drawing/2014/main" id="{FCA8C673-88A9-4236-96A2-FB7A5E84C64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4233607" y="2825771"/>
                      <a:ext cx="372521" cy="372521"/>
                      <a:chOff x="4726996" y="2667976"/>
                      <a:chExt cx="372521" cy="372521"/>
                    </a:xfrm>
                  </p:grpSpPr>
                  <p:sp>
                    <p:nvSpPr>
                      <p:cNvPr id="132" name="Oval 131">
                        <a:extLst>
                          <a:ext uri="{FF2B5EF4-FFF2-40B4-BE49-F238E27FC236}">
                            <a16:creationId xmlns:a16="http://schemas.microsoft.com/office/drawing/2014/main" id="{CF282C6D-5CE2-4032-8751-3F50F3ED0D2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726996" y="2667976"/>
                        <a:ext cx="372521" cy="372521"/>
                      </a:xfrm>
                      <a:prstGeom prst="ellipse">
                        <a:avLst/>
                      </a:prstGeom>
                      <a:solidFill>
                        <a:schemeClr val="tx2"/>
                      </a:solidFill>
                      <a:ln w="9525"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en-US" sz="1600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  <p:sp>
                    <p:nvSpPr>
                      <p:cNvPr id="133" name="Freeform: Shape 132">
                        <a:extLst>
                          <a:ext uri="{FF2B5EF4-FFF2-40B4-BE49-F238E27FC236}">
                            <a16:creationId xmlns:a16="http://schemas.microsoft.com/office/drawing/2014/main" id="{92171CAF-0E0C-4FAF-9DA6-38A0B654E99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876132" y="2741366"/>
                        <a:ext cx="74248" cy="225741"/>
                      </a:xfrm>
                      <a:custGeom>
                        <a:avLst/>
                        <a:gdLst>
                          <a:gd name="connsiteX0" fmla="*/ 52302 w 74248"/>
                          <a:gd name="connsiteY0" fmla="*/ 86735 h 225741"/>
                          <a:gd name="connsiteX1" fmla="*/ 52302 w 74248"/>
                          <a:gd name="connsiteY1" fmla="*/ 181446 h 225741"/>
                          <a:gd name="connsiteX2" fmla="*/ 52455 w 74248"/>
                          <a:gd name="connsiteY2" fmla="*/ 193075 h 225741"/>
                          <a:gd name="connsiteX3" fmla="*/ 53520 w 74248"/>
                          <a:gd name="connsiteY3" fmla="*/ 204199 h 225741"/>
                          <a:gd name="connsiteX4" fmla="*/ 57364 w 74248"/>
                          <a:gd name="connsiteY4" fmla="*/ 210909 h 225741"/>
                          <a:gd name="connsiteX5" fmla="*/ 74248 w 74248"/>
                          <a:gd name="connsiteY5" fmla="*/ 216953 h 225741"/>
                          <a:gd name="connsiteX6" fmla="*/ 74248 w 74248"/>
                          <a:gd name="connsiteY6" fmla="*/ 225741 h 225741"/>
                          <a:gd name="connsiteX7" fmla="*/ 0 w 74248"/>
                          <a:gd name="connsiteY7" fmla="*/ 225741 h 225741"/>
                          <a:gd name="connsiteX8" fmla="*/ 0 w 74248"/>
                          <a:gd name="connsiteY8" fmla="*/ 216754 h 225741"/>
                          <a:gd name="connsiteX9" fmla="*/ 14602 w 74248"/>
                          <a:gd name="connsiteY9" fmla="*/ 213439 h 225741"/>
                          <a:gd name="connsiteX10" fmla="*/ 19646 w 74248"/>
                          <a:gd name="connsiteY10" fmla="*/ 208395 h 225741"/>
                          <a:gd name="connsiteX11" fmla="*/ 22052 w 74248"/>
                          <a:gd name="connsiteY11" fmla="*/ 197273 h 225741"/>
                          <a:gd name="connsiteX12" fmla="*/ 22716 w 74248"/>
                          <a:gd name="connsiteY12" fmla="*/ 177259 h 225741"/>
                          <a:gd name="connsiteX13" fmla="*/ 22716 w 74248"/>
                          <a:gd name="connsiteY13" fmla="*/ 139473 h 225741"/>
                          <a:gd name="connsiteX14" fmla="*/ 21996 w 74248"/>
                          <a:gd name="connsiteY14" fmla="*/ 118143 h 225741"/>
                          <a:gd name="connsiteX15" fmla="*/ 19215 w 74248"/>
                          <a:gd name="connsiteY15" fmla="*/ 109022 h 225741"/>
                          <a:gd name="connsiteX16" fmla="*/ 13861 w 74248"/>
                          <a:gd name="connsiteY16" fmla="*/ 103580 h 225741"/>
                          <a:gd name="connsiteX17" fmla="*/ 1739 w 74248"/>
                          <a:gd name="connsiteY17" fmla="*/ 101412 h 225741"/>
                          <a:gd name="connsiteX18" fmla="*/ 1739 w 74248"/>
                          <a:gd name="connsiteY18" fmla="*/ 92603 h 225741"/>
                          <a:gd name="connsiteX19" fmla="*/ 34707 w 74248"/>
                          <a:gd name="connsiteY19" fmla="*/ 0 h 225741"/>
                          <a:gd name="connsiteX20" fmla="*/ 57567 w 74248"/>
                          <a:gd name="connsiteY20" fmla="*/ 22860 h 225741"/>
                          <a:gd name="connsiteX21" fmla="*/ 34707 w 74248"/>
                          <a:gd name="connsiteY21" fmla="*/ 45720 h 225741"/>
                          <a:gd name="connsiteX22" fmla="*/ 11847 w 74248"/>
                          <a:gd name="connsiteY22" fmla="*/ 22860 h 225741"/>
                          <a:gd name="connsiteX23" fmla="*/ 34707 w 74248"/>
                          <a:gd name="connsiteY23" fmla="*/ 0 h 2257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</a:cxnLst>
                        <a:rect l="l" t="t" r="r" b="b"/>
                        <a:pathLst>
                          <a:path w="74248" h="225741">
                            <a:moveTo>
                              <a:pt x="52302" y="86735"/>
                            </a:moveTo>
                            <a:lnTo>
                              <a:pt x="52302" y="181446"/>
                            </a:lnTo>
                            <a:lnTo>
                              <a:pt x="52455" y="193075"/>
                            </a:lnTo>
                            <a:cubicBezTo>
                              <a:pt x="52455" y="197705"/>
                              <a:pt x="52811" y="201413"/>
                              <a:pt x="53520" y="204199"/>
                            </a:cubicBezTo>
                            <a:cubicBezTo>
                              <a:pt x="54229" y="206985"/>
                              <a:pt x="55511" y="209221"/>
                              <a:pt x="57364" y="210909"/>
                            </a:cubicBezTo>
                            <a:cubicBezTo>
                              <a:pt x="59860" y="213308"/>
                              <a:pt x="65487" y="215322"/>
                              <a:pt x="74248" y="216953"/>
                            </a:cubicBezTo>
                            <a:lnTo>
                              <a:pt x="74248" y="225741"/>
                            </a:lnTo>
                            <a:lnTo>
                              <a:pt x="0" y="225741"/>
                            </a:lnTo>
                            <a:lnTo>
                              <a:pt x="0" y="216754"/>
                            </a:lnTo>
                            <a:cubicBezTo>
                              <a:pt x="7564" y="215751"/>
                              <a:pt x="12432" y="214645"/>
                              <a:pt x="14602" y="213439"/>
                            </a:cubicBezTo>
                            <a:cubicBezTo>
                              <a:pt x="16771" y="212232"/>
                              <a:pt x="18452" y="210550"/>
                              <a:pt x="19646" y="208395"/>
                            </a:cubicBezTo>
                            <a:cubicBezTo>
                              <a:pt x="20807" y="205551"/>
                              <a:pt x="21609" y="201844"/>
                              <a:pt x="22052" y="197273"/>
                            </a:cubicBezTo>
                            <a:cubicBezTo>
                              <a:pt x="22495" y="192703"/>
                              <a:pt x="22716" y="186031"/>
                              <a:pt x="22716" y="177259"/>
                            </a:cubicBezTo>
                            <a:lnTo>
                              <a:pt x="22716" y="139473"/>
                            </a:lnTo>
                            <a:cubicBezTo>
                              <a:pt x="22716" y="129230"/>
                              <a:pt x="22476" y="122120"/>
                              <a:pt x="21996" y="118143"/>
                            </a:cubicBezTo>
                            <a:cubicBezTo>
                              <a:pt x="21518" y="114165"/>
                              <a:pt x="20590" y="111126"/>
                              <a:pt x="19215" y="109022"/>
                            </a:cubicBezTo>
                            <a:cubicBezTo>
                              <a:pt x="17642" y="106432"/>
                              <a:pt x="15858" y="104619"/>
                              <a:pt x="13861" y="103580"/>
                            </a:cubicBezTo>
                            <a:cubicBezTo>
                              <a:pt x="11865" y="102541"/>
                              <a:pt x="7825" y="101819"/>
                              <a:pt x="1739" y="101412"/>
                            </a:cubicBezTo>
                            <a:lnTo>
                              <a:pt x="1739" y="92603"/>
                            </a:lnTo>
                            <a:close/>
                            <a:moveTo>
                              <a:pt x="34707" y="0"/>
                            </a:moveTo>
                            <a:cubicBezTo>
                              <a:pt x="47332" y="0"/>
                              <a:pt x="57567" y="10235"/>
                              <a:pt x="57567" y="22860"/>
                            </a:cubicBezTo>
                            <a:cubicBezTo>
                              <a:pt x="57567" y="35485"/>
                              <a:pt x="47332" y="45720"/>
                              <a:pt x="34707" y="45720"/>
                            </a:cubicBezTo>
                            <a:cubicBezTo>
                              <a:pt x="22082" y="45720"/>
                              <a:pt x="11847" y="35485"/>
                              <a:pt x="11847" y="22860"/>
                            </a:cubicBezTo>
                            <a:cubicBezTo>
                              <a:pt x="11847" y="10235"/>
                              <a:pt x="22082" y="0"/>
                              <a:pt x="34707" y="0"/>
                            </a:cubicBez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>
                        <a:noFill/>
                      </a:ln>
                      <a:effectLst/>
                    </p:spPr>
                    <p:txBody>
      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defTabSz="1218026">
                          <a:lnSpc>
                            <a:spcPts val="3000"/>
                          </a:lnSpc>
                          <a:tabLst>
                            <a:tab pos="367135" algn="l"/>
                          </a:tabLst>
                        </a:pPr>
                        <a:endParaRPr lang="en-US" sz="2800" b="1" spc="-150">
                          <a:solidFill>
                            <a:schemeClr val="tx2"/>
                          </a:solidFill>
                          <a:latin typeface="+mj-lt"/>
                          <a:ea typeface="+mj-ea"/>
                          <a:cs typeface="+mj-cs"/>
                        </a:endParaRPr>
                      </a:p>
                    </p:txBody>
                  </p:sp>
                </p:grpSp>
              </p:grpSp>
              <p:grpSp>
                <p:nvGrpSpPr>
                  <p:cNvPr id="127" name="Graphic 26">
                    <a:extLst>
                      <a:ext uri="{FF2B5EF4-FFF2-40B4-BE49-F238E27FC236}">
                        <a16:creationId xmlns:a16="http://schemas.microsoft.com/office/drawing/2014/main" id="{0EA4DCE8-ED4C-4100-9AFD-BDF5A85FA089}"/>
                      </a:ext>
                    </a:extLst>
                  </p:cNvPr>
                  <p:cNvGrpSpPr/>
                  <p:nvPr/>
                </p:nvGrpSpPr>
                <p:grpSpPr>
                  <a:xfrm>
                    <a:off x="5124566" y="2508891"/>
                    <a:ext cx="279870" cy="377015"/>
                    <a:chOff x="5514993" y="2652728"/>
                    <a:chExt cx="1152525" cy="1552575"/>
                  </a:xfrm>
                  <a:solidFill>
                    <a:schemeClr val="accent1"/>
                  </a:solidFill>
                </p:grpSpPr>
                <p:sp>
                  <p:nvSpPr>
                    <p:cNvPr id="128" name="Freeform: Shape 127">
                      <a:extLst>
                        <a:ext uri="{FF2B5EF4-FFF2-40B4-BE49-F238E27FC236}">
                          <a16:creationId xmlns:a16="http://schemas.microsoft.com/office/drawing/2014/main" id="{05D21EBE-D2C1-4843-B723-FBC47BF8A9E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514993" y="2652728"/>
                      <a:ext cx="1152525" cy="1552575"/>
                    </a:xfrm>
                    <a:custGeom>
                      <a:avLst/>
                      <a:gdLst>
                        <a:gd name="connsiteX0" fmla="*/ 1159555 w 1152525"/>
                        <a:gd name="connsiteY0" fmla="*/ 609012 h 1552575"/>
                        <a:gd name="connsiteX1" fmla="*/ 1022967 w 1152525"/>
                        <a:gd name="connsiteY1" fmla="*/ 958770 h 1552575"/>
                        <a:gd name="connsiteX2" fmla="*/ 671589 w 1152525"/>
                        <a:gd name="connsiteY2" fmla="*/ 1495218 h 1552575"/>
                        <a:gd name="connsiteX3" fmla="*/ 495948 w 1152525"/>
                        <a:gd name="connsiteY3" fmla="*/ 1497123 h 1552575"/>
                        <a:gd name="connsiteX4" fmla="*/ 95613 w 1152525"/>
                        <a:gd name="connsiteY4" fmla="*/ 884571 h 1552575"/>
                        <a:gd name="connsiteX5" fmla="*/ 93993 w 1152525"/>
                        <a:gd name="connsiteY5" fmla="*/ 269351 h 1552575"/>
                        <a:gd name="connsiteX6" fmla="*/ 639395 w 1152525"/>
                        <a:gd name="connsiteY6" fmla="*/ 3222 h 1552575"/>
                        <a:gd name="connsiteX7" fmla="*/ 1159555 w 1152525"/>
                        <a:gd name="connsiteY7" fmla="*/ 609012 h 1552575"/>
                        <a:gd name="connsiteX8" fmla="*/ 904380 w 1152525"/>
                        <a:gd name="connsiteY8" fmla="*/ 554625 h 1552575"/>
                        <a:gd name="connsiteX9" fmla="*/ 578149 w 1152525"/>
                        <a:gd name="connsiteY9" fmla="*/ 233823 h 1552575"/>
                        <a:gd name="connsiteX10" fmla="*/ 258490 w 1152525"/>
                        <a:gd name="connsiteY10" fmla="*/ 556434 h 1552575"/>
                        <a:gd name="connsiteX11" fmla="*/ 582435 w 1152525"/>
                        <a:gd name="connsiteY11" fmla="*/ 879237 h 1552575"/>
                        <a:gd name="connsiteX12" fmla="*/ 904380 w 1152525"/>
                        <a:gd name="connsiteY12" fmla="*/ 554625 h 155257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</a:cxnLst>
                      <a:rect l="l" t="t" r="r" b="b"/>
                      <a:pathLst>
                        <a:path w="1152525" h="1552575">
                          <a:moveTo>
                            <a:pt x="1159555" y="609012"/>
                          </a:moveTo>
                          <a:cubicBezTo>
                            <a:pt x="1162984" y="721026"/>
                            <a:pt x="1100786" y="842089"/>
                            <a:pt x="1022967" y="958770"/>
                          </a:cubicBezTo>
                          <a:cubicBezTo>
                            <a:pt x="904285" y="1136602"/>
                            <a:pt x="788461" y="1316244"/>
                            <a:pt x="671589" y="1495218"/>
                          </a:cubicBezTo>
                          <a:cubicBezTo>
                            <a:pt x="618535" y="1576467"/>
                            <a:pt x="549098" y="1577800"/>
                            <a:pt x="495948" y="1497123"/>
                          </a:cubicBezTo>
                          <a:cubicBezTo>
                            <a:pt x="361741" y="1293384"/>
                            <a:pt x="224676" y="1091549"/>
                            <a:pt x="95613" y="884571"/>
                          </a:cubicBezTo>
                          <a:cubicBezTo>
                            <a:pt x="-30498" y="682355"/>
                            <a:pt x="-32689" y="471090"/>
                            <a:pt x="93993" y="269351"/>
                          </a:cubicBezTo>
                          <a:cubicBezTo>
                            <a:pt x="218295" y="71231"/>
                            <a:pt x="405270" y="-18685"/>
                            <a:pt x="639395" y="3222"/>
                          </a:cubicBezTo>
                          <a:cubicBezTo>
                            <a:pt x="937623" y="31131"/>
                            <a:pt x="1161174" y="280019"/>
                            <a:pt x="1159555" y="609012"/>
                          </a:cubicBezTo>
                          <a:close/>
                          <a:moveTo>
                            <a:pt x="904380" y="554625"/>
                          </a:moveTo>
                          <a:cubicBezTo>
                            <a:pt x="904380" y="377174"/>
                            <a:pt x="758076" y="233442"/>
                            <a:pt x="578149" y="233823"/>
                          </a:cubicBezTo>
                          <a:cubicBezTo>
                            <a:pt x="403365" y="234204"/>
                            <a:pt x="258395" y="380508"/>
                            <a:pt x="258490" y="556434"/>
                          </a:cubicBezTo>
                          <a:cubicBezTo>
                            <a:pt x="258681" y="735600"/>
                            <a:pt x="403651" y="880094"/>
                            <a:pt x="582435" y="879237"/>
                          </a:cubicBezTo>
                          <a:cubicBezTo>
                            <a:pt x="762077" y="878284"/>
                            <a:pt x="904476" y="734647"/>
                            <a:pt x="904380" y="554625"/>
                          </a:cubicBezTo>
                          <a:close/>
                        </a:path>
                      </a:pathLst>
                    </a:custGeom>
                    <a:solidFill>
                      <a:srgbClr val="C00000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29" name="Freeform: Shape 128">
                      <a:extLst>
                        <a:ext uri="{FF2B5EF4-FFF2-40B4-BE49-F238E27FC236}">
                          <a16:creationId xmlns:a16="http://schemas.microsoft.com/office/drawing/2014/main" id="{0688BA36-02F0-4DF9-A788-E9308BA21F0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773483" y="2886455"/>
                      <a:ext cx="638175" cy="638175"/>
                    </a:xfrm>
                    <a:custGeom>
                      <a:avLst/>
                      <a:gdLst>
                        <a:gd name="connsiteX0" fmla="*/ 645890 w 638175"/>
                        <a:gd name="connsiteY0" fmla="*/ 320898 h 638175"/>
                        <a:gd name="connsiteX1" fmla="*/ 323945 w 638175"/>
                        <a:gd name="connsiteY1" fmla="*/ 645414 h 638175"/>
                        <a:gd name="connsiteX2" fmla="*/ 0 w 638175"/>
                        <a:gd name="connsiteY2" fmla="*/ 322612 h 638175"/>
                        <a:gd name="connsiteX3" fmla="*/ 319659 w 638175"/>
                        <a:gd name="connsiteY3" fmla="*/ 0 h 638175"/>
                        <a:gd name="connsiteX4" fmla="*/ 645890 w 638175"/>
                        <a:gd name="connsiteY4" fmla="*/ 320898 h 63817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638175" h="638175">
                          <a:moveTo>
                            <a:pt x="645890" y="320898"/>
                          </a:moveTo>
                          <a:cubicBezTo>
                            <a:pt x="645986" y="500920"/>
                            <a:pt x="503587" y="644557"/>
                            <a:pt x="323945" y="645414"/>
                          </a:cubicBezTo>
                          <a:cubicBezTo>
                            <a:pt x="145161" y="646272"/>
                            <a:pt x="191" y="501777"/>
                            <a:pt x="0" y="322612"/>
                          </a:cubicBezTo>
                          <a:cubicBezTo>
                            <a:pt x="-190" y="146781"/>
                            <a:pt x="144780" y="477"/>
                            <a:pt x="319659" y="0"/>
                          </a:cubicBezTo>
                          <a:cubicBezTo>
                            <a:pt x="499586" y="-285"/>
                            <a:pt x="645890" y="143447"/>
                            <a:pt x="645890" y="320898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9525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</p:grpSp>
            <p:sp>
              <p:nvSpPr>
                <p:cNvPr id="122" name="Rectangle 121">
                  <a:extLst>
                    <a:ext uri="{FF2B5EF4-FFF2-40B4-BE49-F238E27FC236}">
                      <a16:creationId xmlns:a16="http://schemas.microsoft.com/office/drawing/2014/main" id="{1218D5D6-38ED-41E9-B4CE-E480FC300A92}"/>
                    </a:ext>
                  </a:extLst>
                </p:cNvPr>
                <p:cNvSpPr/>
                <p:nvPr/>
              </p:nvSpPr>
              <p:spPr>
                <a:xfrm>
                  <a:off x="4702545" y="2598273"/>
                  <a:ext cx="319248" cy="45719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23" name="Rectangle 122">
                  <a:extLst>
                    <a:ext uri="{FF2B5EF4-FFF2-40B4-BE49-F238E27FC236}">
                      <a16:creationId xmlns:a16="http://schemas.microsoft.com/office/drawing/2014/main" id="{40608CDF-7F3E-417E-B415-31454F410BA5}"/>
                    </a:ext>
                  </a:extLst>
                </p:cNvPr>
                <p:cNvSpPr/>
                <p:nvPr/>
              </p:nvSpPr>
              <p:spPr>
                <a:xfrm>
                  <a:off x="4702545" y="2718058"/>
                  <a:ext cx="379876" cy="36576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24" name="Rectangle 123">
                  <a:extLst>
                    <a:ext uri="{FF2B5EF4-FFF2-40B4-BE49-F238E27FC236}">
                      <a16:creationId xmlns:a16="http://schemas.microsoft.com/office/drawing/2014/main" id="{59D659D3-EB4B-4CBC-865B-C753DA7EE159}"/>
                    </a:ext>
                  </a:extLst>
                </p:cNvPr>
                <p:cNvSpPr/>
                <p:nvPr/>
              </p:nvSpPr>
              <p:spPr>
                <a:xfrm>
                  <a:off x="4702545" y="2789911"/>
                  <a:ext cx="379876" cy="36576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25" name="Rectangle 124">
                  <a:extLst>
                    <a:ext uri="{FF2B5EF4-FFF2-40B4-BE49-F238E27FC236}">
                      <a16:creationId xmlns:a16="http://schemas.microsoft.com/office/drawing/2014/main" id="{DA95F593-BE12-405D-A9B3-EF71AB0750A3}"/>
                    </a:ext>
                  </a:extLst>
                </p:cNvPr>
                <p:cNvSpPr/>
                <p:nvPr/>
              </p:nvSpPr>
              <p:spPr>
                <a:xfrm>
                  <a:off x="4702545" y="2867618"/>
                  <a:ext cx="379876" cy="36576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118" name="Group 117">
                <a:extLst>
                  <a:ext uri="{FF2B5EF4-FFF2-40B4-BE49-F238E27FC236}">
                    <a16:creationId xmlns:a16="http://schemas.microsoft.com/office/drawing/2014/main" id="{ED647666-85EA-4E4C-A564-C310BC1665C3}"/>
                  </a:ext>
                </a:extLst>
              </p:cNvPr>
              <p:cNvGrpSpPr/>
              <p:nvPr/>
            </p:nvGrpSpPr>
            <p:grpSpPr>
              <a:xfrm>
                <a:off x="4898735" y="3002724"/>
                <a:ext cx="228725" cy="172524"/>
                <a:chOff x="10796125" y="2760872"/>
                <a:chExt cx="228725" cy="172524"/>
              </a:xfrm>
            </p:grpSpPr>
            <p:sp>
              <p:nvSpPr>
                <p:cNvPr id="119" name="Rectangle 118">
                  <a:extLst>
                    <a:ext uri="{FF2B5EF4-FFF2-40B4-BE49-F238E27FC236}">
                      <a16:creationId xmlns:a16="http://schemas.microsoft.com/office/drawing/2014/main" id="{32C3477B-70F8-41BE-A2C4-8D183A1ECD2D}"/>
                    </a:ext>
                  </a:extLst>
                </p:cNvPr>
                <p:cNvSpPr/>
                <p:nvPr/>
              </p:nvSpPr>
              <p:spPr>
                <a:xfrm>
                  <a:off x="10796125" y="2770602"/>
                  <a:ext cx="162794" cy="162794"/>
                </a:xfrm>
                <a:prstGeom prst="rect">
                  <a:avLst/>
                </a:prstGeom>
                <a:solidFill>
                  <a:schemeClr val="accent1"/>
                </a:solidFill>
                <a:ln w="19050" cap="rnd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20" name="Freeform: Shape 119">
                  <a:extLst>
                    <a:ext uri="{FF2B5EF4-FFF2-40B4-BE49-F238E27FC236}">
                      <a16:creationId xmlns:a16="http://schemas.microsoft.com/office/drawing/2014/main" id="{A9D15CF3-35DE-47C9-A7AA-C6DEC202C513}"/>
                    </a:ext>
                  </a:extLst>
                </p:cNvPr>
                <p:cNvSpPr/>
                <p:nvPr/>
              </p:nvSpPr>
              <p:spPr>
                <a:xfrm>
                  <a:off x="10839186" y="2760872"/>
                  <a:ext cx="185664" cy="121085"/>
                </a:xfrm>
                <a:custGeom>
                  <a:avLst/>
                  <a:gdLst>
                    <a:gd name="connsiteX0" fmla="*/ 0 w 350520"/>
                    <a:gd name="connsiteY0" fmla="*/ 121920 h 228600"/>
                    <a:gd name="connsiteX1" fmla="*/ 121920 w 350520"/>
                    <a:gd name="connsiteY1" fmla="*/ 228600 h 228600"/>
                    <a:gd name="connsiteX2" fmla="*/ 350520 w 350520"/>
                    <a:gd name="connsiteY2" fmla="*/ 0 h 2286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50520" h="228600">
                      <a:moveTo>
                        <a:pt x="0" y="121920"/>
                      </a:moveTo>
                      <a:lnTo>
                        <a:pt x="121920" y="228600"/>
                      </a:lnTo>
                      <a:lnTo>
                        <a:pt x="350520" y="0"/>
                      </a:lnTo>
                    </a:path>
                  </a:pathLst>
                </a:custGeom>
                <a:noFill/>
                <a:ln w="19050" cap="rnd">
                  <a:solidFill>
                    <a:schemeClr val="accent4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333DE1E0-4964-4FAC-A383-84072AB55712}"/>
                </a:ext>
              </a:extLst>
            </p:cNvPr>
            <p:cNvSpPr/>
            <p:nvPr/>
          </p:nvSpPr>
          <p:spPr>
            <a:xfrm rot="2737946">
              <a:off x="4137729" y="2587495"/>
              <a:ext cx="214214" cy="155927"/>
            </a:xfrm>
            <a:custGeom>
              <a:avLst/>
              <a:gdLst>
                <a:gd name="connsiteX0" fmla="*/ 207336 w 212118"/>
                <a:gd name="connsiteY0" fmla="*/ 35951 h 121855"/>
                <a:gd name="connsiteX1" fmla="*/ 174300 w 212118"/>
                <a:gd name="connsiteY1" fmla="*/ 12437 h 121855"/>
                <a:gd name="connsiteX2" fmla="*/ 42065 w 212118"/>
                <a:gd name="connsiteY2" fmla="*/ 19297 h 121855"/>
                <a:gd name="connsiteX3" fmla="*/ 408 w 212118"/>
                <a:gd name="connsiteY3" fmla="*/ 89522 h 121855"/>
                <a:gd name="connsiteX4" fmla="*/ 67790 w 212118"/>
                <a:gd name="connsiteY4" fmla="*/ 124544 h 121855"/>
                <a:gd name="connsiteX5" fmla="*/ 173984 w 212118"/>
                <a:gd name="connsiteY5" fmla="*/ 98503 h 121855"/>
                <a:gd name="connsiteX6" fmla="*/ 211082 w 212118"/>
                <a:gd name="connsiteY6" fmla="*/ 77336 h 121855"/>
                <a:gd name="connsiteX7" fmla="*/ 207336 w 212118"/>
                <a:gd name="connsiteY7" fmla="*/ 35951 h 121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2118" h="121855">
                  <a:moveTo>
                    <a:pt x="207336" y="35951"/>
                  </a:moveTo>
                  <a:cubicBezTo>
                    <a:pt x="197723" y="24803"/>
                    <a:pt x="186486" y="17176"/>
                    <a:pt x="174300" y="12437"/>
                  </a:cubicBezTo>
                  <a:cubicBezTo>
                    <a:pt x="135667" y="-8459"/>
                    <a:pt x="74243" y="-877"/>
                    <a:pt x="42065" y="19297"/>
                  </a:cubicBezTo>
                  <a:cubicBezTo>
                    <a:pt x="20492" y="32791"/>
                    <a:pt x="-3428" y="62127"/>
                    <a:pt x="408" y="89522"/>
                  </a:cubicBezTo>
                  <a:cubicBezTo>
                    <a:pt x="4876" y="121520"/>
                    <a:pt x="41433" y="128470"/>
                    <a:pt x="67790" y="124544"/>
                  </a:cubicBezTo>
                  <a:cubicBezTo>
                    <a:pt x="103444" y="119218"/>
                    <a:pt x="139233" y="107980"/>
                    <a:pt x="173984" y="98503"/>
                  </a:cubicBezTo>
                  <a:cubicBezTo>
                    <a:pt x="188652" y="94486"/>
                    <a:pt x="202462" y="90785"/>
                    <a:pt x="211082" y="77336"/>
                  </a:cubicBezTo>
                  <a:cubicBezTo>
                    <a:pt x="219702" y="63842"/>
                    <a:pt x="217717" y="48001"/>
                    <a:pt x="207336" y="35951"/>
                  </a:cubicBezTo>
                  <a:close/>
                </a:path>
              </a:pathLst>
            </a:custGeom>
            <a:solidFill>
              <a:srgbClr val="FFFFFF"/>
            </a:solidFill>
            <a:ln w="2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B04896A0-3644-4AD4-8AFA-ACA9293BDE74}"/>
                </a:ext>
              </a:extLst>
            </p:cNvPr>
            <p:cNvSpPr/>
            <p:nvPr/>
          </p:nvSpPr>
          <p:spPr>
            <a:xfrm rot="21224619">
              <a:off x="4073264" y="2828354"/>
              <a:ext cx="113042" cy="82284"/>
            </a:xfrm>
            <a:custGeom>
              <a:avLst/>
              <a:gdLst>
                <a:gd name="connsiteX0" fmla="*/ 207336 w 212118"/>
                <a:gd name="connsiteY0" fmla="*/ 35951 h 121855"/>
                <a:gd name="connsiteX1" fmla="*/ 174300 w 212118"/>
                <a:gd name="connsiteY1" fmla="*/ 12437 h 121855"/>
                <a:gd name="connsiteX2" fmla="*/ 42065 w 212118"/>
                <a:gd name="connsiteY2" fmla="*/ 19297 h 121855"/>
                <a:gd name="connsiteX3" fmla="*/ 408 w 212118"/>
                <a:gd name="connsiteY3" fmla="*/ 89522 h 121855"/>
                <a:gd name="connsiteX4" fmla="*/ 67790 w 212118"/>
                <a:gd name="connsiteY4" fmla="*/ 124544 h 121855"/>
                <a:gd name="connsiteX5" fmla="*/ 173984 w 212118"/>
                <a:gd name="connsiteY5" fmla="*/ 98503 h 121855"/>
                <a:gd name="connsiteX6" fmla="*/ 211082 w 212118"/>
                <a:gd name="connsiteY6" fmla="*/ 77336 h 121855"/>
                <a:gd name="connsiteX7" fmla="*/ 207336 w 212118"/>
                <a:gd name="connsiteY7" fmla="*/ 35951 h 121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2118" h="121855">
                  <a:moveTo>
                    <a:pt x="207336" y="35951"/>
                  </a:moveTo>
                  <a:cubicBezTo>
                    <a:pt x="197723" y="24803"/>
                    <a:pt x="186486" y="17176"/>
                    <a:pt x="174300" y="12437"/>
                  </a:cubicBezTo>
                  <a:cubicBezTo>
                    <a:pt x="135667" y="-8459"/>
                    <a:pt x="74243" y="-877"/>
                    <a:pt x="42065" y="19297"/>
                  </a:cubicBezTo>
                  <a:cubicBezTo>
                    <a:pt x="20492" y="32791"/>
                    <a:pt x="-3428" y="62127"/>
                    <a:pt x="408" y="89522"/>
                  </a:cubicBezTo>
                  <a:cubicBezTo>
                    <a:pt x="4876" y="121520"/>
                    <a:pt x="41433" y="128470"/>
                    <a:pt x="67790" y="124544"/>
                  </a:cubicBezTo>
                  <a:cubicBezTo>
                    <a:pt x="103444" y="119218"/>
                    <a:pt x="139233" y="107980"/>
                    <a:pt x="173984" y="98503"/>
                  </a:cubicBezTo>
                  <a:cubicBezTo>
                    <a:pt x="188652" y="94486"/>
                    <a:pt x="202462" y="90785"/>
                    <a:pt x="211082" y="77336"/>
                  </a:cubicBezTo>
                  <a:cubicBezTo>
                    <a:pt x="219702" y="63842"/>
                    <a:pt x="217717" y="48001"/>
                    <a:pt x="207336" y="35951"/>
                  </a:cubicBezTo>
                  <a:close/>
                </a:path>
              </a:pathLst>
            </a:custGeom>
            <a:solidFill>
              <a:srgbClr val="FFFFFF"/>
            </a:solidFill>
            <a:ln w="2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41" name="TextBox 40">
            <a:extLst>
              <a:ext uri="{FF2B5EF4-FFF2-40B4-BE49-F238E27FC236}">
                <a16:creationId xmlns:a16="http://schemas.microsoft.com/office/drawing/2014/main" id="{58A300A0-BDF6-4BAE-BDB7-0D7D626A1D6C}"/>
              </a:ext>
            </a:extLst>
          </p:cNvPr>
          <p:cNvSpPr txBox="1">
            <a:spLocks/>
          </p:cNvSpPr>
          <p:nvPr/>
        </p:nvSpPr>
        <p:spPr>
          <a:xfrm>
            <a:off x="9730119" y="2720864"/>
            <a:ext cx="1870132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 algn="ctr"/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HRSA accepts determination, updates portal, and notifies provider they can apply  </a:t>
            </a:r>
          </a:p>
        </p:txBody>
      </p:sp>
      <p:sp>
        <p:nvSpPr>
          <p:cNvPr id="80" name="TitleTrackerNum 7">
            <a:extLst>
              <a:ext uri="{FF2B5EF4-FFF2-40B4-BE49-F238E27FC236}">
                <a16:creationId xmlns:a16="http://schemas.microsoft.com/office/drawing/2014/main" id="{255B81F5-D66C-4082-A4F6-A87B5D5D8FB4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>
          <a:xfrm>
            <a:off x="9730119" y="1786913"/>
            <a:ext cx="484469" cy="287985"/>
          </a:xfrm>
          <a:prstGeom prst="rect">
            <a:avLst/>
          </a:prstGeom>
          <a:solidFill>
            <a:srgbClr val="F4F4F5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57200" tIns="0" rIns="457200" bIns="0" rtlCol="0" anchor="ctr" anchorCtr="1">
            <a:noAutofit/>
          </a:bodyPr>
          <a:lstStyle/>
          <a:p>
            <a:pPr algn="ctr"/>
            <a:r>
              <a:rPr lang="en-US" sz="4000" b="1" dirty="0">
                <a:solidFill>
                  <a:srgbClr val="A33134"/>
                </a:solidFill>
                <a:latin typeface="+mj-lt"/>
              </a:rPr>
              <a:t>3</a:t>
            </a:r>
          </a:p>
        </p:txBody>
      </p:sp>
      <p:grpSp>
        <p:nvGrpSpPr>
          <p:cNvPr id="143" name="Group 142">
            <a:extLst>
              <a:ext uri="{FF2B5EF4-FFF2-40B4-BE49-F238E27FC236}">
                <a16:creationId xmlns:a16="http://schemas.microsoft.com/office/drawing/2014/main" id="{10161F83-9E81-4FB2-877F-F0D6CB8A68FB}"/>
              </a:ext>
            </a:extLst>
          </p:cNvPr>
          <p:cNvGrpSpPr/>
          <p:nvPr/>
        </p:nvGrpSpPr>
        <p:grpSpPr>
          <a:xfrm>
            <a:off x="10195125" y="1782207"/>
            <a:ext cx="940121" cy="764402"/>
            <a:chOff x="6761081" y="2224236"/>
            <a:chExt cx="1373152" cy="1136258"/>
          </a:xfrm>
        </p:grpSpPr>
        <p:grpSp>
          <p:nvGrpSpPr>
            <p:cNvPr id="144" name="Group 143">
              <a:extLst>
                <a:ext uri="{FF2B5EF4-FFF2-40B4-BE49-F238E27FC236}">
                  <a16:creationId xmlns:a16="http://schemas.microsoft.com/office/drawing/2014/main" id="{B24EDE0C-DAA3-4986-943A-62C53D796324}"/>
                </a:ext>
              </a:extLst>
            </p:cNvPr>
            <p:cNvGrpSpPr/>
            <p:nvPr/>
          </p:nvGrpSpPr>
          <p:grpSpPr>
            <a:xfrm>
              <a:off x="6761081" y="2224236"/>
              <a:ext cx="1335157" cy="1136258"/>
              <a:chOff x="4566237" y="-2266165"/>
              <a:chExt cx="1622032" cy="1380397"/>
            </a:xfrm>
          </p:grpSpPr>
          <p:grpSp>
            <p:nvGrpSpPr>
              <p:cNvPr id="172" name="Graphic 45">
                <a:extLst>
                  <a:ext uri="{FF2B5EF4-FFF2-40B4-BE49-F238E27FC236}">
                    <a16:creationId xmlns:a16="http://schemas.microsoft.com/office/drawing/2014/main" id="{98E0DC33-C3BB-42BC-AF3B-693A2F714445}"/>
                  </a:ext>
                </a:extLst>
              </p:cNvPr>
              <p:cNvGrpSpPr/>
              <p:nvPr/>
            </p:nvGrpSpPr>
            <p:grpSpPr>
              <a:xfrm>
                <a:off x="4566237" y="-2266165"/>
                <a:ext cx="1622032" cy="1380397"/>
                <a:chOff x="4396828" y="2984117"/>
                <a:chExt cx="1622032" cy="1380397"/>
              </a:xfrm>
              <a:solidFill>
                <a:srgbClr val="FFFFFF"/>
              </a:solidFill>
            </p:grpSpPr>
            <p:sp>
              <p:nvSpPr>
                <p:cNvPr id="174" name="Freeform: Shape 173">
                  <a:extLst>
                    <a:ext uri="{FF2B5EF4-FFF2-40B4-BE49-F238E27FC236}">
                      <a16:creationId xmlns:a16="http://schemas.microsoft.com/office/drawing/2014/main" id="{85561F0D-14A1-4959-AD1C-C9A8B0B4468F}"/>
                    </a:ext>
                  </a:extLst>
                </p:cNvPr>
                <p:cNvSpPr/>
                <p:nvPr/>
              </p:nvSpPr>
              <p:spPr>
                <a:xfrm>
                  <a:off x="4452407" y="3073752"/>
                  <a:ext cx="1475802" cy="1290762"/>
                </a:xfrm>
                <a:custGeom>
                  <a:avLst/>
                  <a:gdLst>
                    <a:gd name="connsiteX0" fmla="*/ 1476428 w 1475801"/>
                    <a:gd name="connsiteY0" fmla="*/ 457677 h 1290761"/>
                    <a:gd name="connsiteX1" fmla="*/ 1246753 w 1475801"/>
                    <a:gd name="connsiteY1" fmla="*/ 112647 h 1290761"/>
                    <a:gd name="connsiteX2" fmla="*/ 856095 w 1475801"/>
                    <a:gd name="connsiteY2" fmla="*/ 450 h 1290761"/>
                    <a:gd name="connsiteX3" fmla="*/ 667445 w 1475801"/>
                    <a:gd name="connsiteY3" fmla="*/ 43686 h 1290761"/>
                    <a:gd name="connsiteX4" fmla="*/ 490981 w 1475801"/>
                    <a:gd name="connsiteY4" fmla="*/ 176192 h 1290761"/>
                    <a:gd name="connsiteX5" fmla="*/ 355270 w 1475801"/>
                    <a:gd name="connsiteY5" fmla="*/ 336409 h 1290761"/>
                    <a:gd name="connsiteX6" fmla="*/ 322369 w 1475801"/>
                    <a:gd name="connsiteY6" fmla="*/ 369897 h 1290761"/>
                    <a:gd name="connsiteX7" fmla="*/ 313207 w 1475801"/>
                    <a:gd name="connsiteY7" fmla="*/ 378652 h 1290761"/>
                    <a:gd name="connsiteX8" fmla="*/ 310229 w 1475801"/>
                    <a:gd name="connsiteY8" fmla="*/ 381495 h 1290761"/>
                    <a:gd name="connsiteX9" fmla="*/ 307160 w 1475801"/>
                    <a:gd name="connsiteY9" fmla="*/ 384248 h 1290761"/>
                    <a:gd name="connsiteX10" fmla="*/ 294523 w 1475801"/>
                    <a:gd name="connsiteY10" fmla="*/ 395622 h 1290761"/>
                    <a:gd name="connsiteX11" fmla="*/ 220868 w 1475801"/>
                    <a:gd name="connsiteY11" fmla="*/ 460295 h 1290761"/>
                    <a:gd name="connsiteX12" fmla="*/ 79742 w 1475801"/>
                    <a:gd name="connsiteY12" fmla="*/ 608191 h 1290761"/>
                    <a:gd name="connsiteX13" fmla="*/ 1168 w 1475801"/>
                    <a:gd name="connsiteY13" fmla="*/ 814668 h 1290761"/>
                    <a:gd name="connsiteX14" fmla="*/ 50813 w 1475801"/>
                    <a:gd name="connsiteY14" fmla="*/ 1051428 h 1290761"/>
                    <a:gd name="connsiteX15" fmla="*/ 208141 w 1475801"/>
                    <a:gd name="connsiteY15" fmla="*/ 1205868 h 1290761"/>
                    <a:gd name="connsiteX16" fmla="*/ 313162 w 1475801"/>
                    <a:gd name="connsiteY16" fmla="*/ 1242064 h 1290761"/>
                    <a:gd name="connsiteX17" fmla="*/ 360957 w 1475801"/>
                    <a:gd name="connsiteY17" fmla="*/ 1260387 h 1290761"/>
                    <a:gd name="connsiteX18" fmla="*/ 583816 w 1475801"/>
                    <a:gd name="connsiteY18" fmla="*/ 1294190 h 1290761"/>
                    <a:gd name="connsiteX19" fmla="*/ 1025203 w 1475801"/>
                    <a:gd name="connsiteY19" fmla="*/ 1188673 h 1290761"/>
                    <a:gd name="connsiteX20" fmla="*/ 1206541 w 1475801"/>
                    <a:gd name="connsiteY20" fmla="*/ 1048224 h 1290761"/>
                    <a:gd name="connsiteX21" fmla="*/ 1343515 w 1475801"/>
                    <a:gd name="connsiteY21" fmla="*/ 882816 h 1290761"/>
                    <a:gd name="connsiteX22" fmla="*/ 1476428 w 1475801"/>
                    <a:gd name="connsiteY22" fmla="*/ 457677 h 12907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1475801" h="1290761">
                      <a:moveTo>
                        <a:pt x="1476428" y="457677"/>
                      </a:moveTo>
                      <a:cubicBezTo>
                        <a:pt x="1459278" y="313302"/>
                        <a:pt x="1366487" y="191131"/>
                        <a:pt x="1246753" y="112647"/>
                      </a:cubicBezTo>
                      <a:cubicBezTo>
                        <a:pt x="1130675" y="36600"/>
                        <a:pt x="995461" y="-4830"/>
                        <a:pt x="856095" y="450"/>
                      </a:cubicBezTo>
                      <a:cubicBezTo>
                        <a:pt x="791827" y="2887"/>
                        <a:pt x="726026" y="17058"/>
                        <a:pt x="667445" y="43686"/>
                      </a:cubicBezTo>
                      <a:cubicBezTo>
                        <a:pt x="598845" y="74872"/>
                        <a:pt x="541754" y="120996"/>
                        <a:pt x="490981" y="176192"/>
                      </a:cubicBezTo>
                      <a:cubicBezTo>
                        <a:pt x="443547" y="227777"/>
                        <a:pt x="402929" y="285094"/>
                        <a:pt x="355270" y="336409"/>
                      </a:cubicBezTo>
                      <a:cubicBezTo>
                        <a:pt x="344619" y="347872"/>
                        <a:pt x="333607" y="359020"/>
                        <a:pt x="322369" y="369897"/>
                      </a:cubicBezTo>
                      <a:cubicBezTo>
                        <a:pt x="319345" y="372830"/>
                        <a:pt x="316276" y="375764"/>
                        <a:pt x="313207" y="378652"/>
                      </a:cubicBezTo>
                      <a:cubicBezTo>
                        <a:pt x="312124" y="379690"/>
                        <a:pt x="301879" y="389439"/>
                        <a:pt x="310229" y="381495"/>
                      </a:cubicBezTo>
                      <a:cubicBezTo>
                        <a:pt x="318578" y="373507"/>
                        <a:pt x="308288" y="383256"/>
                        <a:pt x="307160" y="384248"/>
                      </a:cubicBezTo>
                      <a:cubicBezTo>
                        <a:pt x="302963" y="388085"/>
                        <a:pt x="298765" y="391876"/>
                        <a:pt x="294523" y="395622"/>
                      </a:cubicBezTo>
                      <a:cubicBezTo>
                        <a:pt x="270152" y="417420"/>
                        <a:pt x="245330" y="438632"/>
                        <a:pt x="220868" y="460295"/>
                      </a:cubicBezTo>
                      <a:cubicBezTo>
                        <a:pt x="169960" y="505427"/>
                        <a:pt x="118781" y="552093"/>
                        <a:pt x="79742" y="608191"/>
                      </a:cubicBezTo>
                      <a:cubicBezTo>
                        <a:pt x="37047" y="669480"/>
                        <a:pt x="6313" y="739434"/>
                        <a:pt x="1168" y="814668"/>
                      </a:cubicBezTo>
                      <a:cubicBezTo>
                        <a:pt x="-4519" y="898206"/>
                        <a:pt x="10330" y="977728"/>
                        <a:pt x="50813" y="1051428"/>
                      </a:cubicBezTo>
                      <a:cubicBezTo>
                        <a:pt x="87008" y="1117365"/>
                        <a:pt x="142881" y="1169131"/>
                        <a:pt x="208141" y="1205868"/>
                      </a:cubicBezTo>
                      <a:cubicBezTo>
                        <a:pt x="240816" y="1224282"/>
                        <a:pt x="276109" y="1236106"/>
                        <a:pt x="313162" y="1242064"/>
                      </a:cubicBezTo>
                      <a:cubicBezTo>
                        <a:pt x="328642" y="1249149"/>
                        <a:pt x="344303" y="1255603"/>
                        <a:pt x="360957" y="1260387"/>
                      </a:cubicBezTo>
                      <a:cubicBezTo>
                        <a:pt x="432580" y="1280967"/>
                        <a:pt x="509304" y="1292791"/>
                        <a:pt x="583816" y="1294190"/>
                      </a:cubicBezTo>
                      <a:cubicBezTo>
                        <a:pt x="736677" y="1297034"/>
                        <a:pt x="890846" y="1261425"/>
                        <a:pt x="1025203" y="1188673"/>
                      </a:cubicBezTo>
                      <a:cubicBezTo>
                        <a:pt x="1093216" y="1151846"/>
                        <a:pt x="1152293" y="1102923"/>
                        <a:pt x="1206541" y="1048224"/>
                      </a:cubicBezTo>
                      <a:cubicBezTo>
                        <a:pt x="1256908" y="997405"/>
                        <a:pt x="1303303" y="941939"/>
                        <a:pt x="1343515" y="882816"/>
                      </a:cubicBezTo>
                      <a:cubicBezTo>
                        <a:pt x="1427460" y="759382"/>
                        <a:pt x="1494616" y="610538"/>
                        <a:pt x="1476428" y="457677"/>
                      </a:cubicBezTo>
                      <a:close/>
                    </a:path>
                  </a:pathLst>
                </a:custGeom>
                <a:grpFill/>
                <a:ln w="22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75" name="Freeform: Shape 174">
                  <a:extLst>
                    <a:ext uri="{FF2B5EF4-FFF2-40B4-BE49-F238E27FC236}">
                      <a16:creationId xmlns:a16="http://schemas.microsoft.com/office/drawing/2014/main" id="{A4138980-D402-43B6-BC05-D9686A7DAA8A}"/>
                    </a:ext>
                  </a:extLst>
                </p:cNvPr>
                <p:cNvSpPr/>
                <p:nvPr/>
              </p:nvSpPr>
              <p:spPr>
                <a:xfrm>
                  <a:off x="4396828" y="3453413"/>
                  <a:ext cx="212118" cy="121855"/>
                </a:xfrm>
                <a:custGeom>
                  <a:avLst/>
                  <a:gdLst>
                    <a:gd name="connsiteX0" fmla="*/ 207336 w 212118"/>
                    <a:gd name="connsiteY0" fmla="*/ 35951 h 121855"/>
                    <a:gd name="connsiteX1" fmla="*/ 174300 w 212118"/>
                    <a:gd name="connsiteY1" fmla="*/ 12437 h 121855"/>
                    <a:gd name="connsiteX2" fmla="*/ 42065 w 212118"/>
                    <a:gd name="connsiteY2" fmla="*/ 19297 h 121855"/>
                    <a:gd name="connsiteX3" fmla="*/ 408 w 212118"/>
                    <a:gd name="connsiteY3" fmla="*/ 89522 h 121855"/>
                    <a:gd name="connsiteX4" fmla="*/ 67790 w 212118"/>
                    <a:gd name="connsiteY4" fmla="*/ 124544 h 121855"/>
                    <a:gd name="connsiteX5" fmla="*/ 173984 w 212118"/>
                    <a:gd name="connsiteY5" fmla="*/ 98503 h 121855"/>
                    <a:gd name="connsiteX6" fmla="*/ 211082 w 212118"/>
                    <a:gd name="connsiteY6" fmla="*/ 77336 h 121855"/>
                    <a:gd name="connsiteX7" fmla="*/ 207336 w 212118"/>
                    <a:gd name="connsiteY7" fmla="*/ 35951 h 1218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12118" h="121855">
                      <a:moveTo>
                        <a:pt x="207336" y="35951"/>
                      </a:moveTo>
                      <a:cubicBezTo>
                        <a:pt x="197723" y="24803"/>
                        <a:pt x="186486" y="17176"/>
                        <a:pt x="174300" y="12437"/>
                      </a:cubicBezTo>
                      <a:cubicBezTo>
                        <a:pt x="135667" y="-8459"/>
                        <a:pt x="74243" y="-877"/>
                        <a:pt x="42065" y="19297"/>
                      </a:cubicBezTo>
                      <a:cubicBezTo>
                        <a:pt x="20492" y="32791"/>
                        <a:pt x="-3428" y="62127"/>
                        <a:pt x="408" y="89522"/>
                      </a:cubicBezTo>
                      <a:cubicBezTo>
                        <a:pt x="4876" y="121520"/>
                        <a:pt x="41433" y="128470"/>
                        <a:pt x="67790" y="124544"/>
                      </a:cubicBezTo>
                      <a:cubicBezTo>
                        <a:pt x="103444" y="119218"/>
                        <a:pt x="139233" y="107980"/>
                        <a:pt x="173984" y="98503"/>
                      </a:cubicBezTo>
                      <a:cubicBezTo>
                        <a:pt x="188652" y="94486"/>
                        <a:pt x="202462" y="90785"/>
                        <a:pt x="211082" y="77336"/>
                      </a:cubicBezTo>
                      <a:cubicBezTo>
                        <a:pt x="219702" y="63842"/>
                        <a:pt x="217717" y="48001"/>
                        <a:pt x="207336" y="35951"/>
                      </a:cubicBezTo>
                      <a:close/>
                    </a:path>
                  </a:pathLst>
                </a:custGeom>
                <a:grpFill/>
                <a:ln w="22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76" name="Freeform: Shape 175">
                  <a:extLst>
                    <a:ext uri="{FF2B5EF4-FFF2-40B4-BE49-F238E27FC236}">
                      <a16:creationId xmlns:a16="http://schemas.microsoft.com/office/drawing/2014/main" id="{9C05AB99-E9CE-4BBF-9E95-BA4978ACF8FC}"/>
                    </a:ext>
                  </a:extLst>
                </p:cNvPr>
                <p:cNvSpPr/>
                <p:nvPr/>
              </p:nvSpPr>
              <p:spPr>
                <a:xfrm>
                  <a:off x="5434543" y="2984117"/>
                  <a:ext cx="582197" cy="519013"/>
                </a:xfrm>
                <a:custGeom>
                  <a:avLst/>
                  <a:gdLst>
                    <a:gd name="connsiteX0" fmla="*/ 521867 w 582196"/>
                    <a:gd name="connsiteY0" fmla="*/ 312583 h 519012"/>
                    <a:gd name="connsiteX1" fmla="*/ 396537 w 582196"/>
                    <a:gd name="connsiteY1" fmla="*/ 150606 h 519012"/>
                    <a:gd name="connsiteX2" fmla="*/ 5111 w 582196"/>
                    <a:gd name="connsiteY2" fmla="*/ 2 h 519012"/>
                    <a:gd name="connsiteX3" fmla="*/ 5111 w 582196"/>
                    <a:gd name="connsiteY3" fmla="*/ 10608 h 519012"/>
                    <a:gd name="connsiteX4" fmla="*/ 383404 w 582196"/>
                    <a:gd name="connsiteY4" fmla="*/ 169426 h 519012"/>
                    <a:gd name="connsiteX5" fmla="*/ 500836 w 582196"/>
                    <a:gd name="connsiteY5" fmla="*/ 324859 h 519012"/>
                    <a:gd name="connsiteX6" fmla="*/ 561989 w 582196"/>
                    <a:gd name="connsiteY6" fmla="*/ 513870 h 519012"/>
                    <a:gd name="connsiteX7" fmla="*/ 584826 w 582196"/>
                    <a:gd name="connsiteY7" fmla="*/ 510801 h 519012"/>
                    <a:gd name="connsiteX8" fmla="*/ 521867 w 582196"/>
                    <a:gd name="connsiteY8" fmla="*/ 312583 h 5190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582196" h="519012">
                      <a:moveTo>
                        <a:pt x="521867" y="312583"/>
                      </a:moveTo>
                      <a:cubicBezTo>
                        <a:pt x="489914" y="251972"/>
                        <a:pt x="447355" y="196595"/>
                        <a:pt x="396537" y="150606"/>
                      </a:cubicBezTo>
                      <a:cubicBezTo>
                        <a:pt x="289350" y="53619"/>
                        <a:pt x="149352" y="-404"/>
                        <a:pt x="5111" y="2"/>
                      </a:cubicBezTo>
                      <a:cubicBezTo>
                        <a:pt x="-1749" y="2"/>
                        <a:pt x="-1659" y="10202"/>
                        <a:pt x="5111" y="10608"/>
                      </a:cubicBezTo>
                      <a:cubicBezTo>
                        <a:pt x="144297" y="18596"/>
                        <a:pt x="281497" y="73747"/>
                        <a:pt x="383404" y="169426"/>
                      </a:cubicBezTo>
                      <a:cubicBezTo>
                        <a:pt x="431018" y="214106"/>
                        <a:pt x="470643" y="267000"/>
                        <a:pt x="500836" y="324859"/>
                      </a:cubicBezTo>
                      <a:cubicBezTo>
                        <a:pt x="532654" y="385787"/>
                        <a:pt x="546058" y="447933"/>
                        <a:pt x="561989" y="513870"/>
                      </a:cubicBezTo>
                      <a:cubicBezTo>
                        <a:pt x="565013" y="526462"/>
                        <a:pt x="585503" y="523979"/>
                        <a:pt x="584826" y="510801"/>
                      </a:cubicBezTo>
                      <a:cubicBezTo>
                        <a:pt x="581441" y="442968"/>
                        <a:pt x="553234" y="372067"/>
                        <a:pt x="521867" y="312583"/>
                      </a:cubicBezTo>
                      <a:close/>
                    </a:path>
                  </a:pathLst>
                </a:custGeom>
                <a:grpFill/>
                <a:ln w="22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77" name="Freeform: Shape 176">
                  <a:extLst>
                    <a:ext uri="{FF2B5EF4-FFF2-40B4-BE49-F238E27FC236}">
                      <a16:creationId xmlns:a16="http://schemas.microsoft.com/office/drawing/2014/main" id="{8CF856D1-F4C7-4FA7-8303-F8680E043742}"/>
                    </a:ext>
                  </a:extLst>
                </p:cNvPr>
                <p:cNvSpPr/>
                <p:nvPr/>
              </p:nvSpPr>
              <p:spPr>
                <a:xfrm>
                  <a:off x="5996294" y="3609755"/>
                  <a:ext cx="22566" cy="67697"/>
                </a:xfrm>
                <a:custGeom>
                  <a:avLst/>
                  <a:gdLst>
                    <a:gd name="connsiteX0" fmla="*/ 17208 w 22565"/>
                    <a:gd name="connsiteY0" fmla="*/ 3453 h 67697"/>
                    <a:gd name="connsiteX1" fmla="*/ 7820 w 22565"/>
                    <a:gd name="connsiteY1" fmla="*/ 3453 h 67697"/>
                    <a:gd name="connsiteX2" fmla="*/ 13 w 22565"/>
                    <a:gd name="connsiteY2" fmla="*/ 57746 h 67697"/>
                    <a:gd name="connsiteX3" fmla="*/ 24970 w 22565"/>
                    <a:gd name="connsiteY3" fmla="*/ 57746 h 67697"/>
                    <a:gd name="connsiteX4" fmla="*/ 17208 w 22565"/>
                    <a:gd name="connsiteY4" fmla="*/ 3453 h 676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2565" h="67697">
                      <a:moveTo>
                        <a:pt x="17208" y="3453"/>
                      </a:moveTo>
                      <a:cubicBezTo>
                        <a:pt x="15764" y="-1151"/>
                        <a:pt x="9310" y="-1151"/>
                        <a:pt x="7820" y="3453"/>
                      </a:cubicBezTo>
                      <a:cubicBezTo>
                        <a:pt x="2585" y="19971"/>
                        <a:pt x="-213" y="40415"/>
                        <a:pt x="13" y="57746"/>
                      </a:cubicBezTo>
                      <a:cubicBezTo>
                        <a:pt x="238" y="73813"/>
                        <a:pt x="24745" y="73813"/>
                        <a:pt x="24970" y="57746"/>
                      </a:cubicBezTo>
                      <a:cubicBezTo>
                        <a:pt x="25241" y="40415"/>
                        <a:pt x="22398" y="19926"/>
                        <a:pt x="17208" y="3453"/>
                      </a:cubicBezTo>
                      <a:close/>
                    </a:path>
                  </a:pathLst>
                </a:custGeom>
                <a:grpFill/>
                <a:ln w="225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sp>
            <p:nvSpPr>
              <p:cNvPr id="173" name="Freeform: Shape 172">
                <a:extLst>
                  <a:ext uri="{FF2B5EF4-FFF2-40B4-BE49-F238E27FC236}">
                    <a16:creationId xmlns:a16="http://schemas.microsoft.com/office/drawing/2014/main" id="{997B422E-B9D4-4C32-BA93-48F6108ED14A}"/>
                  </a:ext>
                </a:extLst>
              </p:cNvPr>
              <p:cNvSpPr/>
              <p:nvPr/>
            </p:nvSpPr>
            <p:spPr>
              <a:xfrm>
                <a:off x="4835361" y="-2182884"/>
                <a:ext cx="212118" cy="352026"/>
              </a:xfrm>
              <a:custGeom>
                <a:avLst/>
                <a:gdLst>
                  <a:gd name="connsiteX0" fmla="*/ 65804 w 212118"/>
                  <a:gd name="connsiteY0" fmla="*/ 17260 h 352025"/>
                  <a:gd name="connsiteX1" fmla="*/ 183507 w 212118"/>
                  <a:gd name="connsiteY1" fmla="*/ 20690 h 352025"/>
                  <a:gd name="connsiteX2" fmla="*/ 191631 w 212118"/>
                  <a:gd name="connsiteY2" fmla="*/ 144441 h 352025"/>
                  <a:gd name="connsiteX3" fmla="*/ 181070 w 212118"/>
                  <a:gd name="connsiteY3" fmla="*/ 153918 h 352025"/>
                  <a:gd name="connsiteX4" fmla="*/ 179264 w 212118"/>
                  <a:gd name="connsiteY4" fmla="*/ 155543 h 352025"/>
                  <a:gd name="connsiteX5" fmla="*/ 165048 w 212118"/>
                  <a:gd name="connsiteY5" fmla="*/ 168857 h 352025"/>
                  <a:gd name="connsiteX6" fmla="*/ 89001 w 212118"/>
                  <a:gd name="connsiteY6" fmla="*/ 244813 h 352025"/>
                  <a:gd name="connsiteX7" fmla="*/ 39131 w 212118"/>
                  <a:gd name="connsiteY7" fmla="*/ 352136 h 352025"/>
                  <a:gd name="connsiteX8" fmla="*/ 4289 w 212118"/>
                  <a:gd name="connsiteY8" fmla="*/ 257495 h 352025"/>
                  <a:gd name="connsiteX9" fmla="*/ 950 w 212118"/>
                  <a:gd name="connsiteY9" fmla="*/ 171745 h 352025"/>
                  <a:gd name="connsiteX10" fmla="*/ 65804 w 212118"/>
                  <a:gd name="connsiteY10" fmla="*/ 17260 h 352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12118" h="352025">
                    <a:moveTo>
                      <a:pt x="65804" y="17260"/>
                    </a:moveTo>
                    <a:cubicBezTo>
                      <a:pt x="102812" y="-6209"/>
                      <a:pt x="148259" y="-6389"/>
                      <a:pt x="183507" y="20690"/>
                    </a:cubicBezTo>
                    <a:cubicBezTo>
                      <a:pt x="222275" y="50477"/>
                      <a:pt x="225615" y="110050"/>
                      <a:pt x="191631" y="144441"/>
                    </a:cubicBezTo>
                    <a:cubicBezTo>
                      <a:pt x="192804" y="143267"/>
                      <a:pt x="171818" y="162313"/>
                      <a:pt x="181070" y="153918"/>
                    </a:cubicBezTo>
                    <a:cubicBezTo>
                      <a:pt x="187027" y="148502"/>
                      <a:pt x="180122" y="154776"/>
                      <a:pt x="179264" y="155543"/>
                    </a:cubicBezTo>
                    <a:cubicBezTo>
                      <a:pt x="174481" y="159921"/>
                      <a:pt x="169742" y="164344"/>
                      <a:pt x="165048" y="168857"/>
                    </a:cubicBezTo>
                    <a:cubicBezTo>
                      <a:pt x="160354" y="173370"/>
                      <a:pt x="113192" y="191738"/>
                      <a:pt x="89001" y="244813"/>
                    </a:cubicBezTo>
                    <a:cubicBezTo>
                      <a:pt x="67699" y="291569"/>
                      <a:pt x="57635" y="351730"/>
                      <a:pt x="39131" y="352136"/>
                    </a:cubicBezTo>
                    <a:cubicBezTo>
                      <a:pt x="8442" y="352858"/>
                      <a:pt x="8893" y="286605"/>
                      <a:pt x="4289" y="257495"/>
                    </a:cubicBezTo>
                    <a:cubicBezTo>
                      <a:pt x="-269" y="228566"/>
                      <a:pt x="-856" y="200990"/>
                      <a:pt x="950" y="171745"/>
                    </a:cubicBezTo>
                    <a:cubicBezTo>
                      <a:pt x="4515" y="115150"/>
                      <a:pt x="13541" y="50341"/>
                      <a:pt x="65804" y="17260"/>
                    </a:cubicBezTo>
                    <a:close/>
                  </a:path>
                </a:pathLst>
              </a:custGeom>
              <a:solidFill>
                <a:srgbClr val="FFFFFF"/>
              </a:solidFill>
              <a:ln w="22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</p:grpSp>
        <p:grpSp>
          <p:nvGrpSpPr>
            <p:cNvPr id="145" name="Graphic 39">
              <a:extLst>
                <a:ext uri="{FF2B5EF4-FFF2-40B4-BE49-F238E27FC236}">
                  <a16:creationId xmlns:a16="http://schemas.microsoft.com/office/drawing/2014/main" id="{9AAEEF8F-0034-4714-900D-7361351F29F9}"/>
                </a:ext>
              </a:extLst>
            </p:cNvPr>
            <p:cNvGrpSpPr/>
            <p:nvPr/>
          </p:nvGrpSpPr>
          <p:grpSpPr>
            <a:xfrm>
              <a:off x="6945550" y="2669584"/>
              <a:ext cx="1188683" cy="617584"/>
              <a:chOff x="6990266" y="2624101"/>
              <a:chExt cx="1188683" cy="617584"/>
            </a:xfrm>
            <a:solidFill>
              <a:schemeClr val="accent1"/>
            </a:solidFill>
          </p:grpSpPr>
          <p:sp>
            <p:nvSpPr>
              <p:cNvPr id="158" name="Freeform: Shape 157">
                <a:extLst>
                  <a:ext uri="{FF2B5EF4-FFF2-40B4-BE49-F238E27FC236}">
                    <a16:creationId xmlns:a16="http://schemas.microsoft.com/office/drawing/2014/main" id="{A9F64532-D00D-4348-8725-ADCBDAC67B14}"/>
                  </a:ext>
                </a:extLst>
              </p:cNvPr>
              <p:cNvSpPr/>
              <p:nvPr/>
            </p:nvSpPr>
            <p:spPr>
              <a:xfrm>
                <a:off x="7431413" y="2624101"/>
                <a:ext cx="725276" cy="604397"/>
              </a:xfrm>
              <a:custGeom>
                <a:avLst/>
                <a:gdLst>
                  <a:gd name="connsiteX0" fmla="*/ 64129 w 725275"/>
                  <a:gd name="connsiteY0" fmla="*/ 575386 h 604396"/>
                  <a:gd name="connsiteX1" fmla="*/ 65337 w 725275"/>
                  <a:gd name="connsiteY1" fmla="*/ 575056 h 604396"/>
                  <a:gd name="connsiteX2" fmla="*/ 66656 w 725275"/>
                  <a:gd name="connsiteY2" fmla="*/ 574946 h 604396"/>
                  <a:gd name="connsiteX3" fmla="*/ 535118 w 725275"/>
                  <a:gd name="connsiteY3" fmla="*/ 574946 h 604396"/>
                  <a:gd name="connsiteX4" fmla="*/ 533800 w 725275"/>
                  <a:gd name="connsiteY4" fmla="*/ 575056 h 604396"/>
                  <a:gd name="connsiteX5" fmla="*/ 532591 w 725275"/>
                  <a:gd name="connsiteY5" fmla="*/ 575386 h 604396"/>
                  <a:gd name="connsiteX6" fmla="*/ 532041 w 725275"/>
                  <a:gd name="connsiteY6" fmla="*/ 575605 h 604396"/>
                  <a:gd name="connsiteX7" fmla="*/ 538305 w 725275"/>
                  <a:gd name="connsiteY7" fmla="*/ 575605 h 604396"/>
                  <a:gd name="connsiteX8" fmla="*/ 591712 w 725275"/>
                  <a:gd name="connsiteY8" fmla="*/ 575605 h 604396"/>
                  <a:gd name="connsiteX9" fmla="*/ 594569 w 725275"/>
                  <a:gd name="connsiteY9" fmla="*/ 578463 h 604396"/>
                  <a:gd name="connsiteX10" fmla="*/ 594569 w 725275"/>
                  <a:gd name="connsiteY10" fmla="*/ 596045 h 604396"/>
                  <a:gd name="connsiteX11" fmla="*/ 587536 w 725275"/>
                  <a:gd name="connsiteY11" fmla="*/ 602968 h 604396"/>
                  <a:gd name="connsiteX12" fmla="*/ 573360 w 725275"/>
                  <a:gd name="connsiteY12" fmla="*/ 602968 h 604396"/>
                  <a:gd name="connsiteX13" fmla="*/ 573360 w 725275"/>
                  <a:gd name="connsiteY13" fmla="*/ 604836 h 604396"/>
                  <a:gd name="connsiteX14" fmla="*/ 586657 w 725275"/>
                  <a:gd name="connsiteY14" fmla="*/ 604836 h 604396"/>
                  <a:gd name="connsiteX15" fmla="*/ 629734 w 725275"/>
                  <a:gd name="connsiteY15" fmla="*/ 558462 h 604396"/>
                  <a:gd name="connsiteX16" fmla="*/ 727426 w 725275"/>
                  <a:gd name="connsiteY16" fmla="*/ 46484 h 604396"/>
                  <a:gd name="connsiteX17" fmla="*/ 706437 w 725275"/>
                  <a:gd name="connsiteY17" fmla="*/ 440 h 604396"/>
                  <a:gd name="connsiteX18" fmla="*/ 702042 w 725275"/>
                  <a:gd name="connsiteY18" fmla="*/ 0 h 604396"/>
                  <a:gd name="connsiteX19" fmla="*/ 141821 w 725275"/>
                  <a:gd name="connsiteY19" fmla="*/ 0 h 604396"/>
                  <a:gd name="connsiteX20" fmla="*/ 98744 w 725275"/>
                  <a:gd name="connsiteY20" fmla="*/ 46374 h 604396"/>
                  <a:gd name="connsiteX21" fmla="*/ 1052 w 725275"/>
                  <a:gd name="connsiteY21" fmla="*/ 558353 h 604396"/>
                  <a:gd name="connsiteX22" fmla="*/ 172 w 725275"/>
                  <a:gd name="connsiteY22" fmla="*/ 573737 h 604396"/>
                  <a:gd name="connsiteX23" fmla="*/ 282 w 725275"/>
                  <a:gd name="connsiteY23" fmla="*/ 575495 h 604396"/>
                  <a:gd name="connsiteX24" fmla="*/ 63579 w 725275"/>
                  <a:gd name="connsiteY24" fmla="*/ 575495 h 604396"/>
                  <a:gd name="connsiteX25" fmla="*/ 64129 w 725275"/>
                  <a:gd name="connsiteY25" fmla="*/ 575386 h 604396"/>
                  <a:gd name="connsiteX26" fmla="*/ 64129 w 725275"/>
                  <a:gd name="connsiteY26" fmla="*/ 575386 h 604396"/>
                  <a:gd name="connsiteX27" fmla="*/ 64129 w 725275"/>
                  <a:gd name="connsiteY27" fmla="*/ 575386 h 604396"/>
                  <a:gd name="connsiteX28" fmla="*/ 33909 w 725275"/>
                  <a:gd name="connsiteY28" fmla="*/ 528682 h 604396"/>
                  <a:gd name="connsiteX29" fmla="*/ 125667 w 725275"/>
                  <a:gd name="connsiteY29" fmla="*/ 47802 h 604396"/>
                  <a:gd name="connsiteX30" fmla="*/ 135777 w 725275"/>
                  <a:gd name="connsiteY30" fmla="*/ 36923 h 604396"/>
                  <a:gd name="connsiteX31" fmla="*/ 694239 w 725275"/>
                  <a:gd name="connsiteY31" fmla="*/ 36923 h 604396"/>
                  <a:gd name="connsiteX32" fmla="*/ 700174 w 725275"/>
                  <a:gd name="connsiteY32" fmla="*/ 47802 h 604396"/>
                  <a:gd name="connsiteX33" fmla="*/ 608305 w 725275"/>
                  <a:gd name="connsiteY33" fmla="*/ 528682 h 604396"/>
                  <a:gd name="connsiteX34" fmla="*/ 598195 w 725275"/>
                  <a:gd name="connsiteY34" fmla="*/ 539561 h 604396"/>
                  <a:gd name="connsiteX35" fmla="*/ 39733 w 725275"/>
                  <a:gd name="connsiteY35" fmla="*/ 539561 h 604396"/>
                  <a:gd name="connsiteX36" fmla="*/ 33909 w 725275"/>
                  <a:gd name="connsiteY36" fmla="*/ 528682 h 604396"/>
                  <a:gd name="connsiteX37" fmla="*/ 33909 w 725275"/>
                  <a:gd name="connsiteY37" fmla="*/ 528682 h 6043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725275" h="604396">
                    <a:moveTo>
                      <a:pt x="64129" y="575386"/>
                    </a:moveTo>
                    <a:lnTo>
                      <a:pt x="65337" y="575056"/>
                    </a:lnTo>
                    <a:lnTo>
                      <a:pt x="66656" y="574946"/>
                    </a:lnTo>
                    <a:lnTo>
                      <a:pt x="535118" y="574946"/>
                    </a:lnTo>
                    <a:lnTo>
                      <a:pt x="533800" y="575056"/>
                    </a:lnTo>
                    <a:lnTo>
                      <a:pt x="532591" y="575386"/>
                    </a:lnTo>
                    <a:lnTo>
                      <a:pt x="532041" y="575605"/>
                    </a:lnTo>
                    <a:lnTo>
                      <a:pt x="538305" y="575605"/>
                    </a:lnTo>
                    <a:cubicBezTo>
                      <a:pt x="560283" y="575605"/>
                      <a:pt x="571602" y="575605"/>
                      <a:pt x="591712" y="575605"/>
                    </a:cubicBezTo>
                    <a:cubicBezTo>
                      <a:pt x="593250" y="575605"/>
                      <a:pt x="594569" y="576814"/>
                      <a:pt x="594569" y="578463"/>
                    </a:cubicBezTo>
                    <a:lnTo>
                      <a:pt x="594569" y="596045"/>
                    </a:lnTo>
                    <a:cubicBezTo>
                      <a:pt x="594569" y="599891"/>
                      <a:pt x="591492" y="602968"/>
                      <a:pt x="587536" y="602968"/>
                    </a:cubicBezTo>
                    <a:cubicBezTo>
                      <a:pt x="554789" y="602968"/>
                      <a:pt x="615448" y="602968"/>
                      <a:pt x="573360" y="602968"/>
                    </a:cubicBezTo>
                    <a:lnTo>
                      <a:pt x="573360" y="604836"/>
                    </a:lnTo>
                    <a:lnTo>
                      <a:pt x="586657" y="604836"/>
                    </a:lnTo>
                    <a:cubicBezTo>
                      <a:pt x="610393" y="602748"/>
                      <a:pt x="624130" y="581539"/>
                      <a:pt x="629734" y="558462"/>
                    </a:cubicBezTo>
                    <a:lnTo>
                      <a:pt x="727426" y="46484"/>
                    </a:lnTo>
                    <a:cubicBezTo>
                      <a:pt x="730393" y="25714"/>
                      <a:pt x="726767" y="6264"/>
                      <a:pt x="706437" y="440"/>
                    </a:cubicBezTo>
                    <a:lnTo>
                      <a:pt x="702042" y="0"/>
                    </a:lnTo>
                    <a:lnTo>
                      <a:pt x="141821" y="0"/>
                    </a:lnTo>
                    <a:cubicBezTo>
                      <a:pt x="118085" y="2088"/>
                      <a:pt x="104348" y="23187"/>
                      <a:pt x="98744" y="46374"/>
                    </a:cubicBezTo>
                    <a:lnTo>
                      <a:pt x="1052" y="558353"/>
                    </a:lnTo>
                    <a:cubicBezTo>
                      <a:pt x="172" y="564726"/>
                      <a:pt x="-267" y="566704"/>
                      <a:pt x="172" y="573737"/>
                    </a:cubicBezTo>
                    <a:lnTo>
                      <a:pt x="282" y="575495"/>
                    </a:lnTo>
                    <a:lnTo>
                      <a:pt x="63579" y="575495"/>
                    </a:lnTo>
                    <a:lnTo>
                      <a:pt x="64129" y="575386"/>
                    </a:lnTo>
                    <a:lnTo>
                      <a:pt x="64129" y="575386"/>
                    </a:lnTo>
                    <a:lnTo>
                      <a:pt x="64129" y="575386"/>
                    </a:lnTo>
                    <a:close/>
                    <a:moveTo>
                      <a:pt x="33909" y="528682"/>
                    </a:moveTo>
                    <a:lnTo>
                      <a:pt x="125667" y="47802"/>
                    </a:lnTo>
                    <a:cubicBezTo>
                      <a:pt x="127096" y="41648"/>
                      <a:pt x="129403" y="37473"/>
                      <a:pt x="135777" y="36923"/>
                    </a:cubicBezTo>
                    <a:cubicBezTo>
                      <a:pt x="202590" y="36923"/>
                      <a:pt x="626437" y="36923"/>
                      <a:pt x="694239" y="36923"/>
                    </a:cubicBezTo>
                    <a:cubicBezTo>
                      <a:pt x="700503" y="37473"/>
                      <a:pt x="701053" y="41648"/>
                      <a:pt x="700174" y="47802"/>
                    </a:cubicBezTo>
                    <a:lnTo>
                      <a:pt x="608305" y="528682"/>
                    </a:lnTo>
                    <a:cubicBezTo>
                      <a:pt x="606767" y="534946"/>
                      <a:pt x="604679" y="539012"/>
                      <a:pt x="598195" y="539561"/>
                    </a:cubicBezTo>
                    <a:cubicBezTo>
                      <a:pt x="529404" y="539561"/>
                      <a:pt x="106876" y="539561"/>
                      <a:pt x="39733" y="539561"/>
                    </a:cubicBezTo>
                    <a:cubicBezTo>
                      <a:pt x="33689" y="539012"/>
                      <a:pt x="33030" y="534836"/>
                      <a:pt x="33909" y="528682"/>
                    </a:cubicBezTo>
                    <a:lnTo>
                      <a:pt x="33909" y="528682"/>
                    </a:lnTo>
                    <a:close/>
                  </a:path>
                </a:pathLst>
              </a:custGeom>
              <a:solidFill>
                <a:srgbClr val="999999"/>
              </a:solidFill>
              <a:ln w="109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grpSp>
            <p:nvGrpSpPr>
              <p:cNvPr id="159" name="Graphic 39">
                <a:extLst>
                  <a:ext uri="{FF2B5EF4-FFF2-40B4-BE49-F238E27FC236}">
                    <a16:creationId xmlns:a16="http://schemas.microsoft.com/office/drawing/2014/main" id="{B09C1F16-F264-41EA-BDDE-E655DB8260E8}"/>
                  </a:ext>
                </a:extLst>
              </p:cNvPr>
              <p:cNvGrpSpPr/>
              <p:nvPr/>
            </p:nvGrpSpPr>
            <p:grpSpPr>
              <a:xfrm>
                <a:off x="6990266" y="2624211"/>
                <a:ext cx="1188683" cy="617474"/>
                <a:chOff x="6990266" y="2624211"/>
                <a:chExt cx="1188683" cy="617474"/>
              </a:xfrm>
              <a:solidFill>
                <a:schemeClr val="accent1"/>
              </a:solidFill>
            </p:grpSpPr>
            <p:sp>
              <p:nvSpPr>
                <p:cNvPr id="160" name="Freeform: Shape 159">
                  <a:extLst>
                    <a:ext uri="{FF2B5EF4-FFF2-40B4-BE49-F238E27FC236}">
                      <a16:creationId xmlns:a16="http://schemas.microsoft.com/office/drawing/2014/main" id="{5B42B40A-0421-4C65-B9E7-34285942F5C5}"/>
                    </a:ext>
                  </a:extLst>
                </p:cNvPr>
                <p:cNvSpPr/>
                <p:nvPr/>
              </p:nvSpPr>
              <p:spPr>
                <a:xfrm>
                  <a:off x="7491585" y="3198058"/>
                  <a:ext cx="472528" cy="10989"/>
                </a:xfrm>
                <a:custGeom>
                  <a:avLst/>
                  <a:gdLst>
                    <a:gd name="connsiteX0" fmla="*/ 472638 w 472528"/>
                    <a:gd name="connsiteY0" fmla="*/ 0 h 0"/>
                    <a:gd name="connsiteX1" fmla="*/ 1758 w 472528"/>
                    <a:gd name="connsiteY1" fmla="*/ 0 h 0"/>
                    <a:gd name="connsiteX2" fmla="*/ 549 w 472528"/>
                    <a:gd name="connsiteY2" fmla="*/ 330 h 0"/>
                    <a:gd name="connsiteX3" fmla="*/ 0 w 472528"/>
                    <a:gd name="connsiteY3" fmla="*/ 549 h 0"/>
                    <a:gd name="connsiteX4" fmla="*/ 470880 w 472528"/>
                    <a:gd name="connsiteY4" fmla="*/ 549 h 0"/>
                    <a:gd name="connsiteX5" fmla="*/ 471429 w 472528"/>
                    <a:gd name="connsiteY5" fmla="*/ 330 h 0"/>
                    <a:gd name="connsiteX6" fmla="*/ 472638 w 472528"/>
                    <a:gd name="connsiteY6" fmla="*/ 0 h 0"/>
                    <a:gd name="connsiteX7" fmla="*/ 472638 w 472528"/>
                    <a:gd name="connsiteY7" fmla="*/ 0 h 0"/>
                    <a:gd name="connsiteX8" fmla="*/ 472638 w 472528"/>
                    <a:gd name="connsiteY8" fmla="*/ 0 h 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72528">
                      <a:moveTo>
                        <a:pt x="472638" y="0"/>
                      </a:moveTo>
                      <a:lnTo>
                        <a:pt x="1758" y="0"/>
                      </a:lnTo>
                      <a:lnTo>
                        <a:pt x="549" y="330"/>
                      </a:lnTo>
                      <a:lnTo>
                        <a:pt x="0" y="549"/>
                      </a:lnTo>
                      <a:cubicBezTo>
                        <a:pt x="15275" y="549"/>
                        <a:pt x="452089" y="549"/>
                        <a:pt x="470880" y="549"/>
                      </a:cubicBezTo>
                      <a:lnTo>
                        <a:pt x="471429" y="330"/>
                      </a:lnTo>
                      <a:lnTo>
                        <a:pt x="472638" y="0"/>
                      </a:lnTo>
                      <a:lnTo>
                        <a:pt x="472638" y="0"/>
                      </a:lnTo>
                      <a:lnTo>
                        <a:pt x="472638" y="0"/>
                      </a:lnTo>
                      <a:close/>
                    </a:path>
                  </a:pathLst>
                </a:custGeom>
                <a:solidFill>
                  <a:srgbClr val="5C3E66"/>
                </a:solidFill>
                <a:ln w="1093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grpSp>
              <p:nvGrpSpPr>
                <p:cNvPr id="161" name="Graphic 39">
                  <a:extLst>
                    <a:ext uri="{FF2B5EF4-FFF2-40B4-BE49-F238E27FC236}">
                      <a16:creationId xmlns:a16="http://schemas.microsoft.com/office/drawing/2014/main" id="{3B9FD5A3-3AE7-4EA0-8A48-4F240B4F80EB}"/>
                    </a:ext>
                  </a:extLst>
                </p:cNvPr>
                <p:cNvGrpSpPr/>
                <p:nvPr/>
              </p:nvGrpSpPr>
              <p:grpSpPr>
                <a:xfrm>
                  <a:off x="6990266" y="2624211"/>
                  <a:ext cx="1188683" cy="617474"/>
                  <a:chOff x="6990266" y="2624211"/>
                  <a:chExt cx="1188683" cy="617474"/>
                </a:xfrm>
                <a:solidFill>
                  <a:schemeClr val="accent1"/>
                </a:solidFill>
              </p:grpSpPr>
              <p:sp>
                <p:nvSpPr>
                  <p:cNvPr id="162" name="Freeform: Shape 161">
                    <a:extLst>
                      <a:ext uri="{FF2B5EF4-FFF2-40B4-BE49-F238E27FC236}">
                        <a16:creationId xmlns:a16="http://schemas.microsoft.com/office/drawing/2014/main" id="{4D252888-2F66-4B98-8F75-54811482E48E}"/>
                      </a:ext>
                    </a:extLst>
                  </p:cNvPr>
                  <p:cNvSpPr/>
                  <p:nvPr/>
                </p:nvSpPr>
                <p:spPr>
                  <a:xfrm>
                    <a:off x="8058070" y="2624211"/>
                    <a:ext cx="120879" cy="560440"/>
                  </a:xfrm>
                  <a:custGeom>
                    <a:avLst/>
                    <a:gdLst>
                      <a:gd name="connsiteX0" fmla="*/ 103297 w 120879"/>
                      <a:gd name="connsiteY0" fmla="*/ 7143 h 560440"/>
                      <a:gd name="connsiteX1" fmla="*/ 83846 w 120879"/>
                      <a:gd name="connsiteY1" fmla="*/ 0 h 560440"/>
                      <a:gd name="connsiteX2" fmla="*/ 101209 w 120879"/>
                      <a:gd name="connsiteY2" fmla="*/ 44945 h 560440"/>
                      <a:gd name="connsiteX3" fmla="*/ 0 w 120879"/>
                      <a:gd name="connsiteY3" fmla="*/ 557803 h 560440"/>
                      <a:gd name="connsiteX4" fmla="*/ 19451 w 120879"/>
                      <a:gd name="connsiteY4" fmla="*/ 564946 h 560440"/>
                      <a:gd name="connsiteX5" fmla="*/ 120660 w 120879"/>
                      <a:gd name="connsiteY5" fmla="*/ 52088 h 560440"/>
                      <a:gd name="connsiteX6" fmla="*/ 103297 w 120879"/>
                      <a:gd name="connsiteY6" fmla="*/ 7143 h 560440"/>
                      <a:gd name="connsiteX7" fmla="*/ 103297 w 120879"/>
                      <a:gd name="connsiteY7" fmla="*/ 7143 h 56044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20879" h="560440">
                        <a:moveTo>
                          <a:pt x="103297" y="7143"/>
                        </a:moveTo>
                        <a:lnTo>
                          <a:pt x="83846" y="0"/>
                        </a:lnTo>
                        <a:cubicBezTo>
                          <a:pt x="101758" y="8681"/>
                          <a:pt x="104066" y="26044"/>
                          <a:pt x="101209" y="44945"/>
                        </a:cubicBezTo>
                        <a:lnTo>
                          <a:pt x="0" y="557803"/>
                        </a:lnTo>
                        <a:lnTo>
                          <a:pt x="19451" y="564946"/>
                        </a:lnTo>
                        <a:lnTo>
                          <a:pt x="120660" y="52088"/>
                        </a:lnTo>
                        <a:cubicBezTo>
                          <a:pt x="123517" y="33077"/>
                          <a:pt x="120989" y="15824"/>
                          <a:pt x="103297" y="7143"/>
                        </a:cubicBezTo>
                        <a:lnTo>
                          <a:pt x="103297" y="7143"/>
                        </a:lnTo>
                        <a:close/>
                      </a:path>
                    </a:pathLst>
                  </a:custGeom>
                  <a:solidFill>
                    <a:srgbClr val="DDD6DD"/>
                  </a:solidFill>
                  <a:ln w="1093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grpSp>
                <p:nvGrpSpPr>
                  <p:cNvPr id="163" name="Graphic 39">
                    <a:extLst>
                      <a:ext uri="{FF2B5EF4-FFF2-40B4-BE49-F238E27FC236}">
                        <a16:creationId xmlns:a16="http://schemas.microsoft.com/office/drawing/2014/main" id="{D875A8DC-A37D-4CA8-A862-7231D99B7911}"/>
                      </a:ext>
                    </a:extLst>
                  </p:cNvPr>
                  <p:cNvGrpSpPr/>
                  <p:nvPr/>
                </p:nvGrpSpPr>
                <p:grpSpPr>
                  <a:xfrm>
                    <a:off x="6990266" y="2659266"/>
                    <a:ext cx="1129892" cy="582419"/>
                    <a:chOff x="6990266" y="2659266"/>
                    <a:chExt cx="1129892" cy="582419"/>
                  </a:xfrm>
                  <a:solidFill>
                    <a:schemeClr val="accent1"/>
                  </a:solidFill>
                </p:grpSpPr>
                <p:sp>
                  <p:nvSpPr>
                    <p:cNvPr id="164" name="Freeform: Shape 163">
                      <a:extLst>
                        <a:ext uri="{FF2B5EF4-FFF2-40B4-BE49-F238E27FC236}">
                          <a16:creationId xmlns:a16="http://schemas.microsoft.com/office/drawing/2014/main" id="{9F53E437-9EB1-41D8-B424-EB4E8ABF7F4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003015" y="3183113"/>
                      <a:ext cx="65934" cy="54945"/>
                    </a:xfrm>
                    <a:custGeom>
                      <a:avLst/>
                      <a:gdLst>
                        <a:gd name="connsiteX0" fmla="*/ 13297 w 65934"/>
                        <a:gd name="connsiteY0" fmla="*/ 48022 h 54945"/>
                        <a:gd name="connsiteX1" fmla="*/ 0 w 65934"/>
                        <a:gd name="connsiteY1" fmla="*/ 48022 h 54945"/>
                        <a:gd name="connsiteX2" fmla="*/ 0 w 65934"/>
                        <a:gd name="connsiteY2" fmla="*/ 48462 h 54945"/>
                        <a:gd name="connsiteX3" fmla="*/ 0 w 65934"/>
                        <a:gd name="connsiteY3" fmla="*/ 55385 h 54945"/>
                        <a:gd name="connsiteX4" fmla="*/ 32198 w 65934"/>
                        <a:gd name="connsiteY4" fmla="*/ 55385 h 54945"/>
                        <a:gd name="connsiteX5" fmla="*/ 75495 w 65934"/>
                        <a:gd name="connsiteY5" fmla="*/ 7363 h 54945"/>
                        <a:gd name="connsiteX6" fmla="*/ 56593 w 65934"/>
                        <a:gd name="connsiteY6" fmla="*/ 0 h 54945"/>
                        <a:gd name="connsiteX7" fmla="*/ 13297 w 65934"/>
                        <a:gd name="connsiteY7" fmla="*/ 48022 h 54945"/>
                        <a:gd name="connsiteX8" fmla="*/ 13297 w 65934"/>
                        <a:gd name="connsiteY8" fmla="*/ 48022 h 5494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5934" h="54945">
                          <a:moveTo>
                            <a:pt x="13297" y="48022"/>
                          </a:moveTo>
                          <a:lnTo>
                            <a:pt x="0" y="48022"/>
                          </a:lnTo>
                          <a:lnTo>
                            <a:pt x="0" y="48462"/>
                          </a:lnTo>
                          <a:cubicBezTo>
                            <a:pt x="0" y="49451"/>
                            <a:pt x="0" y="51209"/>
                            <a:pt x="0" y="55385"/>
                          </a:cubicBezTo>
                          <a:lnTo>
                            <a:pt x="32198" y="55385"/>
                          </a:lnTo>
                          <a:cubicBezTo>
                            <a:pt x="55934" y="53297"/>
                            <a:pt x="69890" y="31539"/>
                            <a:pt x="75495" y="7363"/>
                          </a:cubicBezTo>
                          <a:lnTo>
                            <a:pt x="56593" y="0"/>
                          </a:lnTo>
                          <a:cubicBezTo>
                            <a:pt x="50989" y="23626"/>
                            <a:pt x="37253" y="45824"/>
                            <a:pt x="13297" y="48022"/>
                          </a:cubicBezTo>
                          <a:lnTo>
                            <a:pt x="13297" y="48022"/>
                          </a:lnTo>
                          <a:close/>
                        </a:path>
                      </a:pathLst>
                    </a:custGeom>
                    <a:solidFill>
                      <a:srgbClr val="CCC2CC"/>
                    </a:solidFill>
                    <a:ln w="10936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grpSp>
                  <p:nvGrpSpPr>
                    <p:cNvPr id="165" name="Graphic 39">
                      <a:extLst>
                        <a:ext uri="{FF2B5EF4-FFF2-40B4-BE49-F238E27FC236}">
                          <a16:creationId xmlns:a16="http://schemas.microsoft.com/office/drawing/2014/main" id="{59DBE5D4-A319-4C92-B9EA-E0E8EC942B2F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6990266" y="2659266"/>
                      <a:ext cx="1129892" cy="582419"/>
                      <a:chOff x="6990266" y="2659266"/>
                      <a:chExt cx="1129892" cy="582419"/>
                    </a:xfrm>
                    <a:solidFill>
                      <a:schemeClr val="accent1"/>
                    </a:solidFill>
                  </p:grpSpPr>
                  <p:sp>
                    <p:nvSpPr>
                      <p:cNvPr id="166" name="Freeform: Shape 165">
                        <a:extLst>
                          <a:ext uri="{FF2B5EF4-FFF2-40B4-BE49-F238E27FC236}">
                            <a16:creationId xmlns:a16="http://schemas.microsoft.com/office/drawing/2014/main" id="{B9A3C914-E037-4D8F-8CAF-F880347D2F7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990266" y="3198162"/>
                        <a:ext cx="1032969" cy="21978"/>
                      </a:xfrm>
                      <a:custGeom>
                        <a:avLst/>
                        <a:gdLst>
                          <a:gd name="connsiteX0" fmla="*/ 1026046 w 1032968"/>
                          <a:gd name="connsiteY0" fmla="*/ 29896 h 21978"/>
                          <a:gd name="connsiteX1" fmla="*/ 1033079 w 1032968"/>
                          <a:gd name="connsiteY1" fmla="*/ 22314 h 21978"/>
                          <a:gd name="connsiteX2" fmla="*/ 1033079 w 1032968"/>
                          <a:gd name="connsiteY2" fmla="*/ 3083 h 21978"/>
                          <a:gd name="connsiteX3" fmla="*/ 1030221 w 1032968"/>
                          <a:gd name="connsiteY3" fmla="*/ 6 h 21978"/>
                          <a:gd name="connsiteX4" fmla="*/ 976925 w 1032968"/>
                          <a:gd name="connsiteY4" fmla="*/ 6 h 21978"/>
                          <a:gd name="connsiteX5" fmla="*/ 970661 w 1032968"/>
                          <a:gd name="connsiteY5" fmla="*/ 6 h 21978"/>
                          <a:gd name="connsiteX6" fmla="*/ 502748 w 1032968"/>
                          <a:gd name="connsiteY6" fmla="*/ 6 h 21978"/>
                          <a:gd name="connsiteX7" fmla="*/ 439561 w 1032968"/>
                          <a:gd name="connsiteY7" fmla="*/ 6 h 21978"/>
                          <a:gd name="connsiteX8" fmla="*/ 349121 w 1032968"/>
                          <a:gd name="connsiteY8" fmla="*/ 6 h 21978"/>
                          <a:gd name="connsiteX9" fmla="*/ 349121 w 1032968"/>
                          <a:gd name="connsiteY9" fmla="*/ 14951 h 21978"/>
                          <a:gd name="connsiteX10" fmla="*/ 251649 w 1032968"/>
                          <a:gd name="connsiteY10" fmla="*/ 14951 h 21978"/>
                          <a:gd name="connsiteX11" fmla="*/ 251649 w 1032968"/>
                          <a:gd name="connsiteY11" fmla="*/ 6 h 21978"/>
                          <a:gd name="connsiteX12" fmla="*/ 2857 w 1032968"/>
                          <a:gd name="connsiteY12" fmla="*/ 6 h 21978"/>
                          <a:gd name="connsiteX13" fmla="*/ 0 w 1032968"/>
                          <a:gd name="connsiteY13" fmla="*/ 3083 h 21978"/>
                          <a:gd name="connsiteX14" fmla="*/ 0 w 1032968"/>
                          <a:gd name="connsiteY14" fmla="*/ 22314 h 21978"/>
                          <a:gd name="connsiteX15" fmla="*/ 7033 w 1032968"/>
                          <a:gd name="connsiteY15" fmla="*/ 29896 h 21978"/>
                          <a:gd name="connsiteX16" fmla="*/ 21429 w 1032968"/>
                          <a:gd name="connsiteY16" fmla="*/ 29896 h 21978"/>
                          <a:gd name="connsiteX17" fmla="*/ 1011870 w 1032968"/>
                          <a:gd name="connsiteY17" fmla="*/ 29896 h 21978"/>
                          <a:gd name="connsiteX18" fmla="*/ 1012089 w 1032968"/>
                          <a:gd name="connsiteY18" fmla="*/ 29896 h 21978"/>
                          <a:gd name="connsiteX19" fmla="*/ 1026046 w 1032968"/>
                          <a:gd name="connsiteY19" fmla="*/ 29896 h 21978"/>
                          <a:gd name="connsiteX20" fmla="*/ 1026046 w 1032968"/>
                          <a:gd name="connsiteY20" fmla="*/ 29896 h 2197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</a:cxnLst>
                        <a:rect l="l" t="t" r="r" b="b"/>
                        <a:pathLst>
                          <a:path w="1032968" h="21978">
                            <a:moveTo>
                              <a:pt x="1026046" y="29896"/>
                            </a:moveTo>
                            <a:cubicBezTo>
                              <a:pt x="1029892" y="29896"/>
                              <a:pt x="1033079" y="26489"/>
                              <a:pt x="1033079" y="22314"/>
                            </a:cubicBezTo>
                            <a:lnTo>
                              <a:pt x="1033079" y="3083"/>
                            </a:lnTo>
                            <a:cubicBezTo>
                              <a:pt x="1033079" y="1325"/>
                              <a:pt x="1031760" y="6"/>
                              <a:pt x="1030221" y="6"/>
                            </a:cubicBezTo>
                            <a:cubicBezTo>
                              <a:pt x="1010111" y="6"/>
                              <a:pt x="998903" y="6"/>
                              <a:pt x="976925" y="6"/>
                            </a:cubicBezTo>
                            <a:lnTo>
                              <a:pt x="970661" y="6"/>
                            </a:lnTo>
                            <a:cubicBezTo>
                              <a:pt x="952089" y="6"/>
                              <a:pt x="517913" y="6"/>
                              <a:pt x="502748" y="6"/>
                            </a:cubicBezTo>
                            <a:lnTo>
                              <a:pt x="439561" y="6"/>
                            </a:lnTo>
                            <a:lnTo>
                              <a:pt x="349121" y="6"/>
                            </a:lnTo>
                            <a:lnTo>
                              <a:pt x="349121" y="14951"/>
                            </a:lnTo>
                            <a:lnTo>
                              <a:pt x="251649" y="14951"/>
                            </a:lnTo>
                            <a:lnTo>
                              <a:pt x="251649" y="6"/>
                            </a:lnTo>
                            <a:cubicBezTo>
                              <a:pt x="201759" y="6"/>
                              <a:pt x="241429" y="6"/>
                              <a:pt x="2857" y="6"/>
                            </a:cubicBezTo>
                            <a:cubicBezTo>
                              <a:pt x="1319" y="-104"/>
                              <a:pt x="0" y="1325"/>
                              <a:pt x="0" y="3083"/>
                            </a:cubicBezTo>
                            <a:lnTo>
                              <a:pt x="0" y="22314"/>
                            </a:lnTo>
                            <a:cubicBezTo>
                              <a:pt x="0" y="26489"/>
                              <a:pt x="3077" y="29896"/>
                              <a:pt x="7033" y="29896"/>
                            </a:cubicBezTo>
                            <a:cubicBezTo>
                              <a:pt x="11648" y="29896"/>
                              <a:pt x="16484" y="29896"/>
                              <a:pt x="21429" y="29896"/>
                            </a:cubicBezTo>
                            <a:cubicBezTo>
                              <a:pt x="261429" y="29896"/>
                              <a:pt x="781650" y="29896"/>
                              <a:pt x="1011870" y="29896"/>
                            </a:cubicBezTo>
                            <a:cubicBezTo>
                              <a:pt x="1011980" y="29896"/>
                              <a:pt x="1011980" y="29896"/>
                              <a:pt x="1012089" y="29896"/>
                            </a:cubicBezTo>
                            <a:cubicBezTo>
                              <a:pt x="1053738" y="29896"/>
                              <a:pt x="1019342" y="29896"/>
                              <a:pt x="1026046" y="29896"/>
                            </a:cubicBezTo>
                            <a:lnTo>
                              <a:pt x="1026046" y="29896"/>
                            </a:lnTo>
                            <a:close/>
                          </a:path>
                        </a:pathLst>
                      </a:custGeom>
                      <a:solidFill>
                        <a:srgbClr val="CCC2CC"/>
                      </a:solidFill>
                      <a:ln w="10936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endParaRPr lang="en-US"/>
                      </a:p>
                    </p:txBody>
                  </p:sp>
                  <p:grpSp>
                    <p:nvGrpSpPr>
                      <p:cNvPr id="167" name="Graphic 39">
                        <a:extLst>
                          <a:ext uri="{FF2B5EF4-FFF2-40B4-BE49-F238E27FC236}">
                            <a16:creationId xmlns:a16="http://schemas.microsoft.com/office/drawing/2014/main" id="{635A7E8C-CA59-4B3A-B62A-9A6987961424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7010266" y="2659266"/>
                        <a:ext cx="1109892" cy="582419"/>
                        <a:chOff x="7010266" y="2659266"/>
                        <a:chExt cx="1109892" cy="582419"/>
                      </a:xfrm>
                      <a:solidFill>
                        <a:schemeClr val="accent1"/>
                      </a:solidFill>
                    </p:grpSpPr>
                    <p:sp>
                      <p:nvSpPr>
                        <p:cNvPr id="168" name="Freeform: Shape 167">
                          <a:extLst>
                            <a:ext uri="{FF2B5EF4-FFF2-40B4-BE49-F238E27FC236}">
                              <a16:creationId xmlns:a16="http://schemas.microsoft.com/office/drawing/2014/main" id="{99C35596-D384-4462-BDC6-38FF26C66503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7240926" y="3198058"/>
                          <a:ext cx="87912" cy="10989"/>
                        </a:xfrm>
                        <a:custGeom>
                          <a:avLst/>
                          <a:gdLst>
                            <a:gd name="connsiteX0" fmla="*/ 0 w 87912"/>
                            <a:gd name="connsiteY0" fmla="*/ 0 h 10989"/>
                            <a:gd name="connsiteX1" fmla="*/ 96594 w 87912"/>
                            <a:gd name="connsiteY1" fmla="*/ 0 h 10989"/>
                            <a:gd name="connsiteX2" fmla="*/ 96594 w 87912"/>
                            <a:gd name="connsiteY2" fmla="*/ 15055 h 10989"/>
                            <a:gd name="connsiteX3" fmla="*/ 0 w 87912"/>
                            <a:gd name="connsiteY3" fmla="*/ 15055 h 10989"/>
                            <a:gd name="connsiteX4" fmla="*/ 0 w 87912"/>
                            <a:gd name="connsiteY4" fmla="*/ 0 h 10989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</a:cxnLst>
                          <a:rect l="l" t="t" r="r" b="b"/>
                          <a:pathLst>
                            <a:path w="87912" h="10989">
                              <a:moveTo>
                                <a:pt x="0" y="0"/>
                              </a:moveTo>
                              <a:lnTo>
                                <a:pt x="96594" y="0"/>
                              </a:lnTo>
                              <a:lnTo>
                                <a:pt x="96594" y="15055"/>
                              </a:lnTo>
                              <a:lnTo>
                                <a:pt x="0" y="15055"/>
                              </a:lnTo>
                              <a:lnTo>
                                <a:pt x="0" y="0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E3DDE3"/>
                        </a:solidFill>
                        <a:ln w="10936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endParaRPr lang="en-US"/>
                        </a:p>
                      </p:txBody>
                    </p:sp>
                    <p:grpSp>
                      <p:nvGrpSpPr>
                        <p:cNvPr id="169" name="Graphic 39">
                          <a:extLst>
                            <a:ext uri="{FF2B5EF4-FFF2-40B4-BE49-F238E27FC236}">
                              <a16:creationId xmlns:a16="http://schemas.microsoft.com/office/drawing/2014/main" id="{2E637152-429E-4CA1-A2C2-FAB0CDD7BE63}"/>
                            </a:ext>
                          </a:extLst>
                        </p:cNvPr>
                        <p:cNvGrpSpPr/>
                        <p:nvPr/>
                      </p:nvGrpSpPr>
                      <p:grpSpPr>
                        <a:xfrm>
                          <a:off x="7010266" y="2659266"/>
                          <a:ext cx="1109892" cy="582419"/>
                          <a:chOff x="7010266" y="2659266"/>
                          <a:chExt cx="1109892" cy="582419"/>
                        </a:xfrm>
                        <a:solidFill>
                          <a:schemeClr val="accent1"/>
                        </a:solidFill>
                      </p:grpSpPr>
                      <p:sp>
                        <p:nvSpPr>
                          <p:cNvPr id="170" name="Freeform: Shape 169">
                            <a:extLst>
                              <a:ext uri="{FF2B5EF4-FFF2-40B4-BE49-F238E27FC236}">
                                <a16:creationId xmlns:a16="http://schemas.microsoft.com/office/drawing/2014/main" id="{EDAD1B34-5D96-42DB-A762-C325C854D6EC}"/>
                              </a:ext>
                            </a:extLst>
                          </p:cNvPr>
                          <p:cNvSpPr/>
                          <p:nvPr/>
                        </p:nvSpPr>
                        <p:spPr>
                          <a:xfrm>
                            <a:off x="7010266" y="3228058"/>
                            <a:ext cx="989013" cy="10989"/>
                          </a:xfrm>
                          <a:custGeom>
                            <a:avLst/>
                            <a:gdLst>
                              <a:gd name="connsiteX0" fmla="*/ 0 w 989012"/>
                              <a:gd name="connsiteY0" fmla="*/ 8901 h 10989"/>
                              <a:gd name="connsiteX1" fmla="*/ 7033 w 989012"/>
                              <a:gd name="connsiteY1" fmla="*/ 15714 h 10989"/>
                              <a:gd name="connsiteX2" fmla="*/ 986046 w 989012"/>
                              <a:gd name="connsiteY2" fmla="*/ 15714 h 10989"/>
                              <a:gd name="connsiteX3" fmla="*/ 993078 w 989012"/>
                              <a:gd name="connsiteY3" fmla="*/ 8901 h 10989"/>
                              <a:gd name="connsiteX4" fmla="*/ 993078 w 989012"/>
                              <a:gd name="connsiteY4" fmla="*/ 0 h 10989"/>
                              <a:gd name="connsiteX5" fmla="*/ 110 w 989012"/>
                              <a:gd name="connsiteY5" fmla="*/ 0 h 10989"/>
                              <a:gd name="connsiteX6" fmla="*/ 0 w 989012"/>
                              <a:gd name="connsiteY6" fmla="*/ 8901 h 10989"/>
                              <a:gd name="connsiteX7" fmla="*/ 0 w 989012"/>
                              <a:gd name="connsiteY7" fmla="*/ 8901 h 10989"/>
                              <a:gd name="connsiteX8" fmla="*/ 0 w 989012"/>
                              <a:gd name="connsiteY8" fmla="*/ 8901 h 10989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  <a:cxn ang="0">
                                <a:pos x="connsiteX2" y="connsiteY2"/>
                              </a:cxn>
                              <a:cxn ang="0">
                                <a:pos x="connsiteX3" y="connsiteY3"/>
                              </a:cxn>
                              <a:cxn ang="0">
                                <a:pos x="connsiteX4" y="connsiteY4"/>
                              </a:cxn>
                              <a:cxn ang="0">
                                <a:pos x="connsiteX5" y="connsiteY5"/>
                              </a:cxn>
                              <a:cxn ang="0">
                                <a:pos x="connsiteX6" y="connsiteY6"/>
                              </a:cxn>
                              <a:cxn ang="0">
                                <a:pos x="connsiteX7" y="connsiteY7"/>
                              </a:cxn>
                              <a:cxn ang="0">
                                <a:pos x="connsiteX8" y="connsiteY8"/>
                              </a:cxn>
                            </a:cxnLst>
                            <a:rect l="l" t="t" r="r" b="b"/>
                            <a:pathLst>
                              <a:path w="989012" h="10989">
                                <a:moveTo>
                                  <a:pt x="0" y="8901"/>
                                </a:moveTo>
                                <a:cubicBezTo>
                                  <a:pt x="0" y="12637"/>
                                  <a:pt x="3187" y="15714"/>
                                  <a:pt x="7033" y="15714"/>
                                </a:cubicBezTo>
                                <a:cubicBezTo>
                                  <a:pt x="96154" y="15714"/>
                                  <a:pt x="883518" y="15714"/>
                                  <a:pt x="986046" y="15714"/>
                                </a:cubicBezTo>
                                <a:cubicBezTo>
                                  <a:pt x="989892" y="15714"/>
                                  <a:pt x="993078" y="12637"/>
                                  <a:pt x="993078" y="8901"/>
                                </a:cubicBezTo>
                                <a:lnTo>
                                  <a:pt x="993078" y="0"/>
                                </a:lnTo>
                                <a:cubicBezTo>
                                  <a:pt x="762309" y="0"/>
                                  <a:pt x="240660" y="0"/>
                                  <a:pt x="110" y="0"/>
                                </a:cubicBezTo>
                                <a:lnTo>
                                  <a:pt x="0" y="8901"/>
                                </a:lnTo>
                                <a:lnTo>
                                  <a:pt x="0" y="8901"/>
                                </a:lnTo>
                                <a:lnTo>
                                  <a:pt x="0" y="8901"/>
                                </a:lnTo>
                                <a:close/>
                              </a:path>
                            </a:pathLst>
                          </a:custGeom>
                          <a:solidFill>
                            <a:srgbClr val="AE9EAE"/>
                          </a:solidFill>
                          <a:ln w="10936" cap="flat">
                            <a:noFill/>
                            <a:prstDash val="solid"/>
                            <a:miter/>
                          </a:ln>
                        </p:spPr>
                        <p:txBody>
                          <a:bodyPr rtlCol="0" anchor="ctr"/>
                          <a:lstStyle/>
                          <a:p>
                            <a:endParaRPr lang="en-US"/>
                          </a:p>
                        </p:txBody>
                      </p:sp>
                      <p:sp>
                        <p:nvSpPr>
                          <p:cNvPr id="171" name="Freeform: Shape 170">
                            <a:extLst>
                              <a:ext uri="{FF2B5EF4-FFF2-40B4-BE49-F238E27FC236}">
                                <a16:creationId xmlns:a16="http://schemas.microsoft.com/office/drawing/2014/main" id="{F5672F85-2D88-49B8-B210-55954523DF62}"/>
                              </a:ext>
                            </a:extLst>
                          </p:cNvPr>
                          <p:cNvSpPr/>
                          <p:nvPr/>
                        </p:nvSpPr>
                        <p:spPr>
                          <a:xfrm>
                            <a:off x="7461381" y="2659266"/>
                            <a:ext cx="659342" cy="494506"/>
                          </a:xfrm>
                          <a:custGeom>
                            <a:avLst/>
                            <a:gdLst>
                              <a:gd name="connsiteX0" fmla="*/ 661525 w 659341"/>
                              <a:gd name="connsiteY0" fmla="*/ 0 h 494506"/>
                              <a:gd name="connsiteX1" fmla="*/ 102293 w 659341"/>
                              <a:gd name="connsiteY1" fmla="*/ 0 h 494506"/>
                              <a:gd name="connsiteX2" fmla="*/ 92183 w 659341"/>
                              <a:gd name="connsiteY2" fmla="*/ 10879 h 494506"/>
                              <a:gd name="connsiteX3" fmla="*/ 315 w 659341"/>
                              <a:gd name="connsiteY3" fmla="*/ 493517 h 494506"/>
                              <a:gd name="connsiteX4" fmla="*/ 6249 w 659341"/>
                              <a:gd name="connsiteY4" fmla="*/ 504396 h 494506"/>
                              <a:gd name="connsiteX5" fmla="*/ 565480 w 659341"/>
                              <a:gd name="connsiteY5" fmla="*/ 504396 h 494506"/>
                              <a:gd name="connsiteX6" fmla="*/ 575590 w 659341"/>
                              <a:gd name="connsiteY6" fmla="*/ 493517 h 494506"/>
                              <a:gd name="connsiteX7" fmla="*/ 667459 w 659341"/>
                              <a:gd name="connsiteY7" fmla="*/ 10879 h 494506"/>
                              <a:gd name="connsiteX8" fmla="*/ 661525 w 659341"/>
                              <a:gd name="connsiteY8" fmla="*/ 0 h 494506"/>
                              <a:gd name="connsiteX9" fmla="*/ 661525 w 659341"/>
                              <a:gd name="connsiteY9" fmla="*/ 0 h 494506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  <a:cxn ang="0">
                                <a:pos x="connsiteX2" y="connsiteY2"/>
                              </a:cxn>
                              <a:cxn ang="0">
                                <a:pos x="connsiteX3" y="connsiteY3"/>
                              </a:cxn>
                              <a:cxn ang="0">
                                <a:pos x="connsiteX4" y="connsiteY4"/>
                              </a:cxn>
                              <a:cxn ang="0">
                                <a:pos x="connsiteX5" y="connsiteY5"/>
                              </a:cxn>
                              <a:cxn ang="0">
                                <a:pos x="connsiteX6" y="connsiteY6"/>
                              </a:cxn>
                              <a:cxn ang="0">
                                <a:pos x="connsiteX7" y="connsiteY7"/>
                              </a:cxn>
                              <a:cxn ang="0">
                                <a:pos x="connsiteX8" y="connsiteY8"/>
                              </a:cxn>
                              <a:cxn ang="0">
                                <a:pos x="connsiteX9" y="connsiteY9"/>
                              </a:cxn>
                            </a:cxnLst>
                            <a:rect l="l" t="t" r="r" b="b"/>
                            <a:pathLst>
                              <a:path w="659341" h="494506">
                                <a:moveTo>
                                  <a:pt x="661525" y="0"/>
                                </a:moveTo>
                                <a:cubicBezTo>
                                  <a:pt x="593612" y="0"/>
                                  <a:pt x="169216" y="0"/>
                                  <a:pt x="102293" y="0"/>
                                </a:cubicBezTo>
                                <a:cubicBezTo>
                                  <a:pt x="95919" y="549"/>
                                  <a:pt x="93721" y="4725"/>
                                  <a:pt x="92183" y="10879"/>
                                </a:cubicBezTo>
                                <a:lnTo>
                                  <a:pt x="315" y="493517"/>
                                </a:lnTo>
                                <a:cubicBezTo>
                                  <a:pt x="-564" y="499561"/>
                                  <a:pt x="95" y="503847"/>
                                  <a:pt x="6249" y="504396"/>
                                </a:cubicBezTo>
                                <a:cubicBezTo>
                                  <a:pt x="73392" y="504396"/>
                                  <a:pt x="496579" y="504396"/>
                                  <a:pt x="565480" y="504396"/>
                                </a:cubicBezTo>
                                <a:cubicBezTo>
                                  <a:pt x="571964" y="503847"/>
                                  <a:pt x="574052" y="499781"/>
                                  <a:pt x="575590" y="493517"/>
                                </a:cubicBezTo>
                                <a:lnTo>
                                  <a:pt x="667459" y="10879"/>
                                </a:lnTo>
                                <a:cubicBezTo>
                                  <a:pt x="668338" y="4615"/>
                                  <a:pt x="667898" y="549"/>
                                  <a:pt x="661525" y="0"/>
                                </a:cubicBezTo>
                                <a:lnTo>
                                  <a:pt x="661525" y="0"/>
                                </a:lnTo>
                                <a:close/>
                              </a:path>
                            </a:pathLst>
                          </a:custGeom>
                          <a:solidFill>
                            <a:srgbClr val="C2D9ED"/>
                          </a:solidFill>
                          <a:ln w="10936" cap="flat">
                            <a:noFill/>
                            <a:prstDash val="solid"/>
                            <a:miter/>
                          </a:ln>
                        </p:spPr>
                        <p:txBody>
                          <a:bodyPr rtlCol="0" anchor="ctr"/>
                          <a:lstStyle/>
                          <a:p>
                            <a:endParaRPr lang="en-US"/>
                          </a:p>
                        </p:txBody>
                      </p:sp>
                    </p:grpSp>
                  </p:grpSp>
                </p:grpSp>
              </p:grpSp>
            </p:grpSp>
          </p:grpSp>
        </p:grpSp>
        <p:grpSp>
          <p:nvGrpSpPr>
            <p:cNvPr id="146" name="Group 145">
              <a:extLst>
                <a:ext uri="{FF2B5EF4-FFF2-40B4-BE49-F238E27FC236}">
                  <a16:creationId xmlns:a16="http://schemas.microsoft.com/office/drawing/2014/main" id="{5BCA7C36-4672-40C4-A91A-2D148055689E}"/>
                </a:ext>
              </a:extLst>
            </p:cNvPr>
            <p:cNvGrpSpPr/>
            <p:nvPr/>
          </p:nvGrpSpPr>
          <p:grpSpPr>
            <a:xfrm>
              <a:off x="7599803" y="2800984"/>
              <a:ext cx="300614" cy="297416"/>
              <a:chOff x="1929632" y="3044153"/>
              <a:chExt cx="362720" cy="358861"/>
            </a:xfrm>
          </p:grpSpPr>
          <p:sp>
            <p:nvSpPr>
              <p:cNvPr id="155" name="Freeform: Shape 154">
                <a:extLst>
                  <a:ext uri="{FF2B5EF4-FFF2-40B4-BE49-F238E27FC236}">
                    <a16:creationId xmlns:a16="http://schemas.microsoft.com/office/drawing/2014/main" id="{075AA491-AE4E-4120-8C66-FE4A9B115712}"/>
                  </a:ext>
                </a:extLst>
              </p:cNvPr>
              <p:cNvSpPr/>
              <p:nvPr/>
            </p:nvSpPr>
            <p:spPr>
              <a:xfrm>
                <a:off x="1929632" y="3044153"/>
                <a:ext cx="362720" cy="358861"/>
              </a:xfrm>
              <a:custGeom>
                <a:avLst/>
                <a:gdLst>
                  <a:gd name="connsiteX0" fmla="*/ 1537 w 895350"/>
                  <a:gd name="connsiteY0" fmla="*/ 319278 h 885825"/>
                  <a:gd name="connsiteX1" fmla="*/ 870 w 895350"/>
                  <a:gd name="connsiteY1" fmla="*/ 588645 h 885825"/>
                  <a:gd name="connsiteX2" fmla="*/ 73356 w 895350"/>
                  <a:gd name="connsiteY2" fmla="*/ 779240 h 885825"/>
                  <a:gd name="connsiteX3" fmla="*/ 250616 w 895350"/>
                  <a:gd name="connsiteY3" fmla="*/ 889921 h 885825"/>
                  <a:gd name="connsiteX4" fmla="*/ 561226 w 895350"/>
                  <a:gd name="connsiteY4" fmla="*/ 890397 h 885825"/>
                  <a:gd name="connsiteX5" fmla="*/ 654381 w 895350"/>
                  <a:gd name="connsiteY5" fmla="*/ 890207 h 885825"/>
                  <a:gd name="connsiteX6" fmla="*/ 858501 w 895350"/>
                  <a:gd name="connsiteY6" fmla="*/ 727329 h 885825"/>
                  <a:gd name="connsiteX7" fmla="*/ 889077 w 895350"/>
                  <a:gd name="connsiteY7" fmla="*/ 623316 h 885825"/>
                  <a:gd name="connsiteX8" fmla="*/ 888029 w 895350"/>
                  <a:gd name="connsiteY8" fmla="*/ 276892 h 885825"/>
                  <a:gd name="connsiteX9" fmla="*/ 572656 w 895350"/>
                  <a:gd name="connsiteY9" fmla="*/ 1810 h 885825"/>
                  <a:gd name="connsiteX10" fmla="*/ 449117 w 895350"/>
                  <a:gd name="connsiteY10" fmla="*/ 0 h 885825"/>
                  <a:gd name="connsiteX11" fmla="*/ 301860 w 895350"/>
                  <a:gd name="connsiteY11" fmla="*/ 3524 h 885825"/>
                  <a:gd name="connsiteX12" fmla="*/ 1537 w 895350"/>
                  <a:gd name="connsiteY12" fmla="*/ 319278 h 885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895350" h="885825">
                    <a:moveTo>
                      <a:pt x="1537" y="319278"/>
                    </a:moveTo>
                    <a:cubicBezTo>
                      <a:pt x="1061" y="409099"/>
                      <a:pt x="-1225" y="498920"/>
                      <a:pt x="870" y="588645"/>
                    </a:cubicBezTo>
                    <a:cubicBezTo>
                      <a:pt x="2490" y="659797"/>
                      <a:pt x="27731" y="723709"/>
                      <a:pt x="73356" y="779240"/>
                    </a:cubicBezTo>
                    <a:cubicBezTo>
                      <a:pt x="120123" y="836105"/>
                      <a:pt x="182512" y="867442"/>
                      <a:pt x="250616" y="889921"/>
                    </a:cubicBezTo>
                    <a:cubicBezTo>
                      <a:pt x="354153" y="894017"/>
                      <a:pt x="457689" y="894302"/>
                      <a:pt x="561226" y="890397"/>
                    </a:cubicBezTo>
                    <a:cubicBezTo>
                      <a:pt x="592278" y="901446"/>
                      <a:pt x="623329" y="889730"/>
                      <a:pt x="654381" y="890207"/>
                    </a:cubicBezTo>
                    <a:cubicBezTo>
                      <a:pt x="742106" y="860584"/>
                      <a:pt x="811829" y="808387"/>
                      <a:pt x="858501" y="727329"/>
                    </a:cubicBezTo>
                    <a:cubicBezTo>
                      <a:pt x="871741" y="693515"/>
                      <a:pt x="886695" y="660083"/>
                      <a:pt x="889077" y="623316"/>
                    </a:cubicBezTo>
                    <a:cubicBezTo>
                      <a:pt x="896506" y="507778"/>
                      <a:pt x="902221" y="391382"/>
                      <a:pt x="888029" y="276892"/>
                    </a:cubicBezTo>
                    <a:cubicBezTo>
                      <a:pt x="867360" y="109442"/>
                      <a:pt x="741915" y="5048"/>
                      <a:pt x="572656" y="1810"/>
                    </a:cubicBezTo>
                    <a:cubicBezTo>
                      <a:pt x="531508" y="1048"/>
                      <a:pt x="490265" y="572"/>
                      <a:pt x="449117" y="0"/>
                    </a:cubicBezTo>
                    <a:cubicBezTo>
                      <a:pt x="400063" y="1143"/>
                      <a:pt x="350914" y="1905"/>
                      <a:pt x="301860" y="3524"/>
                    </a:cubicBezTo>
                    <a:cubicBezTo>
                      <a:pt x="130982" y="8954"/>
                      <a:pt x="-939" y="148019"/>
                      <a:pt x="1537" y="319278"/>
                    </a:cubicBezTo>
                  </a:path>
                </a:pathLst>
              </a:custGeom>
              <a:solidFill>
                <a:schemeClr val="tx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56" name="Oval 155">
                <a:extLst>
                  <a:ext uri="{FF2B5EF4-FFF2-40B4-BE49-F238E27FC236}">
                    <a16:creationId xmlns:a16="http://schemas.microsoft.com/office/drawing/2014/main" id="{096BD6F7-3507-45AB-80BB-03C8865ACE9C}"/>
                  </a:ext>
                </a:extLst>
              </p:cNvPr>
              <p:cNvSpPr/>
              <p:nvPr/>
            </p:nvSpPr>
            <p:spPr>
              <a:xfrm>
                <a:off x="2070040" y="3286418"/>
                <a:ext cx="72901" cy="72901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1218026">
                  <a:lnSpc>
                    <a:spcPts val="3000"/>
                  </a:lnSpc>
                  <a:tabLst>
                    <a:tab pos="367135" algn="l"/>
                  </a:tabLst>
                </a:pPr>
                <a:endParaRPr lang="en-US" sz="2800" b="1" spc="-150">
                  <a:solidFill>
                    <a:schemeClr val="tx2"/>
                  </a:solidFill>
                  <a:latin typeface="+mj-lt"/>
                  <a:ea typeface="+mj-ea"/>
                  <a:cs typeface="+mj-cs"/>
                </a:endParaRPr>
              </a:p>
            </p:txBody>
          </p:sp>
          <p:sp>
            <p:nvSpPr>
              <p:cNvPr id="157" name="Oval 77">
                <a:extLst>
                  <a:ext uri="{FF2B5EF4-FFF2-40B4-BE49-F238E27FC236}">
                    <a16:creationId xmlns:a16="http://schemas.microsoft.com/office/drawing/2014/main" id="{57ACFE8E-57C1-4494-9A8E-E9A42A363699}"/>
                  </a:ext>
                </a:extLst>
              </p:cNvPr>
              <p:cNvSpPr/>
              <p:nvPr/>
            </p:nvSpPr>
            <p:spPr>
              <a:xfrm>
                <a:off x="2070040" y="3086580"/>
                <a:ext cx="72901" cy="177858"/>
              </a:xfrm>
              <a:custGeom>
                <a:avLst/>
                <a:gdLst>
                  <a:gd name="connsiteX0" fmla="*/ 0 w 179952"/>
                  <a:gd name="connsiteY0" fmla="*/ 89976 h 179952"/>
                  <a:gd name="connsiteX1" fmla="*/ 89976 w 179952"/>
                  <a:gd name="connsiteY1" fmla="*/ 0 h 179952"/>
                  <a:gd name="connsiteX2" fmla="*/ 179952 w 179952"/>
                  <a:gd name="connsiteY2" fmla="*/ 89976 h 179952"/>
                  <a:gd name="connsiteX3" fmla="*/ 89976 w 179952"/>
                  <a:gd name="connsiteY3" fmla="*/ 179952 h 179952"/>
                  <a:gd name="connsiteX4" fmla="*/ 0 w 179952"/>
                  <a:gd name="connsiteY4" fmla="*/ 89976 h 179952"/>
                  <a:gd name="connsiteX0" fmla="*/ 0 w 179952"/>
                  <a:gd name="connsiteY0" fmla="*/ 89976 h 439032"/>
                  <a:gd name="connsiteX1" fmla="*/ 89976 w 179952"/>
                  <a:gd name="connsiteY1" fmla="*/ 0 h 439032"/>
                  <a:gd name="connsiteX2" fmla="*/ 179952 w 179952"/>
                  <a:gd name="connsiteY2" fmla="*/ 89976 h 439032"/>
                  <a:gd name="connsiteX3" fmla="*/ 89976 w 179952"/>
                  <a:gd name="connsiteY3" fmla="*/ 439032 h 439032"/>
                  <a:gd name="connsiteX4" fmla="*/ 0 w 179952"/>
                  <a:gd name="connsiteY4" fmla="*/ 89976 h 4390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9952" h="439032">
                    <a:moveTo>
                      <a:pt x="0" y="89976"/>
                    </a:moveTo>
                    <a:cubicBezTo>
                      <a:pt x="0" y="16804"/>
                      <a:pt x="40284" y="0"/>
                      <a:pt x="89976" y="0"/>
                    </a:cubicBezTo>
                    <a:cubicBezTo>
                      <a:pt x="139668" y="0"/>
                      <a:pt x="179952" y="40284"/>
                      <a:pt x="179952" y="89976"/>
                    </a:cubicBezTo>
                    <a:cubicBezTo>
                      <a:pt x="179952" y="139668"/>
                      <a:pt x="139668" y="439032"/>
                      <a:pt x="89976" y="439032"/>
                    </a:cubicBezTo>
                    <a:cubicBezTo>
                      <a:pt x="40284" y="439032"/>
                      <a:pt x="0" y="163148"/>
                      <a:pt x="0" y="89976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1218026">
                  <a:lnSpc>
                    <a:spcPts val="3000"/>
                  </a:lnSpc>
                  <a:tabLst>
                    <a:tab pos="367135" algn="l"/>
                  </a:tabLst>
                </a:pPr>
                <a:endParaRPr lang="en-US" sz="2800" b="1" spc="-150">
                  <a:solidFill>
                    <a:schemeClr val="tx2"/>
                  </a:solidFill>
                  <a:latin typeface="+mj-lt"/>
                  <a:ea typeface="+mj-ea"/>
                  <a:cs typeface="+mj-cs"/>
                </a:endParaRPr>
              </a:p>
            </p:txBody>
          </p:sp>
        </p:grpSp>
        <p:grpSp>
          <p:nvGrpSpPr>
            <p:cNvPr id="147" name="Graphic 39">
              <a:extLst>
                <a:ext uri="{FF2B5EF4-FFF2-40B4-BE49-F238E27FC236}">
                  <a16:creationId xmlns:a16="http://schemas.microsoft.com/office/drawing/2014/main" id="{327D27DE-1B99-4BC2-AAED-15A2D353006F}"/>
                </a:ext>
              </a:extLst>
            </p:cNvPr>
            <p:cNvGrpSpPr/>
            <p:nvPr/>
          </p:nvGrpSpPr>
          <p:grpSpPr>
            <a:xfrm>
              <a:off x="6917137" y="2533759"/>
              <a:ext cx="659342" cy="659342"/>
              <a:chOff x="7006969" y="2488276"/>
              <a:chExt cx="659342" cy="659342"/>
            </a:xfrm>
            <a:solidFill>
              <a:schemeClr val="accent1"/>
            </a:solidFill>
          </p:grpSpPr>
          <p:sp>
            <p:nvSpPr>
              <p:cNvPr id="148" name="Freeform: Shape 147">
                <a:extLst>
                  <a:ext uri="{FF2B5EF4-FFF2-40B4-BE49-F238E27FC236}">
                    <a16:creationId xmlns:a16="http://schemas.microsoft.com/office/drawing/2014/main" id="{3E83981A-8BA4-4DB1-9AEA-6E4A94AF5A3D}"/>
                  </a:ext>
                </a:extLst>
              </p:cNvPr>
              <p:cNvSpPr/>
              <p:nvPr/>
            </p:nvSpPr>
            <p:spPr>
              <a:xfrm>
                <a:off x="7006969" y="2488276"/>
                <a:ext cx="494506" cy="494506"/>
              </a:xfrm>
              <a:custGeom>
                <a:avLst/>
                <a:gdLst>
                  <a:gd name="connsiteX0" fmla="*/ 0 w 494506"/>
                  <a:gd name="connsiteY0" fmla="*/ 277693 h 494506"/>
                  <a:gd name="connsiteX1" fmla="*/ 0 w 494506"/>
                  <a:gd name="connsiteY1" fmla="*/ 227473 h 494506"/>
                  <a:gd name="connsiteX2" fmla="*/ 40769 w 494506"/>
                  <a:gd name="connsiteY2" fmla="*/ 210330 h 494506"/>
                  <a:gd name="connsiteX3" fmla="*/ 87583 w 494506"/>
                  <a:gd name="connsiteY3" fmla="*/ 173737 h 494506"/>
                  <a:gd name="connsiteX4" fmla="*/ 85714 w 494506"/>
                  <a:gd name="connsiteY4" fmla="*/ 152198 h 494506"/>
                  <a:gd name="connsiteX5" fmla="*/ 61099 w 494506"/>
                  <a:gd name="connsiteY5" fmla="*/ 115495 h 494506"/>
                  <a:gd name="connsiteX6" fmla="*/ 62198 w 494506"/>
                  <a:gd name="connsiteY6" fmla="*/ 87253 h 494506"/>
                  <a:gd name="connsiteX7" fmla="*/ 107473 w 494506"/>
                  <a:gd name="connsiteY7" fmla="*/ 57473 h 494506"/>
                  <a:gd name="connsiteX8" fmla="*/ 117802 w 494506"/>
                  <a:gd name="connsiteY8" fmla="*/ 62857 h 494506"/>
                  <a:gd name="connsiteX9" fmla="*/ 146044 w 494506"/>
                  <a:gd name="connsiteY9" fmla="*/ 81539 h 494506"/>
                  <a:gd name="connsiteX10" fmla="*/ 207033 w 494506"/>
                  <a:gd name="connsiteY10" fmla="*/ 56703 h 494506"/>
                  <a:gd name="connsiteX11" fmla="*/ 227363 w 494506"/>
                  <a:gd name="connsiteY11" fmla="*/ 0 h 494506"/>
                  <a:gd name="connsiteX12" fmla="*/ 277583 w 494506"/>
                  <a:gd name="connsiteY12" fmla="*/ 0 h 494506"/>
                  <a:gd name="connsiteX13" fmla="*/ 293407 w 494506"/>
                  <a:gd name="connsiteY13" fmla="*/ 30330 h 494506"/>
                  <a:gd name="connsiteX14" fmla="*/ 300989 w 494506"/>
                  <a:gd name="connsiteY14" fmla="*/ 67802 h 494506"/>
                  <a:gd name="connsiteX15" fmla="*/ 306924 w 494506"/>
                  <a:gd name="connsiteY15" fmla="*/ 77033 h 494506"/>
                  <a:gd name="connsiteX16" fmla="*/ 370001 w 494506"/>
                  <a:gd name="connsiteY16" fmla="*/ 74396 h 494506"/>
                  <a:gd name="connsiteX17" fmla="*/ 377253 w 494506"/>
                  <a:gd name="connsiteY17" fmla="*/ 69451 h 494506"/>
                  <a:gd name="connsiteX18" fmla="*/ 433407 w 494506"/>
                  <a:gd name="connsiteY18" fmla="*/ 75385 h 494506"/>
                  <a:gd name="connsiteX19" fmla="*/ 440550 w 494506"/>
                  <a:gd name="connsiteY19" fmla="*/ 82747 h 494506"/>
                  <a:gd name="connsiteX20" fmla="*/ 443737 w 494506"/>
                  <a:gd name="connsiteY20" fmla="*/ 116154 h 494506"/>
                  <a:gd name="connsiteX21" fmla="*/ 418682 w 494506"/>
                  <a:gd name="connsiteY21" fmla="*/ 154286 h 494506"/>
                  <a:gd name="connsiteX22" fmla="*/ 415056 w 494506"/>
                  <a:gd name="connsiteY22" fmla="*/ 166264 h 494506"/>
                  <a:gd name="connsiteX23" fmla="*/ 460990 w 494506"/>
                  <a:gd name="connsiteY23" fmla="*/ 210440 h 494506"/>
                  <a:gd name="connsiteX24" fmla="*/ 505056 w 494506"/>
                  <a:gd name="connsiteY24" fmla="*/ 263627 h 494506"/>
                  <a:gd name="connsiteX25" fmla="*/ 481539 w 494506"/>
                  <a:gd name="connsiteY25" fmla="*/ 291979 h 494506"/>
                  <a:gd name="connsiteX26" fmla="*/ 465605 w 494506"/>
                  <a:gd name="connsiteY26" fmla="*/ 294946 h 494506"/>
                  <a:gd name="connsiteX27" fmla="*/ 417583 w 494506"/>
                  <a:gd name="connsiteY27" fmla="*/ 332198 h 494506"/>
                  <a:gd name="connsiteX28" fmla="*/ 419781 w 494506"/>
                  <a:gd name="connsiteY28" fmla="*/ 353627 h 494506"/>
                  <a:gd name="connsiteX29" fmla="*/ 442858 w 494506"/>
                  <a:gd name="connsiteY29" fmla="*/ 389451 h 494506"/>
                  <a:gd name="connsiteX30" fmla="*/ 414396 w 494506"/>
                  <a:gd name="connsiteY30" fmla="*/ 376264 h 494506"/>
                  <a:gd name="connsiteX31" fmla="*/ 394286 w 494506"/>
                  <a:gd name="connsiteY31" fmla="*/ 369891 h 494506"/>
                  <a:gd name="connsiteX32" fmla="*/ 377253 w 494506"/>
                  <a:gd name="connsiteY32" fmla="*/ 415495 h 494506"/>
                  <a:gd name="connsiteX33" fmla="*/ 389341 w 494506"/>
                  <a:gd name="connsiteY33" fmla="*/ 433847 h 494506"/>
                  <a:gd name="connsiteX34" fmla="*/ 389451 w 494506"/>
                  <a:gd name="connsiteY34" fmla="*/ 442858 h 494506"/>
                  <a:gd name="connsiteX35" fmla="*/ 352308 w 494506"/>
                  <a:gd name="connsiteY35" fmla="*/ 419122 h 494506"/>
                  <a:gd name="connsiteX36" fmla="*/ 339012 w 494506"/>
                  <a:gd name="connsiteY36" fmla="*/ 414946 h 494506"/>
                  <a:gd name="connsiteX37" fmla="*/ 296044 w 494506"/>
                  <a:gd name="connsiteY37" fmla="*/ 459781 h 494506"/>
                  <a:gd name="connsiteX38" fmla="*/ 295715 w 494506"/>
                  <a:gd name="connsiteY38" fmla="*/ 461210 h 494506"/>
                  <a:gd name="connsiteX39" fmla="*/ 240110 w 494506"/>
                  <a:gd name="connsiteY39" fmla="*/ 505056 h 494506"/>
                  <a:gd name="connsiteX40" fmla="*/ 214506 w 494506"/>
                  <a:gd name="connsiteY40" fmla="*/ 485385 h 494506"/>
                  <a:gd name="connsiteX41" fmla="*/ 210220 w 494506"/>
                  <a:gd name="connsiteY41" fmla="*/ 465275 h 494506"/>
                  <a:gd name="connsiteX42" fmla="*/ 172967 w 494506"/>
                  <a:gd name="connsiteY42" fmla="*/ 417583 h 494506"/>
                  <a:gd name="connsiteX43" fmla="*/ 151649 w 494506"/>
                  <a:gd name="connsiteY43" fmla="*/ 419891 h 494506"/>
                  <a:gd name="connsiteX44" fmla="*/ 113517 w 494506"/>
                  <a:gd name="connsiteY44" fmla="*/ 444946 h 494506"/>
                  <a:gd name="connsiteX45" fmla="*/ 82857 w 494506"/>
                  <a:gd name="connsiteY45" fmla="*/ 440221 h 494506"/>
                  <a:gd name="connsiteX46" fmla="*/ 57473 w 494506"/>
                  <a:gd name="connsiteY46" fmla="*/ 397253 h 494506"/>
                  <a:gd name="connsiteX47" fmla="*/ 63736 w 494506"/>
                  <a:gd name="connsiteY47" fmla="*/ 385715 h 494506"/>
                  <a:gd name="connsiteX48" fmla="*/ 86484 w 494506"/>
                  <a:gd name="connsiteY48" fmla="*/ 351319 h 494506"/>
                  <a:gd name="connsiteX49" fmla="*/ 90769 w 494506"/>
                  <a:gd name="connsiteY49" fmla="*/ 340770 h 494506"/>
                  <a:gd name="connsiteX50" fmla="*/ 75055 w 494506"/>
                  <a:gd name="connsiteY50" fmla="*/ 304506 h 494506"/>
                  <a:gd name="connsiteX51" fmla="*/ 51868 w 494506"/>
                  <a:gd name="connsiteY51" fmla="*/ 297583 h 494506"/>
                  <a:gd name="connsiteX52" fmla="*/ 0 w 494506"/>
                  <a:gd name="connsiteY52" fmla="*/ 277693 h 494506"/>
                  <a:gd name="connsiteX53" fmla="*/ 251429 w 494506"/>
                  <a:gd name="connsiteY53" fmla="*/ 363297 h 494506"/>
                  <a:gd name="connsiteX54" fmla="*/ 363187 w 494506"/>
                  <a:gd name="connsiteY54" fmla="*/ 254176 h 494506"/>
                  <a:gd name="connsiteX55" fmla="*/ 252638 w 494506"/>
                  <a:gd name="connsiteY55" fmla="*/ 141868 h 494506"/>
                  <a:gd name="connsiteX56" fmla="*/ 141868 w 494506"/>
                  <a:gd name="connsiteY56" fmla="*/ 251539 h 494506"/>
                  <a:gd name="connsiteX57" fmla="*/ 251429 w 494506"/>
                  <a:gd name="connsiteY57" fmla="*/ 363297 h 494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</a:cxnLst>
                <a:rect l="l" t="t" r="r" b="b"/>
                <a:pathLst>
                  <a:path w="494506" h="494506">
                    <a:moveTo>
                      <a:pt x="0" y="277693"/>
                    </a:moveTo>
                    <a:cubicBezTo>
                      <a:pt x="0" y="260989"/>
                      <a:pt x="0" y="244286"/>
                      <a:pt x="0" y="227473"/>
                    </a:cubicBezTo>
                    <a:cubicBezTo>
                      <a:pt x="10659" y="214726"/>
                      <a:pt x="25824" y="211319"/>
                      <a:pt x="40769" y="210330"/>
                    </a:cubicBezTo>
                    <a:cubicBezTo>
                      <a:pt x="65495" y="208792"/>
                      <a:pt x="81209" y="198901"/>
                      <a:pt x="87583" y="173737"/>
                    </a:cubicBezTo>
                    <a:cubicBezTo>
                      <a:pt x="89670" y="165385"/>
                      <a:pt x="90989" y="159451"/>
                      <a:pt x="85714" y="152198"/>
                    </a:cubicBezTo>
                    <a:cubicBezTo>
                      <a:pt x="77033" y="140330"/>
                      <a:pt x="69341" y="127802"/>
                      <a:pt x="61099" y="115495"/>
                    </a:cubicBezTo>
                    <a:cubicBezTo>
                      <a:pt x="54506" y="105714"/>
                      <a:pt x="53407" y="95055"/>
                      <a:pt x="62198" y="87253"/>
                    </a:cubicBezTo>
                    <a:cubicBezTo>
                      <a:pt x="75714" y="75165"/>
                      <a:pt x="83517" y="53407"/>
                      <a:pt x="107473" y="57473"/>
                    </a:cubicBezTo>
                    <a:cubicBezTo>
                      <a:pt x="111099" y="58132"/>
                      <a:pt x="114506" y="60769"/>
                      <a:pt x="117802" y="62857"/>
                    </a:cubicBezTo>
                    <a:cubicBezTo>
                      <a:pt x="127253" y="69011"/>
                      <a:pt x="136594" y="75275"/>
                      <a:pt x="146044" y="81539"/>
                    </a:cubicBezTo>
                    <a:cubicBezTo>
                      <a:pt x="169011" y="97033"/>
                      <a:pt x="200989" y="83517"/>
                      <a:pt x="207033" y="56703"/>
                    </a:cubicBezTo>
                    <a:cubicBezTo>
                      <a:pt x="211429" y="37033"/>
                      <a:pt x="210000" y="15055"/>
                      <a:pt x="227363" y="0"/>
                    </a:cubicBezTo>
                    <a:cubicBezTo>
                      <a:pt x="244066" y="0"/>
                      <a:pt x="260770" y="0"/>
                      <a:pt x="277583" y="0"/>
                    </a:cubicBezTo>
                    <a:cubicBezTo>
                      <a:pt x="286704" y="8132"/>
                      <a:pt x="291869" y="17912"/>
                      <a:pt x="293407" y="30330"/>
                    </a:cubicBezTo>
                    <a:cubicBezTo>
                      <a:pt x="294946" y="42967"/>
                      <a:pt x="298462" y="55275"/>
                      <a:pt x="300989" y="67802"/>
                    </a:cubicBezTo>
                    <a:cubicBezTo>
                      <a:pt x="301759" y="71758"/>
                      <a:pt x="302638" y="75055"/>
                      <a:pt x="306924" y="77033"/>
                    </a:cubicBezTo>
                    <a:cubicBezTo>
                      <a:pt x="328462" y="87033"/>
                      <a:pt x="349781" y="97583"/>
                      <a:pt x="370001" y="74396"/>
                    </a:cubicBezTo>
                    <a:cubicBezTo>
                      <a:pt x="371869" y="72308"/>
                      <a:pt x="374836" y="71099"/>
                      <a:pt x="377253" y="69451"/>
                    </a:cubicBezTo>
                    <a:cubicBezTo>
                      <a:pt x="405275" y="50769"/>
                      <a:pt x="409341" y="51099"/>
                      <a:pt x="433407" y="75385"/>
                    </a:cubicBezTo>
                    <a:cubicBezTo>
                      <a:pt x="435825" y="77802"/>
                      <a:pt x="438242" y="80330"/>
                      <a:pt x="440550" y="82747"/>
                    </a:cubicBezTo>
                    <a:cubicBezTo>
                      <a:pt x="450440" y="93077"/>
                      <a:pt x="451539" y="104176"/>
                      <a:pt x="443737" y="116154"/>
                    </a:cubicBezTo>
                    <a:cubicBezTo>
                      <a:pt x="435385" y="128901"/>
                      <a:pt x="426924" y="141539"/>
                      <a:pt x="418682" y="154286"/>
                    </a:cubicBezTo>
                    <a:cubicBezTo>
                      <a:pt x="416374" y="157802"/>
                      <a:pt x="412968" y="160989"/>
                      <a:pt x="415056" y="166264"/>
                    </a:cubicBezTo>
                    <a:cubicBezTo>
                      <a:pt x="423627" y="188022"/>
                      <a:pt x="430550" y="207363"/>
                      <a:pt x="460990" y="210440"/>
                    </a:cubicBezTo>
                    <a:cubicBezTo>
                      <a:pt x="505825" y="214945"/>
                      <a:pt x="505935" y="218242"/>
                      <a:pt x="505056" y="263627"/>
                    </a:cubicBezTo>
                    <a:cubicBezTo>
                      <a:pt x="504726" y="281209"/>
                      <a:pt x="498902" y="288352"/>
                      <a:pt x="481539" y="291979"/>
                    </a:cubicBezTo>
                    <a:cubicBezTo>
                      <a:pt x="476264" y="293077"/>
                      <a:pt x="470990" y="294726"/>
                      <a:pt x="465605" y="294946"/>
                    </a:cubicBezTo>
                    <a:cubicBezTo>
                      <a:pt x="440770" y="296044"/>
                      <a:pt x="423627" y="305715"/>
                      <a:pt x="417583" y="332198"/>
                    </a:cubicBezTo>
                    <a:cubicBezTo>
                      <a:pt x="415715" y="340550"/>
                      <a:pt x="414616" y="346374"/>
                      <a:pt x="419781" y="353627"/>
                    </a:cubicBezTo>
                    <a:cubicBezTo>
                      <a:pt x="428023" y="365165"/>
                      <a:pt x="435166" y="377473"/>
                      <a:pt x="442858" y="389451"/>
                    </a:cubicBezTo>
                    <a:cubicBezTo>
                      <a:pt x="429671" y="393297"/>
                      <a:pt x="423957" y="380550"/>
                      <a:pt x="414396" y="376264"/>
                    </a:cubicBezTo>
                    <a:cubicBezTo>
                      <a:pt x="407803" y="373407"/>
                      <a:pt x="402528" y="367583"/>
                      <a:pt x="394286" y="369891"/>
                    </a:cubicBezTo>
                    <a:cubicBezTo>
                      <a:pt x="373737" y="375715"/>
                      <a:pt x="365495" y="397693"/>
                      <a:pt x="377253" y="415495"/>
                    </a:cubicBezTo>
                    <a:cubicBezTo>
                      <a:pt x="381319" y="421649"/>
                      <a:pt x="385385" y="427693"/>
                      <a:pt x="389341" y="433847"/>
                    </a:cubicBezTo>
                    <a:cubicBezTo>
                      <a:pt x="391209" y="436814"/>
                      <a:pt x="393078" y="439781"/>
                      <a:pt x="389451" y="442858"/>
                    </a:cubicBezTo>
                    <a:cubicBezTo>
                      <a:pt x="377034" y="434946"/>
                      <a:pt x="364726" y="426924"/>
                      <a:pt x="352308" y="419122"/>
                    </a:cubicBezTo>
                    <a:cubicBezTo>
                      <a:pt x="348242" y="416594"/>
                      <a:pt x="344616" y="412638"/>
                      <a:pt x="339012" y="414946"/>
                    </a:cubicBezTo>
                    <a:cubicBezTo>
                      <a:pt x="317913" y="423407"/>
                      <a:pt x="294506" y="429561"/>
                      <a:pt x="296044" y="459781"/>
                    </a:cubicBezTo>
                    <a:cubicBezTo>
                      <a:pt x="296044" y="460221"/>
                      <a:pt x="295825" y="460770"/>
                      <a:pt x="295715" y="461210"/>
                    </a:cubicBezTo>
                    <a:cubicBezTo>
                      <a:pt x="286704" y="506265"/>
                      <a:pt x="286704" y="506045"/>
                      <a:pt x="240110" y="505056"/>
                    </a:cubicBezTo>
                    <a:cubicBezTo>
                      <a:pt x="226154" y="504726"/>
                      <a:pt x="218022" y="498353"/>
                      <a:pt x="214506" y="485385"/>
                    </a:cubicBezTo>
                    <a:cubicBezTo>
                      <a:pt x="212748" y="478792"/>
                      <a:pt x="210440" y="471979"/>
                      <a:pt x="210220" y="465275"/>
                    </a:cubicBezTo>
                    <a:cubicBezTo>
                      <a:pt x="209671" y="439781"/>
                      <a:pt x="198792" y="423957"/>
                      <a:pt x="172967" y="417583"/>
                    </a:cubicBezTo>
                    <a:cubicBezTo>
                      <a:pt x="164396" y="415495"/>
                      <a:pt x="158791" y="414946"/>
                      <a:pt x="151649" y="419891"/>
                    </a:cubicBezTo>
                    <a:cubicBezTo>
                      <a:pt x="139231" y="428682"/>
                      <a:pt x="126484" y="436924"/>
                      <a:pt x="113517" y="444946"/>
                    </a:cubicBezTo>
                    <a:cubicBezTo>
                      <a:pt x="102308" y="451869"/>
                      <a:pt x="91429" y="449561"/>
                      <a:pt x="82857" y="440221"/>
                    </a:cubicBezTo>
                    <a:cubicBezTo>
                      <a:pt x="71319" y="427803"/>
                      <a:pt x="52967" y="418902"/>
                      <a:pt x="57473" y="397253"/>
                    </a:cubicBezTo>
                    <a:cubicBezTo>
                      <a:pt x="58352" y="393187"/>
                      <a:pt x="61319" y="389341"/>
                      <a:pt x="63736" y="385715"/>
                    </a:cubicBezTo>
                    <a:cubicBezTo>
                      <a:pt x="71209" y="374176"/>
                      <a:pt x="78901" y="362858"/>
                      <a:pt x="86484" y="351319"/>
                    </a:cubicBezTo>
                    <a:cubicBezTo>
                      <a:pt x="88572" y="348132"/>
                      <a:pt x="92198" y="344616"/>
                      <a:pt x="90769" y="340770"/>
                    </a:cubicBezTo>
                    <a:cubicBezTo>
                      <a:pt x="86154" y="328352"/>
                      <a:pt x="82088" y="315385"/>
                      <a:pt x="75055" y="304506"/>
                    </a:cubicBezTo>
                    <a:cubicBezTo>
                      <a:pt x="70769" y="297803"/>
                      <a:pt x="59780" y="299781"/>
                      <a:pt x="51868" y="297583"/>
                    </a:cubicBezTo>
                    <a:cubicBezTo>
                      <a:pt x="33956" y="292858"/>
                      <a:pt x="13187" y="295055"/>
                      <a:pt x="0" y="277693"/>
                    </a:cubicBezTo>
                    <a:close/>
                    <a:moveTo>
                      <a:pt x="251429" y="363297"/>
                    </a:moveTo>
                    <a:cubicBezTo>
                      <a:pt x="313517" y="363407"/>
                      <a:pt x="362968" y="315165"/>
                      <a:pt x="363187" y="254176"/>
                    </a:cubicBezTo>
                    <a:cubicBezTo>
                      <a:pt x="363407" y="192308"/>
                      <a:pt x="313737" y="141868"/>
                      <a:pt x="252638" y="141868"/>
                    </a:cubicBezTo>
                    <a:cubicBezTo>
                      <a:pt x="192967" y="141868"/>
                      <a:pt x="142198" y="192198"/>
                      <a:pt x="141868" y="251539"/>
                    </a:cubicBezTo>
                    <a:cubicBezTo>
                      <a:pt x="141429" y="312418"/>
                      <a:pt x="191209" y="363187"/>
                      <a:pt x="251429" y="363297"/>
                    </a:cubicBezTo>
                    <a:close/>
                  </a:path>
                </a:pathLst>
              </a:custGeom>
              <a:solidFill>
                <a:srgbClr val="BFBFBF"/>
              </a:solidFill>
              <a:ln w="109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9" name="Freeform: Shape 148">
                <a:extLst>
                  <a:ext uri="{FF2B5EF4-FFF2-40B4-BE49-F238E27FC236}">
                    <a16:creationId xmlns:a16="http://schemas.microsoft.com/office/drawing/2014/main" id="{88FE5BE5-7B60-4F98-8949-EDD9388D229D}"/>
                  </a:ext>
                </a:extLst>
              </p:cNvPr>
              <p:cNvSpPr/>
              <p:nvPr/>
            </p:nvSpPr>
            <p:spPr>
              <a:xfrm>
                <a:off x="7339161" y="2820553"/>
                <a:ext cx="329671" cy="329671"/>
              </a:xfrm>
              <a:custGeom>
                <a:avLst/>
                <a:gdLst>
                  <a:gd name="connsiteX0" fmla="*/ 149017 w 329670"/>
                  <a:gd name="connsiteY0" fmla="*/ 332120 h 329670"/>
                  <a:gd name="connsiteX1" fmla="*/ 136270 w 329670"/>
                  <a:gd name="connsiteY1" fmla="*/ 295526 h 329670"/>
                  <a:gd name="connsiteX2" fmla="*/ 95391 w 329670"/>
                  <a:gd name="connsiteY2" fmla="*/ 278933 h 329670"/>
                  <a:gd name="connsiteX3" fmla="*/ 86820 w 329670"/>
                  <a:gd name="connsiteY3" fmla="*/ 284647 h 329670"/>
                  <a:gd name="connsiteX4" fmla="*/ 40116 w 329670"/>
                  <a:gd name="connsiteY4" fmla="*/ 273988 h 329670"/>
                  <a:gd name="connsiteX5" fmla="*/ 39567 w 329670"/>
                  <a:gd name="connsiteY5" fmla="*/ 257504 h 329670"/>
                  <a:gd name="connsiteX6" fmla="*/ 50116 w 329670"/>
                  <a:gd name="connsiteY6" fmla="*/ 241570 h 329670"/>
                  <a:gd name="connsiteX7" fmla="*/ 51435 w 329670"/>
                  <a:gd name="connsiteY7" fmla="*/ 203109 h 329670"/>
                  <a:gd name="connsiteX8" fmla="*/ 42204 w 329670"/>
                  <a:gd name="connsiteY8" fmla="*/ 196955 h 329670"/>
                  <a:gd name="connsiteX9" fmla="*/ 24841 w 329670"/>
                  <a:gd name="connsiteY9" fmla="*/ 193548 h 329670"/>
                  <a:gd name="connsiteX10" fmla="*/ 6 w 329670"/>
                  <a:gd name="connsiteY10" fmla="*/ 163658 h 329670"/>
                  <a:gd name="connsiteX11" fmla="*/ 20775 w 329670"/>
                  <a:gd name="connsiteY11" fmla="*/ 139372 h 329670"/>
                  <a:gd name="connsiteX12" fmla="*/ 32314 w 329670"/>
                  <a:gd name="connsiteY12" fmla="*/ 137175 h 329670"/>
                  <a:gd name="connsiteX13" fmla="*/ 57479 w 329670"/>
                  <a:gd name="connsiteY13" fmla="*/ 110801 h 329670"/>
                  <a:gd name="connsiteX14" fmla="*/ 57369 w 329670"/>
                  <a:gd name="connsiteY14" fmla="*/ 101790 h 329670"/>
                  <a:gd name="connsiteX15" fmla="*/ 45281 w 329670"/>
                  <a:gd name="connsiteY15" fmla="*/ 83438 h 329670"/>
                  <a:gd name="connsiteX16" fmla="*/ 62314 w 329670"/>
                  <a:gd name="connsiteY16" fmla="*/ 37834 h 329670"/>
                  <a:gd name="connsiteX17" fmla="*/ 82424 w 329670"/>
                  <a:gd name="connsiteY17" fmla="*/ 44207 h 329670"/>
                  <a:gd name="connsiteX18" fmla="*/ 110885 w 329670"/>
                  <a:gd name="connsiteY18" fmla="*/ 57394 h 329670"/>
                  <a:gd name="connsiteX19" fmla="*/ 138248 w 329670"/>
                  <a:gd name="connsiteY19" fmla="*/ 27834 h 329670"/>
                  <a:gd name="connsiteX20" fmla="*/ 163853 w 329670"/>
                  <a:gd name="connsiteY20" fmla="*/ 31 h 329670"/>
                  <a:gd name="connsiteX21" fmla="*/ 193633 w 329670"/>
                  <a:gd name="connsiteY21" fmla="*/ 24757 h 329670"/>
                  <a:gd name="connsiteX22" fmla="*/ 216930 w 329670"/>
                  <a:gd name="connsiteY22" fmla="*/ 57174 h 329670"/>
                  <a:gd name="connsiteX23" fmla="*/ 232974 w 329670"/>
                  <a:gd name="connsiteY23" fmla="*/ 55636 h 329670"/>
                  <a:gd name="connsiteX24" fmla="*/ 245281 w 329670"/>
                  <a:gd name="connsiteY24" fmla="*/ 47504 h 329670"/>
                  <a:gd name="connsiteX25" fmla="*/ 291985 w 329670"/>
                  <a:gd name="connsiteY25" fmla="*/ 57504 h 329670"/>
                  <a:gd name="connsiteX26" fmla="*/ 291985 w 329670"/>
                  <a:gd name="connsiteY26" fmla="*/ 75526 h 329670"/>
                  <a:gd name="connsiteX27" fmla="*/ 282204 w 329670"/>
                  <a:gd name="connsiteY27" fmla="*/ 90251 h 329670"/>
                  <a:gd name="connsiteX28" fmla="*/ 280776 w 329670"/>
                  <a:gd name="connsiteY28" fmla="*/ 128823 h 329670"/>
                  <a:gd name="connsiteX29" fmla="*/ 297150 w 329670"/>
                  <a:gd name="connsiteY29" fmla="*/ 136295 h 329670"/>
                  <a:gd name="connsiteX30" fmla="*/ 332205 w 329670"/>
                  <a:gd name="connsiteY30" fmla="*/ 148933 h 329670"/>
                  <a:gd name="connsiteX31" fmla="*/ 332205 w 329670"/>
                  <a:gd name="connsiteY31" fmla="*/ 181350 h 329670"/>
                  <a:gd name="connsiteX32" fmla="*/ 293743 w 329670"/>
                  <a:gd name="connsiteY32" fmla="*/ 196186 h 329670"/>
                  <a:gd name="connsiteX33" fmla="*/ 281325 w 329670"/>
                  <a:gd name="connsiteY33" fmla="*/ 202449 h 329670"/>
                  <a:gd name="connsiteX34" fmla="*/ 281655 w 329670"/>
                  <a:gd name="connsiteY34" fmla="*/ 240911 h 329670"/>
                  <a:gd name="connsiteX35" fmla="*/ 291545 w 329670"/>
                  <a:gd name="connsiteY35" fmla="*/ 255526 h 329670"/>
                  <a:gd name="connsiteX36" fmla="*/ 292314 w 329670"/>
                  <a:gd name="connsiteY36" fmla="*/ 273548 h 329670"/>
                  <a:gd name="connsiteX37" fmla="*/ 245831 w 329670"/>
                  <a:gd name="connsiteY37" fmla="*/ 284977 h 329670"/>
                  <a:gd name="connsiteX38" fmla="*/ 235941 w 329670"/>
                  <a:gd name="connsiteY38" fmla="*/ 278494 h 329670"/>
                  <a:gd name="connsiteX39" fmla="*/ 196050 w 329670"/>
                  <a:gd name="connsiteY39" fmla="*/ 294977 h 329670"/>
                  <a:gd name="connsiteX40" fmla="*/ 181655 w 329670"/>
                  <a:gd name="connsiteY40" fmla="*/ 332010 h 329670"/>
                  <a:gd name="connsiteX41" fmla="*/ 149017 w 329670"/>
                  <a:gd name="connsiteY41" fmla="*/ 332120 h 329670"/>
                  <a:gd name="connsiteX42" fmla="*/ 83523 w 329670"/>
                  <a:gd name="connsiteY42" fmla="*/ 165746 h 329670"/>
                  <a:gd name="connsiteX43" fmla="*/ 164951 w 329670"/>
                  <a:gd name="connsiteY43" fmla="*/ 249263 h 329670"/>
                  <a:gd name="connsiteX44" fmla="*/ 249237 w 329670"/>
                  <a:gd name="connsiteY44" fmla="*/ 166405 h 329670"/>
                  <a:gd name="connsiteX45" fmla="*/ 167149 w 329670"/>
                  <a:gd name="connsiteY45" fmla="*/ 83548 h 329670"/>
                  <a:gd name="connsiteX46" fmla="*/ 83523 w 329670"/>
                  <a:gd name="connsiteY46" fmla="*/ 165746 h 329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</a:cxnLst>
                <a:rect l="l" t="t" r="r" b="b"/>
                <a:pathLst>
                  <a:path w="329670" h="329670">
                    <a:moveTo>
                      <a:pt x="149017" y="332120"/>
                    </a:moveTo>
                    <a:cubicBezTo>
                      <a:pt x="138798" y="322010"/>
                      <a:pt x="138908" y="308274"/>
                      <a:pt x="136270" y="295526"/>
                    </a:cubicBezTo>
                    <a:cubicBezTo>
                      <a:pt x="132314" y="276406"/>
                      <a:pt x="111765" y="268054"/>
                      <a:pt x="95391" y="278933"/>
                    </a:cubicBezTo>
                    <a:cubicBezTo>
                      <a:pt x="92534" y="280801"/>
                      <a:pt x="89567" y="282559"/>
                      <a:pt x="86820" y="284647"/>
                    </a:cubicBezTo>
                    <a:cubicBezTo>
                      <a:pt x="63852" y="301790"/>
                      <a:pt x="60226" y="296625"/>
                      <a:pt x="40116" y="273988"/>
                    </a:cubicBezTo>
                    <a:cubicBezTo>
                      <a:pt x="35830" y="269153"/>
                      <a:pt x="36050" y="262999"/>
                      <a:pt x="39567" y="257504"/>
                    </a:cubicBezTo>
                    <a:cubicBezTo>
                      <a:pt x="42973" y="252120"/>
                      <a:pt x="45611" y="245856"/>
                      <a:pt x="50116" y="241570"/>
                    </a:cubicBezTo>
                    <a:cubicBezTo>
                      <a:pt x="63413" y="228823"/>
                      <a:pt x="57369" y="216186"/>
                      <a:pt x="51435" y="203109"/>
                    </a:cubicBezTo>
                    <a:cubicBezTo>
                      <a:pt x="49457" y="198823"/>
                      <a:pt x="46050" y="197724"/>
                      <a:pt x="42204" y="196955"/>
                    </a:cubicBezTo>
                    <a:cubicBezTo>
                      <a:pt x="36490" y="195746"/>
                      <a:pt x="30666" y="194647"/>
                      <a:pt x="24841" y="193548"/>
                    </a:cubicBezTo>
                    <a:cubicBezTo>
                      <a:pt x="1764" y="189263"/>
                      <a:pt x="336" y="186845"/>
                      <a:pt x="6" y="163658"/>
                    </a:cubicBezTo>
                    <a:cubicBezTo>
                      <a:pt x="-214" y="148603"/>
                      <a:pt x="5391" y="140361"/>
                      <a:pt x="20775" y="139372"/>
                    </a:cubicBezTo>
                    <a:cubicBezTo>
                      <a:pt x="24622" y="139153"/>
                      <a:pt x="28468" y="137175"/>
                      <a:pt x="32314" y="137175"/>
                    </a:cubicBezTo>
                    <a:cubicBezTo>
                      <a:pt x="49896" y="137065"/>
                      <a:pt x="54732" y="124867"/>
                      <a:pt x="57479" y="110801"/>
                    </a:cubicBezTo>
                    <a:cubicBezTo>
                      <a:pt x="61215" y="107834"/>
                      <a:pt x="59347" y="104757"/>
                      <a:pt x="57369" y="101790"/>
                    </a:cubicBezTo>
                    <a:cubicBezTo>
                      <a:pt x="53413" y="95636"/>
                      <a:pt x="49237" y="89592"/>
                      <a:pt x="45281" y="83438"/>
                    </a:cubicBezTo>
                    <a:cubicBezTo>
                      <a:pt x="33523" y="65636"/>
                      <a:pt x="41764" y="43658"/>
                      <a:pt x="62314" y="37834"/>
                    </a:cubicBezTo>
                    <a:cubicBezTo>
                      <a:pt x="70556" y="35526"/>
                      <a:pt x="75831" y="41350"/>
                      <a:pt x="82424" y="44207"/>
                    </a:cubicBezTo>
                    <a:cubicBezTo>
                      <a:pt x="91984" y="48383"/>
                      <a:pt x="97589" y="61240"/>
                      <a:pt x="110885" y="57394"/>
                    </a:cubicBezTo>
                    <a:cubicBezTo>
                      <a:pt x="128248" y="55196"/>
                      <a:pt x="136050" y="45966"/>
                      <a:pt x="138248" y="27834"/>
                    </a:cubicBezTo>
                    <a:cubicBezTo>
                      <a:pt x="141325" y="2229"/>
                      <a:pt x="144732" y="361"/>
                      <a:pt x="163853" y="31"/>
                    </a:cubicBezTo>
                    <a:cubicBezTo>
                      <a:pt x="187039" y="-298"/>
                      <a:pt x="189787" y="1570"/>
                      <a:pt x="193633" y="24757"/>
                    </a:cubicBezTo>
                    <a:cubicBezTo>
                      <a:pt x="196050" y="39702"/>
                      <a:pt x="198248" y="53548"/>
                      <a:pt x="216930" y="57174"/>
                    </a:cubicBezTo>
                    <a:cubicBezTo>
                      <a:pt x="222974" y="58383"/>
                      <a:pt x="227699" y="60141"/>
                      <a:pt x="232974" y="55636"/>
                    </a:cubicBezTo>
                    <a:cubicBezTo>
                      <a:pt x="236710" y="52449"/>
                      <a:pt x="241215" y="50251"/>
                      <a:pt x="245281" y="47504"/>
                    </a:cubicBezTo>
                    <a:cubicBezTo>
                      <a:pt x="266930" y="33218"/>
                      <a:pt x="278139" y="35636"/>
                      <a:pt x="291985" y="57504"/>
                    </a:cubicBezTo>
                    <a:cubicBezTo>
                      <a:pt x="295831" y="63548"/>
                      <a:pt x="295611" y="69592"/>
                      <a:pt x="291985" y="75526"/>
                    </a:cubicBezTo>
                    <a:cubicBezTo>
                      <a:pt x="288908" y="80581"/>
                      <a:pt x="286380" y="86295"/>
                      <a:pt x="282204" y="90251"/>
                    </a:cubicBezTo>
                    <a:cubicBezTo>
                      <a:pt x="268798" y="102889"/>
                      <a:pt x="274732" y="115526"/>
                      <a:pt x="280776" y="128823"/>
                    </a:cubicBezTo>
                    <a:cubicBezTo>
                      <a:pt x="284292" y="136515"/>
                      <a:pt x="291435" y="134867"/>
                      <a:pt x="297150" y="136295"/>
                    </a:cubicBezTo>
                    <a:cubicBezTo>
                      <a:pt x="309347" y="139372"/>
                      <a:pt x="322534" y="139153"/>
                      <a:pt x="332205" y="148933"/>
                    </a:cubicBezTo>
                    <a:cubicBezTo>
                      <a:pt x="332205" y="159702"/>
                      <a:pt x="332205" y="170581"/>
                      <a:pt x="332205" y="181350"/>
                    </a:cubicBezTo>
                    <a:cubicBezTo>
                      <a:pt x="322644" y="194757"/>
                      <a:pt x="306930" y="192120"/>
                      <a:pt x="293743" y="196186"/>
                    </a:cubicBezTo>
                    <a:cubicBezTo>
                      <a:pt x="289237" y="197614"/>
                      <a:pt x="283743" y="196955"/>
                      <a:pt x="281325" y="202449"/>
                    </a:cubicBezTo>
                    <a:cubicBezTo>
                      <a:pt x="275501" y="215307"/>
                      <a:pt x="268139" y="227944"/>
                      <a:pt x="281655" y="240911"/>
                    </a:cubicBezTo>
                    <a:cubicBezTo>
                      <a:pt x="285831" y="244867"/>
                      <a:pt x="288358" y="250471"/>
                      <a:pt x="291545" y="255526"/>
                    </a:cubicBezTo>
                    <a:cubicBezTo>
                      <a:pt x="295172" y="261351"/>
                      <a:pt x="295831" y="267285"/>
                      <a:pt x="292314" y="273548"/>
                    </a:cubicBezTo>
                    <a:cubicBezTo>
                      <a:pt x="280336" y="295197"/>
                      <a:pt x="266380" y="298603"/>
                      <a:pt x="245831" y="284977"/>
                    </a:cubicBezTo>
                    <a:cubicBezTo>
                      <a:pt x="242534" y="282779"/>
                      <a:pt x="239237" y="280691"/>
                      <a:pt x="235941" y="278494"/>
                    </a:cubicBezTo>
                    <a:cubicBezTo>
                      <a:pt x="220556" y="268384"/>
                      <a:pt x="200556" y="277175"/>
                      <a:pt x="196050" y="294977"/>
                    </a:cubicBezTo>
                    <a:cubicBezTo>
                      <a:pt x="192864" y="307834"/>
                      <a:pt x="194842" y="322999"/>
                      <a:pt x="181655" y="332010"/>
                    </a:cubicBezTo>
                    <a:cubicBezTo>
                      <a:pt x="170666" y="332120"/>
                      <a:pt x="159787" y="332120"/>
                      <a:pt x="149017" y="332120"/>
                    </a:cubicBezTo>
                    <a:close/>
                    <a:moveTo>
                      <a:pt x="83523" y="165746"/>
                    </a:moveTo>
                    <a:cubicBezTo>
                      <a:pt x="83413" y="211351"/>
                      <a:pt x="119896" y="248823"/>
                      <a:pt x="164951" y="249263"/>
                    </a:cubicBezTo>
                    <a:cubicBezTo>
                      <a:pt x="210556" y="249702"/>
                      <a:pt x="248798" y="212120"/>
                      <a:pt x="249237" y="166405"/>
                    </a:cubicBezTo>
                    <a:cubicBezTo>
                      <a:pt x="249567" y="121350"/>
                      <a:pt x="212424" y="83878"/>
                      <a:pt x="167149" y="83548"/>
                    </a:cubicBezTo>
                    <a:cubicBezTo>
                      <a:pt x="119457" y="83328"/>
                      <a:pt x="83743" y="118493"/>
                      <a:pt x="83523" y="165746"/>
                    </a:cubicBezTo>
                    <a:close/>
                  </a:path>
                </a:pathLst>
              </a:custGeom>
              <a:solidFill>
                <a:srgbClr val="5E7FAC"/>
              </a:solidFill>
              <a:ln w="109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50" name="Freeform: Shape 149">
                <a:extLst>
                  <a:ext uri="{FF2B5EF4-FFF2-40B4-BE49-F238E27FC236}">
                    <a16:creationId xmlns:a16="http://schemas.microsoft.com/office/drawing/2014/main" id="{2A771042-91C3-4F6F-AD79-72CA2A2A7F10}"/>
                  </a:ext>
                </a:extLst>
              </p:cNvPr>
              <p:cNvSpPr/>
              <p:nvPr/>
            </p:nvSpPr>
            <p:spPr>
              <a:xfrm>
                <a:off x="7148726" y="2630145"/>
                <a:ext cx="219781" cy="219781"/>
              </a:xfrm>
              <a:custGeom>
                <a:avLst/>
                <a:gdLst>
                  <a:gd name="connsiteX0" fmla="*/ 109672 w 219780"/>
                  <a:gd name="connsiteY0" fmla="*/ 221429 h 219780"/>
                  <a:gd name="connsiteX1" fmla="*/ 2 w 219780"/>
                  <a:gd name="connsiteY1" fmla="*/ 109671 h 219780"/>
                  <a:gd name="connsiteX2" fmla="*/ 110771 w 219780"/>
                  <a:gd name="connsiteY2" fmla="*/ 0 h 219780"/>
                  <a:gd name="connsiteX3" fmla="*/ 221321 w 219780"/>
                  <a:gd name="connsiteY3" fmla="*/ 112308 h 219780"/>
                  <a:gd name="connsiteX4" fmla="*/ 109672 w 219780"/>
                  <a:gd name="connsiteY4" fmla="*/ 221429 h 219780"/>
                  <a:gd name="connsiteX5" fmla="*/ 101211 w 219780"/>
                  <a:gd name="connsiteY5" fmla="*/ 56703 h 219780"/>
                  <a:gd name="connsiteX6" fmla="*/ 55936 w 219780"/>
                  <a:gd name="connsiteY6" fmla="*/ 111649 h 219780"/>
                  <a:gd name="connsiteX7" fmla="*/ 96925 w 219780"/>
                  <a:gd name="connsiteY7" fmla="*/ 163627 h 219780"/>
                  <a:gd name="connsiteX8" fmla="*/ 127145 w 219780"/>
                  <a:gd name="connsiteY8" fmla="*/ 163517 h 219780"/>
                  <a:gd name="connsiteX9" fmla="*/ 164947 w 219780"/>
                  <a:gd name="connsiteY9" fmla="*/ 100110 h 219780"/>
                  <a:gd name="connsiteX10" fmla="*/ 101211 w 219780"/>
                  <a:gd name="connsiteY10" fmla="*/ 56703 h 219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19780" h="219780">
                    <a:moveTo>
                      <a:pt x="109672" y="221429"/>
                    </a:moveTo>
                    <a:cubicBezTo>
                      <a:pt x="49562" y="221319"/>
                      <a:pt x="-328" y="170440"/>
                      <a:pt x="2" y="109671"/>
                    </a:cubicBezTo>
                    <a:cubicBezTo>
                      <a:pt x="331" y="50330"/>
                      <a:pt x="51210" y="0"/>
                      <a:pt x="110771" y="0"/>
                    </a:cubicBezTo>
                    <a:cubicBezTo>
                      <a:pt x="171980" y="0"/>
                      <a:pt x="221540" y="50440"/>
                      <a:pt x="221321" y="112308"/>
                    </a:cubicBezTo>
                    <a:cubicBezTo>
                      <a:pt x="221211" y="173407"/>
                      <a:pt x="171760" y="221649"/>
                      <a:pt x="109672" y="221429"/>
                    </a:cubicBezTo>
                    <a:close/>
                    <a:moveTo>
                      <a:pt x="101211" y="56703"/>
                    </a:moveTo>
                    <a:cubicBezTo>
                      <a:pt x="71320" y="65275"/>
                      <a:pt x="55716" y="84176"/>
                      <a:pt x="55936" y="111649"/>
                    </a:cubicBezTo>
                    <a:cubicBezTo>
                      <a:pt x="56156" y="137143"/>
                      <a:pt x="72090" y="157363"/>
                      <a:pt x="96925" y="163627"/>
                    </a:cubicBezTo>
                    <a:cubicBezTo>
                      <a:pt x="107035" y="167143"/>
                      <a:pt x="117145" y="166594"/>
                      <a:pt x="127145" y="163517"/>
                    </a:cubicBezTo>
                    <a:cubicBezTo>
                      <a:pt x="154178" y="155165"/>
                      <a:pt x="170112" y="128242"/>
                      <a:pt x="164947" y="100110"/>
                    </a:cubicBezTo>
                    <a:cubicBezTo>
                      <a:pt x="159782" y="71539"/>
                      <a:pt x="134288" y="54176"/>
                      <a:pt x="101211" y="56703"/>
                    </a:cubicBezTo>
                    <a:close/>
                  </a:path>
                </a:pathLst>
              </a:custGeom>
              <a:solidFill>
                <a:srgbClr val="E1E1E1"/>
              </a:solidFill>
              <a:ln w="109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51" name="Freeform: Shape 150">
                <a:extLst>
                  <a:ext uri="{FF2B5EF4-FFF2-40B4-BE49-F238E27FC236}">
                    <a16:creationId xmlns:a16="http://schemas.microsoft.com/office/drawing/2014/main" id="{1C10BF01-F9E0-4186-A00B-7B1E8C7A8DE9}"/>
                  </a:ext>
                </a:extLst>
              </p:cNvPr>
              <p:cNvSpPr/>
              <p:nvPr/>
            </p:nvSpPr>
            <p:spPr>
              <a:xfrm>
                <a:off x="7422684" y="2904209"/>
                <a:ext cx="164835" cy="164835"/>
              </a:xfrm>
              <a:custGeom>
                <a:avLst/>
                <a:gdLst>
                  <a:gd name="connsiteX0" fmla="*/ 0 w 164835"/>
                  <a:gd name="connsiteY0" fmla="*/ 82090 h 164835"/>
                  <a:gd name="connsiteX1" fmla="*/ 83517 w 164835"/>
                  <a:gd name="connsiteY1" fmla="*/ 2 h 164835"/>
                  <a:gd name="connsiteX2" fmla="*/ 165605 w 164835"/>
                  <a:gd name="connsiteY2" fmla="*/ 82860 h 164835"/>
                  <a:gd name="connsiteX3" fmla="*/ 81319 w 164835"/>
                  <a:gd name="connsiteY3" fmla="*/ 165717 h 164835"/>
                  <a:gd name="connsiteX4" fmla="*/ 0 w 164835"/>
                  <a:gd name="connsiteY4" fmla="*/ 82090 h 164835"/>
                  <a:gd name="connsiteX5" fmla="*/ 70550 w 164835"/>
                  <a:gd name="connsiteY5" fmla="*/ 128794 h 164835"/>
                  <a:gd name="connsiteX6" fmla="*/ 124616 w 164835"/>
                  <a:gd name="connsiteY6" fmla="*/ 108464 h 164835"/>
                  <a:gd name="connsiteX7" fmla="*/ 117363 w 164835"/>
                  <a:gd name="connsiteY7" fmla="*/ 47475 h 164835"/>
                  <a:gd name="connsiteX8" fmla="*/ 70660 w 164835"/>
                  <a:gd name="connsiteY8" fmla="*/ 37035 h 164835"/>
                  <a:gd name="connsiteX9" fmla="*/ 70550 w 164835"/>
                  <a:gd name="connsiteY9" fmla="*/ 128794 h 164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4835" h="164835">
                    <a:moveTo>
                      <a:pt x="0" y="82090"/>
                    </a:moveTo>
                    <a:cubicBezTo>
                      <a:pt x="220" y="34838"/>
                      <a:pt x="35934" y="-327"/>
                      <a:pt x="83517" y="2"/>
                    </a:cubicBezTo>
                    <a:cubicBezTo>
                      <a:pt x="128792" y="332"/>
                      <a:pt x="165935" y="37805"/>
                      <a:pt x="165605" y="82860"/>
                    </a:cubicBezTo>
                    <a:cubicBezTo>
                      <a:pt x="165275" y="128574"/>
                      <a:pt x="126924" y="166156"/>
                      <a:pt x="81319" y="165717"/>
                    </a:cubicBezTo>
                    <a:cubicBezTo>
                      <a:pt x="36374" y="165167"/>
                      <a:pt x="-110" y="127695"/>
                      <a:pt x="0" y="82090"/>
                    </a:cubicBezTo>
                    <a:close/>
                    <a:moveTo>
                      <a:pt x="70550" y="128794"/>
                    </a:moveTo>
                    <a:cubicBezTo>
                      <a:pt x="91978" y="135717"/>
                      <a:pt x="112308" y="128024"/>
                      <a:pt x="124616" y="108464"/>
                    </a:cubicBezTo>
                    <a:cubicBezTo>
                      <a:pt x="136704" y="89233"/>
                      <a:pt x="133627" y="64068"/>
                      <a:pt x="117363" y="47475"/>
                    </a:cubicBezTo>
                    <a:cubicBezTo>
                      <a:pt x="103517" y="33409"/>
                      <a:pt x="84286" y="29123"/>
                      <a:pt x="70660" y="37035"/>
                    </a:cubicBezTo>
                    <a:cubicBezTo>
                      <a:pt x="107803" y="66706"/>
                      <a:pt x="107803" y="91211"/>
                      <a:pt x="70550" y="128794"/>
                    </a:cubicBezTo>
                    <a:close/>
                  </a:path>
                </a:pathLst>
              </a:custGeom>
              <a:solidFill>
                <a:srgbClr val="A9C3FD"/>
              </a:solidFill>
              <a:ln w="109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52" name="Freeform: Shape 151">
                <a:extLst>
                  <a:ext uri="{FF2B5EF4-FFF2-40B4-BE49-F238E27FC236}">
                    <a16:creationId xmlns:a16="http://schemas.microsoft.com/office/drawing/2014/main" id="{ADA434BA-8AD1-45FB-A072-FD1CFC86D798}"/>
                  </a:ext>
                </a:extLst>
              </p:cNvPr>
              <p:cNvSpPr/>
              <p:nvPr/>
            </p:nvSpPr>
            <p:spPr>
              <a:xfrm>
                <a:off x="7204660" y="2686848"/>
                <a:ext cx="65934" cy="98901"/>
              </a:xfrm>
              <a:custGeom>
                <a:avLst/>
                <a:gdLst>
                  <a:gd name="connsiteX0" fmla="*/ 40991 w 65934"/>
                  <a:gd name="connsiteY0" fmla="*/ 106923 h 98901"/>
                  <a:gd name="connsiteX1" fmla="*/ 2 w 65934"/>
                  <a:gd name="connsiteY1" fmla="*/ 54945 h 98901"/>
                  <a:gd name="connsiteX2" fmla="*/ 45277 w 65934"/>
                  <a:gd name="connsiteY2" fmla="*/ 0 h 98901"/>
                  <a:gd name="connsiteX3" fmla="*/ 54178 w 65934"/>
                  <a:gd name="connsiteY3" fmla="*/ 10440 h 98901"/>
                  <a:gd name="connsiteX4" fmla="*/ 71541 w 65934"/>
                  <a:gd name="connsiteY4" fmla="*/ 76923 h 98901"/>
                  <a:gd name="connsiteX5" fmla="*/ 40991 w 65934"/>
                  <a:gd name="connsiteY5" fmla="*/ 106923 h 989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5934" h="98901">
                    <a:moveTo>
                      <a:pt x="40991" y="106923"/>
                    </a:moveTo>
                    <a:cubicBezTo>
                      <a:pt x="16156" y="100660"/>
                      <a:pt x="222" y="80440"/>
                      <a:pt x="2" y="54945"/>
                    </a:cubicBezTo>
                    <a:cubicBezTo>
                      <a:pt x="-217" y="27473"/>
                      <a:pt x="15387" y="8571"/>
                      <a:pt x="45277" y="0"/>
                    </a:cubicBezTo>
                    <a:cubicBezTo>
                      <a:pt x="44947" y="6264"/>
                      <a:pt x="50552" y="7582"/>
                      <a:pt x="54178" y="10440"/>
                    </a:cubicBezTo>
                    <a:cubicBezTo>
                      <a:pt x="75717" y="28132"/>
                      <a:pt x="81761" y="51319"/>
                      <a:pt x="71541" y="76923"/>
                    </a:cubicBezTo>
                    <a:cubicBezTo>
                      <a:pt x="65717" y="91429"/>
                      <a:pt x="53519" y="99231"/>
                      <a:pt x="40991" y="106923"/>
                    </a:cubicBezTo>
                    <a:close/>
                  </a:path>
                </a:pathLst>
              </a:custGeom>
              <a:solidFill>
                <a:srgbClr val="989898"/>
              </a:solidFill>
              <a:ln w="109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53" name="Freeform: Shape 152">
                <a:extLst>
                  <a:ext uri="{FF2B5EF4-FFF2-40B4-BE49-F238E27FC236}">
                    <a16:creationId xmlns:a16="http://schemas.microsoft.com/office/drawing/2014/main" id="{1891025A-DE82-4689-8B3D-D6D4103E8F26}"/>
                  </a:ext>
                </a:extLst>
              </p:cNvPr>
              <p:cNvSpPr/>
              <p:nvPr/>
            </p:nvSpPr>
            <p:spPr>
              <a:xfrm>
                <a:off x="7245651" y="2686623"/>
                <a:ext cx="65934" cy="98901"/>
              </a:xfrm>
              <a:custGeom>
                <a:avLst/>
                <a:gdLst>
                  <a:gd name="connsiteX0" fmla="*/ 0 w 65934"/>
                  <a:gd name="connsiteY0" fmla="*/ 107148 h 98901"/>
                  <a:gd name="connsiteX1" fmla="*/ 30440 w 65934"/>
                  <a:gd name="connsiteY1" fmla="*/ 77148 h 98901"/>
                  <a:gd name="connsiteX2" fmla="*/ 13077 w 65934"/>
                  <a:gd name="connsiteY2" fmla="*/ 10664 h 98901"/>
                  <a:gd name="connsiteX3" fmla="*/ 4176 w 65934"/>
                  <a:gd name="connsiteY3" fmla="*/ 225 h 98901"/>
                  <a:gd name="connsiteX4" fmla="*/ 68022 w 65934"/>
                  <a:gd name="connsiteY4" fmla="*/ 43632 h 98901"/>
                  <a:gd name="connsiteX5" fmla="*/ 30220 w 65934"/>
                  <a:gd name="connsiteY5" fmla="*/ 107038 h 98901"/>
                  <a:gd name="connsiteX6" fmla="*/ 0 w 65934"/>
                  <a:gd name="connsiteY6" fmla="*/ 107148 h 989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5934" h="98901">
                    <a:moveTo>
                      <a:pt x="0" y="107148"/>
                    </a:moveTo>
                    <a:cubicBezTo>
                      <a:pt x="12527" y="99566"/>
                      <a:pt x="24725" y="91763"/>
                      <a:pt x="30440" y="77148"/>
                    </a:cubicBezTo>
                    <a:cubicBezTo>
                      <a:pt x="40659" y="51544"/>
                      <a:pt x="34615" y="28357"/>
                      <a:pt x="13077" y="10664"/>
                    </a:cubicBezTo>
                    <a:cubicBezTo>
                      <a:pt x="9451" y="7697"/>
                      <a:pt x="3846" y="6489"/>
                      <a:pt x="4176" y="225"/>
                    </a:cubicBezTo>
                    <a:cubicBezTo>
                      <a:pt x="37363" y="-2193"/>
                      <a:pt x="62857" y="15060"/>
                      <a:pt x="68022" y="43632"/>
                    </a:cubicBezTo>
                    <a:cubicBezTo>
                      <a:pt x="73187" y="71873"/>
                      <a:pt x="57253" y="98687"/>
                      <a:pt x="30220" y="107038"/>
                    </a:cubicBezTo>
                    <a:cubicBezTo>
                      <a:pt x="20220" y="110115"/>
                      <a:pt x="10110" y="110665"/>
                      <a:pt x="0" y="107148"/>
                    </a:cubicBezTo>
                    <a:close/>
                  </a:path>
                </a:pathLst>
              </a:custGeom>
              <a:solidFill>
                <a:srgbClr val="5E7FAC"/>
              </a:solidFill>
              <a:ln w="109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54" name="Freeform: Shape 153">
                <a:extLst>
                  <a:ext uri="{FF2B5EF4-FFF2-40B4-BE49-F238E27FC236}">
                    <a16:creationId xmlns:a16="http://schemas.microsoft.com/office/drawing/2014/main" id="{16C1159D-D86C-42E7-A070-67B6C25CB100}"/>
                  </a:ext>
                </a:extLst>
              </p:cNvPr>
              <p:cNvSpPr/>
              <p:nvPr/>
            </p:nvSpPr>
            <p:spPr>
              <a:xfrm>
                <a:off x="7493234" y="2937308"/>
                <a:ext cx="54945" cy="87912"/>
              </a:xfrm>
              <a:custGeom>
                <a:avLst/>
                <a:gdLst>
                  <a:gd name="connsiteX0" fmla="*/ 0 w 54945"/>
                  <a:gd name="connsiteY0" fmla="*/ 95694 h 87912"/>
                  <a:gd name="connsiteX1" fmla="*/ 0 w 54945"/>
                  <a:gd name="connsiteY1" fmla="*/ 3936 h 87912"/>
                  <a:gd name="connsiteX2" fmla="*/ 46703 w 54945"/>
                  <a:gd name="connsiteY2" fmla="*/ 14375 h 87912"/>
                  <a:gd name="connsiteX3" fmla="*/ 53956 w 54945"/>
                  <a:gd name="connsiteY3" fmla="*/ 75365 h 87912"/>
                  <a:gd name="connsiteX4" fmla="*/ 0 w 54945"/>
                  <a:gd name="connsiteY4" fmla="*/ 95694 h 87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4945" h="87912">
                    <a:moveTo>
                      <a:pt x="0" y="95694"/>
                    </a:moveTo>
                    <a:cubicBezTo>
                      <a:pt x="37253" y="58222"/>
                      <a:pt x="37253" y="33716"/>
                      <a:pt x="0" y="3936"/>
                    </a:cubicBezTo>
                    <a:cubicBezTo>
                      <a:pt x="13626" y="-3976"/>
                      <a:pt x="32967" y="309"/>
                      <a:pt x="46703" y="14375"/>
                    </a:cubicBezTo>
                    <a:cubicBezTo>
                      <a:pt x="63077" y="30969"/>
                      <a:pt x="66044" y="56134"/>
                      <a:pt x="53956" y="75365"/>
                    </a:cubicBezTo>
                    <a:cubicBezTo>
                      <a:pt x="41758" y="94925"/>
                      <a:pt x="21429" y="102617"/>
                      <a:pt x="0" y="95694"/>
                    </a:cubicBezTo>
                    <a:close/>
                  </a:path>
                </a:pathLst>
              </a:custGeom>
              <a:solidFill>
                <a:srgbClr val="5E7FAC"/>
              </a:solidFill>
              <a:ln w="1093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C0CFAF0C-6BCB-4E6A-9AE8-CA1C045A487D}"/>
              </a:ext>
            </a:extLst>
          </p:cNvPr>
          <p:cNvGrpSpPr/>
          <p:nvPr/>
        </p:nvGrpSpPr>
        <p:grpSpPr>
          <a:xfrm>
            <a:off x="4399280" y="4261966"/>
            <a:ext cx="7361795" cy="1293759"/>
            <a:chOff x="4399280" y="4395939"/>
            <a:chExt cx="7361795" cy="1293759"/>
          </a:xfrm>
        </p:grpSpPr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6908B3FD-6C3C-4B5D-A11E-BF3B75A134BE}"/>
                </a:ext>
              </a:extLst>
            </p:cNvPr>
            <p:cNvSpPr>
              <a:spLocks/>
            </p:cNvSpPr>
            <p:nvPr/>
          </p:nvSpPr>
          <p:spPr>
            <a:xfrm flipH="1">
              <a:off x="4399280" y="4395939"/>
              <a:ext cx="7361795" cy="1293759"/>
            </a:xfrm>
            <a:prstGeom prst="rect">
              <a:avLst/>
            </a:prstGeom>
            <a:solidFill>
              <a:srgbClr val="F4F4F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9A64211E-FBB9-4264-9972-5850A406BD4B}"/>
                </a:ext>
              </a:extLst>
            </p:cNvPr>
            <p:cNvSpPr txBox="1">
              <a:spLocks/>
            </p:cNvSpPr>
            <p:nvPr/>
          </p:nvSpPr>
          <p:spPr>
            <a:xfrm>
              <a:off x="10267643" y="5400312"/>
              <a:ext cx="1332607" cy="155289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>
              <a:lvl1pPr marL="0" lvl="0" indent="0" defTabSz="1218026" eaLnBrk="1" latinLnBrk="0" hangingPunct="1"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192024" lvl="1" indent="-192024" defTabSz="12180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x-none" sz="1600" baseline="0">
                  <a:latin typeface="+mn-lt"/>
                </a:defRPr>
              </a:lvl2pPr>
              <a:lvl3pPr marL="457200" lvl="2" indent="-265176" defTabSz="12180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sz="1600" baseline="0">
                  <a:latin typeface="+mn-lt"/>
                </a:defRPr>
              </a:lvl3pPr>
              <a:lvl4pPr marL="612648" lvl="3" indent="-155448" defTabSz="12180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x-none" sz="1600" baseline="0">
                  <a:latin typeface="+mn-lt"/>
                </a:defRPr>
              </a:lvl4pPr>
              <a:lvl5pPr marL="749808" lvl="4" indent="-128016" defTabSz="12180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5pPr>
              <a:lvl6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6pPr>
              <a:lvl7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7pPr>
              <a:lvl8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8pPr>
              <a:lvl9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9pPr>
            </a:lstStyle>
            <a:p>
              <a:pPr algn="ctr"/>
              <a:r>
                <a:rPr lang="en-US" sz="1050" b="1" i="1" dirty="0">
                  <a:solidFill>
                    <a:schemeClr val="bg1">
                      <a:lumMod val="50000"/>
                    </a:schemeClr>
                  </a:solidFill>
                </a:rPr>
                <a:t>Timing: 10-14 days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EA983FEC-D83B-4B71-BD6B-42C20E6BC022}"/>
                </a:ext>
              </a:extLst>
            </p:cNvPr>
            <p:cNvSpPr txBox="1">
              <a:spLocks/>
            </p:cNvSpPr>
            <p:nvPr/>
          </p:nvSpPr>
          <p:spPr>
            <a:xfrm>
              <a:off x="4986401" y="4968784"/>
              <a:ext cx="2471931" cy="369332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1218026" eaLnBrk="1" latinLnBrk="0" hangingPunct="1"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192024" lvl="1" indent="-192024" defTabSz="12180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x-none" sz="1600" baseline="0">
                  <a:latin typeface="+mn-lt"/>
                </a:defRPr>
              </a:lvl2pPr>
              <a:lvl3pPr marL="457200" lvl="2" indent="-265176" defTabSz="12180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sz="1600" baseline="0">
                  <a:latin typeface="+mn-lt"/>
                </a:defRPr>
              </a:lvl3pPr>
              <a:lvl4pPr marL="612648" lvl="3" indent="-155448" defTabSz="12180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x-none" sz="1600" baseline="0">
                  <a:latin typeface="+mn-lt"/>
                </a:defRPr>
              </a:lvl4pPr>
              <a:lvl5pPr marL="749808" lvl="4" indent="-128016" defTabSz="12180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5pPr>
              <a:lvl6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6pPr>
              <a:lvl7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7pPr>
              <a:lvl8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8pPr>
              <a:lvl9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9pPr>
            </a:lstStyle>
            <a:p>
              <a:r>
                <a:rPr 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Provider re-enters portal and completes application for payments</a:t>
              </a: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87F86656-0165-4C85-A6DC-BAB6E4D095D6}"/>
                </a:ext>
              </a:extLst>
            </p:cNvPr>
            <p:cNvSpPr>
              <a:spLocks/>
            </p:cNvSpPr>
            <p:nvPr/>
          </p:nvSpPr>
          <p:spPr>
            <a:xfrm>
              <a:off x="7657709" y="4655895"/>
              <a:ext cx="3889172" cy="617381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defTabSz="1218026">
                <a:buClr>
                  <a:schemeClr val="tx2"/>
                </a:buClr>
                <a:buSzPct val="100000"/>
              </a:pPr>
              <a:r>
                <a:rPr lang="en-US" sz="1200" b="1" dirty="0">
                  <a:solidFill>
                    <a:schemeClr val="tx2"/>
                  </a:solidFill>
                </a:rPr>
                <a:t>Recognized TINs, from a state-provided 3</a:t>
              </a:r>
              <a:r>
                <a:rPr lang="en-US" sz="1200" b="1" baseline="30000" dirty="0">
                  <a:solidFill>
                    <a:schemeClr val="tx2"/>
                  </a:solidFill>
                </a:rPr>
                <a:t>rd</a:t>
              </a:r>
              <a:r>
                <a:rPr lang="en-US" sz="1200" b="1" dirty="0">
                  <a:solidFill>
                    <a:schemeClr val="tx2"/>
                  </a:solidFill>
                </a:rPr>
                <a:t> party list, begin with Step 4</a:t>
              </a:r>
            </a:p>
          </p:txBody>
        </p:sp>
        <p:sp>
          <p:nvSpPr>
            <p:cNvPr id="49" name="TitleTrackerNum 7">
              <a:extLst>
                <a:ext uri="{FF2B5EF4-FFF2-40B4-BE49-F238E27FC236}">
                  <a16:creationId xmlns:a16="http://schemas.microsoft.com/office/drawing/2014/main" id="{C30E5379-111C-43EC-9204-3385B288D589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>
              <a:off x="4580523" y="4938007"/>
              <a:ext cx="279056" cy="615553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1">
              <a:spAutoFit/>
            </a:bodyPr>
            <a:lstStyle/>
            <a:p>
              <a:pPr algn="ctr"/>
              <a:r>
                <a:rPr lang="en-US" sz="4000" b="1" dirty="0">
                  <a:solidFill>
                    <a:srgbClr val="A33134"/>
                  </a:solidFill>
                  <a:latin typeface="+mj-lt"/>
                </a:rPr>
                <a:t>4</a:t>
              </a: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EE097010-15D6-4471-827B-DDDF36D4F9F8}"/>
                </a:ext>
              </a:extLst>
            </p:cNvPr>
            <p:cNvSpPr>
              <a:spLocks/>
            </p:cNvSpPr>
            <p:nvPr/>
          </p:nvSpPr>
          <p:spPr>
            <a:xfrm>
              <a:off x="7604037" y="4591055"/>
              <a:ext cx="3996212" cy="747061"/>
            </a:xfrm>
            <a:prstGeom prst="rect">
              <a:avLst/>
            </a:prstGeom>
            <a:no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179" name="TextBox 178">
              <a:extLst>
                <a:ext uri="{FF2B5EF4-FFF2-40B4-BE49-F238E27FC236}">
                  <a16:creationId xmlns:a16="http://schemas.microsoft.com/office/drawing/2014/main" id="{4F1173BD-ACC2-4FAE-BA79-CF018198124D}"/>
                </a:ext>
              </a:extLst>
            </p:cNvPr>
            <p:cNvSpPr txBox="1"/>
            <p:nvPr/>
          </p:nvSpPr>
          <p:spPr>
            <a:xfrm>
              <a:off x="4558309" y="4516934"/>
              <a:ext cx="2881116" cy="30777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1218026" eaLnBrk="1" latinLnBrk="0" hangingPunct="1"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192024" lvl="1" indent="-192024" defTabSz="12180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x-none" sz="1600" baseline="0">
                  <a:latin typeface="+mn-lt"/>
                </a:defRPr>
              </a:lvl2pPr>
              <a:lvl3pPr marL="457200" lvl="2" indent="-265176" defTabSz="12180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sz="1600" baseline="0">
                  <a:latin typeface="+mn-lt"/>
                </a:defRPr>
              </a:lvl3pPr>
              <a:lvl4pPr marL="612648" lvl="3" indent="-155448" defTabSz="12180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x-none" sz="1600" baseline="0">
                  <a:latin typeface="+mn-lt"/>
                </a:defRPr>
              </a:lvl4pPr>
              <a:lvl5pPr marL="749808" lvl="4" indent="-128016" defTabSz="12180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5pPr>
              <a:lvl6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6pPr>
              <a:lvl7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7pPr>
              <a:lvl8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8pPr>
              <a:lvl9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9pPr>
            </a:lstStyle>
            <a:p>
              <a:r>
                <a:rPr lang="en-US" sz="2000" b="1" spc="-150" dirty="0">
                  <a:solidFill>
                    <a:schemeClr val="tx2"/>
                  </a:solidFill>
                  <a:latin typeface="+mj-lt"/>
                  <a:ea typeface="+mj-ea"/>
                  <a:cs typeface="+mj-cs"/>
                </a:rPr>
                <a:t>Application</a:t>
              </a:r>
            </a:p>
          </p:txBody>
        </p:sp>
      </p:grpSp>
      <p:sp>
        <p:nvSpPr>
          <p:cNvPr id="180" name="TextBox 179">
            <a:extLst>
              <a:ext uri="{FF2B5EF4-FFF2-40B4-BE49-F238E27FC236}">
                <a16:creationId xmlns:a16="http://schemas.microsoft.com/office/drawing/2014/main" id="{FF304CF5-6471-44FE-981D-4CCFDE259FB7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4399280" y="5574512"/>
            <a:ext cx="7361798" cy="50783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sz="1400" b="1" dirty="0">
                <a:solidFill>
                  <a:schemeClr val="tx2"/>
                </a:solidFill>
                <a:cs typeface="Helvetica" panose="020B0604020202020204" pitchFamily="34" charset="0"/>
              </a:rPr>
              <a:t>Depending on TIN validation, disbursements generally take 5-7 weeks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sz="1400" b="1" dirty="0">
                <a:solidFill>
                  <a:schemeClr val="tx2"/>
                </a:solidFill>
                <a:cs typeface="Helvetica" panose="020B0604020202020204" pitchFamily="34" charset="0"/>
              </a:rPr>
              <a:t>All providers who register before deadline will be considered</a:t>
            </a:r>
          </a:p>
        </p:txBody>
      </p:sp>
      <p:pic>
        <p:nvPicPr>
          <p:cNvPr id="178" name="Graphic 177">
            <a:extLst>
              <a:ext uri="{FF2B5EF4-FFF2-40B4-BE49-F238E27FC236}">
                <a16:creationId xmlns:a16="http://schemas.microsoft.com/office/drawing/2014/main" id="{E1D09515-D96B-4658-A9D8-4E93A5C81EFD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xmlns="" r:embed="rId18"/>
              </a:ext>
            </a:extLst>
          </a:blip>
          <a:stretch>
            <a:fillRect/>
          </a:stretch>
        </p:blipFill>
        <p:spPr>
          <a:xfrm>
            <a:off x="417101" y="3306319"/>
            <a:ext cx="3081473" cy="2841224"/>
          </a:xfrm>
          <a:prstGeom prst="rect">
            <a:avLst/>
          </a:prstGeom>
        </p:spPr>
      </p:pic>
      <p:sp>
        <p:nvSpPr>
          <p:cNvPr id="182" name="5. Source">
            <a:extLst>
              <a:ext uri="{FF2B5EF4-FFF2-40B4-BE49-F238E27FC236}">
                <a16:creationId xmlns:a16="http://schemas.microsoft.com/office/drawing/2014/main" id="{B0427C3C-2A65-4537-B39F-6A72E1ADC211}"/>
              </a:ext>
            </a:extLst>
          </p:cNvPr>
          <p:cNvSpPr>
            <a:spLocks noChangeArrowheads="1"/>
          </p:cNvSpPr>
          <p:nvPr/>
        </p:nvSpPr>
        <p:spPr bwMode="gray">
          <a:xfrm>
            <a:off x="346893" y="6642955"/>
            <a:ext cx="9531411" cy="123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519113" indent="-519113" defTabSz="1218026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  <a:hlinkClick r:id="rId19"/>
              </a:rPr>
              <a:t>Provider Relief Fund website</a:t>
            </a:r>
            <a:endParaRPr lang="en-US" sz="8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81" name="Title 1">
            <a:extLst>
              <a:ext uri="{FF2B5EF4-FFF2-40B4-BE49-F238E27FC236}">
                <a16:creationId xmlns:a16="http://schemas.microsoft.com/office/drawing/2014/main" id="{CF7C2CD5-F572-41A8-A1F1-B29F4C9C6D6B}"/>
              </a:ext>
            </a:extLst>
          </p:cNvPr>
          <p:cNvSpPr txBox="1">
            <a:spLocks/>
          </p:cNvSpPr>
          <p:nvPr/>
        </p:nvSpPr>
        <p:spPr bwMode="gray">
          <a:xfrm>
            <a:off x="346891" y="278741"/>
            <a:ext cx="9741325" cy="8617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algn="l" defTabSz="12180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7135" algn="l"/>
              </a:tabLst>
              <a:defRPr lang="x-none" sz="20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2pPr>
            <a:lvl3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3pPr>
            <a:lvl4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4pPr>
            <a:lvl5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5pPr>
            <a:lvl6pPr marL="62197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6pPr>
            <a:lvl7pPr marL="1243941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7pPr>
            <a:lvl8pPr marL="1865909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8pPr>
            <a:lvl9pPr marL="248788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3000"/>
              </a:lnSpc>
            </a:pPr>
            <a:r>
              <a:rPr lang="en-US" sz="2800" spc="-150" dirty="0">
                <a:solidFill>
                  <a:srgbClr val="A33134"/>
                </a:solidFill>
              </a:rPr>
              <a:t>Actions for providers</a:t>
            </a:r>
            <a:r>
              <a:rPr lang="en-US" sz="2800" kern="0" spc="-150" dirty="0"/>
              <a:t/>
            </a:r>
            <a:br>
              <a:rPr lang="en-US" sz="2800" kern="0" spc="-150" dirty="0"/>
            </a:br>
            <a:r>
              <a:rPr lang="en-US" sz="2800" kern="0" spc="-150" dirty="0"/>
              <a:t>Phase 2 General </a:t>
            </a:r>
            <a:r>
              <a:rPr lang="en-US" sz="2800" spc="-150" dirty="0"/>
              <a:t>Distribution</a:t>
            </a:r>
            <a:endParaRPr lang="en-US" sz="2800" strike="sngStrike" spc="-150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1C27866-F621-4DCB-90CE-F61DE798C146}"/>
              </a:ext>
            </a:extLst>
          </p:cNvPr>
          <p:cNvSpPr/>
          <p:nvPr/>
        </p:nvSpPr>
        <p:spPr>
          <a:xfrm>
            <a:off x="4399280" y="6147543"/>
            <a:ext cx="6096000" cy="430887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r>
              <a:rPr lang="en-US" sz="900" i="1" dirty="0">
                <a:cs typeface="Helvetica" panose="020B0604020202020204" pitchFamily="34" charset="0"/>
              </a:rPr>
              <a:t>*Process applies only to Medicaid / CHIP / Dental providers</a:t>
            </a:r>
          </a:p>
          <a:p>
            <a:r>
              <a:rPr lang="en-US" sz="900" i="1" dirty="0">
                <a:cs typeface="Helvetica" panose="020B0604020202020204" pitchFamily="34" charset="0"/>
              </a:rPr>
              <a:t>**Validators are Medicaid / CHIP agencies, dental organizations, etc.</a:t>
            </a:r>
          </a:p>
          <a:p>
            <a:r>
              <a:rPr lang="en-US" sz="900" i="1" dirty="0">
                <a:cs typeface="Helvetica" panose="020B0604020202020204" pitchFamily="34" charset="0"/>
              </a:rPr>
              <a:t>***Assumes validator responds within requested timeframe; majority of validators respond by requested deadline</a:t>
            </a:r>
          </a:p>
        </p:txBody>
      </p:sp>
    </p:spTree>
    <p:extLst>
      <p:ext uri="{BB962C8B-B14F-4D97-AF65-F5344CB8AC3E}">
        <p14:creationId xmlns:p14="http://schemas.microsoft.com/office/powerpoint/2010/main" val="300848074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8" name="Object 47" hidden="1">
            <a:extLst>
              <a:ext uri="{FF2B5EF4-FFF2-40B4-BE49-F238E27FC236}">
                <a16:creationId xmlns:a16="http://schemas.microsoft.com/office/drawing/2014/main" id="{14BA6171-6AF2-4866-B9A0-B0D03AD6530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47934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98" name="think-cell Slide" r:id="rId8" imgW="395" imgH="394" progId="TCLayout.ActiveDocument.1">
                  <p:embed/>
                </p:oleObj>
              </mc:Choice>
              <mc:Fallback>
                <p:oleObj name="think-cell Slide" r:id="rId8" imgW="395" imgH="394" progId="TCLayout.ActiveDocument.1">
                  <p:embed/>
                  <p:pic>
                    <p:nvPicPr>
                      <p:cNvPr id="48" name="Object 47" hidden="1">
                        <a:extLst>
                          <a:ext uri="{FF2B5EF4-FFF2-40B4-BE49-F238E27FC236}">
                            <a16:creationId xmlns:a16="http://schemas.microsoft.com/office/drawing/2014/main" id="{14BA6171-6AF2-4866-B9A0-B0D03AD653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Rectangle 46" hidden="1">
            <a:extLst>
              <a:ext uri="{FF2B5EF4-FFF2-40B4-BE49-F238E27FC236}">
                <a16:creationId xmlns:a16="http://schemas.microsoft.com/office/drawing/2014/main" id="{06E0B02D-CB87-4A54-9B04-DDB41854653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000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6D1EFA1-ED95-43A9-A803-AEDD6EDD4811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4399280" y="1936106"/>
            <a:ext cx="6872630" cy="281042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marL="0" lvl="0" indent="0" defTabSz="1218026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2024" lvl="1" indent="-192024" defTabSz="1218026" eaLnBrk="1" latinLnBrk="0" hangingPunct="1">
              <a:spcBef>
                <a:spcPct val="125000"/>
              </a:spcBef>
              <a:buClr>
                <a:schemeClr val="tx2"/>
              </a:buClr>
              <a:buSzPct val="125000"/>
              <a:buFont typeface="Arial" charset="0"/>
              <a:buChar char="▪"/>
              <a:defRPr sz="13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Helvetica" panose="020B0604020202020204" pitchFamily="34" charset="0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76" baseline="0">
                <a:latin typeface="+mn-lt"/>
              </a:defRPr>
            </a:lvl9pPr>
          </a:lstStyle>
          <a:p>
            <a:pPr lvl="1"/>
            <a:r>
              <a:rPr lang="en-US" b="1" dirty="0"/>
              <a:t>Providers must apply </a:t>
            </a:r>
            <a:r>
              <a:rPr lang="en-US" dirty="0"/>
              <a:t>through the </a:t>
            </a:r>
            <a:r>
              <a:rPr lang="en-US" u="sng" dirty="0">
                <a:solidFill>
                  <a:srgbClr val="0B8CE3"/>
                </a:solidFill>
                <a:hlinkClick r:id="rId10"/>
              </a:rPr>
              <a:t>Provider Relief Fund Application and Attestation Portal</a:t>
            </a:r>
            <a:endParaRPr lang="en-US" u="sng" dirty="0">
              <a:solidFill>
                <a:srgbClr val="0B8CE3"/>
              </a:solidFill>
            </a:endParaRPr>
          </a:p>
          <a:p>
            <a:pPr lvl="1"/>
            <a:r>
              <a:rPr lang="en-US" dirty="0"/>
              <a:t>Documentation required to submit the application includes:</a:t>
            </a:r>
          </a:p>
          <a:p>
            <a:pPr lvl="2">
              <a:spcBef>
                <a:spcPct val="125000"/>
              </a:spcBef>
            </a:pP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  <a:cs typeface="Helvetica" panose="020B0604020202020204" pitchFamily="34" charset="0"/>
              </a:rPr>
              <a:t>Most recent </a:t>
            </a:r>
            <a:r>
              <a:rPr lang="en-US" sz="1300" b="1" dirty="0">
                <a:solidFill>
                  <a:schemeClr val="tx1">
                    <a:lumMod val="75000"/>
                    <a:lumOff val="25000"/>
                  </a:schemeClr>
                </a:solidFill>
                <a:cs typeface="Helvetica" panose="020B0604020202020204" pitchFamily="34" charset="0"/>
              </a:rPr>
              <a:t>federal income tax return </a:t>
            </a: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  <a:cs typeface="Helvetica" panose="020B0604020202020204" pitchFamily="34" charset="0"/>
              </a:rPr>
              <a:t>for 2017, 2018, or 2019, unless exempt</a:t>
            </a:r>
          </a:p>
          <a:p>
            <a:pPr lvl="2">
              <a:spcBef>
                <a:spcPct val="125000"/>
              </a:spcBef>
            </a:pPr>
            <a:r>
              <a:rPr lang="en-US" sz="1300" b="1" dirty="0">
                <a:solidFill>
                  <a:schemeClr val="tx1">
                    <a:lumMod val="75000"/>
                    <a:lumOff val="25000"/>
                  </a:schemeClr>
                </a:solidFill>
                <a:cs typeface="Helvetica" panose="020B0604020202020204" pitchFamily="34" charset="0"/>
              </a:rPr>
              <a:t>Quarterly Federal Tax Return </a:t>
            </a: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  <a:cs typeface="Helvetica" panose="020B0604020202020204" pitchFamily="34" charset="0"/>
              </a:rPr>
              <a:t>(IRS Form 941 for Q1 2020) or </a:t>
            </a:r>
            <a:r>
              <a:rPr lang="en-US" sz="1300" b="1" dirty="0">
                <a:solidFill>
                  <a:schemeClr val="tx1">
                    <a:lumMod val="75000"/>
                    <a:lumOff val="25000"/>
                  </a:schemeClr>
                </a:solidFill>
                <a:cs typeface="Helvetica" panose="020B0604020202020204" pitchFamily="34" charset="0"/>
              </a:rPr>
              <a:t>Federal Unemployment Tax Return </a:t>
            </a: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  <a:cs typeface="Helvetica" panose="020B0604020202020204" pitchFamily="34" charset="0"/>
              </a:rPr>
              <a:t>(IRS Form 940), unless exempt</a:t>
            </a:r>
          </a:p>
          <a:p>
            <a:pPr lvl="2">
              <a:spcBef>
                <a:spcPct val="125000"/>
              </a:spcBef>
            </a:pPr>
            <a:r>
              <a:rPr lang="en-US" sz="1300" b="1" dirty="0">
                <a:solidFill>
                  <a:srgbClr val="0087E2"/>
                </a:solidFill>
                <a:cs typeface="Helvetica" panose="020B0604020202020204" pitchFamily="34" charset="0"/>
                <a:hlinkClick r:id="rId11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Revenue worksheet</a:t>
            </a:r>
            <a:r>
              <a:rPr lang="en-US" sz="1300" b="1" dirty="0">
                <a:solidFill>
                  <a:srgbClr val="0087E2"/>
                </a:solidFill>
                <a:cs typeface="Helvetica" panose="020B0604020202020204" pitchFamily="34" charset="0"/>
              </a:rPr>
              <a:t> </a:t>
            </a: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  <a:cs typeface="Helvetica" panose="020B0604020202020204" pitchFamily="34" charset="0"/>
              </a:rPr>
              <a:t>(if required by Field 15)</a:t>
            </a:r>
          </a:p>
          <a:p>
            <a:pPr lvl="1"/>
            <a:endParaRPr lang="en-US" b="1" dirty="0"/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C4BC7FB8-7CE8-475F-A635-5FBEC8C4D868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4399280" y="6012214"/>
            <a:ext cx="7361798" cy="21544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 marL="0" lvl="1" indent="0">
              <a:spcBef>
                <a:spcPct val="110000"/>
              </a:spcBef>
              <a:buNone/>
            </a:pPr>
            <a:r>
              <a:rPr lang="en-US" sz="1400" b="1" dirty="0">
                <a:solidFill>
                  <a:schemeClr val="tx2"/>
                </a:solidFill>
                <a:cs typeface="Helvetica" panose="020B0604020202020204" pitchFamily="34" charset="0"/>
              </a:rPr>
              <a:t>For more detailed information on how to apply, please </a:t>
            </a:r>
            <a:r>
              <a:rPr lang="en-US" sz="1400" b="1">
                <a:solidFill>
                  <a:schemeClr val="tx2"/>
                </a:solidFill>
                <a:cs typeface="Helvetica" panose="020B0604020202020204" pitchFamily="34" charset="0"/>
              </a:rPr>
              <a:t>see </a:t>
            </a:r>
            <a:r>
              <a:rPr lang="en-US" sz="1400" b="1">
                <a:solidFill>
                  <a:schemeClr val="tx2"/>
                </a:solidFill>
                <a:cs typeface="Helvetica" panose="020B0604020202020204" pitchFamily="34" charset="0"/>
                <a:hlinkClick r:id="rId12"/>
              </a:rPr>
              <a:t>application instructions</a:t>
            </a:r>
            <a:r>
              <a:rPr lang="en-US" sz="1400" b="1">
                <a:solidFill>
                  <a:schemeClr val="tx2"/>
                </a:solidFill>
                <a:cs typeface="Helvetica" panose="020B0604020202020204" pitchFamily="34" charset="0"/>
              </a:rPr>
              <a:t> </a:t>
            </a:r>
            <a:endParaRPr lang="en-US" sz="1400" b="1" dirty="0">
              <a:solidFill>
                <a:schemeClr val="tx2"/>
              </a:solidFill>
              <a:cs typeface="Helvetica" panose="020B0604020202020204" pitchFamily="34" charset="0"/>
            </a:endParaRPr>
          </a:p>
        </p:txBody>
      </p:sp>
      <p:grpSp>
        <p:nvGrpSpPr>
          <p:cNvPr id="60" name="Group 59">
            <a:extLst>
              <a:ext uri="{FF2B5EF4-FFF2-40B4-BE49-F238E27FC236}">
                <a16:creationId xmlns:a16="http://schemas.microsoft.com/office/drawing/2014/main" id="{FFE3FD7D-5E40-411E-803D-5F1D65870212}"/>
              </a:ext>
            </a:extLst>
          </p:cNvPr>
          <p:cNvGrpSpPr/>
          <p:nvPr/>
        </p:nvGrpSpPr>
        <p:grpSpPr>
          <a:xfrm>
            <a:off x="434148" y="3438003"/>
            <a:ext cx="2928812" cy="2711117"/>
            <a:chOff x="4396828" y="2886913"/>
            <a:chExt cx="1622032" cy="1501468"/>
          </a:xfrm>
        </p:grpSpPr>
        <p:grpSp>
          <p:nvGrpSpPr>
            <p:cNvPr id="61" name="Graphic 45">
              <a:extLst>
                <a:ext uri="{FF2B5EF4-FFF2-40B4-BE49-F238E27FC236}">
                  <a16:creationId xmlns:a16="http://schemas.microsoft.com/office/drawing/2014/main" id="{315EBAAD-6F2D-40FE-8E27-C6F34FA382A4}"/>
                </a:ext>
              </a:extLst>
            </p:cNvPr>
            <p:cNvGrpSpPr/>
            <p:nvPr/>
          </p:nvGrpSpPr>
          <p:grpSpPr>
            <a:xfrm>
              <a:off x="4396828" y="2984117"/>
              <a:ext cx="1622032" cy="1380397"/>
              <a:chOff x="4396828" y="2984117"/>
              <a:chExt cx="1622032" cy="1380397"/>
            </a:xfrm>
          </p:grpSpPr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A1528D11-7B4F-40A5-819E-6795E8B6F323}"/>
                  </a:ext>
                </a:extLst>
              </p:cNvPr>
              <p:cNvSpPr/>
              <p:nvPr/>
            </p:nvSpPr>
            <p:spPr>
              <a:xfrm>
                <a:off x="4452407" y="3073752"/>
                <a:ext cx="1475802" cy="1290762"/>
              </a:xfrm>
              <a:custGeom>
                <a:avLst/>
                <a:gdLst>
                  <a:gd name="connsiteX0" fmla="*/ 1476428 w 1475801"/>
                  <a:gd name="connsiteY0" fmla="*/ 457677 h 1290761"/>
                  <a:gd name="connsiteX1" fmla="*/ 1246753 w 1475801"/>
                  <a:gd name="connsiteY1" fmla="*/ 112647 h 1290761"/>
                  <a:gd name="connsiteX2" fmla="*/ 856095 w 1475801"/>
                  <a:gd name="connsiteY2" fmla="*/ 450 h 1290761"/>
                  <a:gd name="connsiteX3" fmla="*/ 667445 w 1475801"/>
                  <a:gd name="connsiteY3" fmla="*/ 43686 h 1290761"/>
                  <a:gd name="connsiteX4" fmla="*/ 490981 w 1475801"/>
                  <a:gd name="connsiteY4" fmla="*/ 176192 h 1290761"/>
                  <a:gd name="connsiteX5" fmla="*/ 355270 w 1475801"/>
                  <a:gd name="connsiteY5" fmla="*/ 336409 h 1290761"/>
                  <a:gd name="connsiteX6" fmla="*/ 322369 w 1475801"/>
                  <a:gd name="connsiteY6" fmla="*/ 369897 h 1290761"/>
                  <a:gd name="connsiteX7" fmla="*/ 313207 w 1475801"/>
                  <a:gd name="connsiteY7" fmla="*/ 378652 h 1290761"/>
                  <a:gd name="connsiteX8" fmla="*/ 310229 w 1475801"/>
                  <a:gd name="connsiteY8" fmla="*/ 381495 h 1290761"/>
                  <a:gd name="connsiteX9" fmla="*/ 307160 w 1475801"/>
                  <a:gd name="connsiteY9" fmla="*/ 384248 h 1290761"/>
                  <a:gd name="connsiteX10" fmla="*/ 294523 w 1475801"/>
                  <a:gd name="connsiteY10" fmla="*/ 395622 h 1290761"/>
                  <a:gd name="connsiteX11" fmla="*/ 220868 w 1475801"/>
                  <a:gd name="connsiteY11" fmla="*/ 460295 h 1290761"/>
                  <a:gd name="connsiteX12" fmla="*/ 79742 w 1475801"/>
                  <a:gd name="connsiteY12" fmla="*/ 608191 h 1290761"/>
                  <a:gd name="connsiteX13" fmla="*/ 1168 w 1475801"/>
                  <a:gd name="connsiteY13" fmla="*/ 814668 h 1290761"/>
                  <a:gd name="connsiteX14" fmla="*/ 50813 w 1475801"/>
                  <a:gd name="connsiteY14" fmla="*/ 1051428 h 1290761"/>
                  <a:gd name="connsiteX15" fmla="*/ 208141 w 1475801"/>
                  <a:gd name="connsiteY15" fmla="*/ 1205868 h 1290761"/>
                  <a:gd name="connsiteX16" fmla="*/ 313162 w 1475801"/>
                  <a:gd name="connsiteY16" fmla="*/ 1242064 h 1290761"/>
                  <a:gd name="connsiteX17" fmla="*/ 360957 w 1475801"/>
                  <a:gd name="connsiteY17" fmla="*/ 1260387 h 1290761"/>
                  <a:gd name="connsiteX18" fmla="*/ 583816 w 1475801"/>
                  <a:gd name="connsiteY18" fmla="*/ 1294190 h 1290761"/>
                  <a:gd name="connsiteX19" fmla="*/ 1025203 w 1475801"/>
                  <a:gd name="connsiteY19" fmla="*/ 1188673 h 1290761"/>
                  <a:gd name="connsiteX20" fmla="*/ 1206541 w 1475801"/>
                  <a:gd name="connsiteY20" fmla="*/ 1048224 h 1290761"/>
                  <a:gd name="connsiteX21" fmla="*/ 1343515 w 1475801"/>
                  <a:gd name="connsiteY21" fmla="*/ 882816 h 1290761"/>
                  <a:gd name="connsiteX22" fmla="*/ 1476428 w 1475801"/>
                  <a:gd name="connsiteY22" fmla="*/ 457677 h 12907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1475801" h="1290761">
                    <a:moveTo>
                      <a:pt x="1476428" y="457677"/>
                    </a:moveTo>
                    <a:cubicBezTo>
                      <a:pt x="1459278" y="313302"/>
                      <a:pt x="1366487" y="191131"/>
                      <a:pt x="1246753" y="112647"/>
                    </a:cubicBezTo>
                    <a:cubicBezTo>
                      <a:pt x="1130675" y="36600"/>
                      <a:pt x="995461" y="-4830"/>
                      <a:pt x="856095" y="450"/>
                    </a:cubicBezTo>
                    <a:cubicBezTo>
                      <a:pt x="791827" y="2887"/>
                      <a:pt x="726026" y="17058"/>
                      <a:pt x="667445" y="43686"/>
                    </a:cubicBezTo>
                    <a:cubicBezTo>
                      <a:pt x="598845" y="74872"/>
                      <a:pt x="541754" y="120996"/>
                      <a:pt x="490981" y="176192"/>
                    </a:cubicBezTo>
                    <a:cubicBezTo>
                      <a:pt x="443547" y="227777"/>
                      <a:pt x="402929" y="285094"/>
                      <a:pt x="355270" y="336409"/>
                    </a:cubicBezTo>
                    <a:cubicBezTo>
                      <a:pt x="344619" y="347872"/>
                      <a:pt x="333607" y="359020"/>
                      <a:pt x="322369" y="369897"/>
                    </a:cubicBezTo>
                    <a:cubicBezTo>
                      <a:pt x="319345" y="372830"/>
                      <a:pt x="316276" y="375764"/>
                      <a:pt x="313207" y="378652"/>
                    </a:cubicBezTo>
                    <a:cubicBezTo>
                      <a:pt x="312124" y="379690"/>
                      <a:pt x="301879" y="389439"/>
                      <a:pt x="310229" y="381495"/>
                    </a:cubicBezTo>
                    <a:cubicBezTo>
                      <a:pt x="318578" y="373507"/>
                      <a:pt x="308288" y="383256"/>
                      <a:pt x="307160" y="384248"/>
                    </a:cubicBezTo>
                    <a:cubicBezTo>
                      <a:pt x="302963" y="388085"/>
                      <a:pt x="298765" y="391876"/>
                      <a:pt x="294523" y="395622"/>
                    </a:cubicBezTo>
                    <a:cubicBezTo>
                      <a:pt x="270152" y="417420"/>
                      <a:pt x="245330" y="438632"/>
                      <a:pt x="220868" y="460295"/>
                    </a:cubicBezTo>
                    <a:cubicBezTo>
                      <a:pt x="169960" y="505427"/>
                      <a:pt x="118781" y="552093"/>
                      <a:pt x="79742" y="608191"/>
                    </a:cubicBezTo>
                    <a:cubicBezTo>
                      <a:pt x="37047" y="669480"/>
                      <a:pt x="6313" y="739434"/>
                      <a:pt x="1168" y="814668"/>
                    </a:cubicBezTo>
                    <a:cubicBezTo>
                      <a:pt x="-4519" y="898206"/>
                      <a:pt x="10330" y="977728"/>
                      <a:pt x="50813" y="1051428"/>
                    </a:cubicBezTo>
                    <a:cubicBezTo>
                      <a:pt x="87008" y="1117365"/>
                      <a:pt x="142881" y="1169131"/>
                      <a:pt x="208141" y="1205868"/>
                    </a:cubicBezTo>
                    <a:cubicBezTo>
                      <a:pt x="240816" y="1224282"/>
                      <a:pt x="276109" y="1236106"/>
                      <a:pt x="313162" y="1242064"/>
                    </a:cubicBezTo>
                    <a:cubicBezTo>
                      <a:pt x="328642" y="1249149"/>
                      <a:pt x="344303" y="1255603"/>
                      <a:pt x="360957" y="1260387"/>
                    </a:cubicBezTo>
                    <a:cubicBezTo>
                      <a:pt x="432580" y="1280967"/>
                      <a:pt x="509304" y="1292791"/>
                      <a:pt x="583816" y="1294190"/>
                    </a:cubicBezTo>
                    <a:cubicBezTo>
                      <a:pt x="736677" y="1297034"/>
                      <a:pt x="890846" y="1261425"/>
                      <a:pt x="1025203" y="1188673"/>
                    </a:cubicBezTo>
                    <a:cubicBezTo>
                      <a:pt x="1093216" y="1151846"/>
                      <a:pt x="1152293" y="1102923"/>
                      <a:pt x="1206541" y="1048224"/>
                    </a:cubicBezTo>
                    <a:cubicBezTo>
                      <a:pt x="1256908" y="997405"/>
                      <a:pt x="1303303" y="941939"/>
                      <a:pt x="1343515" y="882816"/>
                    </a:cubicBezTo>
                    <a:cubicBezTo>
                      <a:pt x="1427460" y="759382"/>
                      <a:pt x="1494616" y="610538"/>
                      <a:pt x="1476428" y="457677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 w="22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5" name="Freeform: Shape 84">
                <a:extLst>
                  <a:ext uri="{FF2B5EF4-FFF2-40B4-BE49-F238E27FC236}">
                    <a16:creationId xmlns:a16="http://schemas.microsoft.com/office/drawing/2014/main" id="{A1410B5F-8E59-4FF9-8051-28039F961C67}"/>
                  </a:ext>
                </a:extLst>
              </p:cNvPr>
              <p:cNvSpPr/>
              <p:nvPr/>
            </p:nvSpPr>
            <p:spPr>
              <a:xfrm>
                <a:off x="4396828" y="3453413"/>
                <a:ext cx="212118" cy="121855"/>
              </a:xfrm>
              <a:custGeom>
                <a:avLst/>
                <a:gdLst>
                  <a:gd name="connsiteX0" fmla="*/ 207336 w 212118"/>
                  <a:gd name="connsiteY0" fmla="*/ 35951 h 121855"/>
                  <a:gd name="connsiteX1" fmla="*/ 174300 w 212118"/>
                  <a:gd name="connsiteY1" fmla="*/ 12437 h 121855"/>
                  <a:gd name="connsiteX2" fmla="*/ 42065 w 212118"/>
                  <a:gd name="connsiteY2" fmla="*/ 19297 h 121855"/>
                  <a:gd name="connsiteX3" fmla="*/ 408 w 212118"/>
                  <a:gd name="connsiteY3" fmla="*/ 89522 h 121855"/>
                  <a:gd name="connsiteX4" fmla="*/ 67790 w 212118"/>
                  <a:gd name="connsiteY4" fmla="*/ 124544 h 121855"/>
                  <a:gd name="connsiteX5" fmla="*/ 173984 w 212118"/>
                  <a:gd name="connsiteY5" fmla="*/ 98503 h 121855"/>
                  <a:gd name="connsiteX6" fmla="*/ 211082 w 212118"/>
                  <a:gd name="connsiteY6" fmla="*/ 77336 h 121855"/>
                  <a:gd name="connsiteX7" fmla="*/ 207336 w 212118"/>
                  <a:gd name="connsiteY7" fmla="*/ 35951 h 1218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12118" h="121855">
                    <a:moveTo>
                      <a:pt x="207336" y="35951"/>
                    </a:moveTo>
                    <a:cubicBezTo>
                      <a:pt x="197723" y="24803"/>
                      <a:pt x="186486" y="17176"/>
                      <a:pt x="174300" y="12437"/>
                    </a:cubicBezTo>
                    <a:cubicBezTo>
                      <a:pt x="135667" y="-8459"/>
                      <a:pt x="74243" y="-877"/>
                      <a:pt x="42065" y="19297"/>
                    </a:cubicBezTo>
                    <a:cubicBezTo>
                      <a:pt x="20492" y="32791"/>
                      <a:pt x="-3428" y="62127"/>
                      <a:pt x="408" y="89522"/>
                    </a:cubicBezTo>
                    <a:cubicBezTo>
                      <a:pt x="4876" y="121520"/>
                      <a:pt x="41433" y="128470"/>
                      <a:pt x="67790" y="124544"/>
                    </a:cubicBezTo>
                    <a:cubicBezTo>
                      <a:pt x="103444" y="119218"/>
                      <a:pt x="139233" y="107980"/>
                      <a:pt x="173984" y="98503"/>
                    </a:cubicBezTo>
                    <a:cubicBezTo>
                      <a:pt x="188652" y="94486"/>
                      <a:pt x="202462" y="90785"/>
                      <a:pt x="211082" y="77336"/>
                    </a:cubicBezTo>
                    <a:cubicBezTo>
                      <a:pt x="219702" y="63842"/>
                      <a:pt x="217717" y="48001"/>
                      <a:pt x="207336" y="35951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 w="22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6" name="Freeform: Shape 85">
                <a:extLst>
                  <a:ext uri="{FF2B5EF4-FFF2-40B4-BE49-F238E27FC236}">
                    <a16:creationId xmlns:a16="http://schemas.microsoft.com/office/drawing/2014/main" id="{A0F1BC9F-780E-4B2E-9257-099426A6C394}"/>
                  </a:ext>
                </a:extLst>
              </p:cNvPr>
              <p:cNvSpPr/>
              <p:nvPr/>
            </p:nvSpPr>
            <p:spPr>
              <a:xfrm>
                <a:off x="5434543" y="2984117"/>
                <a:ext cx="582197" cy="519013"/>
              </a:xfrm>
              <a:custGeom>
                <a:avLst/>
                <a:gdLst>
                  <a:gd name="connsiteX0" fmla="*/ 521867 w 582196"/>
                  <a:gd name="connsiteY0" fmla="*/ 312583 h 519012"/>
                  <a:gd name="connsiteX1" fmla="*/ 396537 w 582196"/>
                  <a:gd name="connsiteY1" fmla="*/ 150606 h 519012"/>
                  <a:gd name="connsiteX2" fmla="*/ 5111 w 582196"/>
                  <a:gd name="connsiteY2" fmla="*/ 2 h 519012"/>
                  <a:gd name="connsiteX3" fmla="*/ 5111 w 582196"/>
                  <a:gd name="connsiteY3" fmla="*/ 10608 h 519012"/>
                  <a:gd name="connsiteX4" fmla="*/ 383404 w 582196"/>
                  <a:gd name="connsiteY4" fmla="*/ 169426 h 519012"/>
                  <a:gd name="connsiteX5" fmla="*/ 500836 w 582196"/>
                  <a:gd name="connsiteY5" fmla="*/ 324859 h 519012"/>
                  <a:gd name="connsiteX6" fmla="*/ 561989 w 582196"/>
                  <a:gd name="connsiteY6" fmla="*/ 513870 h 519012"/>
                  <a:gd name="connsiteX7" fmla="*/ 584826 w 582196"/>
                  <a:gd name="connsiteY7" fmla="*/ 510801 h 519012"/>
                  <a:gd name="connsiteX8" fmla="*/ 521867 w 582196"/>
                  <a:gd name="connsiteY8" fmla="*/ 312583 h 519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82196" h="519012">
                    <a:moveTo>
                      <a:pt x="521867" y="312583"/>
                    </a:moveTo>
                    <a:cubicBezTo>
                      <a:pt x="489914" y="251972"/>
                      <a:pt x="447355" y="196595"/>
                      <a:pt x="396537" y="150606"/>
                    </a:cubicBezTo>
                    <a:cubicBezTo>
                      <a:pt x="289350" y="53619"/>
                      <a:pt x="149352" y="-404"/>
                      <a:pt x="5111" y="2"/>
                    </a:cubicBezTo>
                    <a:cubicBezTo>
                      <a:pt x="-1749" y="2"/>
                      <a:pt x="-1659" y="10202"/>
                      <a:pt x="5111" y="10608"/>
                    </a:cubicBezTo>
                    <a:cubicBezTo>
                      <a:pt x="144297" y="18596"/>
                      <a:pt x="281497" y="73747"/>
                      <a:pt x="383404" y="169426"/>
                    </a:cubicBezTo>
                    <a:cubicBezTo>
                      <a:pt x="431018" y="214106"/>
                      <a:pt x="470643" y="267000"/>
                      <a:pt x="500836" y="324859"/>
                    </a:cubicBezTo>
                    <a:cubicBezTo>
                      <a:pt x="532654" y="385787"/>
                      <a:pt x="546058" y="447933"/>
                      <a:pt x="561989" y="513870"/>
                    </a:cubicBezTo>
                    <a:cubicBezTo>
                      <a:pt x="565013" y="526462"/>
                      <a:pt x="585503" y="523979"/>
                      <a:pt x="584826" y="510801"/>
                    </a:cubicBezTo>
                    <a:cubicBezTo>
                      <a:pt x="581441" y="442968"/>
                      <a:pt x="553234" y="372067"/>
                      <a:pt x="521867" y="312583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 w="22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701622C2-C153-486B-B900-7FA837642F79}"/>
                  </a:ext>
                </a:extLst>
              </p:cNvPr>
              <p:cNvSpPr/>
              <p:nvPr/>
            </p:nvSpPr>
            <p:spPr>
              <a:xfrm>
                <a:off x="5996294" y="3609755"/>
                <a:ext cx="22566" cy="67697"/>
              </a:xfrm>
              <a:custGeom>
                <a:avLst/>
                <a:gdLst>
                  <a:gd name="connsiteX0" fmla="*/ 17208 w 22565"/>
                  <a:gd name="connsiteY0" fmla="*/ 3453 h 67697"/>
                  <a:gd name="connsiteX1" fmla="*/ 7820 w 22565"/>
                  <a:gd name="connsiteY1" fmla="*/ 3453 h 67697"/>
                  <a:gd name="connsiteX2" fmla="*/ 13 w 22565"/>
                  <a:gd name="connsiteY2" fmla="*/ 57746 h 67697"/>
                  <a:gd name="connsiteX3" fmla="*/ 24970 w 22565"/>
                  <a:gd name="connsiteY3" fmla="*/ 57746 h 67697"/>
                  <a:gd name="connsiteX4" fmla="*/ 17208 w 22565"/>
                  <a:gd name="connsiteY4" fmla="*/ 3453 h 676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565" h="67697">
                    <a:moveTo>
                      <a:pt x="17208" y="3453"/>
                    </a:moveTo>
                    <a:cubicBezTo>
                      <a:pt x="15764" y="-1151"/>
                      <a:pt x="9310" y="-1151"/>
                      <a:pt x="7820" y="3453"/>
                    </a:cubicBezTo>
                    <a:cubicBezTo>
                      <a:pt x="2585" y="19971"/>
                      <a:pt x="-213" y="40415"/>
                      <a:pt x="13" y="57746"/>
                    </a:cubicBezTo>
                    <a:cubicBezTo>
                      <a:pt x="238" y="73813"/>
                      <a:pt x="24745" y="73813"/>
                      <a:pt x="24970" y="57746"/>
                    </a:cubicBezTo>
                    <a:cubicBezTo>
                      <a:pt x="25241" y="40415"/>
                      <a:pt x="22398" y="19926"/>
                      <a:pt x="17208" y="3453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 w="225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ECD7D452-0DBA-4EC9-A8EF-F8D3BA1187A6}"/>
                </a:ext>
              </a:extLst>
            </p:cNvPr>
            <p:cNvSpPr/>
            <p:nvPr/>
          </p:nvSpPr>
          <p:spPr>
            <a:xfrm>
              <a:off x="4846320" y="2976880"/>
              <a:ext cx="972820" cy="1393771"/>
            </a:xfrm>
            <a:custGeom>
              <a:avLst/>
              <a:gdLst>
                <a:gd name="connsiteX0" fmla="*/ 972820 w 972820"/>
                <a:gd name="connsiteY0" fmla="*/ 949960 h 1366520"/>
                <a:gd name="connsiteX1" fmla="*/ 972820 w 972820"/>
                <a:gd name="connsiteY1" fmla="*/ 0 h 1366520"/>
                <a:gd name="connsiteX2" fmla="*/ 0 w 972820"/>
                <a:gd name="connsiteY2" fmla="*/ 0 h 1366520"/>
                <a:gd name="connsiteX3" fmla="*/ 0 w 972820"/>
                <a:gd name="connsiteY3" fmla="*/ 1366520 h 1366520"/>
                <a:gd name="connsiteX4" fmla="*/ 769620 w 972820"/>
                <a:gd name="connsiteY4" fmla="*/ 1366520 h 1366520"/>
                <a:gd name="connsiteX5" fmla="*/ 972820 w 972820"/>
                <a:gd name="connsiteY5" fmla="*/ 949960 h 1366520"/>
                <a:gd name="connsiteX0" fmla="*/ 972820 w 972820"/>
                <a:gd name="connsiteY0" fmla="*/ 949960 h 1366520"/>
                <a:gd name="connsiteX1" fmla="*/ 972820 w 972820"/>
                <a:gd name="connsiteY1" fmla="*/ 0 h 1366520"/>
                <a:gd name="connsiteX2" fmla="*/ 0 w 972820"/>
                <a:gd name="connsiteY2" fmla="*/ 0 h 1366520"/>
                <a:gd name="connsiteX3" fmla="*/ 0 w 972820"/>
                <a:gd name="connsiteY3" fmla="*/ 1366520 h 1366520"/>
                <a:gd name="connsiteX4" fmla="*/ 454660 w 972820"/>
                <a:gd name="connsiteY4" fmla="*/ 1353820 h 1366520"/>
                <a:gd name="connsiteX5" fmla="*/ 972820 w 972820"/>
                <a:gd name="connsiteY5" fmla="*/ 949960 h 1366520"/>
                <a:gd name="connsiteX0" fmla="*/ 972820 w 972820"/>
                <a:gd name="connsiteY0" fmla="*/ 949960 h 1366520"/>
                <a:gd name="connsiteX1" fmla="*/ 972820 w 972820"/>
                <a:gd name="connsiteY1" fmla="*/ 0 h 1366520"/>
                <a:gd name="connsiteX2" fmla="*/ 0 w 972820"/>
                <a:gd name="connsiteY2" fmla="*/ 0 h 1366520"/>
                <a:gd name="connsiteX3" fmla="*/ 0 w 972820"/>
                <a:gd name="connsiteY3" fmla="*/ 1366520 h 1366520"/>
                <a:gd name="connsiteX4" fmla="*/ 454660 w 972820"/>
                <a:gd name="connsiteY4" fmla="*/ 1353820 h 1366520"/>
                <a:gd name="connsiteX5" fmla="*/ 972820 w 972820"/>
                <a:gd name="connsiteY5" fmla="*/ 949960 h 1366520"/>
                <a:gd name="connsiteX0" fmla="*/ 972820 w 972820"/>
                <a:gd name="connsiteY0" fmla="*/ 949960 h 1366520"/>
                <a:gd name="connsiteX1" fmla="*/ 972820 w 972820"/>
                <a:gd name="connsiteY1" fmla="*/ 0 h 1366520"/>
                <a:gd name="connsiteX2" fmla="*/ 0 w 972820"/>
                <a:gd name="connsiteY2" fmla="*/ 0 h 1366520"/>
                <a:gd name="connsiteX3" fmla="*/ 0 w 972820"/>
                <a:gd name="connsiteY3" fmla="*/ 1366520 h 1366520"/>
                <a:gd name="connsiteX4" fmla="*/ 454660 w 972820"/>
                <a:gd name="connsiteY4" fmla="*/ 1353820 h 1366520"/>
                <a:gd name="connsiteX5" fmla="*/ 972820 w 972820"/>
                <a:gd name="connsiteY5" fmla="*/ 949960 h 1366520"/>
                <a:gd name="connsiteX0" fmla="*/ 972820 w 972820"/>
                <a:gd name="connsiteY0" fmla="*/ 949960 h 1366520"/>
                <a:gd name="connsiteX1" fmla="*/ 972820 w 972820"/>
                <a:gd name="connsiteY1" fmla="*/ 0 h 1366520"/>
                <a:gd name="connsiteX2" fmla="*/ 0 w 972820"/>
                <a:gd name="connsiteY2" fmla="*/ 0 h 1366520"/>
                <a:gd name="connsiteX3" fmla="*/ 0 w 972820"/>
                <a:gd name="connsiteY3" fmla="*/ 1366520 h 1366520"/>
                <a:gd name="connsiteX4" fmla="*/ 454660 w 972820"/>
                <a:gd name="connsiteY4" fmla="*/ 1353820 h 1366520"/>
                <a:gd name="connsiteX5" fmla="*/ 972820 w 972820"/>
                <a:gd name="connsiteY5" fmla="*/ 949960 h 1366520"/>
                <a:gd name="connsiteX0" fmla="*/ 972820 w 972820"/>
                <a:gd name="connsiteY0" fmla="*/ 949960 h 1390979"/>
                <a:gd name="connsiteX1" fmla="*/ 972820 w 972820"/>
                <a:gd name="connsiteY1" fmla="*/ 0 h 1390979"/>
                <a:gd name="connsiteX2" fmla="*/ 0 w 972820"/>
                <a:gd name="connsiteY2" fmla="*/ 0 h 1390979"/>
                <a:gd name="connsiteX3" fmla="*/ 0 w 972820"/>
                <a:gd name="connsiteY3" fmla="*/ 1366520 h 1390979"/>
                <a:gd name="connsiteX4" fmla="*/ 454660 w 972820"/>
                <a:gd name="connsiteY4" fmla="*/ 1353820 h 1390979"/>
                <a:gd name="connsiteX5" fmla="*/ 972820 w 972820"/>
                <a:gd name="connsiteY5" fmla="*/ 949960 h 1390979"/>
                <a:gd name="connsiteX0" fmla="*/ 972820 w 972820"/>
                <a:gd name="connsiteY0" fmla="*/ 949960 h 1398991"/>
                <a:gd name="connsiteX1" fmla="*/ 972820 w 972820"/>
                <a:gd name="connsiteY1" fmla="*/ 0 h 1398991"/>
                <a:gd name="connsiteX2" fmla="*/ 0 w 972820"/>
                <a:gd name="connsiteY2" fmla="*/ 0 h 1398991"/>
                <a:gd name="connsiteX3" fmla="*/ 0 w 972820"/>
                <a:gd name="connsiteY3" fmla="*/ 1366520 h 1398991"/>
                <a:gd name="connsiteX4" fmla="*/ 454660 w 972820"/>
                <a:gd name="connsiteY4" fmla="*/ 1353820 h 1398991"/>
                <a:gd name="connsiteX5" fmla="*/ 972820 w 972820"/>
                <a:gd name="connsiteY5" fmla="*/ 949960 h 1398991"/>
                <a:gd name="connsiteX0" fmla="*/ 972820 w 972820"/>
                <a:gd name="connsiteY0" fmla="*/ 949960 h 1393771"/>
                <a:gd name="connsiteX1" fmla="*/ 972820 w 972820"/>
                <a:gd name="connsiteY1" fmla="*/ 0 h 1393771"/>
                <a:gd name="connsiteX2" fmla="*/ 0 w 972820"/>
                <a:gd name="connsiteY2" fmla="*/ 0 h 1393771"/>
                <a:gd name="connsiteX3" fmla="*/ 0 w 972820"/>
                <a:gd name="connsiteY3" fmla="*/ 1366520 h 1393771"/>
                <a:gd name="connsiteX4" fmla="*/ 454660 w 972820"/>
                <a:gd name="connsiteY4" fmla="*/ 1353820 h 1393771"/>
                <a:gd name="connsiteX5" fmla="*/ 972820 w 972820"/>
                <a:gd name="connsiteY5" fmla="*/ 949960 h 1393771"/>
                <a:gd name="connsiteX0" fmla="*/ 972820 w 972820"/>
                <a:gd name="connsiteY0" fmla="*/ 949960 h 1393771"/>
                <a:gd name="connsiteX1" fmla="*/ 972820 w 972820"/>
                <a:gd name="connsiteY1" fmla="*/ 0 h 1393771"/>
                <a:gd name="connsiteX2" fmla="*/ 0 w 972820"/>
                <a:gd name="connsiteY2" fmla="*/ 0 h 1393771"/>
                <a:gd name="connsiteX3" fmla="*/ 0 w 972820"/>
                <a:gd name="connsiteY3" fmla="*/ 1366520 h 1393771"/>
                <a:gd name="connsiteX4" fmla="*/ 454660 w 972820"/>
                <a:gd name="connsiteY4" fmla="*/ 1353820 h 1393771"/>
                <a:gd name="connsiteX5" fmla="*/ 972820 w 972820"/>
                <a:gd name="connsiteY5" fmla="*/ 949960 h 1393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72820" h="1393771">
                  <a:moveTo>
                    <a:pt x="972820" y="949960"/>
                  </a:moveTo>
                  <a:lnTo>
                    <a:pt x="972820" y="0"/>
                  </a:lnTo>
                  <a:lnTo>
                    <a:pt x="0" y="0"/>
                  </a:lnTo>
                  <a:lnTo>
                    <a:pt x="0" y="1366520"/>
                  </a:lnTo>
                  <a:cubicBezTo>
                    <a:pt x="108373" y="1390227"/>
                    <a:pt x="196427" y="1419013"/>
                    <a:pt x="454660" y="1353820"/>
                  </a:cubicBezTo>
                  <a:cubicBezTo>
                    <a:pt x="782320" y="1252220"/>
                    <a:pt x="911860" y="1018540"/>
                    <a:pt x="972820" y="949960"/>
                  </a:cubicBezTo>
                  <a:close/>
                </a:path>
              </a:pathLst>
            </a:custGeom>
            <a:solidFill>
              <a:srgbClr val="BCB5AF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CDB87705-BF2B-4EAC-BCC6-17D448737740}"/>
                </a:ext>
              </a:extLst>
            </p:cNvPr>
            <p:cNvSpPr/>
            <p:nvPr/>
          </p:nvSpPr>
          <p:spPr>
            <a:xfrm>
              <a:off x="4814414" y="2976881"/>
              <a:ext cx="972820" cy="1399960"/>
            </a:xfrm>
            <a:custGeom>
              <a:avLst/>
              <a:gdLst>
                <a:gd name="connsiteX0" fmla="*/ 972820 w 972820"/>
                <a:gd name="connsiteY0" fmla="*/ 949960 h 1366520"/>
                <a:gd name="connsiteX1" fmla="*/ 972820 w 972820"/>
                <a:gd name="connsiteY1" fmla="*/ 0 h 1366520"/>
                <a:gd name="connsiteX2" fmla="*/ 0 w 972820"/>
                <a:gd name="connsiteY2" fmla="*/ 0 h 1366520"/>
                <a:gd name="connsiteX3" fmla="*/ 0 w 972820"/>
                <a:gd name="connsiteY3" fmla="*/ 1366520 h 1366520"/>
                <a:gd name="connsiteX4" fmla="*/ 769620 w 972820"/>
                <a:gd name="connsiteY4" fmla="*/ 1366520 h 1366520"/>
                <a:gd name="connsiteX5" fmla="*/ 972820 w 972820"/>
                <a:gd name="connsiteY5" fmla="*/ 949960 h 1366520"/>
                <a:gd name="connsiteX0" fmla="*/ 972820 w 972820"/>
                <a:gd name="connsiteY0" fmla="*/ 949960 h 1366520"/>
                <a:gd name="connsiteX1" fmla="*/ 972820 w 972820"/>
                <a:gd name="connsiteY1" fmla="*/ 0 h 1366520"/>
                <a:gd name="connsiteX2" fmla="*/ 0 w 972820"/>
                <a:gd name="connsiteY2" fmla="*/ 0 h 1366520"/>
                <a:gd name="connsiteX3" fmla="*/ 0 w 972820"/>
                <a:gd name="connsiteY3" fmla="*/ 1366520 h 1366520"/>
                <a:gd name="connsiteX4" fmla="*/ 454660 w 972820"/>
                <a:gd name="connsiteY4" fmla="*/ 1353820 h 1366520"/>
                <a:gd name="connsiteX5" fmla="*/ 972820 w 972820"/>
                <a:gd name="connsiteY5" fmla="*/ 949960 h 1366520"/>
                <a:gd name="connsiteX0" fmla="*/ 972820 w 972820"/>
                <a:gd name="connsiteY0" fmla="*/ 949960 h 1366520"/>
                <a:gd name="connsiteX1" fmla="*/ 972820 w 972820"/>
                <a:gd name="connsiteY1" fmla="*/ 0 h 1366520"/>
                <a:gd name="connsiteX2" fmla="*/ 0 w 972820"/>
                <a:gd name="connsiteY2" fmla="*/ 0 h 1366520"/>
                <a:gd name="connsiteX3" fmla="*/ 0 w 972820"/>
                <a:gd name="connsiteY3" fmla="*/ 1366520 h 1366520"/>
                <a:gd name="connsiteX4" fmla="*/ 454660 w 972820"/>
                <a:gd name="connsiteY4" fmla="*/ 1353820 h 1366520"/>
                <a:gd name="connsiteX5" fmla="*/ 972820 w 972820"/>
                <a:gd name="connsiteY5" fmla="*/ 949960 h 1366520"/>
                <a:gd name="connsiteX0" fmla="*/ 972820 w 972820"/>
                <a:gd name="connsiteY0" fmla="*/ 949960 h 1366520"/>
                <a:gd name="connsiteX1" fmla="*/ 972820 w 972820"/>
                <a:gd name="connsiteY1" fmla="*/ 0 h 1366520"/>
                <a:gd name="connsiteX2" fmla="*/ 0 w 972820"/>
                <a:gd name="connsiteY2" fmla="*/ 0 h 1366520"/>
                <a:gd name="connsiteX3" fmla="*/ 0 w 972820"/>
                <a:gd name="connsiteY3" fmla="*/ 1366520 h 1366520"/>
                <a:gd name="connsiteX4" fmla="*/ 454660 w 972820"/>
                <a:gd name="connsiteY4" fmla="*/ 1353820 h 1366520"/>
                <a:gd name="connsiteX5" fmla="*/ 972820 w 972820"/>
                <a:gd name="connsiteY5" fmla="*/ 949960 h 1366520"/>
                <a:gd name="connsiteX0" fmla="*/ 972820 w 972820"/>
                <a:gd name="connsiteY0" fmla="*/ 949960 h 1366520"/>
                <a:gd name="connsiteX1" fmla="*/ 972820 w 972820"/>
                <a:gd name="connsiteY1" fmla="*/ 0 h 1366520"/>
                <a:gd name="connsiteX2" fmla="*/ 0 w 972820"/>
                <a:gd name="connsiteY2" fmla="*/ 0 h 1366520"/>
                <a:gd name="connsiteX3" fmla="*/ 0 w 972820"/>
                <a:gd name="connsiteY3" fmla="*/ 1366520 h 1366520"/>
                <a:gd name="connsiteX4" fmla="*/ 454660 w 972820"/>
                <a:gd name="connsiteY4" fmla="*/ 1353820 h 1366520"/>
                <a:gd name="connsiteX5" fmla="*/ 972820 w 972820"/>
                <a:gd name="connsiteY5" fmla="*/ 949960 h 1366520"/>
                <a:gd name="connsiteX0" fmla="*/ 972820 w 972820"/>
                <a:gd name="connsiteY0" fmla="*/ 949960 h 1390979"/>
                <a:gd name="connsiteX1" fmla="*/ 972820 w 972820"/>
                <a:gd name="connsiteY1" fmla="*/ 0 h 1390979"/>
                <a:gd name="connsiteX2" fmla="*/ 0 w 972820"/>
                <a:gd name="connsiteY2" fmla="*/ 0 h 1390979"/>
                <a:gd name="connsiteX3" fmla="*/ 0 w 972820"/>
                <a:gd name="connsiteY3" fmla="*/ 1366520 h 1390979"/>
                <a:gd name="connsiteX4" fmla="*/ 454660 w 972820"/>
                <a:gd name="connsiteY4" fmla="*/ 1353820 h 1390979"/>
                <a:gd name="connsiteX5" fmla="*/ 972820 w 972820"/>
                <a:gd name="connsiteY5" fmla="*/ 949960 h 1390979"/>
                <a:gd name="connsiteX0" fmla="*/ 972820 w 972820"/>
                <a:gd name="connsiteY0" fmla="*/ 949960 h 1398991"/>
                <a:gd name="connsiteX1" fmla="*/ 972820 w 972820"/>
                <a:gd name="connsiteY1" fmla="*/ 0 h 1398991"/>
                <a:gd name="connsiteX2" fmla="*/ 0 w 972820"/>
                <a:gd name="connsiteY2" fmla="*/ 0 h 1398991"/>
                <a:gd name="connsiteX3" fmla="*/ 0 w 972820"/>
                <a:gd name="connsiteY3" fmla="*/ 1366520 h 1398991"/>
                <a:gd name="connsiteX4" fmla="*/ 454660 w 972820"/>
                <a:gd name="connsiteY4" fmla="*/ 1353820 h 1398991"/>
                <a:gd name="connsiteX5" fmla="*/ 972820 w 972820"/>
                <a:gd name="connsiteY5" fmla="*/ 949960 h 1398991"/>
                <a:gd name="connsiteX0" fmla="*/ 972820 w 972820"/>
                <a:gd name="connsiteY0" fmla="*/ 949960 h 1393771"/>
                <a:gd name="connsiteX1" fmla="*/ 972820 w 972820"/>
                <a:gd name="connsiteY1" fmla="*/ 0 h 1393771"/>
                <a:gd name="connsiteX2" fmla="*/ 0 w 972820"/>
                <a:gd name="connsiteY2" fmla="*/ 0 h 1393771"/>
                <a:gd name="connsiteX3" fmla="*/ 0 w 972820"/>
                <a:gd name="connsiteY3" fmla="*/ 1366520 h 1393771"/>
                <a:gd name="connsiteX4" fmla="*/ 454660 w 972820"/>
                <a:gd name="connsiteY4" fmla="*/ 1353820 h 1393771"/>
                <a:gd name="connsiteX5" fmla="*/ 972820 w 972820"/>
                <a:gd name="connsiteY5" fmla="*/ 949960 h 1393771"/>
                <a:gd name="connsiteX0" fmla="*/ 972820 w 972820"/>
                <a:gd name="connsiteY0" fmla="*/ 949960 h 1393771"/>
                <a:gd name="connsiteX1" fmla="*/ 972820 w 972820"/>
                <a:gd name="connsiteY1" fmla="*/ 0 h 1393771"/>
                <a:gd name="connsiteX2" fmla="*/ 0 w 972820"/>
                <a:gd name="connsiteY2" fmla="*/ 0 h 1393771"/>
                <a:gd name="connsiteX3" fmla="*/ 0 w 972820"/>
                <a:gd name="connsiteY3" fmla="*/ 1366520 h 1393771"/>
                <a:gd name="connsiteX4" fmla="*/ 454660 w 972820"/>
                <a:gd name="connsiteY4" fmla="*/ 1353820 h 1393771"/>
                <a:gd name="connsiteX5" fmla="*/ 972820 w 972820"/>
                <a:gd name="connsiteY5" fmla="*/ 949960 h 1393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72820" h="1393771">
                  <a:moveTo>
                    <a:pt x="972820" y="949960"/>
                  </a:moveTo>
                  <a:lnTo>
                    <a:pt x="972820" y="0"/>
                  </a:lnTo>
                  <a:lnTo>
                    <a:pt x="0" y="0"/>
                  </a:lnTo>
                  <a:lnTo>
                    <a:pt x="0" y="1366520"/>
                  </a:lnTo>
                  <a:cubicBezTo>
                    <a:pt x="108373" y="1390227"/>
                    <a:pt x="196427" y="1419013"/>
                    <a:pt x="454660" y="1353820"/>
                  </a:cubicBezTo>
                  <a:cubicBezTo>
                    <a:pt x="782320" y="1252220"/>
                    <a:pt x="911860" y="1018540"/>
                    <a:pt x="972820" y="949960"/>
                  </a:cubicBezTo>
                  <a:close/>
                </a:path>
              </a:pathLst>
            </a:custGeom>
            <a:solidFill>
              <a:srgbClr val="C9BAAF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69F0BDB1-99B1-40AF-9114-78921AF89671}"/>
                </a:ext>
              </a:extLst>
            </p:cNvPr>
            <p:cNvSpPr/>
            <p:nvPr/>
          </p:nvSpPr>
          <p:spPr>
            <a:xfrm>
              <a:off x="4926330" y="3064832"/>
              <a:ext cx="816610" cy="1323549"/>
            </a:xfrm>
            <a:custGeom>
              <a:avLst/>
              <a:gdLst>
                <a:gd name="connsiteX0" fmla="*/ 972820 w 972820"/>
                <a:gd name="connsiteY0" fmla="*/ 949960 h 1366520"/>
                <a:gd name="connsiteX1" fmla="*/ 972820 w 972820"/>
                <a:gd name="connsiteY1" fmla="*/ 0 h 1366520"/>
                <a:gd name="connsiteX2" fmla="*/ 0 w 972820"/>
                <a:gd name="connsiteY2" fmla="*/ 0 h 1366520"/>
                <a:gd name="connsiteX3" fmla="*/ 0 w 972820"/>
                <a:gd name="connsiteY3" fmla="*/ 1366520 h 1366520"/>
                <a:gd name="connsiteX4" fmla="*/ 769620 w 972820"/>
                <a:gd name="connsiteY4" fmla="*/ 1366520 h 1366520"/>
                <a:gd name="connsiteX5" fmla="*/ 972820 w 972820"/>
                <a:gd name="connsiteY5" fmla="*/ 949960 h 1366520"/>
                <a:gd name="connsiteX0" fmla="*/ 972820 w 972820"/>
                <a:gd name="connsiteY0" fmla="*/ 949960 h 1366520"/>
                <a:gd name="connsiteX1" fmla="*/ 972820 w 972820"/>
                <a:gd name="connsiteY1" fmla="*/ 0 h 1366520"/>
                <a:gd name="connsiteX2" fmla="*/ 0 w 972820"/>
                <a:gd name="connsiteY2" fmla="*/ 0 h 1366520"/>
                <a:gd name="connsiteX3" fmla="*/ 0 w 972820"/>
                <a:gd name="connsiteY3" fmla="*/ 1366520 h 1366520"/>
                <a:gd name="connsiteX4" fmla="*/ 454660 w 972820"/>
                <a:gd name="connsiteY4" fmla="*/ 1353820 h 1366520"/>
                <a:gd name="connsiteX5" fmla="*/ 972820 w 972820"/>
                <a:gd name="connsiteY5" fmla="*/ 949960 h 1366520"/>
                <a:gd name="connsiteX0" fmla="*/ 972820 w 972820"/>
                <a:gd name="connsiteY0" fmla="*/ 949960 h 1366520"/>
                <a:gd name="connsiteX1" fmla="*/ 972820 w 972820"/>
                <a:gd name="connsiteY1" fmla="*/ 0 h 1366520"/>
                <a:gd name="connsiteX2" fmla="*/ 0 w 972820"/>
                <a:gd name="connsiteY2" fmla="*/ 0 h 1366520"/>
                <a:gd name="connsiteX3" fmla="*/ 0 w 972820"/>
                <a:gd name="connsiteY3" fmla="*/ 1366520 h 1366520"/>
                <a:gd name="connsiteX4" fmla="*/ 454660 w 972820"/>
                <a:gd name="connsiteY4" fmla="*/ 1353820 h 1366520"/>
                <a:gd name="connsiteX5" fmla="*/ 972820 w 972820"/>
                <a:gd name="connsiteY5" fmla="*/ 949960 h 1366520"/>
                <a:gd name="connsiteX0" fmla="*/ 972820 w 972820"/>
                <a:gd name="connsiteY0" fmla="*/ 949960 h 1366520"/>
                <a:gd name="connsiteX1" fmla="*/ 972820 w 972820"/>
                <a:gd name="connsiteY1" fmla="*/ 0 h 1366520"/>
                <a:gd name="connsiteX2" fmla="*/ 0 w 972820"/>
                <a:gd name="connsiteY2" fmla="*/ 0 h 1366520"/>
                <a:gd name="connsiteX3" fmla="*/ 0 w 972820"/>
                <a:gd name="connsiteY3" fmla="*/ 1366520 h 1366520"/>
                <a:gd name="connsiteX4" fmla="*/ 454660 w 972820"/>
                <a:gd name="connsiteY4" fmla="*/ 1353820 h 1366520"/>
                <a:gd name="connsiteX5" fmla="*/ 972820 w 972820"/>
                <a:gd name="connsiteY5" fmla="*/ 949960 h 1366520"/>
                <a:gd name="connsiteX0" fmla="*/ 972820 w 972820"/>
                <a:gd name="connsiteY0" fmla="*/ 949960 h 1366520"/>
                <a:gd name="connsiteX1" fmla="*/ 972820 w 972820"/>
                <a:gd name="connsiteY1" fmla="*/ 0 h 1366520"/>
                <a:gd name="connsiteX2" fmla="*/ 0 w 972820"/>
                <a:gd name="connsiteY2" fmla="*/ 0 h 1366520"/>
                <a:gd name="connsiteX3" fmla="*/ 0 w 972820"/>
                <a:gd name="connsiteY3" fmla="*/ 1366520 h 1366520"/>
                <a:gd name="connsiteX4" fmla="*/ 454660 w 972820"/>
                <a:gd name="connsiteY4" fmla="*/ 1353820 h 1366520"/>
                <a:gd name="connsiteX5" fmla="*/ 972820 w 972820"/>
                <a:gd name="connsiteY5" fmla="*/ 949960 h 1366520"/>
                <a:gd name="connsiteX0" fmla="*/ 972820 w 972820"/>
                <a:gd name="connsiteY0" fmla="*/ 949960 h 1390979"/>
                <a:gd name="connsiteX1" fmla="*/ 972820 w 972820"/>
                <a:gd name="connsiteY1" fmla="*/ 0 h 1390979"/>
                <a:gd name="connsiteX2" fmla="*/ 0 w 972820"/>
                <a:gd name="connsiteY2" fmla="*/ 0 h 1390979"/>
                <a:gd name="connsiteX3" fmla="*/ 0 w 972820"/>
                <a:gd name="connsiteY3" fmla="*/ 1366520 h 1390979"/>
                <a:gd name="connsiteX4" fmla="*/ 454660 w 972820"/>
                <a:gd name="connsiteY4" fmla="*/ 1353820 h 1390979"/>
                <a:gd name="connsiteX5" fmla="*/ 972820 w 972820"/>
                <a:gd name="connsiteY5" fmla="*/ 949960 h 1390979"/>
                <a:gd name="connsiteX0" fmla="*/ 972820 w 972820"/>
                <a:gd name="connsiteY0" fmla="*/ 949960 h 1398991"/>
                <a:gd name="connsiteX1" fmla="*/ 972820 w 972820"/>
                <a:gd name="connsiteY1" fmla="*/ 0 h 1398991"/>
                <a:gd name="connsiteX2" fmla="*/ 0 w 972820"/>
                <a:gd name="connsiteY2" fmla="*/ 0 h 1398991"/>
                <a:gd name="connsiteX3" fmla="*/ 0 w 972820"/>
                <a:gd name="connsiteY3" fmla="*/ 1366520 h 1398991"/>
                <a:gd name="connsiteX4" fmla="*/ 454660 w 972820"/>
                <a:gd name="connsiteY4" fmla="*/ 1353820 h 1398991"/>
                <a:gd name="connsiteX5" fmla="*/ 972820 w 972820"/>
                <a:gd name="connsiteY5" fmla="*/ 949960 h 1398991"/>
                <a:gd name="connsiteX0" fmla="*/ 972820 w 972820"/>
                <a:gd name="connsiteY0" fmla="*/ 949960 h 1393771"/>
                <a:gd name="connsiteX1" fmla="*/ 972820 w 972820"/>
                <a:gd name="connsiteY1" fmla="*/ 0 h 1393771"/>
                <a:gd name="connsiteX2" fmla="*/ 0 w 972820"/>
                <a:gd name="connsiteY2" fmla="*/ 0 h 1393771"/>
                <a:gd name="connsiteX3" fmla="*/ 0 w 972820"/>
                <a:gd name="connsiteY3" fmla="*/ 1366520 h 1393771"/>
                <a:gd name="connsiteX4" fmla="*/ 454660 w 972820"/>
                <a:gd name="connsiteY4" fmla="*/ 1353820 h 1393771"/>
                <a:gd name="connsiteX5" fmla="*/ 972820 w 972820"/>
                <a:gd name="connsiteY5" fmla="*/ 949960 h 1393771"/>
                <a:gd name="connsiteX0" fmla="*/ 972820 w 972820"/>
                <a:gd name="connsiteY0" fmla="*/ 949960 h 1393771"/>
                <a:gd name="connsiteX1" fmla="*/ 972820 w 972820"/>
                <a:gd name="connsiteY1" fmla="*/ 0 h 1393771"/>
                <a:gd name="connsiteX2" fmla="*/ 0 w 972820"/>
                <a:gd name="connsiteY2" fmla="*/ 0 h 1393771"/>
                <a:gd name="connsiteX3" fmla="*/ 0 w 972820"/>
                <a:gd name="connsiteY3" fmla="*/ 1366520 h 1393771"/>
                <a:gd name="connsiteX4" fmla="*/ 454660 w 972820"/>
                <a:gd name="connsiteY4" fmla="*/ 1353820 h 1393771"/>
                <a:gd name="connsiteX5" fmla="*/ 972820 w 972820"/>
                <a:gd name="connsiteY5" fmla="*/ 949960 h 1393771"/>
                <a:gd name="connsiteX0" fmla="*/ 972820 w 972820"/>
                <a:gd name="connsiteY0" fmla="*/ 949960 h 1393771"/>
                <a:gd name="connsiteX1" fmla="*/ 885190 w 972820"/>
                <a:gd name="connsiteY1" fmla="*/ 99060 h 1393771"/>
                <a:gd name="connsiteX2" fmla="*/ 0 w 972820"/>
                <a:gd name="connsiteY2" fmla="*/ 0 h 1393771"/>
                <a:gd name="connsiteX3" fmla="*/ 0 w 972820"/>
                <a:gd name="connsiteY3" fmla="*/ 1366520 h 1393771"/>
                <a:gd name="connsiteX4" fmla="*/ 454660 w 972820"/>
                <a:gd name="connsiteY4" fmla="*/ 1353820 h 1393771"/>
                <a:gd name="connsiteX5" fmla="*/ 972820 w 972820"/>
                <a:gd name="connsiteY5" fmla="*/ 949960 h 1393771"/>
                <a:gd name="connsiteX0" fmla="*/ 900430 w 900430"/>
                <a:gd name="connsiteY0" fmla="*/ 1049020 h 1393771"/>
                <a:gd name="connsiteX1" fmla="*/ 885190 w 900430"/>
                <a:gd name="connsiteY1" fmla="*/ 99060 h 1393771"/>
                <a:gd name="connsiteX2" fmla="*/ 0 w 900430"/>
                <a:gd name="connsiteY2" fmla="*/ 0 h 1393771"/>
                <a:gd name="connsiteX3" fmla="*/ 0 w 900430"/>
                <a:gd name="connsiteY3" fmla="*/ 1366520 h 1393771"/>
                <a:gd name="connsiteX4" fmla="*/ 454660 w 900430"/>
                <a:gd name="connsiteY4" fmla="*/ 1353820 h 1393771"/>
                <a:gd name="connsiteX5" fmla="*/ 900430 w 900430"/>
                <a:gd name="connsiteY5" fmla="*/ 1049020 h 1393771"/>
                <a:gd name="connsiteX0" fmla="*/ 900430 w 900430"/>
                <a:gd name="connsiteY0" fmla="*/ 1049020 h 1393771"/>
                <a:gd name="connsiteX1" fmla="*/ 877570 w 900430"/>
                <a:gd name="connsiteY1" fmla="*/ 80010 h 1393771"/>
                <a:gd name="connsiteX2" fmla="*/ 0 w 900430"/>
                <a:gd name="connsiteY2" fmla="*/ 0 h 1393771"/>
                <a:gd name="connsiteX3" fmla="*/ 0 w 900430"/>
                <a:gd name="connsiteY3" fmla="*/ 1366520 h 1393771"/>
                <a:gd name="connsiteX4" fmla="*/ 454660 w 900430"/>
                <a:gd name="connsiteY4" fmla="*/ 1353820 h 1393771"/>
                <a:gd name="connsiteX5" fmla="*/ 900430 w 900430"/>
                <a:gd name="connsiteY5" fmla="*/ 1049020 h 1393771"/>
                <a:gd name="connsiteX0" fmla="*/ 900430 w 900430"/>
                <a:gd name="connsiteY0" fmla="*/ 1049020 h 1393771"/>
                <a:gd name="connsiteX1" fmla="*/ 892810 w 900430"/>
                <a:gd name="connsiteY1" fmla="*/ 80010 h 1393771"/>
                <a:gd name="connsiteX2" fmla="*/ 0 w 900430"/>
                <a:gd name="connsiteY2" fmla="*/ 0 h 1393771"/>
                <a:gd name="connsiteX3" fmla="*/ 0 w 900430"/>
                <a:gd name="connsiteY3" fmla="*/ 1366520 h 1393771"/>
                <a:gd name="connsiteX4" fmla="*/ 454660 w 900430"/>
                <a:gd name="connsiteY4" fmla="*/ 1353820 h 1393771"/>
                <a:gd name="connsiteX5" fmla="*/ 900430 w 900430"/>
                <a:gd name="connsiteY5" fmla="*/ 1049020 h 1393771"/>
                <a:gd name="connsiteX0" fmla="*/ 900430 w 900430"/>
                <a:gd name="connsiteY0" fmla="*/ 969010 h 1313761"/>
                <a:gd name="connsiteX1" fmla="*/ 892810 w 900430"/>
                <a:gd name="connsiteY1" fmla="*/ 0 h 1313761"/>
                <a:gd name="connsiteX2" fmla="*/ 80010 w 900430"/>
                <a:gd name="connsiteY2" fmla="*/ 30480 h 1313761"/>
                <a:gd name="connsiteX3" fmla="*/ 0 w 900430"/>
                <a:gd name="connsiteY3" fmla="*/ 1286510 h 1313761"/>
                <a:gd name="connsiteX4" fmla="*/ 454660 w 900430"/>
                <a:gd name="connsiteY4" fmla="*/ 1273810 h 1313761"/>
                <a:gd name="connsiteX5" fmla="*/ 900430 w 900430"/>
                <a:gd name="connsiteY5" fmla="*/ 969010 h 1313761"/>
                <a:gd name="connsiteX0" fmla="*/ 820420 w 820420"/>
                <a:gd name="connsiteY0" fmla="*/ 969010 h 1323549"/>
                <a:gd name="connsiteX1" fmla="*/ 812800 w 820420"/>
                <a:gd name="connsiteY1" fmla="*/ 0 h 1323549"/>
                <a:gd name="connsiteX2" fmla="*/ 0 w 820420"/>
                <a:gd name="connsiteY2" fmla="*/ 30480 h 1323549"/>
                <a:gd name="connsiteX3" fmla="*/ 7620 w 820420"/>
                <a:gd name="connsiteY3" fmla="*/ 1305560 h 1323549"/>
                <a:gd name="connsiteX4" fmla="*/ 374650 w 820420"/>
                <a:gd name="connsiteY4" fmla="*/ 1273810 h 1323549"/>
                <a:gd name="connsiteX5" fmla="*/ 820420 w 820420"/>
                <a:gd name="connsiteY5" fmla="*/ 969010 h 1323549"/>
                <a:gd name="connsiteX0" fmla="*/ 820420 w 820420"/>
                <a:gd name="connsiteY0" fmla="*/ 969010 h 1323549"/>
                <a:gd name="connsiteX1" fmla="*/ 812800 w 820420"/>
                <a:gd name="connsiteY1" fmla="*/ 0 h 1323549"/>
                <a:gd name="connsiteX2" fmla="*/ 0 w 820420"/>
                <a:gd name="connsiteY2" fmla="*/ 15240 h 1323549"/>
                <a:gd name="connsiteX3" fmla="*/ 7620 w 820420"/>
                <a:gd name="connsiteY3" fmla="*/ 1305560 h 1323549"/>
                <a:gd name="connsiteX4" fmla="*/ 374650 w 820420"/>
                <a:gd name="connsiteY4" fmla="*/ 1273810 h 1323549"/>
                <a:gd name="connsiteX5" fmla="*/ 820420 w 820420"/>
                <a:gd name="connsiteY5" fmla="*/ 969010 h 1323549"/>
                <a:gd name="connsiteX0" fmla="*/ 820420 w 820420"/>
                <a:gd name="connsiteY0" fmla="*/ 969010 h 1323549"/>
                <a:gd name="connsiteX1" fmla="*/ 812800 w 820420"/>
                <a:gd name="connsiteY1" fmla="*/ 0 h 1323549"/>
                <a:gd name="connsiteX2" fmla="*/ 0 w 820420"/>
                <a:gd name="connsiteY2" fmla="*/ 7620 h 1323549"/>
                <a:gd name="connsiteX3" fmla="*/ 7620 w 820420"/>
                <a:gd name="connsiteY3" fmla="*/ 1305560 h 1323549"/>
                <a:gd name="connsiteX4" fmla="*/ 374650 w 820420"/>
                <a:gd name="connsiteY4" fmla="*/ 1273810 h 1323549"/>
                <a:gd name="connsiteX5" fmla="*/ 820420 w 820420"/>
                <a:gd name="connsiteY5" fmla="*/ 969010 h 1323549"/>
                <a:gd name="connsiteX0" fmla="*/ 820420 w 820420"/>
                <a:gd name="connsiteY0" fmla="*/ 969010 h 1323549"/>
                <a:gd name="connsiteX1" fmla="*/ 812800 w 820420"/>
                <a:gd name="connsiteY1" fmla="*/ 0 h 1323549"/>
                <a:gd name="connsiteX2" fmla="*/ 0 w 820420"/>
                <a:gd name="connsiteY2" fmla="*/ 0 h 1323549"/>
                <a:gd name="connsiteX3" fmla="*/ 7620 w 820420"/>
                <a:gd name="connsiteY3" fmla="*/ 1305560 h 1323549"/>
                <a:gd name="connsiteX4" fmla="*/ 374650 w 820420"/>
                <a:gd name="connsiteY4" fmla="*/ 1273810 h 1323549"/>
                <a:gd name="connsiteX5" fmla="*/ 820420 w 820420"/>
                <a:gd name="connsiteY5" fmla="*/ 969010 h 1323549"/>
                <a:gd name="connsiteX0" fmla="*/ 816610 w 816610"/>
                <a:gd name="connsiteY0" fmla="*/ 976630 h 1323549"/>
                <a:gd name="connsiteX1" fmla="*/ 812800 w 816610"/>
                <a:gd name="connsiteY1" fmla="*/ 0 h 1323549"/>
                <a:gd name="connsiteX2" fmla="*/ 0 w 816610"/>
                <a:gd name="connsiteY2" fmla="*/ 0 h 1323549"/>
                <a:gd name="connsiteX3" fmla="*/ 7620 w 816610"/>
                <a:gd name="connsiteY3" fmla="*/ 1305560 h 1323549"/>
                <a:gd name="connsiteX4" fmla="*/ 374650 w 816610"/>
                <a:gd name="connsiteY4" fmla="*/ 1273810 h 1323549"/>
                <a:gd name="connsiteX5" fmla="*/ 816610 w 816610"/>
                <a:gd name="connsiteY5" fmla="*/ 976630 h 1323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16610" h="1323549">
                  <a:moveTo>
                    <a:pt x="816610" y="976630"/>
                  </a:moveTo>
                  <a:lnTo>
                    <a:pt x="812800" y="0"/>
                  </a:lnTo>
                  <a:lnTo>
                    <a:pt x="0" y="0"/>
                  </a:lnTo>
                  <a:lnTo>
                    <a:pt x="7620" y="1305560"/>
                  </a:lnTo>
                  <a:cubicBezTo>
                    <a:pt x="115993" y="1329267"/>
                    <a:pt x="116417" y="1339003"/>
                    <a:pt x="374650" y="1273810"/>
                  </a:cubicBezTo>
                  <a:cubicBezTo>
                    <a:pt x="702310" y="1172210"/>
                    <a:pt x="755650" y="1045210"/>
                    <a:pt x="816610" y="97663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schemeClr val="tx1"/>
                </a:solidFill>
              </a:endParaRPr>
            </a:p>
          </p:txBody>
        </p: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DF913347-C3EF-4E16-9A70-5E387ECCDA31}"/>
                </a:ext>
              </a:extLst>
            </p:cNvPr>
            <p:cNvGrpSpPr/>
            <p:nvPr/>
          </p:nvGrpSpPr>
          <p:grpSpPr>
            <a:xfrm>
              <a:off x="5140025" y="2886913"/>
              <a:ext cx="387768" cy="243310"/>
              <a:chOff x="5124984" y="2886287"/>
              <a:chExt cx="387768" cy="146897"/>
            </a:xfrm>
          </p:grpSpPr>
          <p:sp>
            <p:nvSpPr>
              <p:cNvPr id="82" name="Rectangle: Top Corners Rounded 81">
                <a:extLst>
                  <a:ext uri="{FF2B5EF4-FFF2-40B4-BE49-F238E27FC236}">
                    <a16:creationId xmlns:a16="http://schemas.microsoft.com/office/drawing/2014/main" id="{079AE3AE-B873-4DC0-9A75-FC5CF6E80D3A}"/>
                  </a:ext>
                </a:extLst>
              </p:cNvPr>
              <p:cNvSpPr/>
              <p:nvPr/>
            </p:nvSpPr>
            <p:spPr>
              <a:xfrm>
                <a:off x="5152707" y="2886287"/>
                <a:ext cx="360045" cy="146897"/>
              </a:xfrm>
              <a:prstGeom prst="round2SameRect">
                <a:avLst/>
              </a:prstGeom>
              <a:solidFill>
                <a:srgbClr val="999999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solidFill>
                    <a:schemeClr val="tx1"/>
                  </a:solidFill>
                </a:endParaRPr>
              </a:p>
            </p:txBody>
          </p:sp>
          <p:sp>
            <p:nvSpPr>
              <p:cNvPr id="83" name="Rectangle: Top Corners Rounded 82">
                <a:extLst>
                  <a:ext uri="{FF2B5EF4-FFF2-40B4-BE49-F238E27FC236}">
                    <a16:creationId xmlns:a16="http://schemas.microsoft.com/office/drawing/2014/main" id="{D2CAE661-21CE-4C96-901F-31616DF6937D}"/>
                  </a:ext>
                </a:extLst>
              </p:cNvPr>
              <p:cNvSpPr/>
              <p:nvPr/>
            </p:nvSpPr>
            <p:spPr>
              <a:xfrm>
                <a:off x="5124984" y="2886287"/>
                <a:ext cx="360045" cy="146897"/>
              </a:xfrm>
              <a:prstGeom prst="round2SameRect">
                <a:avLst/>
              </a:prstGeom>
              <a:solidFill>
                <a:srgbClr val="CCCCCC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EE8C2204-4E8B-46B3-8DA4-27EEFBC0E2C6}"/>
                </a:ext>
              </a:extLst>
            </p:cNvPr>
            <p:cNvSpPr/>
            <p:nvPr/>
          </p:nvSpPr>
          <p:spPr>
            <a:xfrm>
              <a:off x="5527793" y="3236096"/>
              <a:ext cx="97713" cy="97712"/>
            </a:xfrm>
            <a:prstGeom prst="rect">
              <a:avLst/>
            </a:prstGeom>
            <a:solidFill>
              <a:schemeClr val="accent1"/>
            </a:solidFill>
            <a:ln w="19050" cap="rnd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A4F6F524-48FA-4A39-A74B-EFB7567BBA2F}"/>
                </a:ext>
              </a:extLst>
            </p:cNvPr>
            <p:cNvSpPr/>
            <p:nvPr/>
          </p:nvSpPr>
          <p:spPr>
            <a:xfrm>
              <a:off x="5553639" y="3230255"/>
              <a:ext cx="111440" cy="72678"/>
            </a:xfrm>
            <a:custGeom>
              <a:avLst/>
              <a:gdLst>
                <a:gd name="connsiteX0" fmla="*/ 0 w 350520"/>
                <a:gd name="connsiteY0" fmla="*/ 121920 h 228600"/>
                <a:gd name="connsiteX1" fmla="*/ 121920 w 350520"/>
                <a:gd name="connsiteY1" fmla="*/ 228600 h 228600"/>
                <a:gd name="connsiteX2" fmla="*/ 350520 w 350520"/>
                <a:gd name="connsiteY2" fmla="*/ 0 h 22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50520" h="228600">
                  <a:moveTo>
                    <a:pt x="0" y="121920"/>
                  </a:moveTo>
                  <a:lnTo>
                    <a:pt x="121920" y="228600"/>
                  </a:lnTo>
                  <a:lnTo>
                    <a:pt x="350520" y="0"/>
                  </a:lnTo>
                </a:path>
              </a:pathLst>
            </a:custGeom>
            <a:noFill/>
            <a:ln w="19050" cap="rnd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B2C6DA58-FB13-434C-9346-90424B0CBF7D}"/>
                </a:ext>
              </a:extLst>
            </p:cNvPr>
            <p:cNvSpPr/>
            <p:nvPr/>
          </p:nvSpPr>
          <p:spPr>
            <a:xfrm>
              <a:off x="5527793" y="3426730"/>
              <a:ext cx="97713" cy="97712"/>
            </a:xfrm>
            <a:prstGeom prst="rect">
              <a:avLst/>
            </a:prstGeom>
            <a:solidFill>
              <a:schemeClr val="accent1"/>
            </a:solidFill>
            <a:ln w="19050" cap="rnd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5CE8C3B0-7C93-4D72-8896-B18B54E03EC3}"/>
                </a:ext>
              </a:extLst>
            </p:cNvPr>
            <p:cNvSpPr/>
            <p:nvPr/>
          </p:nvSpPr>
          <p:spPr>
            <a:xfrm>
              <a:off x="5553639" y="3420889"/>
              <a:ext cx="111440" cy="72678"/>
            </a:xfrm>
            <a:custGeom>
              <a:avLst/>
              <a:gdLst>
                <a:gd name="connsiteX0" fmla="*/ 0 w 350520"/>
                <a:gd name="connsiteY0" fmla="*/ 121920 h 228600"/>
                <a:gd name="connsiteX1" fmla="*/ 121920 w 350520"/>
                <a:gd name="connsiteY1" fmla="*/ 228600 h 228600"/>
                <a:gd name="connsiteX2" fmla="*/ 350520 w 350520"/>
                <a:gd name="connsiteY2" fmla="*/ 0 h 22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50520" h="228600">
                  <a:moveTo>
                    <a:pt x="0" y="121920"/>
                  </a:moveTo>
                  <a:lnTo>
                    <a:pt x="121920" y="228600"/>
                  </a:lnTo>
                  <a:lnTo>
                    <a:pt x="350520" y="0"/>
                  </a:lnTo>
                </a:path>
              </a:pathLst>
            </a:custGeom>
            <a:noFill/>
            <a:ln w="19050" cap="rnd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4AF015D8-A22E-41B4-A61E-78B53CFAB83E}"/>
                </a:ext>
              </a:extLst>
            </p:cNvPr>
            <p:cNvSpPr/>
            <p:nvPr/>
          </p:nvSpPr>
          <p:spPr>
            <a:xfrm>
              <a:off x="5527793" y="3617365"/>
              <a:ext cx="97713" cy="97712"/>
            </a:xfrm>
            <a:prstGeom prst="rect">
              <a:avLst/>
            </a:prstGeom>
            <a:solidFill>
              <a:schemeClr val="accent1"/>
            </a:solidFill>
            <a:ln w="19050" cap="rnd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AE9173A5-16E5-429D-83A1-A64FFC12084A}"/>
                </a:ext>
              </a:extLst>
            </p:cNvPr>
            <p:cNvSpPr/>
            <p:nvPr/>
          </p:nvSpPr>
          <p:spPr>
            <a:xfrm>
              <a:off x="5553639" y="3611524"/>
              <a:ext cx="111440" cy="72678"/>
            </a:xfrm>
            <a:custGeom>
              <a:avLst/>
              <a:gdLst>
                <a:gd name="connsiteX0" fmla="*/ 0 w 350520"/>
                <a:gd name="connsiteY0" fmla="*/ 121920 h 228600"/>
                <a:gd name="connsiteX1" fmla="*/ 121920 w 350520"/>
                <a:gd name="connsiteY1" fmla="*/ 228600 h 228600"/>
                <a:gd name="connsiteX2" fmla="*/ 350520 w 350520"/>
                <a:gd name="connsiteY2" fmla="*/ 0 h 22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50520" h="228600">
                  <a:moveTo>
                    <a:pt x="0" y="121920"/>
                  </a:moveTo>
                  <a:lnTo>
                    <a:pt x="121920" y="228600"/>
                  </a:lnTo>
                  <a:lnTo>
                    <a:pt x="350520" y="0"/>
                  </a:lnTo>
                </a:path>
              </a:pathLst>
            </a:custGeom>
            <a:noFill/>
            <a:ln w="19050" cap="rnd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A8A2611C-4AD0-4F8D-BEE2-33FBCBB4798F}"/>
                </a:ext>
              </a:extLst>
            </p:cNvPr>
            <p:cNvSpPr/>
            <p:nvPr/>
          </p:nvSpPr>
          <p:spPr>
            <a:xfrm>
              <a:off x="5527793" y="3808000"/>
              <a:ext cx="97713" cy="97712"/>
            </a:xfrm>
            <a:prstGeom prst="rect">
              <a:avLst/>
            </a:prstGeom>
            <a:solidFill>
              <a:schemeClr val="accent1"/>
            </a:solidFill>
            <a:ln w="19050" cap="rnd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027A5A59-8762-468F-8DCA-DD9E7870E7AA}"/>
                </a:ext>
              </a:extLst>
            </p:cNvPr>
            <p:cNvSpPr/>
            <p:nvPr/>
          </p:nvSpPr>
          <p:spPr>
            <a:xfrm>
              <a:off x="5553639" y="3802159"/>
              <a:ext cx="111440" cy="72678"/>
            </a:xfrm>
            <a:custGeom>
              <a:avLst/>
              <a:gdLst>
                <a:gd name="connsiteX0" fmla="*/ 0 w 350520"/>
                <a:gd name="connsiteY0" fmla="*/ 121920 h 228600"/>
                <a:gd name="connsiteX1" fmla="*/ 121920 w 350520"/>
                <a:gd name="connsiteY1" fmla="*/ 228600 h 228600"/>
                <a:gd name="connsiteX2" fmla="*/ 350520 w 350520"/>
                <a:gd name="connsiteY2" fmla="*/ 0 h 22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50520" h="228600">
                  <a:moveTo>
                    <a:pt x="0" y="121920"/>
                  </a:moveTo>
                  <a:lnTo>
                    <a:pt x="121920" y="228600"/>
                  </a:lnTo>
                  <a:lnTo>
                    <a:pt x="350520" y="0"/>
                  </a:lnTo>
                </a:path>
              </a:pathLst>
            </a:custGeom>
            <a:noFill/>
            <a:ln w="19050" cap="rnd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EE559A02-683D-406F-925E-9AD19025D9E7}"/>
                </a:ext>
              </a:extLst>
            </p:cNvPr>
            <p:cNvSpPr/>
            <p:nvPr/>
          </p:nvSpPr>
          <p:spPr>
            <a:xfrm>
              <a:off x="5527793" y="3998634"/>
              <a:ext cx="97713" cy="97712"/>
            </a:xfrm>
            <a:prstGeom prst="rect">
              <a:avLst/>
            </a:prstGeom>
            <a:solidFill>
              <a:schemeClr val="accent1"/>
            </a:solidFill>
            <a:ln w="19050" cap="rnd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C6F0D904-623A-404A-8775-BD104EAC36EB}"/>
                </a:ext>
              </a:extLst>
            </p:cNvPr>
            <p:cNvSpPr/>
            <p:nvPr/>
          </p:nvSpPr>
          <p:spPr>
            <a:xfrm>
              <a:off x="5553639" y="3992793"/>
              <a:ext cx="111440" cy="72678"/>
            </a:xfrm>
            <a:custGeom>
              <a:avLst/>
              <a:gdLst>
                <a:gd name="connsiteX0" fmla="*/ 0 w 350520"/>
                <a:gd name="connsiteY0" fmla="*/ 121920 h 228600"/>
                <a:gd name="connsiteX1" fmla="*/ 121920 w 350520"/>
                <a:gd name="connsiteY1" fmla="*/ 228600 h 228600"/>
                <a:gd name="connsiteX2" fmla="*/ 350520 w 350520"/>
                <a:gd name="connsiteY2" fmla="*/ 0 h 22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50520" h="228600">
                  <a:moveTo>
                    <a:pt x="0" y="121920"/>
                  </a:moveTo>
                  <a:lnTo>
                    <a:pt x="121920" y="228600"/>
                  </a:lnTo>
                  <a:lnTo>
                    <a:pt x="350520" y="0"/>
                  </a:lnTo>
                </a:path>
              </a:pathLst>
            </a:custGeom>
            <a:noFill/>
            <a:ln w="19050" cap="rnd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2FA84586-BB08-4503-8E2B-5BB46127A2E0}"/>
                </a:ext>
              </a:extLst>
            </p:cNvPr>
            <p:cNvSpPr/>
            <p:nvPr/>
          </p:nvSpPr>
          <p:spPr>
            <a:xfrm>
              <a:off x="5011629" y="3243411"/>
              <a:ext cx="410572" cy="62524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2251" cap="flat">
              <a:noFill/>
              <a:prstDash val="solid"/>
              <a:miter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DFE4AD2F-4BC9-440D-9F4C-0B105725EB41}"/>
                </a:ext>
              </a:extLst>
            </p:cNvPr>
            <p:cNvSpPr/>
            <p:nvPr/>
          </p:nvSpPr>
          <p:spPr>
            <a:xfrm>
              <a:off x="5011629" y="3434096"/>
              <a:ext cx="410572" cy="62524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2251" cap="flat">
              <a:noFill/>
              <a:prstDash val="solid"/>
              <a:miter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638E0F58-2E6E-4E45-ABBC-0376D1561417}"/>
                </a:ext>
              </a:extLst>
            </p:cNvPr>
            <p:cNvSpPr/>
            <p:nvPr/>
          </p:nvSpPr>
          <p:spPr>
            <a:xfrm>
              <a:off x="5011629" y="3624781"/>
              <a:ext cx="410572" cy="62524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2251" cap="flat">
              <a:noFill/>
              <a:prstDash val="solid"/>
              <a:miter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92485F66-C5E8-4971-B791-B43122CEC386}"/>
                </a:ext>
              </a:extLst>
            </p:cNvPr>
            <p:cNvSpPr/>
            <p:nvPr/>
          </p:nvSpPr>
          <p:spPr>
            <a:xfrm>
              <a:off x="5011629" y="3815466"/>
              <a:ext cx="410572" cy="62524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2251" cap="flat">
              <a:noFill/>
              <a:prstDash val="solid"/>
              <a:miter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3FCA30A6-9154-4D81-ADB7-12FD71FF03AF}"/>
                </a:ext>
              </a:extLst>
            </p:cNvPr>
            <p:cNvSpPr/>
            <p:nvPr/>
          </p:nvSpPr>
          <p:spPr>
            <a:xfrm>
              <a:off x="5011629" y="4006150"/>
              <a:ext cx="410572" cy="62524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2251" cap="flat">
              <a:noFill/>
              <a:prstDash val="solid"/>
              <a:miter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D9D6EB77-8460-4AA1-BDD5-D99F08B852A6}"/>
                </a:ext>
              </a:extLst>
            </p:cNvPr>
            <p:cNvSpPr/>
            <p:nvPr/>
          </p:nvSpPr>
          <p:spPr>
            <a:xfrm>
              <a:off x="4665952" y="3067398"/>
              <a:ext cx="212118" cy="352026"/>
            </a:xfrm>
            <a:custGeom>
              <a:avLst/>
              <a:gdLst>
                <a:gd name="connsiteX0" fmla="*/ 65804 w 212118"/>
                <a:gd name="connsiteY0" fmla="*/ 17260 h 352025"/>
                <a:gd name="connsiteX1" fmla="*/ 183507 w 212118"/>
                <a:gd name="connsiteY1" fmla="*/ 20690 h 352025"/>
                <a:gd name="connsiteX2" fmla="*/ 191631 w 212118"/>
                <a:gd name="connsiteY2" fmla="*/ 144441 h 352025"/>
                <a:gd name="connsiteX3" fmla="*/ 181070 w 212118"/>
                <a:gd name="connsiteY3" fmla="*/ 153918 h 352025"/>
                <a:gd name="connsiteX4" fmla="*/ 179264 w 212118"/>
                <a:gd name="connsiteY4" fmla="*/ 155543 h 352025"/>
                <a:gd name="connsiteX5" fmla="*/ 165048 w 212118"/>
                <a:gd name="connsiteY5" fmla="*/ 168857 h 352025"/>
                <a:gd name="connsiteX6" fmla="*/ 89001 w 212118"/>
                <a:gd name="connsiteY6" fmla="*/ 244813 h 352025"/>
                <a:gd name="connsiteX7" fmla="*/ 39131 w 212118"/>
                <a:gd name="connsiteY7" fmla="*/ 352136 h 352025"/>
                <a:gd name="connsiteX8" fmla="*/ 4289 w 212118"/>
                <a:gd name="connsiteY8" fmla="*/ 257495 h 352025"/>
                <a:gd name="connsiteX9" fmla="*/ 950 w 212118"/>
                <a:gd name="connsiteY9" fmla="*/ 171745 h 352025"/>
                <a:gd name="connsiteX10" fmla="*/ 65804 w 212118"/>
                <a:gd name="connsiteY10" fmla="*/ 17260 h 352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12118" h="352025">
                  <a:moveTo>
                    <a:pt x="65804" y="17260"/>
                  </a:moveTo>
                  <a:cubicBezTo>
                    <a:pt x="102812" y="-6209"/>
                    <a:pt x="148259" y="-6389"/>
                    <a:pt x="183507" y="20690"/>
                  </a:cubicBezTo>
                  <a:cubicBezTo>
                    <a:pt x="222275" y="50477"/>
                    <a:pt x="225615" y="110050"/>
                    <a:pt x="191631" y="144441"/>
                  </a:cubicBezTo>
                  <a:cubicBezTo>
                    <a:pt x="192804" y="143267"/>
                    <a:pt x="171818" y="162313"/>
                    <a:pt x="181070" y="153918"/>
                  </a:cubicBezTo>
                  <a:cubicBezTo>
                    <a:pt x="187027" y="148502"/>
                    <a:pt x="180122" y="154776"/>
                    <a:pt x="179264" y="155543"/>
                  </a:cubicBezTo>
                  <a:cubicBezTo>
                    <a:pt x="174481" y="159921"/>
                    <a:pt x="169742" y="164344"/>
                    <a:pt x="165048" y="168857"/>
                  </a:cubicBezTo>
                  <a:cubicBezTo>
                    <a:pt x="160354" y="173370"/>
                    <a:pt x="113192" y="191738"/>
                    <a:pt x="89001" y="244813"/>
                  </a:cubicBezTo>
                  <a:cubicBezTo>
                    <a:pt x="67699" y="291569"/>
                    <a:pt x="57635" y="351730"/>
                    <a:pt x="39131" y="352136"/>
                  </a:cubicBezTo>
                  <a:cubicBezTo>
                    <a:pt x="8442" y="352858"/>
                    <a:pt x="8893" y="286605"/>
                    <a:pt x="4289" y="257495"/>
                  </a:cubicBezTo>
                  <a:cubicBezTo>
                    <a:pt x="-269" y="228566"/>
                    <a:pt x="-856" y="200990"/>
                    <a:pt x="950" y="171745"/>
                  </a:cubicBezTo>
                  <a:cubicBezTo>
                    <a:pt x="4515" y="115150"/>
                    <a:pt x="13541" y="50341"/>
                    <a:pt x="65804" y="17260"/>
                  </a:cubicBez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 w="225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88" name="Rectangle 87">
            <a:extLst>
              <a:ext uri="{FF2B5EF4-FFF2-40B4-BE49-F238E27FC236}">
                <a16:creationId xmlns:a16="http://schemas.microsoft.com/office/drawing/2014/main" id="{F2E12E1F-A689-4623-8E79-D941524881C1}"/>
              </a:ext>
            </a:extLst>
          </p:cNvPr>
          <p:cNvSpPr>
            <a:spLocks/>
          </p:cNvSpPr>
          <p:nvPr/>
        </p:nvSpPr>
        <p:spPr>
          <a:xfrm>
            <a:off x="346892" y="1960553"/>
            <a:ext cx="2850758" cy="95410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r>
              <a:rPr lang="en-US" sz="2800" b="1" spc="-15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Apply for</a:t>
            </a:r>
          </a:p>
          <a:p>
            <a:r>
              <a:rPr lang="en-US" sz="2800" b="1" spc="-15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funding</a:t>
            </a:r>
          </a:p>
        </p:txBody>
      </p:sp>
      <p:sp>
        <p:nvSpPr>
          <p:cNvPr id="89" name="TitleTrackerNum 7">
            <a:extLst>
              <a:ext uri="{FF2B5EF4-FFF2-40B4-BE49-F238E27FC236}">
                <a16:creationId xmlns:a16="http://schemas.microsoft.com/office/drawing/2014/main" id="{902BC2FF-D338-45BC-BE3B-D8B401CCC1E6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346892" y="1484823"/>
            <a:ext cx="340408" cy="340409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4800" b="1" dirty="0">
                <a:solidFill>
                  <a:srgbClr val="A33134"/>
                </a:solidFill>
                <a:latin typeface="+mj-lt"/>
              </a:rPr>
              <a:t>3</a:t>
            </a:r>
          </a:p>
        </p:txBody>
      </p: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DC22FC57-4C9B-4F70-9E0E-6D893CD9CFA6}"/>
              </a:ext>
            </a:extLst>
          </p:cNvPr>
          <p:cNvCxnSpPr>
            <a:cxnSpLocks/>
          </p:cNvCxnSpPr>
          <p:nvPr/>
        </p:nvCxnSpPr>
        <p:spPr>
          <a:xfrm>
            <a:off x="346892" y="3110489"/>
            <a:ext cx="3676468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Title 1">
            <a:extLst>
              <a:ext uri="{FF2B5EF4-FFF2-40B4-BE49-F238E27FC236}">
                <a16:creationId xmlns:a16="http://schemas.microsoft.com/office/drawing/2014/main" id="{23CC5870-58C0-4BB5-A7AE-26929EE77F31}"/>
              </a:ext>
            </a:extLst>
          </p:cNvPr>
          <p:cNvSpPr txBox="1">
            <a:spLocks/>
          </p:cNvSpPr>
          <p:nvPr/>
        </p:nvSpPr>
        <p:spPr bwMode="gray">
          <a:xfrm>
            <a:off x="11094720" y="379920"/>
            <a:ext cx="580788" cy="384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 defTabSz="12180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7135" algn="l"/>
              </a:tabLst>
              <a:defRPr lang="x-none" sz="20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2pPr>
            <a:lvl3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3pPr>
            <a:lvl4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4pPr>
            <a:lvl5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5pPr>
            <a:lvl6pPr marL="62197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6pPr>
            <a:lvl7pPr marL="1243941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7pPr>
            <a:lvl8pPr marL="1865909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8pPr>
            <a:lvl9pPr marL="248788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r">
              <a:lnSpc>
                <a:spcPts val="3000"/>
              </a:lnSpc>
            </a:pPr>
            <a:r>
              <a:rPr lang="en-US" sz="2800" b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3/6</a:t>
            </a:r>
            <a:endParaRPr lang="en-US" sz="2800" b="0" kern="0" spc="-15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2" name="5. Source">
            <a:extLst>
              <a:ext uri="{FF2B5EF4-FFF2-40B4-BE49-F238E27FC236}">
                <a16:creationId xmlns:a16="http://schemas.microsoft.com/office/drawing/2014/main" id="{1C9D5DDF-CFB8-4340-864C-93C59022551C}"/>
              </a:ext>
            </a:extLst>
          </p:cNvPr>
          <p:cNvSpPr>
            <a:spLocks noChangeArrowheads="1"/>
          </p:cNvSpPr>
          <p:nvPr/>
        </p:nvSpPr>
        <p:spPr bwMode="gray">
          <a:xfrm>
            <a:off x="346893" y="6642955"/>
            <a:ext cx="9531411" cy="123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519113" indent="-519113" defTabSz="1218026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  <a:hlinkClick r:id="rId13"/>
              </a:rPr>
              <a:t>Provider Relief Fund website</a:t>
            </a:r>
            <a:endParaRPr lang="en-US" sz="8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41" name="Title 1">
            <a:extLst>
              <a:ext uri="{FF2B5EF4-FFF2-40B4-BE49-F238E27FC236}">
                <a16:creationId xmlns:a16="http://schemas.microsoft.com/office/drawing/2014/main" id="{79C27212-678F-4EAC-BE6A-40F2EBD1EF1D}"/>
              </a:ext>
            </a:extLst>
          </p:cNvPr>
          <p:cNvSpPr txBox="1">
            <a:spLocks/>
          </p:cNvSpPr>
          <p:nvPr/>
        </p:nvSpPr>
        <p:spPr bwMode="gray">
          <a:xfrm>
            <a:off x="346891" y="278741"/>
            <a:ext cx="9741325" cy="8617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algn="l" defTabSz="12180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7135" algn="l"/>
              </a:tabLst>
              <a:defRPr lang="x-none" sz="20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2pPr>
            <a:lvl3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3pPr>
            <a:lvl4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4pPr>
            <a:lvl5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5pPr>
            <a:lvl6pPr marL="62197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6pPr>
            <a:lvl7pPr marL="1243941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7pPr>
            <a:lvl8pPr marL="1865909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8pPr>
            <a:lvl9pPr marL="248788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3000"/>
              </a:lnSpc>
            </a:pPr>
            <a:r>
              <a:rPr lang="en-US" sz="2800" spc="-150" dirty="0">
                <a:solidFill>
                  <a:srgbClr val="A33134"/>
                </a:solidFill>
              </a:rPr>
              <a:t>Actions for providers</a:t>
            </a:r>
            <a:r>
              <a:rPr lang="en-US" sz="2800" kern="0" spc="-150" dirty="0"/>
              <a:t/>
            </a:r>
            <a:br>
              <a:rPr lang="en-US" sz="2800" kern="0" spc="-150" dirty="0"/>
            </a:br>
            <a:r>
              <a:rPr lang="en-US" sz="2800" kern="0" spc="-150" dirty="0"/>
              <a:t>Phase 2 General </a:t>
            </a:r>
            <a:r>
              <a:rPr lang="en-US" sz="2800" spc="-150" dirty="0"/>
              <a:t>Distribution</a:t>
            </a:r>
            <a:endParaRPr lang="en-US" sz="2800" strike="sngStrike" spc="-150" dirty="0"/>
          </a:p>
        </p:txBody>
      </p:sp>
    </p:spTree>
    <p:extLst>
      <p:ext uri="{BB962C8B-B14F-4D97-AF65-F5344CB8AC3E}">
        <p14:creationId xmlns:p14="http://schemas.microsoft.com/office/powerpoint/2010/main" val="28850825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8" name="Object 47" hidden="1">
            <a:extLst>
              <a:ext uri="{FF2B5EF4-FFF2-40B4-BE49-F238E27FC236}">
                <a16:creationId xmlns:a16="http://schemas.microsoft.com/office/drawing/2014/main" id="{14BA6171-6AF2-4866-B9A0-B0D03AD6530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917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48" name="Object 47" hidden="1">
                        <a:extLst>
                          <a:ext uri="{FF2B5EF4-FFF2-40B4-BE49-F238E27FC236}">
                            <a16:creationId xmlns:a16="http://schemas.microsoft.com/office/drawing/2014/main" id="{14BA6171-6AF2-4866-B9A0-B0D03AD653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Rectangle 46" hidden="1">
            <a:extLst>
              <a:ext uri="{FF2B5EF4-FFF2-40B4-BE49-F238E27FC236}">
                <a16:creationId xmlns:a16="http://schemas.microsoft.com/office/drawing/2014/main" id="{06E0B02D-CB87-4A54-9B04-DDB41854653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000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94B264C3-2138-4F65-A74B-0DF637EB17E8}"/>
              </a:ext>
            </a:extLst>
          </p:cNvPr>
          <p:cNvSpPr>
            <a:spLocks/>
          </p:cNvSpPr>
          <p:nvPr/>
        </p:nvSpPr>
        <p:spPr>
          <a:xfrm>
            <a:off x="346892" y="1960553"/>
            <a:ext cx="2850758" cy="95410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r>
              <a:rPr lang="en-US" sz="2800" b="1" spc="-15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Receive</a:t>
            </a:r>
            <a:br>
              <a:rPr lang="en-US" sz="2800" b="1" spc="-15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</a:br>
            <a:r>
              <a:rPr lang="en-US" sz="2800" b="1" spc="-15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payment</a:t>
            </a:r>
          </a:p>
        </p:txBody>
      </p:sp>
      <p:sp>
        <p:nvSpPr>
          <p:cNvPr id="44" name="TitleTrackerNum 7">
            <a:extLst>
              <a:ext uri="{FF2B5EF4-FFF2-40B4-BE49-F238E27FC236}">
                <a16:creationId xmlns:a16="http://schemas.microsoft.com/office/drawing/2014/main" id="{39BFF05E-6458-446E-9555-BC132298787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46892" y="1484823"/>
            <a:ext cx="340408" cy="340409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4800" b="1" dirty="0">
                <a:solidFill>
                  <a:srgbClr val="A33134"/>
                </a:solidFill>
                <a:latin typeface="+mj-lt"/>
              </a:rPr>
              <a:t>4</a:t>
            </a: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8409B2E9-3831-47E3-80E1-FD1724CEDEA3}"/>
              </a:ext>
            </a:extLst>
          </p:cNvPr>
          <p:cNvCxnSpPr>
            <a:cxnSpLocks/>
          </p:cNvCxnSpPr>
          <p:nvPr/>
        </p:nvCxnSpPr>
        <p:spPr>
          <a:xfrm>
            <a:off x="346892" y="3110489"/>
            <a:ext cx="3676468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6" name="Group 45">
            <a:extLst>
              <a:ext uri="{FF2B5EF4-FFF2-40B4-BE49-F238E27FC236}">
                <a16:creationId xmlns:a16="http://schemas.microsoft.com/office/drawing/2014/main" id="{37E7DCD1-4BB0-441B-AA0E-B22E27906B7F}"/>
              </a:ext>
            </a:extLst>
          </p:cNvPr>
          <p:cNvGrpSpPr/>
          <p:nvPr/>
        </p:nvGrpSpPr>
        <p:grpSpPr>
          <a:xfrm>
            <a:off x="507218" y="3580827"/>
            <a:ext cx="3367961" cy="2488984"/>
            <a:chOff x="6083672" y="3074214"/>
            <a:chExt cx="1830199" cy="1352550"/>
          </a:xfrm>
        </p:grpSpPr>
        <p:pic>
          <p:nvPicPr>
            <p:cNvPr id="49" name="Graphic 48">
              <a:extLst>
                <a:ext uri="{FF2B5EF4-FFF2-40B4-BE49-F238E27FC236}">
                  <a16:creationId xmlns:a16="http://schemas.microsoft.com/office/drawing/2014/main" id="{2BD7F4D6-E645-41BD-81E5-70D5D0A4B417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xmlns="" r:embed="rId14"/>
                </a:ext>
              </a:extLst>
            </a:blip>
            <a:stretch>
              <a:fillRect/>
            </a:stretch>
          </p:blipFill>
          <p:spPr>
            <a:xfrm>
              <a:off x="6189846" y="3074214"/>
              <a:ext cx="1724025" cy="1352550"/>
            </a:xfrm>
            <a:prstGeom prst="rect">
              <a:avLst/>
            </a:prstGeom>
          </p:spPr>
        </p:pic>
        <p:grpSp>
          <p:nvGrpSpPr>
            <p:cNvPr id="50" name="Graphic 174">
              <a:extLst>
                <a:ext uri="{FF2B5EF4-FFF2-40B4-BE49-F238E27FC236}">
                  <a16:creationId xmlns:a16="http://schemas.microsoft.com/office/drawing/2014/main" id="{0537947F-1AA4-458A-8731-A9FF6D9132B7}"/>
                </a:ext>
              </a:extLst>
            </p:cNvPr>
            <p:cNvGrpSpPr/>
            <p:nvPr/>
          </p:nvGrpSpPr>
          <p:grpSpPr>
            <a:xfrm>
              <a:off x="6083672" y="3296365"/>
              <a:ext cx="1813252" cy="946752"/>
              <a:chOff x="5937027" y="3296365"/>
              <a:chExt cx="1813252" cy="946752"/>
            </a:xfrm>
          </p:grpSpPr>
          <p:grpSp>
            <p:nvGrpSpPr>
              <p:cNvPr id="51" name="Graphic 174">
                <a:extLst>
                  <a:ext uri="{FF2B5EF4-FFF2-40B4-BE49-F238E27FC236}">
                    <a16:creationId xmlns:a16="http://schemas.microsoft.com/office/drawing/2014/main" id="{B4B1112C-4332-401C-8EE5-FC77E3A9E78B}"/>
                  </a:ext>
                </a:extLst>
              </p:cNvPr>
              <p:cNvGrpSpPr/>
              <p:nvPr/>
            </p:nvGrpSpPr>
            <p:grpSpPr>
              <a:xfrm>
                <a:off x="5937027" y="3296365"/>
                <a:ext cx="1807434" cy="946752"/>
                <a:chOff x="5937027" y="3296365"/>
                <a:chExt cx="1807434" cy="946752"/>
              </a:xfrm>
              <a:solidFill>
                <a:schemeClr val="accent1"/>
              </a:solidFill>
            </p:grpSpPr>
            <p:sp>
              <p:nvSpPr>
                <p:cNvPr id="1724" name="Freeform: Shape 1723">
                  <a:extLst>
                    <a:ext uri="{FF2B5EF4-FFF2-40B4-BE49-F238E27FC236}">
                      <a16:creationId xmlns:a16="http://schemas.microsoft.com/office/drawing/2014/main" id="{3C1D72B1-13C9-4DBC-A937-ED6310020378}"/>
                    </a:ext>
                  </a:extLst>
                </p:cNvPr>
                <p:cNvSpPr/>
                <p:nvPr/>
              </p:nvSpPr>
              <p:spPr>
                <a:xfrm>
                  <a:off x="6606747" y="3296365"/>
                  <a:ext cx="1107257" cy="925816"/>
                </a:xfrm>
                <a:custGeom>
                  <a:avLst/>
                  <a:gdLst>
                    <a:gd name="connsiteX0" fmla="*/ 97683 w 1107257"/>
                    <a:gd name="connsiteY0" fmla="*/ 882084 h 925816"/>
                    <a:gd name="connsiteX1" fmla="*/ 99591 w 1107257"/>
                    <a:gd name="connsiteY1" fmla="*/ 881549 h 925816"/>
                    <a:gd name="connsiteX2" fmla="*/ 101521 w 1107257"/>
                    <a:gd name="connsiteY2" fmla="*/ 881363 h 925816"/>
                    <a:gd name="connsiteX3" fmla="*/ 815028 w 1107257"/>
                    <a:gd name="connsiteY3" fmla="*/ 881363 h 925816"/>
                    <a:gd name="connsiteX4" fmla="*/ 813097 w 1107257"/>
                    <a:gd name="connsiteY4" fmla="*/ 881549 h 925816"/>
                    <a:gd name="connsiteX5" fmla="*/ 811189 w 1107257"/>
                    <a:gd name="connsiteY5" fmla="*/ 882084 h 925816"/>
                    <a:gd name="connsiteX6" fmla="*/ 810352 w 1107257"/>
                    <a:gd name="connsiteY6" fmla="*/ 882480 h 925816"/>
                    <a:gd name="connsiteX7" fmla="*/ 819936 w 1107257"/>
                    <a:gd name="connsiteY7" fmla="*/ 882480 h 925816"/>
                    <a:gd name="connsiteX8" fmla="*/ 901259 w 1107257"/>
                    <a:gd name="connsiteY8" fmla="*/ 882480 h 925816"/>
                    <a:gd name="connsiteX9" fmla="*/ 905585 w 1107257"/>
                    <a:gd name="connsiteY9" fmla="*/ 886806 h 925816"/>
                    <a:gd name="connsiteX10" fmla="*/ 905585 w 1107257"/>
                    <a:gd name="connsiteY10" fmla="*/ 913767 h 925816"/>
                    <a:gd name="connsiteX11" fmla="*/ 894932 w 1107257"/>
                    <a:gd name="connsiteY11" fmla="*/ 924421 h 925816"/>
                    <a:gd name="connsiteX12" fmla="*/ 873391 w 1107257"/>
                    <a:gd name="connsiteY12" fmla="*/ 924421 h 925816"/>
                    <a:gd name="connsiteX13" fmla="*/ 873391 w 1107257"/>
                    <a:gd name="connsiteY13" fmla="*/ 927328 h 925816"/>
                    <a:gd name="connsiteX14" fmla="*/ 893606 w 1107257"/>
                    <a:gd name="connsiteY14" fmla="*/ 927328 h 925816"/>
                    <a:gd name="connsiteX15" fmla="*/ 959157 w 1107257"/>
                    <a:gd name="connsiteY15" fmla="*/ 856171 h 925816"/>
                    <a:gd name="connsiteX16" fmla="*/ 1107893 w 1107257"/>
                    <a:gd name="connsiteY16" fmla="*/ 71134 h 925816"/>
                    <a:gd name="connsiteX17" fmla="*/ 1075977 w 1107257"/>
                    <a:gd name="connsiteY17" fmla="*/ 605 h 925816"/>
                    <a:gd name="connsiteX18" fmla="*/ 1069325 w 1107257"/>
                    <a:gd name="connsiteY18" fmla="*/ 0 h 925816"/>
                    <a:gd name="connsiteX19" fmla="*/ 215969 w 1107257"/>
                    <a:gd name="connsiteY19" fmla="*/ 0 h 925816"/>
                    <a:gd name="connsiteX20" fmla="*/ 150394 w 1107257"/>
                    <a:gd name="connsiteY20" fmla="*/ 71134 h 925816"/>
                    <a:gd name="connsiteX21" fmla="*/ 1659 w 1107257"/>
                    <a:gd name="connsiteY21" fmla="*/ 856171 h 925816"/>
                    <a:gd name="connsiteX22" fmla="*/ 240 w 1107257"/>
                    <a:gd name="connsiteY22" fmla="*/ 879735 h 925816"/>
                    <a:gd name="connsiteX23" fmla="*/ 403 w 1107257"/>
                    <a:gd name="connsiteY23" fmla="*/ 882480 h 925816"/>
                    <a:gd name="connsiteX24" fmla="*/ 96822 w 1107257"/>
                    <a:gd name="connsiteY24" fmla="*/ 882480 h 925816"/>
                    <a:gd name="connsiteX25" fmla="*/ 97683 w 1107257"/>
                    <a:gd name="connsiteY25" fmla="*/ 882084 h 925816"/>
                    <a:gd name="connsiteX26" fmla="*/ 51602 w 1107257"/>
                    <a:gd name="connsiteY26" fmla="*/ 810438 h 925816"/>
                    <a:gd name="connsiteX27" fmla="*/ 191312 w 1107257"/>
                    <a:gd name="connsiteY27" fmla="*/ 72995 h 925816"/>
                    <a:gd name="connsiteX28" fmla="*/ 206641 w 1107257"/>
                    <a:gd name="connsiteY28" fmla="*/ 56363 h 925816"/>
                    <a:gd name="connsiteX29" fmla="*/ 1057275 w 1107257"/>
                    <a:gd name="connsiteY29" fmla="*/ 56363 h 925816"/>
                    <a:gd name="connsiteX30" fmla="*/ 1066301 w 1107257"/>
                    <a:gd name="connsiteY30" fmla="*/ 72995 h 925816"/>
                    <a:gd name="connsiteX31" fmla="*/ 926591 w 1107257"/>
                    <a:gd name="connsiteY31" fmla="*/ 810438 h 925816"/>
                    <a:gd name="connsiteX32" fmla="*/ 911261 w 1107257"/>
                    <a:gd name="connsiteY32" fmla="*/ 827070 h 925816"/>
                    <a:gd name="connsiteX33" fmla="*/ 60627 w 1107257"/>
                    <a:gd name="connsiteY33" fmla="*/ 827070 h 925816"/>
                    <a:gd name="connsiteX34" fmla="*/ 51602 w 1107257"/>
                    <a:gd name="connsiteY34" fmla="*/ 810438 h 9258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</a:cxnLst>
                  <a:rect l="l" t="t" r="r" b="b"/>
                  <a:pathLst>
                    <a:path w="1107257" h="925816">
                      <a:moveTo>
                        <a:pt x="97683" y="882084"/>
                      </a:moveTo>
                      <a:lnTo>
                        <a:pt x="99591" y="881549"/>
                      </a:lnTo>
                      <a:lnTo>
                        <a:pt x="101521" y="881363"/>
                      </a:lnTo>
                      <a:lnTo>
                        <a:pt x="815028" y="881363"/>
                      </a:lnTo>
                      <a:lnTo>
                        <a:pt x="813097" y="881549"/>
                      </a:lnTo>
                      <a:lnTo>
                        <a:pt x="811189" y="882084"/>
                      </a:lnTo>
                      <a:lnTo>
                        <a:pt x="810352" y="882480"/>
                      </a:lnTo>
                      <a:lnTo>
                        <a:pt x="819936" y="882480"/>
                      </a:lnTo>
                      <a:cubicBezTo>
                        <a:pt x="853479" y="882480"/>
                        <a:pt x="870623" y="882480"/>
                        <a:pt x="901259" y="882480"/>
                      </a:cubicBezTo>
                      <a:cubicBezTo>
                        <a:pt x="903655" y="882480"/>
                        <a:pt x="905585" y="884410"/>
                        <a:pt x="905585" y="886806"/>
                      </a:cubicBezTo>
                      <a:lnTo>
                        <a:pt x="905585" y="913767"/>
                      </a:lnTo>
                      <a:cubicBezTo>
                        <a:pt x="905585" y="919652"/>
                        <a:pt x="900817" y="924421"/>
                        <a:pt x="894932" y="924421"/>
                      </a:cubicBezTo>
                      <a:cubicBezTo>
                        <a:pt x="845105" y="924421"/>
                        <a:pt x="937454" y="924421"/>
                        <a:pt x="873391" y="924421"/>
                      </a:cubicBezTo>
                      <a:lnTo>
                        <a:pt x="873391" y="927328"/>
                      </a:lnTo>
                      <a:lnTo>
                        <a:pt x="893606" y="927328"/>
                      </a:lnTo>
                      <a:cubicBezTo>
                        <a:pt x="929708" y="924141"/>
                        <a:pt x="950760" y="891598"/>
                        <a:pt x="959157" y="856171"/>
                      </a:cubicBezTo>
                      <a:lnTo>
                        <a:pt x="1107893" y="71134"/>
                      </a:lnTo>
                      <a:cubicBezTo>
                        <a:pt x="1112382" y="39312"/>
                        <a:pt x="1106846" y="9444"/>
                        <a:pt x="1075977" y="605"/>
                      </a:cubicBezTo>
                      <a:lnTo>
                        <a:pt x="1069325" y="0"/>
                      </a:lnTo>
                      <a:lnTo>
                        <a:pt x="215969" y="0"/>
                      </a:lnTo>
                      <a:cubicBezTo>
                        <a:pt x="179750" y="3187"/>
                        <a:pt x="158861" y="35544"/>
                        <a:pt x="150394" y="71134"/>
                      </a:cubicBezTo>
                      <a:lnTo>
                        <a:pt x="1659" y="856171"/>
                      </a:lnTo>
                      <a:cubicBezTo>
                        <a:pt x="263" y="865964"/>
                        <a:pt x="-388" y="869058"/>
                        <a:pt x="240" y="879735"/>
                      </a:cubicBezTo>
                      <a:lnTo>
                        <a:pt x="403" y="882480"/>
                      </a:lnTo>
                      <a:lnTo>
                        <a:pt x="96822" y="882480"/>
                      </a:lnTo>
                      <a:lnTo>
                        <a:pt x="97683" y="882084"/>
                      </a:lnTo>
                      <a:close/>
                      <a:moveTo>
                        <a:pt x="51602" y="810438"/>
                      </a:moveTo>
                      <a:lnTo>
                        <a:pt x="191312" y="72995"/>
                      </a:lnTo>
                      <a:cubicBezTo>
                        <a:pt x="193568" y="63504"/>
                        <a:pt x="197080" y="57224"/>
                        <a:pt x="206641" y="56363"/>
                      </a:cubicBezTo>
                      <a:cubicBezTo>
                        <a:pt x="308411" y="56363"/>
                        <a:pt x="954016" y="56363"/>
                        <a:pt x="1057275" y="56363"/>
                      </a:cubicBezTo>
                      <a:cubicBezTo>
                        <a:pt x="1066789" y="57247"/>
                        <a:pt x="1067627" y="63574"/>
                        <a:pt x="1066301" y="72995"/>
                      </a:cubicBezTo>
                      <a:lnTo>
                        <a:pt x="926591" y="810438"/>
                      </a:lnTo>
                      <a:cubicBezTo>
                        <a:pt x="924288" y="820092"/>
                        <a:pt x="921147" y="826210"/>
                        <a:pt x="911261" y="827070"/>
                      </a:cubicBezTo>
                      <a:cubicBezTo>
                        <a:pt x="806514" y="827070"/>
                        <a:pt x="162793" y="827070"/>
                        <a:pt x="60627" y="827070"/>
                      </a:cubicBezTo>
                      <a:cubicBezTo>
                        <a:pt x="51346" y="826233"/>
                        <a:pt x="50276" y="819789"/>
                        <a:pt x="51602" y="810438"/>
                      </a:cubicBezTo>
                      <a:close/>
                    </a:path>
                  </a:pathLst>
                </a:custGeom>
                <a:solidFill>
                  <a:srgbClr val="999999"/>
                </a:solidFill>
                <a:ln w="232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725" name="Freeform: Shape 1724">
                  <a:extLst>
                    <a:ext uri="{FF2B5EF4-FFF2-40B4-BE49-F238E27FC236}">
                      <a16:creationId xmlns:a16="http://schemas.microsoft.com/office/drawing/2014/main" id="{92D27076-A5F2-4BCC-8B0A-7870CA71DEDB}"/>
                    </a:ext>
                  </a:extLst>
                </p:cNvPr>
                <p:cNvSpPr/>
                <p:nvPr/>
              </p:nvSpPr>
              <p:spPr>
                <a:xfrm>
                  <a:off x="6703593" y="4177914"/>
                  <a:ext cx="714134" cy="2326"/>
                </a:xfrm>
                <a:custGeom>
                  <a:avLst/>
                  <a:gdLst>
                    <a:gd name="connsiteX0" fmla="*/ 716251 w 714134"/>
                    <a:gd name="connsiteY0" fmla="*/ 0 h 0"/>
                    <a:gd name="connsiteX1" fmla="*/ 2745 w 714134"/>
                    <a:gd name="connsiteY1" fmla="*/ 0 h 0"/>
                    <a:gd name="connsiteX2" fmla="*/ 837 w 714134"/>
                    <a:gd name="connsiteY2" fmla="*/ 535 h 0"/>
                    <a:gd name="connsiteX3" fmla="*/ 0 w 714134"/>
                    <a:gd name="connsiteY3" fmla="*/ 930 h 0"/>
                    <a:gd name="connsiteX4" fmla="*/ 713506 w 714134"/>
                    <a:gd name="connsiteY4" fmla="*/ 930 h 0"/>
                    <a:gd name="connsiteX5" fmla="*/ 714344 w 714134"/>
                    <a:gd name="connsiteY5" fmla="*/ 535 h 0"/>
                    <a:gd name="connsiteX6" fmla="*/ 716251 w 714134"/>
                    <a:gd name="connsiteY6" fmla="*/ 0 h 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14134">
                      <a:moveTo>
                        <a:pt x="716251" y="0"/>
                      </a:moveTo>
                      <a:lnTo>
                        <a:pt x="2745" y="0"/>
                      </a:lnTo>
                      <a:lnTo>
                        <a:pt x="837" y="535"/>
                      </a:lnTo>
                      <a:lnTo>
                        <a:pt x="0" y="930"/>
                      </a:lnTo>
                      <a:cubicBezTo>
                        <a:pt x="23169" y="930"/>
                        <a:pt x="685127" y="930"/>
                        <a:pt x="713506" y="930"/>
                      </a:cubicBezTo>
                      <a:lnTo>
                        <a:pt x="714344" y="535"/>
                      </a:lnTo>
                      <a:lnTo>
                        <a:pt x="716251" y="0"/>
                      </a:lnTo>
                      <a:close/>
                    </a:path>
                  </a:pathLst>
                </a:custGeom>
                <a:solidFill>
                  <a:srgbClr val="5C3E66"/>
                </a:solidFill>
                <a:ln w="232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726" name="Freeform: Shape 1725">
                  <a:extLst>
                    <a:ext uri="{FF2B5EF4-FFF2-40B4-BE49-F238E27FC236}">
                      <a16:creationId xmlns:a16="http://schemas.microsoft.com/office/drawing/2014/main" id="{0C6C3354-43DE-4A45-B6EC-EAE80AB1E514}"/>
                    </a:ext>
                  </a:extLst>
                </p:cNvPr>
                <p:cNvSpPr/>
                <p:nvPr/>
              </p:nvSpPr>
              <p:spPr>
                <a:xfrm>
                  <a:off x="7565951" y="3298784"/>
                  <a:ext cx="176789" cy="863010"/>
                </a:xfrm>
                <a:custGeom>
                  <a:avLst/>
                  <a:gdLst>
                    <a:gd name="connsiteX0" fmla="*/ 151783 w 176788"/>
                    <a:gd name="connsiteY0" fmla="*/ 10863 h 863009"/>
                    <a:gd name="connsiteX1" fmla="*/ 123147 w 176788"/>
                    <a:gd name="connsiteY1" fmla="*/ 0 h 863009"/>
                    <a:gd name="connsiteX2" fmla="*/ 148735 w 176788"/>
                    <a:gd name="connsiteY2" fmla="*/ 68715 h 863009"/>
                    <a:gd name="connsiteX3" fmla="*/ 0 w 176788"/>
                    <a:gd name="connsiteY3" fmla="*/ 853752 h 863009"/>
                    <a:gd name="connsiteX4" fmla="*/ 28635 w 176788"/>
                    <a:gd name="connsiteY4" fmla="*/ 864615 h 863009"/>
                    <a:gd name="connsiteX5" fmla="*/ 177371 w 176788"/>
                    <a:gd name="connsiteY5" fmla="*/ 79578 h 863009"/>
                    <a:gd name="connsiteX6" fmla="*/ 151783 w 176788"/>
                    <a:gd name="connsiteY6" fmla="*/ 10863 h 8630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76788" h="863009">
                      <a:moveTo>
                        <a:pt x="151783" y="10863"/>
                      </a:moveTo>
                      <a:lnTo>
                        <a:pt x="123147" y="0"/>
                      </a:lnTo>
                      <a:cubicBezTo>
                        <a:pt x="149410" y="13352"/>
                        <a:pt x="152806" y="39894"/>
                        <a:pt x="148735" y="68715"/>
                      </a:cubicBezTo>
                      <a:lnTo>
                        <a:pt x="0" y="853752"/>
                      </a:lnTo>
                      <a:lnTo>
                        <a:pt x="28635" y="864615"/>
                      </a:lnTo>
                      <a:lnTo>
                        <a:pt x="177371" y="79578"/>
                      </a:lnTo>
                      <a:cubicBezTo>
                        <a:pt x="181488" y="50431"/>
                        <a:pt x="177789" y="24076"/>
                        <a:pt x="151783" y="10863"/>
                      </a:cubicBezTo>
                      <a:close/>
                    </a:path>
                  </a:pathLst>
                </a:custGeom>
                <a:solidFill>
                  <a:srgbClr val="DDD6DD"/>
                </a:solidFill>
                <a:ln w="232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727" name="Freeform: Shape 1726">
                  <a:extLst>
                    <a:ext uri="{FF2B5EF4-FFF2-40B4-BE49-F238E27FC236}">
                      <a16:creationId xmlns:a16="http://schemas.microsoft.com/office/drawing/2014/main" id="{3FAB03EC-2290-4E77-A0F5-E55F5E315445}"/>
                    </a:ext>
                  </a:extLst>
                </p:cNvPr>
                <p:cNvSpPr/>
                <p:nvPr/>
              </p:nvSpPr>
              <p:spPr>
                <a:xfrm>
                  <a:off x="7480138" y="4152536"/>
                  <a:ext cx="113982" cy="81416"/>
                </a:xfrm>
                <a:custGeom>
                  <a:avLst/>
                  <a:gdLst>
                    <a:gd name="connsiteX0" fmla="*/ 20214 w 113982"/>
                    <a:gd name="connsiteY0" fmla="*/ 71158 h 81416"/>
                    <a:gd name="connsiteX1" fmla="*/ 0 w 113982"/>
                    <a:gd name="connsiteY1" fmla="*/ 71158 h 81416"/>
                    <a:gd name="connsiteX2" fmla="*/ 0 w 113982"/>
                    <a:gd name="connsiteY2" fmla="*/ 71832 h 81416"/>
                    <a:gd name="connsiteX3" fmla="*/ 0 w 113982"/>
                    <a:gd name="connsiteY3" fmla="*/ 82021 h 81416"/>
                    <a:gd name="connsiteX4" fmla="*/ 48850 w 113982"/>
                    <a:gd name="connsiteY4" fmla="*/ 82021 h 81416"/>
                    <a:gd name="connsiteX5" fmla="*/ 114401 w 113982"/>
                    <a:gd name="connsiteY5" fmla="*/ 10863 h 81416"/>
                    <a:gd name="connsiteX6" fmla="*/ 85766 w 113982"/>
                    <a:gd name="connsiteY6" fmla="*/ 0 h 81416"/>
                    <a:gd name="connsiteX7" fmla="*/ 20214 w 113982"/>
                    <a:gd name="connsiteY7" fmla="*/ 71158 h 814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3982" h="81416">
                      <a:moveTo>
                        <a:pt x="20214" y="71158"/>
                      </a:moveTo>
                      <a:lnTo>
                        <a:pt x="0" y="71158"/>
                      </a:lnTo>
                      <a:lnTo>
                        <a:pt x="0" y="71832"/>
                      </a:lnTo>
                      <a:cubicBezTo>
                        <a:pt x="46" y="73274"/>
                        <a:pt x="23" y="75903"/>
                        <a:pt x="0" y="82021"/>
                      </a:cubicBezTo>
                      <a:lnTo>
                        <a:pt x="48850" y="82021"/>
                      </a:lnTo>
                      <a:cubicBezTo>
                        <a:pt x="84859" y="78857"/>
                        <a:pt x="105934" y="46640"/>
                        <a:pt x="114401" y="10863"/>
                      </a:cubicBezTo>
                      <a:lnTo>
                        <a:pt x="85766" y="0"/>
                      </a:lnTo>
                      <a:cubicBezTo>
                        <a:pt x="77485" y="35055"/>
                        <a:pt x="56526" y="67947"/>
                        <a:pt x="20214" y="71158"/>
                      </a:cubicBezTo>
                      <a:close/>
                    </a:path>
                  </a:pathLst>
                </a:custGeom>
                <a:solidFill>
                  <a:srgbClr val="CCC2CC"/>
                </a:solidFill>
                <a:ln w="232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728" name="Freeform: Shape 1727">
                  <a:extLst>
                    <a:ext uri="{FF2B5EF4-FFF2-40B4-BE49-F238E27FC236}">
                      <a16:creationId xmlns:a16="http://schemas.microsoft.com/office/drawing/2014/main" id="{27EB5D46-5C8D-4454-BC1A-FBA9B39B4B0A}"/>
                    </a:ext>
                  </a:extLst>
                </p:cNvPr>
                <p:cNvSpPr/>
                <p:nvPr/>
              </p:nvSpPr>
              <p:spPr>
                <a:xfrm>
                  <a:off x="5937027" y="4178845"/>
                  <a:ext cx="1574817" cy="41871"/>
                </a:xfrm>
                <a:custGeom>
                  <a:avLst/>
                  <a:gdLst>
                    <a:gd name="connsiteX0" fmla="*/ 1564675 w 1574817"/>
                    <a:gd name="connsiteY0" fmla="*/ 41941 h 41871"/>
                    <a:gd name="connsiteX1" fmla="*/ 1575329 w 1574817"/>
                    <a:gd name="connsiteY1" fmla="*/ 31287 h 41871"/>
                    <a:gd name="connsiteX2" fmla="*/ 1575329 w 1574817"/>
                    <a:gd name="connsiteY2" fmla="*/ 4327 h 41871"/>
                    <a:gd name="connsiteX3" fmla="*/ 1571003 w 1574817"/>
                    <a:gd name="connsiteY3" fmla="*/ 0 h 41871"/>
                    <a:gd name="connsiteX4" fmla="*/ 1489680 w 1574817"/>
                    <a:gd name="connsiteY4" fmla="*/ 0 h 41871"/>
                    <a:gd name="connsiteX5" fmla="*/ 1480096 w 1574817"/>
                    <a:gd name="connsiteY5" fmla="*/ 0 h 41871"/>
                    <a:gd name="connsiteX6" fmla="*/ 766590 w 1574817"/>
                    <a:gd name="connsiteY6" fmla="*/ 0 h 41871"/>
                    <a:gd name="connsiteX7" fmla="*/ 670170 w 1574817"/>
                    <a:gd name="connsiteY7" fmla="*/ 0 h 41871"/>
                    <a:gd name="connsiteX8" fmla="*/ 532251 w 1574817"/>
                    <a:gd name="connsiteY8" fmla="*/ 0 h 41871"/>
                    <a:gd name="connsiteX9" fmla="*/ 532251 w 1574817"/>
                    <a:gd name="connsiteY9" fmla="*/ 20959 h 41871"/>
                    <a:gd name="connsiteX10" fmla="*/ 383655 w 1574817"/>
                    <a:gd name="connsiteY10" fmla="*/ 20959 h 41871"/>
                    <a:gd name="connsiteX11" fmla="*/ 383655 w 1574817"/>
                    <a:gd name="connsiteY11" fmla="*/ 0 h 41871"/>
                    <a:gd name="connsiteX12" fmla="*/ 4327 w 1574817"/>
                    <a:gd name="connsiteY12" fmla="*/ 0 h 41871"/>
                    <a:gd name="connsiteX13" fmla="*/ 0 w 1574817"/>
                    <a:gd name="connsiteY13" fmla="*/ 4327 h 41871"/>
                    <a:gd name="connsiteX14" fmla="*/ 0 w 1574817"/>
                    <a:gd name="connsiteY14" fmla="*/ 31287 h 41871"/>
                    <a:gd name="connsiteX15" fmla="*/ 10654 w 1574817"/>
                    <a:gd name="connsiteY15" fmla="*/ 41941 h 41871"/>
                    <a:gd name="connsiteX16" fmla="*/ 32543 w 1574817"/>
                    <a:gd name="connsiteY16" fmla="*/ 41941 h 41871"/>
                    <a:gd name="connsiteX17" fmla="*/ 1542833 w 1574817"/>
                    <a:gd name="connsiteY17" fmla="*/ 41941 h 41871"/>
                    <a:gd name="connsiteX18" fmla="*/ 1543182 w 1574817"/>
                    <a:gd name="connsiteY18" fmla="*/ 41941 h 41871"/>
                    <a:gd name="connsiteX19" fmla="*/ 1564675 w 1574817"/>
                    <a:gd name="connsiteY19" fmla="*/ 41941 h 418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1574817" h="41871">
                      <a:moveTo>
                        <a:pt x="1564675" y="41941"/>
                      </a:moveTo>
                      <a:cubicBezTo>
                        <a:pt x="1570561" y="41941"/>
                        <a:pt x="1575329" y="37172"/>
                        <a:pt x="1575329" y="31287"/>
                      </a:cubicBezTo>
                      <a:lnTo>
                        <a:pt x="1575329" y="4327"/>
                      </a:lnTo>
                      <a:cubicBezTo>
                        <a:pt x="1575329" y="1931"/>
                        <a:pt x="1573398" y="0"/>
                        <a:pt x="1571003" y="0"/>
                      </a:cubicBezTo>
                      <a:cubicBezTo>
                        <a:pt x="1540367" y="0"/>
                        <a:pt x="1523223" y="0"/>
                        <a:pt x="1489680" y="0"/>
                      </a:cubicBezTo>
                      <a:lnTo>
                        <a:pt x="1480096" y="0"/>
                      </a:lnTo>
                      <a:cubicBezTo>
                        <a:pt x="1451716" y="0"/>
                        <a:pt x="789758" y="0"/>
                        <a:pt x="766590" y="0"/>
                      </a:cubicBezTo>
                      <a:lnTo>
                        <a:pt x="670170" y="0"/>
                      </a:lnTo>
                      <a:lnTo>
                        <a:pt x="532251" y="0"/>
                      </a:lnTo>
                      <a:lnTo>
                        <a:pt x="532251" y="20959"/>
                      </a:lnTo>
                      <a:lnTo>
                        <a:pt x="383655" y="20959"/>
                      </a:lnTo>
                      <a:lnTo>
                        <a:pt x="383655" y="0"/>
                      </a:lnTo>
                      <a:cubicBezTo>
                        <a:pt x="307520" y="0"/>
                        <a:pt x="368023" y="0"/>
                        <a:pt x="4327" y="0"/>
                      </a:cubicBezTo>
                      <a:cubicBezTo>
                        <a:pt x="1931" y="0"/>
                        <a:pt x="0" y="1931"/>
                        <a:pt x="0" y="4327"/>
                      </a:cubicBezTo>
                      <a:lnTo>
                        <a:pt x="0" y="31287"/>
                      </a:lnTo>
                      <a:cubicBezTo>
                        <a:pt x="0" y="37172"/>
                        <a:pt x="4769" y="41941"/>
                        <a:pt x="10654" y="41941"/>
                      </a:cubicBezTo>
                      <a:cubicBezTo>
                        <a:pt x="17772" y="41941"/>
                        <a:pt x="25076" y="41941"/>
                        <a:pt x="32543" y="41941"/>
                      </a:cubicBezTo>
                      <a:cubicBezTo>
                        <a:pt x="398520" y="41941"/>
                        <a:pt x="1191837" y="41941"/>
                        <a:pt x="1542833" y="41941"/>
                      </a:cubicBezTo>
                      <a:cubicBezTo>
                        <a:pt x="1542949" y="41941"/>
                        <a:pt x="1543065" y="41941"/>
                        <a:pt x="1543182" y="41941"/>
                      </a:cubicBezTo>
                      <a:cubicBezTo>
                        <a:pt x="1606919" y="41941"/>
                        <a:pt x="1554370" y="41941"/>
                        <a:pt x="1564675" y="41941"/>
                      </a:cubicBezTo>
                      <a:close/>
                    </a:path>
                  </a:pathLst>
                </a:custGeom>
                <a:solidFill>
                  <a:srgbClr val="CCC2CC"/>
                </a:solidFill>
                <a:ln w="232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729" name="Freeform: Shape 1728">
                  <a:extLst>
                    <a:ext uri="{FF2B5EF4-FFF2-40B4-BE49-F238E27FC236}">
                      <a16:creationId xmlns:a16="http://schemas.microsoft.com/office/drawing/2014/main" id="{7A1FBD35-FEDB-4E24-9154-043452069731}"/>
                    </a:ext>
                  </a:extLst>
                </p:cNvPr>
                <p:cNvSpPr/>
                <p:nvPr/>
              </p:nvSpPr>
              <p:spPr>
                <a:xfrm>
                  <a:off x="6320659" y="4178845"/>
                  <a:ext cx="146549" cy="20936"/>
                </a:xfrm>
                <a:custGeom>
                  <a:avLst/>
                  <a:gdLst>
                    <a:gd name="connsiteX0" fmla="*/ 0 w 146548"/>
                    <a:gd name="connsiteY0" fmla="*/ 0 h 20935"/>
                    <a:gd name="connsiteX1" fmla="*/ 148596 w 146548"/>
                    <a:gd name="connsiteY1" fmla="*/ 0 h 20935"/>
                    <a:gd name="connsiteX2" fmla="*/ 148596 w 146548"/>
                    <a:gd name="connsiteY2" fmla="*/ 20959 h 20935"/>
                    <a:gd name="connsiteX3" fmla="*/ 0 w 146548"/>
                    <a:gd name="connsiteY3" fmla="*/ 20959 h 209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46548" h="20935">
                      <a:moveTo>
                        <a:pt x="0" y="0"/>
                      </a:moveTo>
                      <a:lnTo>
                        <a:pt x="148596" y="0"/>
                      </a:lnTo>
                      <a:lnTo>
                        <a:pt x="148596" y="20959"/>
                      </a:lnTo>
                      <a:lnTo>
                        <a:pt x="0" y="20959"/>
                      </a:lnTo>
                      <a:close/>
                    </a:path>
                  </a:pathLst>
                </a:custGeom>
                <a:solidFill>
                  <a:srgbClr val="E3DDE3"/>
                </a:solidFill>
                <a:ln w="232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730" name="Freeform: Shape 1729">
                  <a:extLst>
                    <a:ext uri="{FF2B5EF4-FFF2-40B4-BE49-F238E27FC236}">
                      <a16:creationId xmlns:a16="http://schemas.microsoft.com/office/drawing/2014/main" id="{FA770F7A-8C66-487D-9EF3-0CE0EFB28DF8}"/>
                    </a:ext>
                  </a:extLst>
                </p:cNvPr>
                <p:cNvSpPr/>
                <p:nvPr/>
              </p:nvSpPr>
              <p:spPr>
                <a:xfrm>
                  <a:off x="5969523" y="4220786"/>
                  <a:ext cx="1509685" cy="23262"/>
                </a:xfrm>
                <a:custGeom>
                  <a:avLst/>
                  <a:gdLst>
                    <a:gd name="connsiteX0" fmla="*/ 0 w 1509684"/>
                    <a:gd name="connsiteY0" fmla="*/ 13771 h 23261"/>
                    <a:gd name="connsiteX1" fmla="*/ 10654 w 1509684"/>
                    <a:gd name="connsiteY1" fmla="*/ 24425 h 23261"/>
                    <a:gd name="connsiteX2" fmla="*/ 1499659 w 1509684"/>
                    <a:gd name="connsiteY2" fmla="*/ 24425 h 23261"/>
                    <a:gd name="connsiteX3" fmla="*/ 1510313 w 1509684"/>
                    <a:gd name="connsiteY3" fmla="*/ 13771 h 23261"/>
                    <a:gd name="connsiteX4" fmla="*/ 1510313 w 1509684"/>
                    <a:gd name="connsiteY4" fmla="*/ 0 h 23261"/>
                    <a:gd name="connsiteX5" fmla="*/ 23 w 1509684"/>
                    <a:gd name="connsiteY5" fmla="*/ 0 h 23261"/>
                    <a:gd name="connsiteX6" fmla="*/ 23 w 1509684"/>
                    <a:gd name="connsiteY6" fmla="*/ 13771 h 232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509684" h="23261">
                      <a:moveTo>
                        <a:pt x="0" y="13771"/>
                      </a:moveTo>
                      <a:cubicBezTo>
                        <a:pt x="0" y="19656"/>
                        <a:pt x="4769" y="24425"/>
                        <a:pt x="10654" y="24425"/>
                      </a:cubicBezTo>
                      <a:cubicBezTo>
                        <a:pt x="146223" y="24425"/>
                        <a:pt x="1343689" y="24425"/>
                        <a:pt x="1499659" y="24425"/>
                      </a:cubicBezTo>
                      <a:cubicBezTo>
                        <a:pt x="1505544" y="24425"/>
                        <a:pt x="1510313" y="19656"/>
                        <a:pt x="1510313" y="13771"/>
                      </a:cubicBezTo>
                      <a:lnTo>
                        <a:pt x="1510313" y="0"/>
                      </a:lnTo>
                      <a:cubicBezTo>
                        <a:pt x="1159317" y="0"/>
                        <a:pt x="366000" y="0"/>
                        <a:pt x="23" y="0"/>
                      </a:cubicBezTo>
                      <a:lnTo>
                        <a:pt x="23" y="13771"/>
                      </a:lnTo>
                      <a:close/>
                    </a:path>
                  </a:pathLst>
                </a:custGeom>
                <a:solidFill>
                  <a:srgbClr val="AE9EAE"/>
                </a:solidFill>
                <a:ln w="232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731" name="Freeform: Shape 1730">
                  <a:extLst>
                    <a:ext uri="{FF2B5EF4-FFF2-40B4-BE49-F238E27FC236}">
                      <a16:creationId xmlns:a16="http://schemas.microsoft.com/office/drawing/2014/main" id="{B9EFB75E-A36F-4A5D-B76E-9F63AA53C1C7}"/>
                    </a:ext>
                  </a:extLst>
                </p:cNvPr>
                <p:cNvSpPr/>
                <p:nvPr/>
              </p:nvSpPr>
              <p:spPr>
                <a:xfrm>
                  <a:off x="6657881" y="3352728"/>
                  <a:ext cx="1014210" cy="769963"/>
                </a:xfrm>
                <a:custGeom>
                  <a:avLst/>
                  <a:gdLst>
                    <a:gd name="connsiteX0" fmla="*/ 1006141 w 1014210"/>
                    <a:gd name="connsiteY0" fmla="*/ 0 h 769962"/>
                    <a:gd name="connsiteX1" fmla="*/ 155507 w 1014210"/>
                    <a:gd name="connsiteY1" fmla="*/ 0 h 769962"/>
                    <a:gd name="connsiteX2" fmla="*/ 140178 w 1014210"/>
                    <a:gd name="connsiteY2" fmla="*/ 16632 h 769962"/>
                    <a:gd name="connsiteX3" fmla="*/ 468 w 1014210"/>
                    <a:gd name="connsiteY3" fmla="*/ 754075 h 769962"/>
                    <a:gd name="connsiteX4" fmla="*/ 9493 w 1014210"/>
                    <a:gd name="connsiteY4" fmla="*/ 770707 h 769962"/>
                    <a:gd name="connsiteX5" fmla="*/ 860128 w 1014210"/>
                    <a:gd name="connsiteY5" fmla="*/ 770707 h 769962"/>
                    <a:gd name="connsiteX6" fmla="*/ 875457 w 1014210"/>
                    <a:gd name="connsiteY6" fmla="*/ 754075 h 769962"/>
                    <a:gd name="connsiteX7" fmla="*/ 1015190 w 1014210"/>
                    <a:gd name="connsiteY7" fmla="*/ 16632 h 769962"/>
                    <a:gd name="connsiteX8" fmla="*/ 1006141 w 1014210"/>
                    <a:gd name="connsiteY8" fmla="*/ 0 h 7699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014210" h="769962">
                      <a:moveTo>
                        <a:pt x="1006141" y="0"/>
                      </a:moveTo>
                      <a:cubicBezTo>
                        <a:pt x="902883" y="0"/>
                        <a:pt x="257277" y="0"/>
                        <a:pt x="155507" y="0"/>
                      </a:cubicBezTo>
                      <a:cubicBezTo>
                        <a:pt x="145854" y="861"/>
                        <a:pt x="142434" y="7165"/>
                        <a:pt x="140178" y="16632"/>
                      </a:cubicBezTo>
                      <a:lnTo>
                        <a:pt x="468" y="754075"/>
                      </a:lnTo>
                      <a:cubicBezTo>
                        <a:pt x="-858" y="763357"/>
                        <a:pt x="189" y="769870"/>
                        <a:pt x="9493" y="770707"/>
                      </a:cubicBezTo>
                      <a:cubicBezTo>
                        <a:pt x="111636" y="770707"/>
                        <a:pt x="755380" y="770707"/>
                        <a:pt x="860128" y="770707"/>
                      </a:cubicBezTo>
                      <a:cubicBezTo>
                        <a:pt x="869967" y="769846"/>
                        <a:pt x="873154" y="763729"/>
                        <a:pt x="875457" y="754075"/>
                      </a:cubicBezTo>
                      <a:lnTo>
                        <a:pt x="1015190" y="16632"/>
                      </a:lnTo>
                      <a:cubicBezTo>
                        <a:pt x="1016493" y="7211"/>
                        <a:pt x="1015679" y="861"/>
                        <a:pt x="1006141" y="0"/>
                      </a:cubicBezTo>
                      <a:close/>
                    </a:path>
                  </a:pathLst>
                </a:custGeom>
                <a:solidFill>
                  <a:srgbClr val="C2D9ED"/>
                </a:solidFill>
                <a:ln w="232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52" name="Graphic 174">
                <a:extLst>
                  <a:ext uri="{FF2B5EF4-FFF2-40B4-BE49-F238E27FC236}">
                    <a16:creationId xmlns:a16="http://schemas.microsoft.com/office/drawing/2014/main" id="{45788050-5E37-4917-97B2-48E984DE14BC}"/>
                  </a:ext>
                </a:extLst>
              </p:cNvPr>
              <p:cNvGrpSpPr/>
              <p:nvPr/>
            </p:nvGrpSpPr>
            <p:grpSpPr>
              <a:xfrm>
                <a:off x="6347200" y="3768648"/>
                <a:ext cx="216729" cy="410173"/>
                <a:chOff x="6347200" y="3768648"/>
                <a:chExt cx="216729" cy="410173"/>
              </a:xfrm>
              <a:solidFill>
                <a:schemeClr val="accent1"/>
              </a:solidFill>
            </p:grpSpPr>
            <p:grpSp>
              <p:nvGrpSpPr>
                <p:cNvPr id="1194" name="Graphic 174">
                  <a:extLst>
                    <a:ext uri="{FF2B5EF4-FFF2-40B4-BE49-F238E27FC236}">
                      <a16:creationId xmlns:a16="http://schemas.microsoft.com/office/drawing/2014/main" id="{B2D651F0-B87F-4348-82E2-9B36CF42C7AD}"/>
                    </a:ext>
                  </a:extLst>
                </p:cNvPr>
                <p:cNvGrpSpPr/>
                <p:nvPr/>
              </p:nvGrpSpPr>
              <p:grpSpPr>
                <a:xfrm>
                  <a:off x="6347200" y="3973746"/>
                  <a:ext cx="196305" cy="205075"/>
                  <a:chOff x="6347200" y="3973746"/>
                  <a:chExt cx="196305" cy="205075"/>
                </a:xfrm>
                <a:solidFill>
                  <a:schemeClr val="accent1"/>
                </a:solidFill>
              </p:grpSpPr>
              <p:grpSp>
                <p:nvGrpSpPr>
                  <p:cNvPr id="1460" name="Graphic 174">
                    <a:extLst>
                      <a:ext uri="{FF2B5EF4-FFF2-40B4-BE49-F238E27FC236}">
                        <a16:creationId xmlns:a16="http://schemas.microsoft.com/office/drawing/2014/main" id="{5EF93681-54CF-4EE8-9842-60A1874F69B3}"/>
                      </a:ext>
                    </a:extLst>
                  </p:cNvPr>
                  <p:cNvGrpSpPr/>
                  <p:nvPr/>
                </p:nvGrpSpPr>
                <p:grpSpPr>
                  <a:xfrm>
                    <a:off x="6350736" y="4160212"/>
                    <a:ext cx="181441" cy="18609"/>
                    <a:chOff x="6350736" y="4160212"/>
                    <a:chExt cx="181441" cy="18609"/>
                  </a:xfrm>
                  <a:solidFill>
                    <a:schemeClr val="accent1"/>
                  </a:solidFill>
                </p:grpSpPr>
                <p:sp>
                  <p:nvSpPr>
                    <p:cNvPr id="1701" name="Freeform: Shape 1700">
                      <a:extLst>
                        <a:ext uri="{FF2B5EF4-FFF2-40B4-BE49-F238E27FC236}">
                          <a16:creationId xmlns:a16="http://schemas.microsoft.com/office/drawing/2014/main" id="{57BA5EE6-B8DF-4F3F-A91C-3E89F6C1E7E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50736" y="4160212"/>
                      <a:ext cx="181441" cy="18609"/>
                    </a:xfrm>
                    <a:custGeom>
                      <a:avLst/>
                      <a:gdLst>
                        <a:gd name="connsiteX0" fmla="*/ 181441 w 181441"/>
                        <a:gd name="connsiteY0" fmla="*/ 18633 h 18609"/>
                        <a:gd name="connsiteX1" fmla="*/ 1605 w 181441"/>
                        <a:gd name="connsiteY1" fmla="*/ 18633 h 18609"/>
                        <a:gd name="connsiteX2" fmla="*/ 0 w 181441"/>
                        <a:gd name="connsiteY2" fmla="*/ 17028 h 18609"/>
                        <a:gd name="connsiteX3" fmla="*/ 0 w 181441"/>
                        <a:gd name="connsiteY3" fmla="*/ 1605 h 18609"/>
                        <a:gd name="connsiteX4" fmla="*/ 1605 w 181441"/>
                        <a:gd name="connsiteY4" fmla="*/ 0 h 18609"/>
                        <a:gd name="connsiteX5" fmla="*/ 181441 w 181441"/>
                        <a:gd name="connsiteY5" fmla="*/ 0 h 18609"/>
                        <a:gd name="connsiteX6" fmla="*/ 183046 w 181441"/>
                        <a:gd name="connsiteY6" fmla="*/ 1605 h 18609"/>
                        <a:gd name="connsiteX7" fmla="*/ 183046 w 181441"/>
                        <a:gd name="connsiteY7" fmla="*/ 17028 h 18609"/>
                        <a:gd name="connsiteX8" fmla="*/ 181441 w 181441"/>
                        <a:gd name="connsiteY8" fmla="*/ 18633 h 1860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181441" h="18609">
                          <a:moveTo>
                            <a:pt x="181441" y="18633"/>
                          </a:moveTo>
                          <a:lnTo>
                            <a:pt x="1605" y="18633"/>
                          </a:lnTo>
                          <a:cubicBezTo>
                            <a:pt x="721" y="18633"/>
                            <a:pt x="0" y="17912"/>
                            <a:pt x="0" y="17028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181441" y="0"/>
                          </a:lnTo>
                          <a:cubicBezTo>
                            <a:pt x="182325" y="0"/>
                            <a:pt x="183046" y="721"/>
                            <a:pt x="183046" y="1605"/>
                          </a:cubicBezTo>
                          <a:lnTo>
                            <a:pt x="183046" y="17028"/>
                          </a:lnTo>
                          <a:cubicBezTo>
                            <a:pt x="183046" y="17912"/>
                            <a:pt x="182325" y="18633"/>
                            <a:pt x="181441" y="18633"/>
                          </a:cubicBezTo>
                          <a:close/>
                        </a:path>
                      </a:pathLst>
                    </a:custGeom>
                    <a:solidFill>
                      <a:srgbClr val="F19439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702" name="Freeform: Shape 1701">
                      <a:extLst>
                        <a:ext uri="{FF2B5EF4-FFF2-40B4-BE49-F238E27FC236}">
                          <a16:creationId xmlns:a16="http://schemas.microsoft.com/office/drawing/2014/main" id="{70985ABB-C5FA-4869-9925-DBCF7642ABA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38712" y="4161003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703" name="Freeform: Shape 1702">
                      <a:extLst>
                        <a:ext uri="{FF2B5EF4-FFF2-40B4-BE49-F238E27FC236}">
                          <a16:creationId xmlns:a16="http://schemas.microsoft.com/office/drawing/2014/main" id="{D1FEE8B7-34AC-4A81-A850-854805AD428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47388" y="4161003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704" name="Freeform: Shape 1703">
                      <a:extLst>
                        <a:ext uri="{FF2B5EF4-FFF2-40B4-BE49-F238E27FC236}">
                          <a16:creationId xmlns:a16="http://schemas.microsoft.com/office/drawing/2014/main" id="{61FFBBAD-19BC-4AAE-AA29-1498AA5E596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56088" y="4161003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705" name="Freeform: Shape 1704">
                      <a:extLst>
                        <a:ext uri="{FF2B5EF4-FFF2-40B4-BE49-F238E27FC236}">
                          <a16:creationId xmlns:a16="http://schemas.microsoft.com/office/drawing/2014/main" id="{98BCA480-4312-4458-AB6A-A8DD252A32C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64765" y="4161003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706" name="Freeform: Shape 1705">
                      <a:extLst>
                        <a:ext uri="{FF2B5EF4-FFF2-40B4-BE49-F238E27FC236}">
                          <a16:creationId xmlns:a16="http://schemas.microsoft.com/office/drawing/2014/main" id="{B01F6DBB-562B-474B-8F2C-34C17007856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73441" y="4161003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707" name="Freeform: Shape 1706">
                      <a:extLst>
                        <a:ext uri="{FF2B5EF4-FFF2-40B4-BE49-F238E27FC236}">
                          <a16:creationId xmlns:a16="http://schemas.microsoft.com/office/drawing/2014/main" id="{A8BDB308-C8C3-45FD-BD4A-C94CC8DC9A3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82141" y="4161003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708" name="Freeform: Shape 1707">
                      <a:extLst>
                        <a:ext uri="{FF2B5EF4-FFF2-40B4-BE49-F238E27FC236}">
                          <a16:creationId xmlns:a16="http://schemas.microsoft.com/office/drawing/2014/main" id="{CF91C92D-BFEA-4EE0-BB8B-E85F7E6981A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90818" y="4161003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709" name="Freeform: Shape 1708">
                      <a:extLst>
                        <a:ext uri="{FF2B5EF4-FFF2-40B4-BE49-F238E27FC236}">
                          <a16:creationId xmlns:a16="http://schemas.microsoft.com/office/drawing/2014/main" id="{8A1948C6-C04A-42C4-A254-DAFC4416B4C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99495" y="4161003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710" name="Freeform: Shape 1709">
                      <a:extLst>
                        <a:ext uri="{FF2B5EF4-FFF2-40B4-BE49-F238E27FC236}">
                          <a16:creationId xmlns:a16="http://schemas.microsoft.com/office/drawing/2014/main" id="{D9D34F7E-8245-40CE-B0CC-2CB9FBEA631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08194" y="4161003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711" name="Freeform: Shape 1710">
                      <a:extLst>
                        <a:ext uri="{FF2B5EF4-FFF2-40B4-BE49-F238E27FC236}">
                          <a16:creationId xmlns:a16="http://schemas.microsoft.com/office/drawing/2014/main" id="{FE144B29-DDAC-445C-8FF0-DDA110073A9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16871" y="4161003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712" name="Freeform: Shape 1711">
                      <a:extLst>
                        <a:ext uri="{FF2B5EF4-FFF2-40B4-BE49-F238E27FC236}">
                          <a16:creationId xmlns:a16="http://schemas.microsoft.com/office/drawing/2014/main" id="{336426B3-9DA3-473C-A5C5-9B92BD530B6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25548" y="4161003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713" name="Freeform: Shape 1712">
                      <a:extLst>
                        <a:ext uri="{FF2B5EF4-FFF2-40B4-BE49-F238E27FC236}">
                          <a16:creationId xmlns:a16="http://schemas.microsoft.com/office/drawing/2014/main" id="{9E83C051-F067-4F66-879D-7B7AAC1D43A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69229" y="4161003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714" name="Freeform: Shape 1713">
                      <a:extLst>
                        <a:ext uri="{FF2B5EF4-FFF2-40B4-BE49-F238E27FC236}">
                          <a16:creationId xmlns:a16="http://schemas.microsoft.com/office/drawing/2014/main" id="{CEC73580-2444-4838-A8FA-7466F46A062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77929" y="4161003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715" name="Freeform: Shape 1714">
                      <a:extLst>
                        <a:ext uri="{FF2B5EF4-FFF2-40B4-BE49-F238E27FC236}">
                          <a16:creationId xmlns:a16="http://schemas.microsoft.com/office/drawing/2014/main" id="{6D096868-995E-4650-BE0E-C46466124A6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86605" y="4161003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716" name="Freeform: Shape 1715">
                      <a:extLst>
                        <a:ext uri="{FF2B5EF4-FFF2-40B4-BE49-F238E27FC236}">
                          <a16:creationId xmlns:a16="http://schemas.microsoft.com/office/drawing/2014/main" id="{E3AC5DDD-BCE4-404C-BF06-A92092AE8FE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51876" y="4161003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717" name="Freeform: Shape 1716">
                      <a:extLst>
                        <a:ext uri="{FF2B5EF4-FFF2-40B4-BE49-F238E27FC236}">
                          <a16:creationId xmlns:a16="http://schemas.microsoft.com/office/drawing/2014/main" id="{0B99F72C-F8DF-4621-82AD-499F53EA23C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60552" y="4161003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718" name="Freeform: Shape 1717">
                      <a:extLst>
                        <a:ext uri="{FF2B5EF4-FFF2-40B4-BE49-F238E27FC236}">
                          <a16:creationId xmlns:a16="http://schemas.microsoft.com/office/drawing/2014/main" id="{09165925-42AE-4802-BC9E-9EEE69BD1FC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69229" y="4161003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719" name="Freeform: Shape 1718">
                      <a:extLst>
                        <a:ext uri="{FF2B5EF4-FFF2-40B4-BE49-F238E27FC236}">
                          <a16:creationId xmlns:a16="http://schemas.microsoft.com/office/drawing/2014/main" id="{F47288B7-BF7E-40E2-ADAC-4255B111B37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95282" y="4161003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720" name="Freeform: Shape 1719">
                      <a:extLst>
                        <a:ext uri="{FF2B5EF4-FFF2-40B4-BE49-F238E27FC236}">
                          <a16:creationId xmlns:a16="http://schemas.microsoft.com/office/drawing/2014/main" id="{40D2C6B7-C0D5-438E-A7CF-CB52EB1B3CB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03982" y="4161003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721" name="Freeform: Shape 1720">
                      <a:extLst>
                        <a:ext uri="{FF2B5EF4-FFF2-40B4-BE49-F238E27FC236}">
                          <a16:creationId xmlns:a16="http://schemas.microsoft.com/office/drawing/2014/main" id="{3E5B69A3-6C30-4ED6-B64D-F6F0C9BC82E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12659" y="4161003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722" name="Freeform: Shape 1721">
                      <a:extLst>
                        <a:ext uri="{FF2B5EF4-FFF2-40B4-BE49-F238E27FC236}">
                          <a16:creationId xmlns:a16="http://schemas.microsoft.com/office/drawing/2014/main" id="{FDD53E6C-4D8B-4BB8-B783-3669EF744C2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21335" y="4161003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723" name="Freeform: Shape 1722">
                      <a:extLst>
                        <a:ext uri="{FF2B5EF4-FFF2-40B4-BE49-F238E27FC236}">
                          <a16:creationId xmlns:a16="http://schemas.microsoft.com/office/drawing/2014/main" id="{6B2F56C5-B32F-441C-8377-73A92442D15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30035" y="4161003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1461" name="Graphic 174">
                    <a:extLst>
                      <a:ext uri="{FF2B5EF4-FFF2-40B4-BE49-F238E27FC236}">
                        <a16:creationId xmlns:a16="http://schemas.microsoft.com/office/drawing/2014/main" id="{56665DBF-B23D-4CBA-9EDC-69AC3FAB343A}"/>
                      </a:ext>
                    </a:extLst>
                  </p:cNvPr>
                  <p:cNvGrpSpPr/>
                  <p:nvPr/>
                </p:nvGrpSpPr>
                <p:grpSpPr>
                  <a:xfrm>
                    <a:off x="6355877" y="4141579"/>
                    <a:ext cx="181441" cy="18609"/>
                    <a:chOff x="6355877" y="4141579"/>
                    <a:chExt cx="181441" cy="18609"/>
                  </a:xfrm>
                  <a:solidFill>
                    <a:schemeClr val="accent1"/>
                  </a:solidFill>
                </p:grpSpPr>
                <p:sp>
                  <p:nvSpPr>
                    <p:cNvPr id="1678" name="Freeform: Shape 1677">
                      <a:extLst>
                        <a:ext uri="{FF2B5EF4-FFF2-40B4-BE49-F238E27FC236}">
                          <a16:creationId xmlns:a16="http://schemas.microsoft.com/office/drawing/2014/main" id="{10388132-39EC-42A4-8688-9A70B02EF77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55877" y="4141579"/>
                      <a:ext cx="181441" cy="18609"/>
                    </a:xfrm>
                    <a:custGeom>
                      <a:avLst/>
                      <a:gdLst>
                        <a:gd name="connsiteX0" fmla="*/ 181441 w 181441"/>
                        <a:gd name="connsiteY0" fmla="*/ 18633 h 18609"/>
                        <a:gd name="connsiteX1" fmla="*/ 1605 w 181441"/>
                        <a:gd name="connsiteY1" fmla="*/ 18633 h 18609"/>
                        <a:gd name="connsiteX2" fmla="*/ 0 w 181441"/>
                        <a:gd name="connsiteY2" fmla="*/ 17028 h 18609"/>
                        <a:gd name="connsiteX3" fmla="*/ 0 w 181441"/>
                        <a:gd name="connsiteY3" fmla="*/ 1605 h 18609"/>
                        <a:gd name="connsiteX4" fmla="*/ 1605 w 181441"/>
                        <a:gd name="connsiteY4" fmla="*/ 0 h 18609"/>
                        <a:gd name="connsiteX5" fmla="*/ 181441 w 181441"/>
                        <a:gd name="connsiteY5" fmla="*/ 0 h 18609"/>
                        <a:gd name="connsiteX6" fmla="*/ 183046 w 181441"/>
                        <a:gd name="connsiteY6" fmla="*/ 1605 h 18609"/>
                        <a:gd name="connsiteX7" fmla="*/ 183046 w 181441"/>
                        <a:gd name="connsiteY7" fmla="*/ 17028 h 18609"/>
                        <a:gd name="connsiteX8" fmla="*/ 181441 w 181441"/>
                        <a:gd name="connsiteY8" fmla="*/ 18633 h 1860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181441" h="18609">
                          <a:moveTo>
                            <a:pt x="181441" y="18633"/>
                          </a:moveTo>
                          <a:lnTo>
                            <a:pt x="1605" y="18633"/>
                          </a:lnTo>
                          <a:cubicBezTo>
                            <a:pt x="721" y="18633"/>
                            <a:pt x="0" y="17911"/>
                            <a:pt x="0" y="17028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181441" y="0"/>
                          </a:lnTo>
                          <a:cubicBezTo>
                            <a:pt x="182325" y="0"/>
                            <a:pt x="183046" y="721"/>
                            <a:pt x="183046" y="1605"/>
                          </a:cubicBezTo>
                          <a:lnTo>
                            <a:pt x="183046" y="17028"/>
                          </a:lnTo>
                          <a:cubicBezTo>
                            <a:pt x="183046" y="17911"/>
                            <a:pt x="182325" y="18633"/>
                            <a:pt x="181441" y="18633"/>
                          </a:cubicBezTo>
                          <a:close/>
                        </a:path>
                      </a:pathLst>
                    </a:custGeom>
                    <a:solidFill>
                      <a:srgbClr val="F19439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679" name="Freeform: Shape 1678">
                      <a:extLst>
                        <a:ext uri="{FF2B5EF4-FFF2-40B4-BE49-F238E27FC236}">
                          <a16:creationId xmlns:a16="http://schemas.microsoft.com/office/drawing/2014/main" id="{DBB61A62-E70F-42C1-AD47-28454BF7CB1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43876" y="4142370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48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680" name="Freeform: Shape 1679">
                      <a:extLst>
                        <a:ext uri="{FF2B5EF4-FFF2-40B4-BE49-F238E27FC236}">
                          <a16:creationId xmlns:a16="http://schemas.microsoft.com/office/drawing/2014/main" id="{AE70288E-8A26-4D10-B734-99126EB9D9D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52552" y="4142370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681" name="Freeform: Shape 1680">
                      <a:extLst>
                        <a:ext uri="{FF2B5EF4-FFF2-40B4-BE49-F238E27FC236}">
                          <a16:creationId xmlns:a16="http://schemas.microsoft.com/office/drawing/2014/main" id="{152FDC88-4E7B-407B-8196-76EC8E63460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61229" y="4142370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682" name="Freeform: Shape 1681">
                      <a:extLst>
                        <a:ext uri="{FF2B5EF4-FFF2-40B4-BE49-F238E27FC236}">
                          <a16:creationId xmlns:a16="http://schemas.microsoft.com/office/drawing/2014/main" id="{FD555400-A625-463A-9369-16E051A2475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69929" y="4142370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48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683" name="Freeform: Shape 1682">
                      <a:extLst>
                        <a:ext uri="{FF2B5EF4-FFF2-40B4-BE49-F238E27FC236}">
                          <a16:creationId xmlns:a16="http://schemas.microsoft.com/office/drawing/2014/main" id="{AC57DA66-C650-4990-ABE9-61A73FCED2F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78606" y="4142370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684" name="Freeform: Shape 1683">
                      <a:extLst>
                        <a:ext uri="{FF2B5EF4-FFF2-40B4-BE49-F238E27FC236}">
                          <a16:creationId xmlns:a16="http://schemas.microsoft.com/office/drawing/2014/main" id="{81DAB654-1FF0-4E46-B336-F3DB4AC80B9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87282" y="4142370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685" name="Freeform: Shape 1684">
                      <a:extLst>
                        <a:ext uri="{FF2B5EF4-FFF2-40B4-BE49-F238E27FC236}">
                          <a16:creationId xmlns:a16="http://schemas.microsoft.com/office/drawing/2014/main" id="{50A4DB0E-6944-4155-9749-E3211DBDDDC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95982" y="4142370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48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686" name="Freeform: Shape 1685">
                      <a:extLst>
                        <a:ext uri="{FF2B5EF4-FFF2-40B4-BE49-F238E27FC236}">
                          <a16:creationId xmlns:a16="http://schemas.microsoft.com/office/drawing/2014/main" id="{6ECE971E-AB0F-4B26-AD4B-C9F1C3419E9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04659" y="4142370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687" name="Freeform: Shape 1686">
                      <a:extLst>
                        <a:ext uri="{FF2B5EF4-FFF2-40B4-BE49-F238E27FC236}">
                          <a16:creationId xmlns:a16="http://schemas.microsoft.com/office/drawing/2014/main" id="{EC3E7706-95BE-40BC-9994-23D2877FAB8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13335" y="4142370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688" name="Freeform: Shape 1687">
                      <a:extLst>
                        <a:ext uri="{FF2B5EF4-FFF2-40B4-BE49-F238E27FC236}">
                          <a16:creationId xmlns:a16="http://schemas.microsoft.com/office/drawing/2014/main" id="{8E43B5FB-FD13-41EE-86E4-2BC592B2A85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22035" y="4142370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48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689" name="Freeform: Shape 1688">
                      <a:extLst>
                        <a:ext uri="{FF2B5EF4-FFF2-40B4-BE49-F238E27FC236}">
                          <a16:creationId xmlns:a16="http://schemas.microsoft.com/office/drawing/2014/main" id="{344E13ED-7C16-415B-AF44-3BE07EDE34A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30712" y="4142370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690" name="Freeform: Shape 1689">
                      <a:extLst>
                        <a:ext uri="{FF2B5EF4-FFF2-40B4-BE49-F238E27FC236}">
                          <a16:creationId xmlns:a16="http://schemas.microsoft.com/office/drawing/2014/main" id="{6D7B14AD-0CC7-4A96-AACA-4EE2A4F1A37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74393" y="4142370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691" name="Freeform: Shape 1690">
                      <a:extLst>
                        <a:ext uri="{FF2B5EF4-FFF2-40B4-BE49-F238E27FC236}">
                          <a16:creationId xmlns:a16="http://schemas.microsoft.com/office/drawing/2014/main" id="{344C1EA4-12B5-4BE6-9A49-CCB7327384B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83070" y="4142370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692" name="Freeform: Shape 1691">
                      <a:extLst>
                        <a:ext uri="{FF2B5EF4-FFF2-40B4-BE49-F238E27FC236}">
                          <a16:creationId xmlns:a16="http://schemas.microsoft.com/office/drawing/2014/main" id="{5057080C-7BBC-4EBA-BC5C-AF33CA252D4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91770" y="4142370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48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693" name="Freeform: Shape 1692">
                      <a:extLst>
                        <a:ext uri="{FF2B5EF4-FFF2-40B4-BE49-F238E27FC236}">
                          <a16:creationId xmlns:a16="http://schemas.microsoft.com/office/drawing/2014/main" id="{C6776BD1-8727-4EEA-B7A7-D743FEE3961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57017" y="4142370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694" name="Freeform: Shape 1693">
                      <a:extLst>
                        <a:ext uri="{FF2B5EF4-FFF2-40B4-BE49-F238E27FC236}">
                          <a16:creationId xmlns:a16="http://schemas.microsoft.com/office/drawing/2014/main" id="{38F1C1C2-3113-4163-9520-4DDE83B9BA1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65716" y="4142370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48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695" name="Freeform: Shape 1694">
                      <a:extLst>
                        <a:ext uri="{FF2B5EF4-FFF2-40B4-BE49-F238E27FC236}">
                          <a16:creationId xmlns:a16="http://schemas.microsoft.com/office/drawing/2014/main" id="{B8C4B300-A737-4DAE-9F06-5FB77E738DA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74393" y="4142370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696" name="Freeform: Shape 1695">
                      <a:extLst>
                        <a:ext uri="{FF2B5EF4-FFF2-40B4-BE49-F238E27FC236}">
                          <a16:creationId xmlns:a16="http://schemas.microsoft.com/office/drawing/2014/main" id="{CEA54104-E6F3-4D8B-9B2B-98B31065761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00446" y="4142370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697" name="Freeform: Shape 1696">
                      <a:extLst>
                        <a:ext uri="{FF2B5EF4-FFF2-40B4-BE49-F238E27FC236}">
                          <a16:creationId xmlns:a16="http://schemas.microsoft.com/office/drawing/2014/main" id="{626E0B17-9E49-4FC2-B89B-FC742920E60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09123" y="4142370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698" name="Freeform: Shape 1697">
                      <a:extLst>
                        <a:ext uri="{FF2B5EF4-FFF2-40B4-BE49-F238E27FC236}">
                          <a16:creationId xmlns:a16="http://schemas.microsoft.com/office/drawing/2014/main" id="{CD8186A1-2A0C-4F42-83B7-68B8AF41540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17823" y="4142370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48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699" name="Freeform: Shape 1698">
                      <a:extLst>
                        <a:ext uri="{FF2B5EF4-FFF2-40B4-BE49-F238E27FC236}">
                          <a16:creationId xmlns:a16="http://schemas.microsoft.com/office/drawing/2014/main" id="{2A1B4312-BACA-40E3-89D8-4F1C36C250F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26499" y="4142370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700" name="Freeform: Shape 1699">
                      <a:extLst>
                        <a:ext uri="{FF2B5EF4-FFF2-40B4-BE49-F238E27FC236}">
                          <a16:creationId xmlns:a16="http://schemas.microsoft.com/office/drawing/2014/main" id="{C3687F40-6063-43EF-8B70-D016F9249F2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35176" y="4142370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1462" name="Graphic 174">
                    <a:extLst>
                      <a:ext uri="{FF2B5EF4-FFF2-40B4-BE49-F238E27FC236}">
                        <a16:creationId xmlns:a16="http://schemas.microsoft.com/office/drawing/2014/main" id="{5F378359-FEF9-418D-A0D1-9491BB8F503F}"/>
                      </a:ext>
                    </a:extLst>
                  </p:cNvPr>
                  <p:cNvGrpSpPr/>
                  <p:nvPr/>
                </p:nvGrpSpPr>
                <p:grpSpPr>
                  <a:xfrm>
                    <a:off x="6355877" y="4104314"/>
                    <a:ext cx="181441" cy="18609"/>
                    <a:chOff x="6355877" y="4104314"/>
                    <a:chExt cx="181441" cy="18609"/>
                  </a:xfrm>
                  <a:solidFill>
                    <a:schemeClr val="accent1"/>
                  </a:solidFill>
                </p:grpSpPr>
                <p:sp>
                  <p:nvSpPr>
                    <p:cNvPr id="1655" name="Freeform: Shape 1654">
                      <a:extLst>
                        <a:ext uri="{FF2B5EF4-FFF2-40B4-BE49-F238E27FC236}">
                          <a16:creationId xmlns:a16="http://schemas.microsoft.com/office/drawing/2014/main" id="{9CB11F05-C30A-4057-9F5C-643CB382B87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55877" y="4104314"/>
                      <a:ext cx="181441" cy="18609"/>
                    </a:xfrm>
                    <a:custGeom>
                      <a:avLst/>
                      <a:gdLst>
                        <a:gd name="connsiteX0" fmla="*/ 181441 w 181441"/>
                        <a:gd name="connsiteY0" fmla="*/ 18633 h 18609"/>
                        <a:gd name="connsiteX1" fmla="*/ 1605 w 181441"/>
                        <a:gd name="connsiteY1" fmla="*/ 18633 h 18609"/>
                        <a:gd name="connsiteX2" fmla="*/ 0 w 181441"/>
                        <a:gd name="connsiteY2" fmla="*/ 17028 h 18609"/>
                        <a:gd name="connsiteX3" fmla="*/ 0 w 181441"/>
                        <a:gd name="connsiteY3" fmla="*/ 1605 h 18609"/>
                        <a:gd name="connsiteX4" fmla="*/ 1605 w 181441"/>
                        <a:gd name="connsiteY4" fmla="*/ 0 h 18609"/>
                        <a:gd name="connsiteX5" fmla="*/ 181441 w 181441"/>
                        <a:gd name="connsiteY5" fmla="*/ 0 h 18609"/>
                        <a:gd name="connsiteX6" fmla="*/ 183046 w 181441"/>
                        <a:gd name="connsiteY6" fmla="*/ 1605 h 18609"/>
                        <a:gd name="connsiteX7" fmla="*/ 183046 w 181441"/>
                        <a:gd name="connsiteY7" fmla="*/ 17028 h 18609"/>
                        <a:gd name="connsiteX8" fmla="*/ 181441 w 181441"/>
                        <a:gd name="connsiteY8" fmla="*/ 18633 h 1860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181441" h="18609">
                          <a:moveTo>
                            <a:pt x="181441" y="18633"/>
                          </a:moveTo>
                          <a:lnTo>
                            <a:pt x="1605" y="18633"/>
                          </a:lnTo>
                          <a:cubicBezTo>
                            <a:pt x="721" y="18633"/>
                            <a:pt x="0" y="17912"/>
                            <a:pt x="0" y="17028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181441" y="0"/>
                          </a:lnTo>
                          <a:cubicBezTo>
                            <a:pt x="182325" y="0"/>
                            <a:pt x="183046" y="721"/>
                            <a:pt x="183046" y="1605"/>
                          </a:cubicBezTo>
                          <a:lnTo>
                            <a:pt x="183046" y="17028"/>
                          </a:lnTo>
                          <a:cubicBezTo>
                            <a:pt x="183046" y="17912"/>
                            <a:pt x="182325" y="18633"/>
                            <a:pt x="181441" y="18633"/>
                          </a:cubicBezTo>
                          <a:close/>
                        </a:path>
                      </a:pathLst>
                    </a:custGeom>
                    <a:solidFill>
                      <a:srgbClr val="F19439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656" name="Freeform: Shape 1655">
                      <a:extLst>
                        <a:ext uri="{FF2B5EF4-FFF2-40B4-BE49-F238E27FC236}">
                          <a16:creationId xmlns:a16="http://schemas.microsoft.com/office/drawing/2014/main" id="{D8296D6C-5DC4-4DB9-A728-2FAC006AC5F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43876" y="4105105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48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657" name="Freeform: Shape 1656">
                      <a:extLst>
                        <a:ext uri="{FF2B5EF4-FFF2-40B4-BE49-F238E27FC236}">
                          <a16:creationId xmlns:a16="http://schemas.microsoft.com/office/drawing/2014/main" id="{594DD6D6-6BB7-46B6-8042-C21DE953860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52552" y="4105105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658" name="Freeform: Shape 1657">
                      <a:extLst>
                        <a:ext uri="{FF2B5EF4-FFF2-40B4-BE49-F238E27FC236}">
                          <a16:creationId xmlns:a16="http://schemas.microsoft.com/office/drawing/2014/main" id="{7174D58A-B6B0-4477-B533-A30532EFBC8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61229" y="4105105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659" name="Freeform: Shape 1658">
                      <a:extLst>
                        <a:ext uri="{FF2B5EF4-FFF2-40B4-BE49-F238E27FC236}">
                          <a16:creationId xmlns:a16="http://schemas.microsoft.com/office/drawing/2014/main" id="{14440A19-F814-48E8-9D40-6ADCA8B1663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69929" y="4105105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48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660" name="Freeform: Shape 1659">
                      <a:extLst>
                        <a:ext uri="{FF2B5EF4-FFF2-40B4-BE49-F238E27FC236}">
                          <a16:creationId xmlns:a16="http://schemas.microsoft.com/office/drawing/2014/main" id="{FDAA5F1C-41C3-48A7-A43F-FD0F2821368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78606" y="4105105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661" name="Freeform: Shape 1660">
                      <a:extLst>
                        <a:ext uri="{FF2B5EF4-FFF2-40B4-BE49-F238E27FC236}">
                          <a16:creationId xmlns:a16="http://schemas.microsoft.com/office/drawing/2014/main" id="{E56FBD50-AF27-4F79-BD2F-DDCB80DC3B0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87282" y="4105105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662" name="Freeform: Shape 1661">
                      <a:extLst>
                        <a:ext uri="{FF2B5EF4-FFF2-40B4-BE49-F238E27FC236}">
                          <a16:creationId xmlns:a16="http://schemas.microsoft.com/office/drawing/2014/main" id="{B33F40B6-9352-400E-BAEE-5918E127B31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95982" y="4105105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48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663" name="Freeform: Shape 1662">
                      <a:extLst>
                        <a:ext uri="{FF2B5EF4-FFF2-40B4-BE49-F238E27FC236}">
                          <a16:creationId xmlns:a16="http://schemas.microsoft.com/office/drawing/2014/main" id="{791D90FC-8786-46AC-970A-7B4340B3BA6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04659" y="4105105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664" name="Freeform: Shape 1663">
                      <a:extLst>
                        <a:ext uri="{FF2B5EF4-FFF2-40B4-BE49-F238E27FC236}">
                          <a16:creationId xmlns:a16="http://schemas.microsoft.com/office/drawing/2014/main" id="{79BA0651-0587-4BD0-B3C4-6F791D63344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13335" y="4105105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665" name="Freeform: Shape 1664">
                      <a:extLst>
                        <a:ext uri="{FF2B5EF4-FFF2-40B4-BE49-F238E27FC236}">
                          <a16:creationId xmlns:a16="http://schemas.microsoft.com/office/drawing/2014/main" id="{335CE767-AD2F-4CCE-A6FE-95A8141ABFA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22035" y="4105105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48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666" name="Freeform: Shape 1665">
                      <a:extLst>
                        <a:ext uri="{FF2B5EF4-FFF2-40B4-BE49-F238E27FC236}">
                          <a16:creationId xmlns:a16="http://schemas.microsoft.com/office/drawing/2014/main" id="{3F68CEAE-FDCE-431F-A939-70719930E70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30712" y="4105105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667" name="Freeform: Shape 1666">
                      <a:extLst>
                        <a:ext uri="{FF2B5EF4-FFF2-40B4-BE49-F238E27FC236}">
                          <a16:creationId xmlns:a16="http://schemas.microsoft.com/office/drawing/2014/main" id="{8DF1102E-497A-452A-9FCB-014A6874296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74393" y="4105105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668" name="Freeform: Shape 1667">
                      <a:extLst>
                        <a:ext uri="{FF2B5EF4-FFF2-40B4-BE49-F238E27FC236}">
                          <a16:creationId xmlns:a16="http://schemas.microsoft.com/office/drawing/2014/main" id="{F816BA3F-22C3-4797-80B8-BA591E55E4C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83070" y="4105105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669" name="Freeform: Shape 1668">
                      <a:extLst>
                        <a:ext uri="{FF2B5EF4-FFF2-40B4-BE49-F238E27FC236}">
                          <a16:creationId xmlns:a16="http://schemas.microsoft.com/office/drawing/2014/main" id="{9A59A5B2-4731-4608-BDF7-F4ECB6061D5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91770" y="4105105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48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670" name="Freeform: Shape 1669">
                      <a:extLst>
                        <a:ext uri="{FF2B5EF4-FFF2-40B4-BE49-F238E27FC236}">
                          <a16:creationId xmlns:a16="http://schemas.microsoft.com/office/drawing/2014/main" id="{69047A21-9D82-46A7-88C3-A91C33A6CBF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57017" y="4105105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671" name="Freeform: Shape 1670">
                      <a:extLst>
                        <a:ext uri="{FF2B5EF4-FFF2-40B4-BE49-F238E27FC236}">
                          <a16:creationId xmlns:a16="http://schemas.microsoft.com/office/drawing/2014/main" id="{7136D419-77C2-4859-9C5F-CCF9107B4A0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65716" y="4105105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48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672" name="Freeform: Shape 1671">
                      <a:extLst>
                        <a:ext uri="{FF2B5EF4-FFF2-40B4-BE49-F238E27FC236}">
                          <a16:creationId xmlns:a16="http://schemas.microsoft.com/office/drawing/2014/main" id="{C575BE3B-41E5-4352-8AE6-241937828EB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74393" y="4105105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673" name="Freeform: Shape 1672">
                      <a:extLst>
                        <a:ext uri="{FF2B5EF4-FFF2-40B4-BE49-F238E27FC236}">
                          <a16:creationId xmlns:a16="http://schemas.microsoft.com/office/drawing/2014/main" id="{59084B4C-8AB5-49D8-9704-D4FF900D266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00446" y="4105105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674" name="Freeform: Shape 1673">
                      <a:extLst>
                        <a:ext uri="{FF2B5EF4-FFF2-40B4-BE49-F238E27FC236}">
                          <a16:creationId xmlns:a16="http://schemas.microsoft.com/office/drawing/2014/main" id="{EB8040A7-9CDC-4C91-B879-6171C46A1E7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09123" y="4105105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675" name="Freeform: Shape 1674">
                      <a:extLst>
                        <a:ext uri="{FF2B5EF4-FFF2-40B4-BE49-F238E27FC236}">
                          <a16:creationId xmlns:a16="http://schemas.microsoft.com/office/drawing/2014/main" id="{02277B55-2342-4B42-81D3-DE07038474D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17823" y="4105105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48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676" name="Freeform: Shape 1675">
                      <a:extLst>
                        <a:ext uri="{FF2B5EF4-FFF2-40B4-BE49-F238E27FC236}">
                          <a16:creationId xmlns:a16="http://schemas.microsoft.com/office/drawing/2014/main" id="{DCCF0245-81C4-4AAB-A02D-1456F12BFAE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26499" y="4105105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677" name="Freeform: Shape 1676">
                      <a:extLst>
                        <a:ext uri="{FF2B5EF4-FFF2-40B4-BE49-F238E27FC236}">
                          <a16:creationId xmlns:a16="http://schemas.microsoft.com/office/drawing/2014/main" id="{BCF12EC0-98E3-4D93-8C8E-02E9366D5CF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35176" y="4105105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1463" name="Graphic 174">
                    <a:extLst>
                      <a:ext uri="{FF2B5EF4-FFF2-40B4-BE49-F238E27FC236}">
                        <a16:creationId xmlns:a16="http://schemas.microsoft.com/office/drawing/2014/main" id="{ED8C8D00-3D48-4496-83BF-24B1722B2041}"/>
                      </a:ext>
                    </a:extLst>
                  </p:cNvPr>
                  <p:cNvGrpSpPr/>
                  <p:nvPr/>
                </p:nvGrpSpPr>
                <p:grpSpPr>
                  <a:xfrm>
                    <a:off x="6347200" y="4122947"/>
                    <a:ext cx="181441" cy="18609"/>
                    <a:chOff x="6347200" y="4122947"/>
                    <a:chExt cx="181441" cy="18609"/>
                  </a:xfrm>
                  <a:solidFill>
                    <a:schemeClr val="accent1"/>
                  </a:solidFill>
                </p:grpSpPr>
                <p:sp>
                  <p:nvSpPr>
                    <p:cNvPr id="1632" name="Freeform: Shape 1631">
                      <a:extLst>
                        <a:ext uri="{FF2B5EF4-FFF2-40B4-BE49-F238E27FC236}">
                          <a16:creationId xmlns:a16="http://schemas.microsoft.com/office/drawing/2014/main" id="{2A11394A-E0AA-4545-A869-477E81B6A96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47200" y="4122947"/>
                      <a:ext cx="181441" cy="18609"/>
                    </a:xfrm>
                    <a:custGeom>
                      <a:avLst/>
                      <a:gdLst>
                        <a:gd name="connsiteX0" fmla="*/ 181441 w 181441"/>
                        <a:gd name="connsiteY0" fmla="*/ 18633 h 18609"/>
                        <a:gd name="connsiteX1" fmla="*/ 1605 w 181441"/>
                        <a:gd name="connsiteY1" fmla="*/ 18633 h 18609"/>
                        <a:gd name="connsiteX2" fmla="*/ 0 w 181441"/>
                        <a:gd name="connsiteY2" fmla="*/ 17028 h 18609"/>
                        <a:gd name="connsiteX3" fmla="*/ 0 w 181441"/>
                        <a:gd name="connsiteY3" fmla="*/ 1605 h 18609"/>
                        <a:gd name="connsiteX4" fmla="*/ 1605 w 181441"/>
                        <a:gd name="connsiteY4" fmla="*/ 0 h 18609"/>
                        <a:gd name="connsiteX5" fmla="*/ 181441 w 181441"/>
                        <a:gd name="connsiteY5" fmla="*/ 0 h 18609"/>
                        <a:gd name="connsiteX6" fmla="*/ 183046 w 181441"/>
                        <a:gd name="connsiteY6" fmla="*/ 1605 h 18609"/>
                        <a:gd name="connsiteX7" fmla="*/ 183046 w 181441"/>
                        <a:gd name="connsiteY7" fmla="*/ 17028 h 18609"/>
                        <a:gd name="connsiteX8" fmla="*/ 181441 w 181441"/>
                        <a:gd name="connsiteY8" fmla="*/ 18633 h 1860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181441" h="18609">
                          <a:moveTo>
                            <a:pt x="181441" y="18633"/>
                          </a:moveTo>
                          <a:lnTo>
                            <a:pt x="1605" y="18633"/>
                          </a:lnTo>
                          <a:cubicBezTo>
                            <a:pt x="721" y="18633"/>
                            <a:pt x="0" y="17912"/>
                            <a:pt x="0" y="17028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181441" y="0"/>
                          </a:lnTo>
                          <a:cubicBezTo>
                            <a:pt x="182325" y="0"/>
                            <a:pt x="183046" y="721"/>
                            <a:pt x="183046" y="1605"/>
                          </a:cubicBezTo>
                          <a:lnTo>
                            <a:pt x="183046" y="17028"/>
                          </a:lnTo>
                          <a:cubicBezTo>
                            <a:pt x="183046" y="17912"/>
                            <a:pt x="182325" y="18633"/>
                            <a:pt x="181441" y="18633"/>
                          </a:cubicBezTo>
                          <a:close/>
                        </a:path>
                      </a:pathLst>
                    </a:custGeom>
                    <a:solidFill>
                      <a:srgbClr val="F19439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633" name="Freeform: Shape 1632">
                      <a:extLst>
                        <a:ext uri="{FF2B5EF4-FFF2-40B4-BE49-F238E27FC236}">
                          <a16:creationId xmlns:a16="http://schemas.microsoft.com/office/drawing/2014/main" id="{CEEF9F94-631C-4176-8BF3-6973D2EBCDA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35176" y="4123738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634" name="Freeform: Shape 1633">
                      <a:extLst>
                        <a:ext uri="{FF2B5EF4-FFF2-40B4-BE49-F238E27FC236}">
                          <a16:creationId xmlns:a16="http://schemas.microsoft.com/office/drawing/2014/main" id="{2C9F2AFB-C7A1-47EA-ADD1-85A54B3664B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43876" y="4123738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48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635" name="Freeform: Shape 1634">
                      <a:extLst>
                        <a:ext uri="{FF2B5EF4-FFF2-40B4-BE49-F238E27FC236}">
                          <a16:creationId xmlns:a16="http://schemas.microsoft.com/office/drawing/2014/main" id="{D6F7B47E-D4AB-48F4-8D41-CBEE82608A6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52552" y="4123738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636" name="Freeform: Shape 1635">
                      <a:extLst>
                        <a:ext uri="{FF2B5EF4-FFF2-40B4-BE49-F238E27FC236}">
                          <a16:creationId xmlns:a16="http://schemas.microsoft.com/office/drawing/2014/main" id="{220D837F-FE77-4289-907C-07E536458BB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61229" y="4123738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637" name="Freeform: Shape 1636">
                      <a:extLst>
                        <a:ext uri="{FF2B5EF4-FFF2-40B4-BE49-F238E27FC236}">
                          <a16:creationId xmlns:a16="http://schemas.microsoft.com/office/drawing/2014/main" id="{121DD5F8-EF50-4393-B80A-C0625E58B37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69929" y="4123738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48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638" name="Freeform: Shape 1637">
                      <a:extLst>
                        <a:ext uri="{FF2B5EF4-FFF2-40B4-BE49-F238E27FC236}">
                          <a16:creationId xmlns:a16="http://schemas.microsoft.com/office/drawing/2014/main" id="{67DB1073-AA9C-4E4D-A1F4-C0BBEE51D3A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78606" y="4123738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639" name="Freeform: Shape 1638">
                      <a:extLst>
                        <a:ext uri="{FF2B5EF4-FFF2-40B4-BE49-F238E27FC236}">
                          <a16:creationId xmlns:a16="http://schemas.microsoft.com/office/drawing/2014/main" id="{4A667563-67A5-4366-9B13-CF2BE60C969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87282" y="4123738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640" name="Freeform: Shape 1639">
                      <a:extLst>
                        <a:ext uri="{FF2B5EF4-FFF2-40B4-BE49-F238E27FC236}">
                          <a16:creationId xmlns:a16="http://schemas.microsoft.com/office/drawing/2014/main" id="{451205CA-F18D-4E8A-9423-DDA6CC4FAD4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95982" y="4123738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48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641" name="Freeform: Shape 1640">
                      <a:extLst>
                        <a:ext uri="{FF2B5EF4-FFF2-40B4-BE49-F238E27FC236}">
                          <a16:creationId xmlns:a16="http://schemas.microsoft.com/office/drawing/2014/main" id="{2D8C47F2-BAE9-4567-81FD-6E619B1C6C1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04659" y="4123738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642" name="Freeform: Shape 1641">
                      <a:extLst>
                        <a:ext uri="{FF2B5EF4-FFF2-40B4-BE49-F238E27FC236}">
                          <a16:creationId xmlns:a16="http://schemas.microsoft.com/office/drawing/2014/main" id="{ACACD86F-B4EF-4FF2-8A8C-00697839386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13335" y="4123738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643" name="Freeform: Shape 1642">
                      <a:extLst>
                        <a:ext uri="{FF2B5EF4-FFF2-40B4-BE49-F238E27FC236}">
                          <a16:creationId xmlns:a16="http://schemas.microsoft.com/office/drawing/2014/main" id="{088CE0DF-45CA-462A-9AFF-AD999BFD1D7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22035" y="4123738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48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644" name="Freeform: Shape 1643">
                      <a:extLst>
                        <a:ext uri="{FF2B5EF4-FFF2-40B4-BE49-F238E27FC236}">
                          <a16:creationId xmlns:a16="http://schemas.microsoft.com/office/drawing/2014/main" id="{D24220CB-F2C7-48CD-BCE4-B7931ED2D74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65716" y="4123738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48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645" name="Freeform: Shape 1644">
                      <a:extLst>
                        <a:ext uri="{FF2B5EF4-FFF2-40B4-BE49-F238E27FC236}">
                          <a16:creationId xmlns:a16="http://schemas.microsoft.com/office/drawing/2014/main" id="{E04B7F85-F1C3-4E2F-BF66-DA73ABD2433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74393" y="4123738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646" name="Freeform: Shape 1645">
                      <a:extLst>
                        <a:ext uri="{FF2B5EF4-FFF2-40B4-BE49-F238E27FC236}">
                          <a16:creationId xmlns:a16="http://schemas.microsoft.com/office/drawing/2014/main" id="{80B2C685-9B1F-4ACB-85C2-68EC529A7AC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83070" y="4123738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647" name="Freeform: Shape 1646">
                      <a:extLst>
                        <a:ext uri="{FF2B5EF4-FFF2-40B4-BE49-F238E27FC236}">
                          <a16:creationId xmlns:a16="http://schemas.microsoft.com/office/drawing/2014/main" id="{E6B0A0F4-AD9B-4D64-9012-DAA03E6B4D0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48340" y="4123738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648" name="Freeform: Shape 1647">
                      <a:extLst>
                        <a:ext uri="{FF2B5EF4-FFF2-40B4-BE49-F238E27FC236}">
                          <a16:creationId xmlns:a16="http://schemas.microsoft.com/office/drawing/2014/main" id="{C034BD77-E12B-44D9-94D1-D56B49AA803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57017" y="4123738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649" name="Freeform: Shape 1648">
                      <a:extLst>
                        <a:ext uri="{FF2B5EF4-FFF2-40B4-BE49-F238E27FC236}">
                          <a16:creationId xmlns:a16="http://schemas.microsoft.com/office/drawing/2014/main" id="{2137314E-4961-4A5B-B685-F6F226A4490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65716" y="4123738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48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650" name="Freeform: Shape 1649">
                      <a:extLst>
                        <a:ext uri="{FF2B5EF4-FFF2-40B4-BE49-F238E27FC236}">
                          <a16:creationId xmlns:a16="http://schemas.microsoft.com/office/drawing/2014/main" id="{38613DB2-1651-4871-AE92-F34FCDF455E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91770" y="4123738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48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651" name="Freeform: Shape 1650">
                      <a:extLst>
                        <a:ext uri="{FF2B5EF4-FFF2-40B4-BE49-F238E27FC236}">
                          <a16:creationId xmlns:a16="http://schemas.microsoft.com/office/drawing/2014/main" id="{14295B48-3C2C-4258-A26A-DB816812EA9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00446" y="4123738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652" name="Freeform: Shape 1651">
                      <a:extLst>
                        <a:ext uri="{FF2B5EF4-FFF2-40B4-BE49-F238E27FC236}">
                          <a16:creationId xmlns:a16="http://schemas.microsoft.com/office/drawing/2014/main" id="{C582E8D0-8AC6-4C61-930C-8978757BC42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09123" y="4123738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653" name="Freeform: Shape 1652">
                      <a:extLst>
                        <a:ext uri="{FF2B5EF4-FFF2-40B4-BE49-F238E27FC236}">
                          <a16:creationId xmlns:a16="http://schemas.microsoft.com/office/drawing/2014/main" id="{144AC8D4-E34A-4507-B90D-B4FB9222879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17823" y="4123738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48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654" name="Freeform: Shape 1653">
                      <a:extLst>
                        <a:ext uri="{FF2B5EF4-FFF2-40B4-BE49-F238E27FC236}">
                          <a16:creationId xmlns:a16="http://schemas.microsoft.com/office/drawing/2014/main" id="{65B09DAF-AD69-41D2-B6F0-83399AA4106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26499" y="4123738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1464" name="Graphic 174">
                    <a:extLst>
                      <a:ext uri="{FF2B5EF4-FFF2-40B4-BE49-F238E27FC236}">
                        <a16:creationId xmlns:a16="http://schemas.microsoft.com/office/drawing/2014/main" id="{02922A81-F166-4B97-A0CA-02D6E7FBB19A}"/>
                      </a:ext>
                    </a:extLst>
                  </p:cNvPr>
                  <p:cNvGrpSpPr/>
                  <p:nvPr/>
                </p:nvGrpSpPr>
                <p:grpSpPr>
                  <a:xfrm>
                    <a:off x="6350736" y="4085682"/>
                    <a:ext cx="181441" cy="18609"/>
                    <a:chOff x="6350736" y="4085682"/>
                    <a:chExt cx="181441" cy="18609"/>
                  </a:xfrm>
                  <a:solidFill>
                    <a:schemeClr val="accent1"/>
                  </a:solidFill>
                </p:grpSpPr>
                <p:sp>
                  <p:nvSpPr>
                    <p:cNvPr id="1609" name="Freeform: Shape 1608">
                      <a:extLst>
                        <a:ext uri="{FF2B5EF4-FFF2-40B4-BE49-F238E27FC236}">
                          <a16:creationId xmlns:a16="http://schemas.microsoft.com/office/drawing/2014/main" id="{C4BAFB29-D861-4DA2-AFE8-8E94325E08D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50736" y="4085682"/>
                      <a:ext cx="181441" cy="18609"/>
                    </a:xfrm>
                    <a:custGeom>
                      <a:avLst/>
                      <a:gdLst>
                        <a:gd name="connsiteX0" fmla="*/ 181441 w 181441"/>
                        <a:gd name="connsiteY0" fmla="*/ 18633 h 18609"/>
                        <a:gd name="connsiteX1" fmla="*/ 1605 w 181441"/>
                        <a:gd name="connsiteY1" fmla="*/ 18633 h 18609"/>
                        <a:gd name="connsiteX2" fmla="*/ 0 w 181441"/>
                        <a:gd name="connsiteY2" fmla="*/ 17028 h 18609"/>
                        <a:gd name="connsiteX3" fmla="*/ 0 w 181441"/>
                        <a:gd name="connsiteY3" fmla="*/ 1605 h 18609"/>
                        <a:gd name="connsiteX4" fmla="*/ 1605 w 181441"/>
                        <a:gd name="connsiteY4" fmla="*/ 0 h 18609"/>
                        <a:gd name="connsiteX5" fmla="*/ 181441 w 181441"/>
                        <a:gd name="connsiteY5" fmla="*/ 0 h 18609"/>
                        <a:gd name="connsiteX6" fmla="*/ 183046 w 181441"/>
                        <a:gd name="connsiteY6" fmla="*/ 1605 h 18609"/>
                        <a:gd name="connsiteX7" fmla="*/ 183046 w 181441"/>
                        <a:gd name="connsiteY7" fmla="*/ 17028 h 18609"/>
                        <a:gd name="connsiteX8" fmla="*/ 181441 w 181441"/>
                        <a:gd name="connsiteY8" fmla="*/ 18633 h 1860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181441" h="18609">
                          <a:moveTo>
                            <a:pt x="181441" y="18633"/>
                          </a:moveTo>
                          <a:lnTo>
                            <a:pt x="1605" y="18633"/>
                          </a:lnTo>
                          <a:cubicBezTo>
                            <a:pt x="721" y="18633"/>
                            <a:pt x="0" y="17911"/>
                            <a:pt x="0" y="17028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181441" y="0"/>
                          </a:lnTo>
                          <a:cubicBezTo>
                            <a:pt x="182325" y="0"/>
                            <a:pt x="183046" y="721"/>
                            <a:pt x="183046" y="1605"/>
                          </a:cubicBezTo>
                          <a:lnTo>
                            <a:pt x="183046" y="17028"/>
                          </a:lnTo>
                          <a:cubicBezTo>
                            <a:pt x="183046" y="17911"/>
                            <a:pt x="182325" y="18633"/>
                            <a:pt x="181441" y="18633"/>
                          </a:cubicBezTo>
                          <a:close/>
                        </a:path>
                      </a:pathLst>
                    </a:custGeom>
                    <a:solidFill>
                      <a:srgbClr val="F19439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610" name="Freeform: Shape 1609">
                      <a:extLst>
                        <a:ext uri="{FF2B5EF4-FFF2-40B4-BE49-F238E27FC236}">
                          <a16:creationId xmlns:a16="http://schemas.microsoft.com/office/drawing/2014/main" id="{A8B89CB7-D0F1-4160-8DC9-2160557DDD1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38712" y="4086472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611" name="Freeform: Shape 1610">
                      <a:extLst>
                        <a:ext uri="{FF2B5EF4-FFF2-40B4-BE49-F238E27FC236}">
                          <a16:creationId xmlns:a16="http://schemas.microsoft.com/office/drawing/2014/main" id="{31E3BB47-54BD-496B-9769-4F40F03979B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47388" y="4086472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612" name="Freeform: Shape 1611">
                      <a:extLst>
                        <a:ext uri="{FF2B5EF4-FFF2-40B4-BE49-F238E27FC236}">
                          <a16:creationId xmlns:a16="http://schemas.microsoft.com/office/drawing/2014/main" id="{5471798F-B459-4D17-8A8A-B3C9839158E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56088" y="4086472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613" name="Freeform: Shape 1612">
                      <a:extLst>
                        <a:ext uri="{FF2B5EF4-FFF2-40B4-BE49-F238E27FC236}">
                          <a16:creationId xmlns:a16="http://schemas.microsoft.com/office/drawing/2014/main" id="{A650C1A4-F9F9-4E24-979A-02EB7DF8749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64765" y="4086472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614" name="Freeform: Shape 1613">
                      <a:extLst>
                        <a:ext uri="{FF2B5EF4-FFF2-40B4-BE49-F238E27FC236}">
                          <a16:creationId xmlns:a16="http://schemas.microsoft.com/office/drawing/2014/main" id="{CDCC2839-4761-42F0-B8BE-BF297D316F6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73441" y="4086472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615" name="Freeform: Shape 1614">
                      <a:extLst>
                        <a:ext uri="{FF2B5EF4-FFF2-40B4-BE49-F238E27FC236}">
                          <a16:creationId xmlns:a16="http://schemas.microsoft.com/office/drawing/2014/main" id="{A9F7B2CF-9856-4C7E-AD8C-2312E88FFDC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82141" y="4086472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616" name="Freeform: Shape 1615">
                      <a:extLst>
                        <a:ext uri="{FF2B5EF4-FFF2-40B4-BE49-F238E27FC236}">
                          <a16:creationId xmlns:a16="http://schemas.microsoft.com/office/drawing/2014/main" id="{168CDAE2-D9DE-44A9-AA04-BA63A4B25AA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90818" y="4086472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617" name="Freeform: Shape 1616">
                      <a:extLst>
                        <a:ext uri="{FF2B5EF4-FFF2-40B4-BE49-F238E27FC236}">
                          <a16:creationId xmlns:a16="http://schemas.microsoft.com/office/drawing/2014/main" id="{2C3A4A2E-E9F5-4249-B642-B17E3EB57CB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99495" y="4086472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618" name="Freeform: Shape 1617">
                      <a:extLst>
                        <a:ext uri="{FF2B5EF4-FFF2-40B4-BE49-F238E27FC236}">
                          <a16:creationId xmlns:a16="http://schemas.microsoft.com/office/drawing/2014/main" id="{450644FC-A520-454A-8AB4-7EA7190BBC8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08194" y="4086472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619" name="Freeform: Shape 1618">
                      <a:extLst>
                        <a:ext uri="{FF2B5EF4-FFF2-40B4-BE49-F238E27FC236}">
                          <a16:creationId xmlns:a16="http://schemas.microsoft.com/office/drawing/2014/main" id="{F77EE98F-3334-4374-A3A8-B294A867AF2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16871" y="4086472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620" name="Freeform: Shape 1619">
                      <a:extLst>
                        <a:ext uri="{FF2B5EF4-FFF2-40B4-BE49-F238E27FC236}">
                          <a16:creationId xmlns:a16="http://schemas.microsoft.com/office/drawing/2014/main" id="{2C8DCACA-5D78-42A4-961D-791AB5E44C5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25548" y="4086472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621" name="Freeform: Shape 1620">
                      <a:extLst>
                        <a:ext uri="{FF2B5EF4-FFF2-40B4-BE49-F238E27FC236}">
                          <a16:creationId xmlns:a16="http://schemas.microsoft.com/office/drawing/2014/main" id="{2606A7CD-75F1-4376-85E2-4A0333F7AA1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69229" y="4086472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622" name="Freeform: Shape 1621">
                      <a:extLst>
                        <a:ext uri="{FF2B5EF4-FFF2-40B4-BE49-F238E27FC236}">
                          <a16:creationId xmlns:a16="http://schemas.microsoft.com/office/drawing/2014/main" id="{C753DB86-D0E3-44B9-B004-D6325FDA58C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77929" y="4086472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623" name="Freeform: Shape 1622">
                      <a:extLst>
                        <a:ext uri="{FF2B5EF4-FFF2-40B4-BE49-F238E27FC236}">
                          <a16:creationId xmlns:a16="http://schemas.microsoft.com/office/drawing/2014/main" id="{AC265FE0-C1EA-4AD1-99E0-E8758489085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86605" y="4086472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624" name="Freeform: Shape 1623">
                      <a:extLst>
                        <a:ext uri="{FF2B5EF4-FFF2-40B4-BE49-F238E27FC236}">
                          <a16:creationId xmlns:a16="http://schemas.microsoft.com/office/drawing/2014/main" id="{8B0D8C52-6333-40C7-B16A-8BDD3B39553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51876" y="4086472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625" name="Freeform: Shape 1624">
                      <a:extLst>
                        <a:ext uri="{FF2B5EF4-FFF2-40B4-BE49-F238E27FC236}">
                          <a16:creationId xmlns:a16="http://schemas.microsoft.com/office/drawing/2014/main" id="{8C6596F7-2186-4075-A9D2-E9DAC0FD1C9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60552" y="4086472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626" name="Freeform: Shape 1625">
                      <a:extLst>
                        <a:ext uri="{FF2B5EF4-FFF2-40B4-BE49-F238E27FC236}">
                          <a16:creationId xmlns:a16="http://schemas.microsoft.com/office/drawing/2014/main" id="{F2821F8D-5175-4293-BFA6-917F57202F9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69229" y="4086472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627" name="Freeform: Shape 1626">
                      <a:extLst>
                        <a:ext uri="{FF2B5EF4-FFF2-40B4-BE49-F238E27FC236}">
                          <a16:creationId xmlns:a16="http://schemas.microsoft.com/office/drawing/2014/main" id="{BF37109B-E5DA-4022-BCD0-47758E46082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95282" y="4086472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628" name="Freeform: Shape 1627">
                      <a:extLst>
                        <a:ext uri="{FF2B5EF4-FFF2-40B4-BE49-F238E27FC236}">
                          <a16:creationId xmlns:a16="http://schemas.microsoft.com/office/drawing/2014/main" id="{C5AAB2A1-3F50-4735-B44E-E9EDA7128DD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03982" y="4086472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629" name="Freeform: Shape 1628">
                      <a:extLst>
                        <a:ext uri="{FF2B5EF4-FFF2-40B4-BE49-F238E27FC236}">
                          <a16:creationId xmlns:a16="http://schemas.microsoft.com/office/drawing/2014/main" id="{0236490A-B65A-4FA5-8C11-786215C0FEC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12659" y="4086472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630" name="Freeform: Shape 1629">
                      <a:extLst>
                        <a:ext uri="{FF2B5EF4-FFF2-40B4-BE49-F238E27FC236}">
                          <a16:creationId xmlns:a16="http://schemas.microsoft.com/office/drawing/2014/main" id="{E9EF5681-D0D1-4455-A075-60E1043031D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21335" y="4086472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631" name="Freeform: Shape 1630">
                      <a:extLst>
                        <a:ext uri="{FF2B5EF4-FFF2-40B4-BE49-F238E27FC236}">
                          <a16:creationId xmlns:a16="http://schemas.microsoft.com/office/drawing/2014/main" id="{05E6F3E3-6089-49BB-BEC9-F4E21F68ECB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30035" y="4086472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1465" name="Graphic 174">
                    <a:extLst>
                      <a:ext uri="{FF2B5EF4-FFF2-40B4-BE49-F238E27FC236}">
                        <a16:creationId xmlns:a16="http://schemas.microsoft.com/office/drawing/2014/main" id="{CD2F03FE-29BB-4640-87CB-16B6DD3526D1}"/>
                      </a:ext>
                    </a:extLst>
                  </p:cNvPr>
                  <p:cNvGrpSpPr/>
                  <p:nvPr/>
                </p:nvGrpSpPr>
                <p:grpSpPr>
                  <a:xfrm>
                    <a:off x="6355877" y="4067049"/>
                    <a:ext cx="181441" cy="18609"/>
                    <a:chOff x="6355877" y="4067049"/>
                    <a:chExt cx="181441" cy="18609"/>
                  </a:xfrm>
                  <a:solidFill>
                    <a:schemeClr val="accent1"/>
                  </a:solidFill>
                </p:grpSpPr>
                <p:sp>
                  <p:nvSpPr>
                    <p:cNvPr id="1586" name="Freeform: Shape 1585">
                      <a:extLst>
                        <a:ext uri="{FF2B5EF4-FFF2-40B4-BE49-F238E27FC236}">
                          <a16:creationId xmlns:a16="http://schemas.microsoft.com/office/drawing/2014/main" id="{489D8054-1B2B-4E5B-ACF5-1C4DDF88404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55877" y="4067049"/>
                      <a:ext cx="181441" cy="18609"/>
                    </a:xfrm>
                    <a:custGeom>
                      <a:avLst/>
                      <a:gdLst>
                        <a:gd name="connsiteX0" fmla="*/ 181441 w 181441"/>
                        <a:gd name="connsiteY0" fmla="*/ 18633 h 18609"/>
                        <a:gd name="connsiteX1" fmla="*/ 1605 w 181441"/>
                        <a:gd name="connsiteY1" fmla="*/ 18633 h 18609"/>
                        <a:gd name="connsiteX2" fmla="*/ 0 w 181441"/>
                        <a:gd name="connsiteY2" fmla="*/ 17028 h 18609"/>
                        <a:gd name="connsiteX3" fmla="*/ 0 w 181441"/>
                        <a:gd name="connsiteY3" fmla="*/ 1605 h 18609"/>
                        <a:gd name="connsiteX4" fmla="*/ 1605 w 181441"/>
                        <a:gd name="connsiteY4" fmla="*/ 0 h 18609"/>
                        <a:gd name="connsiteX5" fmla="*/ 181441 w 181441"/>
                        <a:gd name="connsiteY5" fmla="*/ 0 h 18609"/>
                        <a:gd name="connsiteX6" fmla="*/ 183046 w 181441"/>
                        <a:gd name="connsiteY6" fmla="*/ 1605 h 18609"/>
                        <a:gd name="connsiteX7" fmla="*/ 183046 w 181441"/>
                        <a:gd name="connsiteY7" fmla="*/ 17028 h 18609"/>
                        <a:gd name="connsiteX8" fmla="*/ 181441 w 181441"/>
                        <a:gd name="connsiteY8" fmla="*/ 18633 h 1860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181441" h="18609">
                          <a:moveTo>
                            <a:pt x="181441" y="18633"/>
                          </a:moveTo>
                          <a:lnTo>
                            <a:pt x="1605" y="18633"/>
                          </a:lnTo>
                          <a:cubicBezTo>
                            <a:pt x="721" y="18633"/>
                            <a:pt x="0" y="17912"/>
                            <a:pt x="0" y="17028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181441" y="0"/>
                          </a:lnTo>
                          <a:cubicBezTo>
                            <a:pt x="182325" y="0"/>
                            <a:pt x="183046" y="721"/>
                            <a:pt x="183046" y="1605"/>
                          </a:cubicBezTo>
                          <a:lnTo>
                            <a:pt x="183046" y="17028"/>
                          </a:lnTo>
                          <a:cubicBezTo>
                            <a:pt x="183046" y="17912"/>
                            <a:pt x="182325" y="18633"/>
                            <a:pt x="181441" y="18633"/>
                          </a:cubicBezTo>
                          <a:close/>
                        </a:path>
                      </a:pathLst>
                    </a:custGeom>
                    <a:solidFill>
                      <a:srgbClr val="F19439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587" name="Freeform: Shape 1586">
                      <a:extLst>
                        <a:ext uri="{FF2B5EF4-FFF2-40B4-BE49-F238E27FC236}">
                          <a16:creationId xmlns:a16="http://schemas.microsoft.com/office/drawing/2014/main" id="{543B73B9-1E29-43C8-9534-C90603EBE81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43876" y="4067840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48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588" name="Freeform: Shape 1587">
                      <a:extLst>
                        <a:ext uri="{FF2B5EF4-FFF2-40B4-BE49-F238E27FC236}">
                          <a16:creationId xmlns:a16="http://schemas.microsoft.com/office/drawing/2014/main" id="{6114C41A-15E5-4171-8C83-49DF957D43F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52552" y="4067840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589" name="Freeform: Shape 1588">
                      <a:extLst>
                        <a:ext uri="{FF2B5EF4-FFF2-40B4-BE49-F238E27FC236}">
                          <a16:creationId xmlns:a16="http://schemas.microsoft.com/office/drawing/2014/main" id="{0E6622CE-6E64-413E-B3E2-1285236443B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61229" y="4067840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590" name="Freeform: Shape 1589">
                      <a:extLst>
                        <a:ext uri="{FF2B5EF4-FFF2-40B4-BE49-F238E27FC236}">
                          <a16:creationId xmlns:a16="http://schemas.microsoft.com/office/drawing/2014/main" id="{DA16DFF1-47F0-4F9E-8D0A-2E87D3ED7B3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69929" y="4067840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48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591" name="Freeform: Shape 1590">
                      <a:extLst>
                        <a:ext uri="{FF2B5EF4-FFF2-40B4-BE49-F238E27FC236}">
                          <a16:creationId xmlns:a16="http://schemas.microsoft.com/office/drawing/2014/main" id="{89C8E75C-F5F8-4078-9285-F90F08F6394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78606" y="4067840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592" name="Freeform: Shape 1591">
                      <a:extLst>
                        <a:ext uri="{FF2B5EF4-FFF2-40B4-BE49-F238E27FC236}">
                          <a16:creationId xmlns:a16="http://schemas.microsoft.com/office/drawing/2014/main" id="{94381273-44FD-4152-86D4-4B0EA1D1309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87282" y="4067840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593" name="Freeform: Shape 1592">
                      <a:extLst>
                        <a:ext uri="{FF2B5EF4-FFF2-40B4-BE49-F238E27FC236}">
                          <a16:creationId xmlns:a16="http://schemas.microsoft.com/office/drawing/2014/main" id="{9E86F5EF-159D-431C-BBE1-96663EC893D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95982" y="4067840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48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594" name="Freeform: Shape 1593">
                      <a:extLst>
                        <a:ext uri="{FF2B5EF4-FFF2-40B4-BE49-F238E27FC236}">
                          <a16:creationId xmlns:a16="http://schemas.microsoft.com/office/drawing/2014/main" id="{8C5E4E36-0058-46A7-AF52-DAF93E67DFF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04659" y="4067840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595" name="Freeform: Shape 1594">
                      <a:extLst>
                        <a:ext uri="{FF2B5EF4-FFF2-40B4-BE49-F238E27FC236}">
                          <a16:creationId xmlns:a16="http://schemas.microsoft.com/office/drawing/2014/main" id="{061E0F3E-3AAC-4512-A82B-734481AD1BE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13335" y="4067840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596" name="Freeform: Shape 1595">
                      <a:extLst>
                        <a:ext uri="{FF2B5EF4-FFF2-40B4-BE49-F238E27FC236}">
                          <a16:creationId xmlns:a16="http://schemas.microsoft.com/office/drawing/2014/main" id="{0726AA9D-A1A3-497A-B3D5-2197949A750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22035" y="4067840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48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597" name="Freeform: Shape 1596">
                      <a:extLst>
                        <a:ext uri="{FF2B5EF4-FFF2-40B4-BE49-F238E27FC236}">
                          <a16:creationId xmlns:a16="http://schemas.microsoft.com/office/drawing/2014/main" id="{52CE11A6-EAD6-47D4-9C03-C24EE65083D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30712" y="4067840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598" name="Freeform: Shape 1597">
                      <a:extLst>
                        <a:ext uri="{FF2B5EF4-FFF2-40B4-BE49-F238E27FC236}">
                          <a16:creationId xmlns:a16="http://schemas.microsoft.com/office/drawing/2014/main" id="{2C27F48B-0369-42AD-88DE-AC1B1008D14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74393" y="4067840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599" name="Freeform: Shape 1598">
                      <a:extLst>
                        <a:ext uri="{FF2B5EF4-FFF2-40B4-BE49-F238E27FC236}">
                          <a16:creationId xmlns:a16="http://schemas.microsoft.com/office/drawing/2014/main" id="{C1F78BA1-DF10-4ECE-A4D4-74D634954D6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83070" y="4067840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600" name="Freeform: Shape 1599">
                      <a:extLst>
                        <a:ext uri="{FF2B5EF4-FFF2-40B4-BE49-F238E27FC236}">
                          <a16:creationId xmlns:a16="http://schemas.microsoft.com/office/drawing/2014/main" id="{EC0E863C-6A37-4477-86B3-25FE43D00B6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91770" y="4067840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48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601" name="Freeform: Shape 1600">
                      <a:extLst>
                        <a:ext uri="{FF2B5EF4-FFF2-40B4-BE49-F238E27FC236}">
                          <a16:creationId xmlns:a16="http://schemas.microsoft.com/office/drawing/2014/main" id="{09700221-5142-49E7-8DAF-943BD6FD5A3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57017" y="4067840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602" name="Freeform: Shape 1601">
                      <a:extLst>
                        <a:ext uri="{FF2B5EF4-FFF2-40B4-BE49-F238E27FC236}">
                          <a16:creationId xmlns:a16="http://schemas.microsoft.com/office/drawing/2014/main" id="{07C90011-2D89-4F31-A2DF-CD8E4FA1F35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65716" y="4067840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48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603" name="Freeform: Shape 1602">
                      <a:extLst>
                        <a:ext uri="{FF2B5EF4-FFF2-40B4-BE49-F238E27FC236}">
                          <a16:creationId xmlns:a16="http://schemas.microsoft.com/office/drawing/2014/main" id="{DD8142FC-A0A1-42F0-A658-E638E146BEE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74393" y="4067840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604" name="Freeform: Shape 1603">
                      <a:extLst>
                        <a:ext uri="{FF2B5EF4-FFF2-40B4-BE49-F238E27FC236}">
                          <a16:creationId xmlns:a16="http://schemas.microsoft.com/office/drawing/2014/main" id="{4E6B3E61-CBA3-44F8-B407-1A4DBE571B3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00446" y="4067840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605" name="Freeform: Shape 1604">
                      <a:extLst>
                        <a:ext uri="{FF2B5EF4-FFF2-40B4-BE49-F238E27FC236}">
                          <a16:creationId xmlns:a16="http://schemas.microsoft.com/office/drawing/2014/main" id="{423D8133-0184-4AE7-BF46-4B340F651A5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09123" y="4067840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606" name="Freeform: Shape 1605">
                      <a:extLst>
                        <a:ext uri="{FF2B5EF4-FFF2-40B4-BE49-F238E27FC236}">
                          <a16:creationId xmlns:a16="http://schemas.microsoft.com/office/drawing/2014/main" id="{EE2863AB-C91C-498A-A63C-50FD2C534DF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17823" y="4067840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48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607" name="Freeform: Shape 1606">
                      <a:extLst>
                        <a:ext uri="{FF2B5EF4-FFF2-40B4-BE49-F238E27FC236}">
                          <a16:creationId xmlns:a16="http://schemas.microsoft.com/office/drawing/2014/main" id="{6C17BBD3-643E-47E0-B1D2-4914EDB5EB3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26499" y="4067840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608" name="Freeform: Shape 1607">
                      <a:extLst>
                        <a:ext uri="{FF2B5EF4-FFF2-40B4-BE49-F238E27FC236}">
                          <a16:creationId xmlns:a16="http://schemas.microsoft.com/office/drawing/2014/main" id="{73F332A9-12C8-4E00-B814-15B6E86FF3D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35176" y="4067840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1466" name="Graphic 174">
                    <a:extLst>
                      <a:ext uri="{FF2B5EF4-FFF2-40B4-BE49-F238E27FC236}">
                        <a16:creationId xmlns:a16="http://schemas.microsoft.com/office/drawing/2014/main" id="{C75D381F-18A2-46A0-A8FA-EE16B7E7A713}"/>
                      </a:ext>
                    </a:extLst>
                  </p:cNvPr>
                  <p:cNvGrpSpPr/>
                  <p:nvPr/>
                </p:nvGrpSpPr>
                <p:grpSpPr>
                  <a:xfrm>
                    <a:off x="6347200" y="4048416"/>
                    <a:ext cx="181441" cy="18609"/>
                    <a:chOff x="6347200" y="4048416"/>
                    <a:chExt cx="181441" cy="18609"/>
                  </a:xfrm>
                  <a:solidFill>
                    <a:schemeClr val="accent1"/>
                  </a:solidFill>
                </p:grpSpPr>
                <p:sp>
                  <p:nvSpPr>
                    <p:cNvPr id="1563" name="Freeform: Shape 1562">
                      <a:extLst>
                        <a:ext uri="{FF2B5EF4-FFF2-40B4-BE49-F238E27FC236}">
                          <a16:creationId xmlns:a16="http://schemas.microsoft.com/office/drawing/2014/main" id="{CA9EB809-283B-42A2-BBDF-A53D51EB47A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47200" y="4048416"/>
                      <a:ext cx="181441" cy="18609"/>
                    </a:xfrm>
                    <a:custGeom>
                      <a:avLst/>
                      <a:gdLst>
                        <a:gd name="connsiteX0" fmla="*/ 181441 w 181441"/>
                        <a:gd name="connsiteY0" fmla="*/ 18633 h 18609"/>
                        <a:gd name="connsiteX1" fmla="*/ 1605 w 181441"/>
                        <a:gd name="connsiteY1" fmla="*/ 18633 h 18609"/>
                        <a:gd name="connsiteX2" fmla="*/ 0 w 181441"/>
                        <a:gd name="connsiteY2" fmla="*/ 17028 h 18609"/>
                        <a:gd name="connsiteX3" fmla="*/ 0 w 181441"/>
                        <a:gd name="connsiteY3" fmla="*/ 1605 h 18609"/>
                        <a:gd name="connsiteX4" fmla="*/ 1605 w 181441"/>
                        <a:gd name="connsiteY4" fmla="*/ 0 h 18609"/>
                        <a:gd name="connsiteX5" fmla="*/ 181441 w 181441"/>
                        <a:gd name="connsiteY5" fmla="*/ 0 h 18609"/>
                        <a:gd name="connsiteX6" fmla="*/ 183046 w 181441"/>
                        <a:gd name="connsiteY6" fmla="*/ 1605 h 18609"/>
                        <a:gd name="connsiteX7" fmla="*/ 183046 w 181441"/>
                        <a:gd name="connsiteY7" fmla="*/ 17028 h 18609"/>
                        <a:gd name="connsiteX8" fmla="*/ 181441 w 181441"/>
                        <a:gd name="connsiteY8" fmla="*/ 18633 h 1860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181441" h="18609">
                          <a:moveTo>
                            <a:pt x="181441" y="18633"/>
                          </a:moveTo>
                          <a:lnTo>
                            <a:pt x="1605" y="18633"/>
                          </a:lnTo>
                          <a:cubicBezTo>
                            <a:pt x="721" y="18633"/>
                            <a:pt x="0" y="17912"/>
                            <a:pt x="0" y="17028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181441" y="0"/>
                          </a:lnTo>
                          <a:cubicBezTo>
                            <a:pt x="182325" y="0"/>
                            <a:pt x="183046" y="721"/>
                            <a:pt x="183046" y="1605"/>
                          </a:cubicBezTo>
                          <a:lnTo>
                            <a:pt x="183046" y="17028"/>
                          </a:lnTo>
                          <a:cubicBezTo>
                            <a:pt x="183046" y="17935"/>
                            <a:pt x="182325" y="18633"/>
                            <a:pt x="181441" y="18633"/>
                          </a:cubicBezTo>
                          <a:close/>
                        </a:path>
                      </a:pathLst>
                    </a:custGeom>
                    <a:solidFill>
                      <a:srgbClr val="F19439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564" name="Freeform: Shape 1563">
                      <a:extLst>
                        <a:ext uri="{FF2B5EF4-FFF2-40B4-BE49-F238E27FC236}">
                          <a16:creationId xmlns:a16="http://schemas.microsoft.com/office/drawing/2014/main" id="{ECBE93B0-9A47-4577-BF1F-D96BE2B1565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35176" y="4049207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565" name="Freeform: Shape 1564">
                      <a:extLst>
                        <a:ext uri="{FF2B5EF4-FFF2-40B4-BE49-F238E27FC236}">
                          <a16:creationId xmlns:a16="http://schemas.microsoft.com/office/drawing/2014/main" id="{1CA7F254-C87C-430C-9538-7CFD2589589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43876" y="4049207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48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566" name="Freeform: Shape 1565">
                      <a:extLst>
                        <a:ext uri="{FF2B5EF4-FFF2-40B4-BE49-F238E27FC236}">
                          <a16:creationId xmlns:a16="http://schemas.microsoft.com/office/drawing/2014/main" id="{3089A060-5683-456D-8002-473BFB8D39B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52552" y="4049207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567" name="Freeform: Shape 1566">
                      <a:extLst>
                        <a:ext uri="{FF2B5EF4-FFF2-40B4-BE49-F238E27FC236}">
                          <a16:creationId xmlns:a16="http://schemas.microsoft.com/office/drawing/2014/main" id="{0182FC13-0FD1-49FF-83EF-2653BFBD88A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61229" y="4049207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568" name="Freeform: Shape 1567">
                      <a:extLst>
                        <a:ext uri="{FF2B5EF4-FFF2-40B4-BE49-F238E27FC236}">
                          <a16:creationId xmlns:a16="http://schemas.microsoft.com/office/drawing/2014/main" id="{8745EAAD-244B-4488-8E7C-7F9FBF674DC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69929" y="4049207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48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569" name="Freeform: Shape 1568">
                      <a:extLst>
                        <a:ext uri="{FF2B5EF4-FFF2-40B4-BE49-F238E27FC236}">
                          <a16:creationId xmlns:a16="http://schemas.microsoft.com/office/drawing/2014/main" id="{40C2F2C6-9B7F-46B2-BF6D-0C4A57F56A0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78606" y="4049207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570" name="Freeform: Shape 1569">
                      <a:extLst>
                        <a:ext uri="{FF2B5EF4-FFF2-40B4-BE49-F238E27FC236}">
                          <a16:creationId xmlns:a16="http://schemas.microsoft.com/office/drawing/2014/main" id="{074B76ED-0E4E-4B53-A8BD-0C73E101067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87282" y="4049207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571" name="Freeform: Shape 1570">
                      <a:extLst>
                        <a:ext uri="{FF2B5EF4-FFF2-40B4-BE49-F238E27FC236}">
                          <a16:creationId xmlns:a16="http://schemas.microsoft.com/office/drawing/2014/main" id="{916F9D2D-F8BC-4EE4-AF39-88B7116A038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95982" y="4049207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48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572" name="Freeform: Shape 1571">
                      <a:extLst>
                        <a:ext uri="{FF2B5EF4-FFF2-40B4-BE49-F238E27FC236}">
                          <a16:creationId xmlns:a16="http://schemas.microsoft.com/office/drawing/2014/main" id="{DC21B7B7-FB4D-4BF3-B56E-C15F42EA960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04659" y="4049207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573" name="Freeform: Shape 1572">
                      <a:extLst>
                        <a:ext uri="{FF2B5EF4-FFF2-40B4-BE49-F238E27FC236}">
                          <a16:creationId xmlns:a16="http://schemas.microsoft.com/office/drawing/2014/main" id="{0935087B-B5DB-4E1C-975C-34784B0C12E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13335" y="4049207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574" name="Freeform: Shape 1573">
                      <a:extLst>
                        <a:ext uri="{FF2B5EF4-FFF2-40B4-BE49-F238E27FC236}">
                          <a16:creationId xmlns:a16="http://schemas.microsoft.com/office/drawing/2014/main" id="{9655DCA0-3FAE-4C8D-B90F-63CE36501D8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22035" y="4049207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48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575" name="Freeform: Shape 1574">
                      <a:extLst>
                        <a:ext uri="{FF2B5EF4-FFF2-40B4-BE49-F238E27FC236}">
                          <a16:creationId xmlns:a16="http://schemas.microsoft.com/office/drawing/2014/main" id="{AFE15C9E-7569-44E8-B4D5-719A68A274A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65716" y="4049207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48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576" name="Freeform: Shape 1575">
                      <a:extLst>
                        <a:ext uri="{FF2B5EF4-FFF2-40B4-BE49-F238E27FC236}">
                          <a16:creationId xmlns:a16="http://schemas.microsoft.com/office/drawing/2014/main" id="{DD8F7CDB-2287-4683-B7D6-A0BF91C00B7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74393" y="4049207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577" name="Freeform: Shape 1576">
                      <a:extLst>
                        <a:ext uri="{FF2B5EF4-FFF2-40B4-BE49-F238E27FC236}">
                          <a16:creationId xmlns:a16="http://schemas.microsoft.com/office/drawing/2014/main" id="{F5BDFB24-BE0A-4A53-B3B6-8F021469081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83070" y="4049207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578" name="Freeform: Shape 1577">
                      <a:extLst>
                        <a:ext uri="{FF2B5EF4-FFF2-40B4-BE49-F238E27FC236}">
                          <a16:creationId xmlns:a16="http://schemas.microsoft.com/office/drawing/2014/main" id="{E456845A-CD34-43EA-BCF7-19CA6D5C3E0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48340" y="4049207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579" name="Freeform: Shape 1578">
                      <a:extLst>
                        <a:ext uri="{FF2B5EF4-FFF2-40B4-BE49-F238E27FC236}">
                          <a16:creationId xmlns:a16="http://schemas.microsoft.com/office/drawing/2014/main" id="{B2AB765B-13F7-4C08-A502-7410DD9B9E8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57017" y="4049207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580" name="Freeform: Shape 1579">
                      <a:extLst>
                        <a:ext uri="{FF2B5EF4-FFF2-40B4-BE49-F238E27FC236}">
                          <a16:creationId xmlns:a16="http://schemas.microsoft.com/office/drawing/2014/main" id="{73F432D6-2BD6-42A6-A30B-567BEC2C26B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65716" y="4049207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48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581" name="Freeform: Shape 1580">
                      <a:extLst>
                        <a:ext uri="{FF2B5EF4-FFF2-40B4-BE49-F238E27FC236}">
                          <a16:creationId xmlns:a16="http://schemas.microsoft.com/office/drawing/2014/main" id="{75E6A60E-1425-4D6D-904E-E76A090936B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91770" y="4049207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48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582" name="Freeform: Shape 1581">
                      <a:extLst>
                        <a:ext uri="{FF2B5EF4-FFF2-40B4-BE49-F238E27FC236}">
                          <a16:creationId xmlns:a16="http://schemas.microsoft.com/office/drawing/2014/main" id="{A31A61F5-9D9F-4A32-889F-2237BF8345A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00446" y="4049207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583" name="Freeform: Shape 1582">
                      <a:extLst>
                        <a:ext uri="{FF2B5EF4-FFF2-40B4-BE49-F238E27FC236}">
                          <a16:creationId xmlns:a16="http://schemas.microsoft.com/office/drawing/2014/main" id="{E6EF35C1-41F6-4610-A291-692B4DCB80C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09123" y="4049207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584" name="Freeform: Shape 1583">
                      <a:extLst>
                        <a:ext uri="{FF2B5EF4-FFF2-40B4-BE49-F238E27FC236}">
                          <a16:creationId xmlns:a16="http://schemas.microsoft.com/office/drawing/2014/main" id="{7BF9E17A-3220-441D-A91C-F53FB4D413A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17823" y="4049207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48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585" name="Freeform: Shape 1584">
                      <a:extLst>
                        <a:ext uri="{FF2B5EF4-FFF2-40B4-BE49-F238E27FC236}">
                          <a16:creationId xmlns:a16="http://schemas.microsoft.com/office/drawing/2014/main" id="{53156C29-E42A-4CA1-835F-6F02593933F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26499" y="4049207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1467" name="Graphic 174">
                    <a:extLst>
                      <a:ext uri="{FF2B5EF4-FFF2-40B4-BE49-F238E27FC236}">
                        <a16:creationId xmlns:a16="http://schemas.microsoft.com/office/drawing/2014/main" id="{56BA4D46-8A4D-4983-9CD0-D46448615F1D}"/>
                      </a:ext>
                    </a:extLst>
                  </p:cNvPr>
                  <p:cNvGrpSpPr/>
                  <p:nvPr/>
                </p:nvGrpSpPr>
                <p:grpSpPr>
                  <a:xfrm>
                    <a:off x="6355877" y="4029784"/>
                    <a:ext cx="181441" cy="18609"/>
                    <a:chOff x="6355877" y="4029784"/>
                    <a:chExt cx="181441" cy="18609"/>
                  </a:xfrm>
                  <a:solidFill>
                    <a:schemeClr val="accent1"/>
                  </a:solidFill>
                </p:grpSpPr>
                <p:sp>
                  <p:nvSpPr>
                    <p:cNvPr id="1540" name="Freeform: Shape 1539">
                      <a:extLst>
                        <a:ext uri="{FF2B5EF4-FFF2-40B4-BE49-F238E27FC236}">
                          <a16:creationId xmlns:a16="http://schemas.microsoft.com/office/drawing/2014/main" id="{66757AA9-DC7A-4119-B2A8-E7FF5644819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55877" y="4029784"/>
                      <a:ext cx="181441" cy="18609"/>
                    </a:xfrm>
                    <a:custGeom>
                      <a:avLst/>
                      <a:gdLst>
                        <a:gd name="connsiteX0" fmla="*/ 181441 w 181441"/>
                        <a:gd name="connsiteY0" fmla="*/ 18633 h 18609"/>
                        <a:gd name="connsiteX1" fmla="*/ 1605 w 181441"/>
                        <a:gd name="connsiteY1" fmla="*/ 18633 h 18609"/>
                        <a:gd name="connsiteX2" fmla="*/ 0 w 181441"/>
                        <a:gd name="connsiteY2" fmla="*/ 17028 h 18609"/>
                        <a:gd name="connsiteX3" fmla="*/ 0 w 181441"/>
                        <a:gd name="connsiteY3" fmla="*/ 1605 h 18609"/>
                        <a:gd name="connsiteX4" fmla="*/ 1605 w 181441"/>
                        <a:gd name="connsiteY4" fmla="*/ 0 h 18609"/>
                        <a:gd name="connsiteX5" fmla="*/ 181441 w 181441"/>
                        <a:gd name="connsiteY5" fmla="*/ 0 h 18609"/>
                        <a:gd name="connsiteX6" fmla="*/ 183046 w 181441"/>
                        <a:gd name="connsiteY6" fmla="*/ 1605 h 18609"/>
                        <a:gd name="connsiteX7" fmla="*/ 183046 w 181441"/>
                        <a:gd name="connsiteY7" fmla="*/ 17028 h 18609"/>
                        <a:gd name="connsiteX8" fmla="*/ 181441 w 181441"/>
                        <a:gd name="connsiteY8" fmla="*/ 18633 h 1860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181441" h="18609">
                          <a:moveTo>
                            <a:pt x="181441" y="18633"/>
                          </a:moveTo>
                          <a:lnTo>
                            <a:pt x="1605" y="18633"/>
                          </a:lnTo>
                          <a:cubicBezTo>
                            <a:pt x="721" y="18633"/>
                            <a:pt x="0" y="17911"/>
                            <a:pt x="0" y="17028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181441" y="0"/>
                          </a:lnTo>
                          <a:cubicBezTo>
                            <a:pt x="182325" y="0"/>
                            <a:pt x="183046" y="721"/>
                            <a:pt x="183046" y="1605"/>
                          </a:cubicBezTo>
                          <a:lnTo>
                            <a:pt x="183046" y="17028"/>
                          </a:lnTo>
                          <a:cubicBezTo>
                            <a:pt x="183046" y="17935"/>
                            <a:pt x="182325" y="18633"/>
                            <a:pt x="181441" y="18633"/>
                          </a:cubicBezTo>
                          <a:close/>
                        </a:path>
                      </a:pathLst>
                    </a:custGeom>
                    <a:solidFill>
                      <a:srgbClr val="F19439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541" name="Freeform: Shape 1540">
                      <a:extLst>
                        <a:ext uri="{FF2B5EF4-FFF2-40B4-BE49-F238E27FC236}">
                          <a16:creationId xmlns:a16="http://schemas.microsoft.com/office/drawing/2014/main" id="{0C87C8CE-DB6A-4E6E-AC63-221601A7F9E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43876" y="4030575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48" y="16353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542" name="Freeform: Shape 1541">
                      <a:extLst>
                        <a:ext uri="{FF2B5EF4-FFF2-40B4-BE49-F238E27FC236}">
                          <a16:creationId xmlns:a16="http://schemas.microsoft.com/office/drawing/2014/main" id="{1537D0F1-FB5D-4893-A404-2C4033113B2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52552" y="4030575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53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543" name="Freeform: Shape 1542">
                      <a:extLst>
                        <a:ext uri="{FF2B5EF4-FFF2-40B4-BE49-F238E27FC236}">
                          <a16:creationId xmlns:a16="http://schemas.microsoft.com/office/drawing/2014/main" id="{B0884DF6-B59B-4BA1-8044-622E202D9F3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61229" y="4030575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53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544" name="Freeform: Shape 1543">
                      <a:extLst>
                        <a:ext uri="{FF2B5EF4-FFF2-40B4-BE49-F238E27FC236}">
                          <a16:creationId xmlns:a16="http://schemas.microsoft.com/office/drawing/2014/main" id="{6A8E3091-0EE1-408B-A85C-C25E475535D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69929" y="4030575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48" y="16353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545" name="Freeform: Shape 1544">
                      <a:extLst>
                        <a:ext uri="{FF2B5EF4-FFF2-40B4-BE49-F238E27FC236}">
                          <a16:creationId xmlns:a16="http://schemas.microsoft.com/office/drawing/2014/main" id="{8E0185AA-427B-4552-B9BE-D7D2A1BEEA6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78606" y="4030575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53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546" name="Freeform: Shape 1545">
                      <a:extLst>
                        <a:ext uri="{FF2B5EF4-FFF2-40B4-BE49-F238E27FC236}">
                          <a16:creationId xmlns:a16="http://schemas.microsoft.com/office/drawing/2014/main" id="{D76D9012-87E5-4CA8-9327-0C1CFED5E37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87282" y="4030575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53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547" name="Freeform: Shape 1546">
                      <a:extLst>
                        <a:ext uri="{FF2B5EF4-FFF2-40B4-BE49-F238E27FC236}">
                          <a16:creationId xmlns:a16="http://schemas.microsoft.com/office/drawing/2014/main" id="{92E1AC21-8A2C-4C7E-B7CB-4648F47F7CD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95982" y="4030575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48" y="16353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548" name="Freeform: Shape 1547">
                      <a:extLst>
                        <a:ext uri="{FF2B5EF4-FFF2-40B4-BE49-F238E27FC236}">
                          <a16:creationId xmlns:a16="http://schemas.microsoft.com/office/drawing/2014/main" id="{ABD45C66-8275-41B2-BEA9-B13C7DECDF1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04659" y="4030575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53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549" name="Freeform: Shape 1548">
                      <a:extLst>
                        <a:ext uri="{FF2B5EF4-FFF2-40B4-BE49-F238E27FC236}">
                          <a16:creationId xmlns:a16="http://schemas.microsoft.com/office/drawing/2014/main" id="{3CC6DD9D-AE60-44E2-B0D4-0C798960BF3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13335" y="4030575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53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550" name="Freeform: Shape 1549">
                      <a:extLst>
                        <a:ext uri="{FF2B5EF4-FFF2-40B4-BE49-F238E27FC236}">
                          <a16:creationId xmlns:a16="http://schemas.microsoft.com/office/drawing/2014/main" id="{07CE5A2F-2753-4FBC-B5A4-F585307086C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22035" y="4030575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48" y="16353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551" name="Freeform: Shape 1550">
                      <a:extLst>
                        <a:ext uri="{FF2B5EF4-FFF2-40B4-BE49-F238E27FC236}">
                          <a16:creationId xmlns:a16="http://schemas.microsoft.com/office/drawing/2014/main" id="{292CCF89-6290-48FC-ACB1-2E613118771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30712" y="4030575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53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552" name="Freeform: Shape 1551">
                      <a:extLst>
                        <a:ext uri="{FF2B5EF4-FFF2-40B4-BE49-F238E27FC236}">
                          <a16:creationId xmlns:a16="http://schemas.microsoft.com/office/drawing/2014/main" id="{32A99657-7FA8-45C1-8B9B-B2C892222A0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74393" y="4030575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53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553" name="Freeform: Shape 1552">
                      <a:extLst>
                        <a:ext uri="{FF2B5EF4-FFF2-40B4-BE49-F238E27FC236}">
                          <a16:creationId xmlns:a16="http://schemas.microsoft.com/office/drawing/2014/main" id="{1A5A8CA4-3F5F-41A8-84DB-A04A394F599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83070" y="4030575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53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554" name="Freeform: Shape 1553">
                      <a:extLst>
                        <a:ext uri="{FF2B5EF4-FFF2-40B4-BE49-F238E27FC236}">
                          <a16:creationId xmlns:a16="http://schemas.microsoft.com/office/drawing/2014/main" id="{262939BD-9B5D-4580-B438-63DB99FFD72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91770" y="4030575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48" y="16353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555" name="Freeform: Shape 1554">
                      <a:extLst>
                        <a:ext uri="{FF2B5EF4-FFF2-40B4-BE49-F238E27FC236}">
                          <a16:creationId xmlns:a16="http://schemas.microsoft.com/office/drawing/2014/main" id="{BBA3335A-E40F-4939-8B5B-B85BF83F9DD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57017" y="4030575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53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556" name="Freeform: Shape 1555">
                      <a:extLst>
                        <a:ext uri="{FF2B5EF4-FFF2-40B4-BE49-F238E27FC236}">
                          <a16:creationId xmlns:a16="http://schemas.microsoft.com/office/drawing/2014/main" id="{A1A8A45D-2676-48C9-BEDF-31FC03EB68F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65716" y="4030575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48" y="16353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557" name="Freeform: Shape 1556">
                      <a:extLst>
                        <a:ext uri="{FF2B5EF4-FFF2-40B4-BE49-F238E27FC236}">
                          <a16:creationId xmlns:a16="http://schemas.microsoft.com/office/drawing/2014/main" id="{FCEA73F3-93E7-459E-A378-B709C272704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74393" y="4030575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53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558" name="Freeform: Shape 1557">
                      <a:extLst>
                        <a:ext uri="{FF2B5EF4-FFF2-40B4-BE49-F238E27FC236}">
                          <a16:creationId xmlns:a16="http://schemas.microsoft.com/office/drawing/2014/main" id="{677DF969-004B-42C0-B170-414A93DE384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00446" y="4030575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53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559" name="Freeform: Shape 1558">
                      <a:extLst>
                        <a:ext uri="{FF2B5EF4-FFF2-40B4-BE49-F238E27FC236}">
                          <a16:creationId xmlns:a16="http://schemas.microsoft.com/office/drawing/2014/main" id="{21540156-5455-42FB-A286-63FB5EBC022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09123" y="4030575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53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560" name="Freeform: Shape 1559">
                      <a:extLst>
                        <a:ext uri="{FF2B5EF4-FFF2-40B4-BE49-F238E27FC236}">
                          <a16:creationId xmlns:a16="http://schemas.microsoft.com/office/drawing/2014/main" id="{3E97A730-DC92-436F-B511-5A66C4C6910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17823" y="4030575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48" y="16353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561" name="Freeform: Shape 1560">
                      <a:extLst>
                        <a:ext uri="{FF2B5EF4-FFF2-40B4-BE49-F238E27FC236}">
                          <a16:creationId xmlns:a16="http://schemas.microsoft.com/office/drawing/2014/main" id="{2FBFCBF5-EF17-4091-850F-5DDB88D322C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26499" y="4030575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53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562" name="Freeform: Shape 1561">
                      <a:extLst>
                        <a:ext uri="{FF2B5EF4-FFF2-40B4-BE49-F238E27FC236}">
                          <a16:creationId xmlns:a16="http://schemas.microsoft.com/office/drawing/2014/main" id="{FD42D624-5A36-44C5-AC61-B436073575D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35176" y="4030575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53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1468" name="Graphic 174">
                    <a:extLst>
                      <a:ext uri="{FF2B5EF4-FFF2-40B4-BE49-F238E27FC236}">
                        <a16:creationId xmlns:a16="http://schemas.microsoft.com/office/drawing/2014/main" id="{65059E7E-A9F5-4807-9B44-E780E200453D}"/>
                      </a:ext>
                    </a:extLst>
                  </p:cNvPr>
                  <p:cNvGrpSpPr/>
                  <p:nvPr/>
                </p:nvGrpSpPr>
                <p:grpSpPr>
                  <a:xfrm>
                    <a:off x="6347200" y="4011174"/>
                    <a:ext cx="181441" cy="18609"/>
                    <a:chOff x="6347200" y="4011174"/>
                    <a:chExt cx="181441" cy="18609"/>
                  </a:xfrm>
                  <a:solidFill>
                    <a:schemeClr val="accent1"/>
                  </a:solidFill>
                </p:grpSpPr>
                <p:sp>
                  <p:nvSpPr>
                    <p:cNvPr id="1517" name="Freeform: Shape 1516">
                      <a:extLst>
                        <a:ext uri="{FF2B5EF4-FFF2-40B4-BE49-F238E27FC236}">
                          <a16:creationId xmlns:a16="http://schemas.microsoft.com/office/drawing/2014/main" id="{6A5ECE45-5753-40E3-8C6D-812CF644BFF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47200" y="4011174"/>
                      <a:ext cx="181441" cy="18609"/>
                    </a:xfrm>
                    <a:custGeom>
                      <a:avLst/>
                      <a:gdLst>
                        <a:gd name="connsiteX0" fmla="*/ 181441 w 181441"/>
                        <a:gd name="connsiteY0" fmla="*/ 18633 h 18609"/>
                        <a:gd name="connsiteX1" fmla="*/ 1605 w 181441"/>
                        <a:gd name="connsiteY1" fmla="*/ 18633 h 18609"/>
                        <a:gd name="connsiteX2" fmla="*/ 0 w 181441"/>
                        <a:gd name="connsiteY2" fmla="*/ 17028 h 18609"/>
                        <a:gd name="connsiteX3" fmla="*/ 0 w 181441"/>
                        <a:gd name="connsiteY3" fmla="*/ 1605 h 18609"/>
                        <a:gd name="connsiteX4" fmla="*/ 1605 w 181441"/>
                        <a:gd name="connsiteY4" fmla="*/ 0 h 18609"/>
                        <a:gd name="connsiteX5" fmla="*/ 181441 w 181441"/>
                        <a:gd name="connsiteY5" fmla="*/ 0 h 18609"/>
                        <a:gd name="connsiteX6" fmla="*/ 183046 w 181441"/>
                        <a:gd name="connsiteY6" fmla="*/ 1605 h 18609"/>
                        <a:gd name="connsiteX7" fmla="*/ 183046 w 181441"/>
                        <a:gd name="connsiteY7" fmla="*/ 17028 h 18609"/>
                        <a:gd name="connsiteX8" fmla="*/ 181441 w 181441"/>
                        <a:gd name="connsiteY8" fmla="*/ 18633 h 1860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181441" h="18609">
                          <a:moveTo>
                            <a:pt x="181441" y="18633"/>
                          </a:moveTo>
                          <a:lnTo>
                            <a:pt x="1605" y="18633"/>
                          </a:lnTo>
                          <a:cubicBezTo>
                            <a:pt x="721" y="18633"/>
                            <a:pt x="0" y="17911"/>
                            <a:pt x="0" y="17028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181441" y="0"/>
                          </a:lnTo>
                          <a:cubicBezTo>
                            <a:pt x="182325" y="0"/>
                            <a:pt x="183046" y="721"/>
                            <a:pt x="183046" y="1605"/>
                          </a:cubicBezTo>
                          <a:lnTo>
                            <a:pt x="183046" y="17028"/>
                          </a:lnTo>
                          <a:cubicBezTo>
                            <a:pt x="183046" y="17911"/>
                            <a:pt x="182325" y="18633"/>
                            <a:pt x="181441" y="18633"/>
                          </a:cubicBezTo>
                          <a:close/>
                        </a:path>
                      </a:pathLst>
                    </a:custGeom>
                    <a:solidFill>
                      <a:srgbClr val="F19439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518" name="Freeform: Shape 1517">
                      <a:extLst>
                        <a:ext uri="{FF2B5EF4-FFF2-40B4-BE49-F238E27FC236}">
                          <a16:creationId xmlns:a16="http://schemas.microsoft.com/office/drawing/2014/main" id="{7C88FF72-7B91-451F-9124-F3B7759C820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35176" y="4011942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53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519" name="Freeform: Shape 1518">
                      <a:extLst>
                        <a:ext uri="{FF2B5EF4-FFF2-40B4-BE49-F238E27FC236}">
                          <a16:creationId xmlns:a16="http://schemas.microsoft.com/office/drawing/2014/main" id="{E8E9421E-3767-421D-95B6-81D6191F057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43876" y="4011942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48" y="16353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520" name="Freeform: Shape 1519">
                      <a:extLst>
                        <a:ext uri="{FF2B5EF4-FFF2-40B4-BE49-F238E27FC236}">
                          <a16:creationId xmlns:a16="http://schemas.microsoft.com/office/drawing/2014/main" id="{63B504A4-1FD7-4E83-BF27-D4242E1A559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52552" y="4011942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53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521" name="Freeform: Shape 1520">
                      <a:extLst>
                        <a:ext uri="{FF2B5EF4-FFF2-40B4-BE49-F238E27FC236}">
                          <a16:creationId xmlns:a16="http://schemas.microsoft.com/office/drawing/2014/main" id="{52B33714-85DF-43C5-9C35-FB47D639F45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61229" y="4011942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53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522" name="Freeform: Shape 1521">
                      <a:extLst>
                        <a:ext uri="{FF2B5EF4-FFF2-40B4-BE49-F238E27FC236}">
                          <a16:creationId xmlns:a16="http://schemas.microsoft.com/office/drawing/2014/main" id="{06954571-4947-4F60-B46A-E2B30007AD0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69929" y="4011942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48" y="16353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523" name="Freeform: Shape 1522">
                      <a:extLst>
                        <a:ext uri="{FF2B5EF4-FFF2-40B4-BE49-F238E27FC236}">
                          <a16:creationId xmlns:a16="http://schemas.microsoft.com/office/drawing/2014/main" id="{FFE03D8C-2B77-41A0-8979-653569A6ECA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78606" y="4011942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53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524" name="Freeform: Shape 1523">
                      <a:extLst>
                        <a:ext uri="{FF2B5EF4-FFF2-40B4-BE49-F238E27FC236}">
                          <a16:creationId xmlns:a16="http://schemas.microsoft.com/office/drawing/2014/main" id="{0B9008AD-BF4A-4959-80D2-B6F2C428887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87282" y="4011942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53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525" name="Freeform: Shape 1524">
                      <a:extLst>
                        <a:ext uri="{FF2B5EF4-FFF2-40B4-BE49-F238E27FC236}">
                          <a16:creationId xmlns:a16="http://schemas.microsoft.com/office/drawing/2014/main" id="{65E332C3-7F47-4CAC-A2BB-0F647A8A08D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95982" y="4011942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48" y="16353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526" name="Freeform: Shape 1525">
                      <a:extLst>
                        <a:ext uri="{FF2B5EF4-FFF2-40B4-BE49-F238E27FC236}">
                          <a16:creationId xmlns:a16="http://schemas.microsoft.com/office/drawing/2014/main" id="{B403BF77-275A-4016-BC06-48D0CE00BB3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04659" y="4011942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53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527" name="Freeform: Shape 1526">
                      <a:extLst>
                        <a:ext uri="{FF2B5EF4-FFF2-40B4-BE49-F238E27FC236}">
                          <a16:creationId xmlns:a16="http://schemas.microsoft.com/office/drawing/2014/main" id="{3593FFDB-43D6-48FD-82CA-CF802E49972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13335" y="4011942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53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528" name="Freeform: Shape 1527">
                      <a:extLst>
                        <a:ext uri="{FF2B5EF4-FFF2-40B4-BE49-F238E27FC236}">
                          <a16:creationId xmlns:a16="http://schemas.microsoft.com/office/drawing/2014/main" id="{FA7F93DE-4478-40FE-9C87-2F3F71F5424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22035" y="4011942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48" y="16353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529" name="Freeform: Shape 1528">
                      <a:extLst>
                        <a:ext uri="{FF2B5EF4-FFF2-40B4-BE49-F238E27FC236}">
                          <a16:creationId xmlns:a16="http://schemas.microsoft.com/office/drawing/2014/main" id="{7222981E-A914-4AF4-B17E-AFC28952BBC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65716" y="4011942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48" y="16353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530" name="Freeform: Shape 1529">
                      <a:extLst>
                        <a:ext uri="{FF2B5EF4-FFF2-40B4-BE49-F238E27FC236}">
                          <a16:creationId xmlns:a16="http://schemas.microsoft.com/office/drawing/2014/main" id="{9039434A-BBDB-4270-B895-A8AC45E60B3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74393" y="4011942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53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531" name="Freeform: Shape 1530">
                      <a:extLst>
                        <a:ext uri="{FF2B5EF4-FFF2-40B4-BE49-F238E27FC236}">
                          <a16:creationId xmlns:a16="http://schemas.microsoft.com/office/drawing/2014/main" id="{62D6B25B-0E62-44BD-90C6-F7239248DBA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83070" y="4011942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53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532" name="Freeform: Shape 1531">
                      <a:extLst>
                        <a:ext uri="{FF2B5EF4-FFF2-40B4-BE49-F238E27FC236}">
                          <a16:creationId xmlns:a16="http://schemas.microsoft.com/office/drawing/2014/main" id="{71F9293D-6383-476D-A9E2-9AB5A09D2D2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48340" y="4011942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53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533" name="Freeform: Shape 1532">
                      <a:extLst>
                        <a:ext uri="{FF2B5EF4-FFF2-40B4-BE49-F238E27FC236}">
                          <a16:creationId xmlns:a16="http://schemas.microsoft.com/office/drawing/2014/main" id="{68D650DF-9F43-478E-8283-66BEF86ADD6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57017" y="4011942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53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534" name="Freeform: Shape 1533">
                      <a:extLst>
                        <a:ext uri="{FF2B5EF4-FFF2-40B4-BE49-F238E27FC236}">
                          <a16:creationId xmlns:a16="http://schemas.microsoft.com/office/drawing/2014/main" id="{FB003068-485E-4D91-8FDE-4DCAF40177E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65716" y="4011942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48" y="16353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535" name="Freeform: Shape 1534">
                      <a:extLst>
                        <a:ext uri="{FF2B5EF4-FFF2-40B4-BE49-F238E27FC236}">
                          <a16:creationId xmlns:a16="http://schemas.microsoft.com/office/drawing/2014/main" id="{8DD8B48B-A7EF-4A35-81CC-B655D8404C8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91770" y="4011942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48" y="16353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536" name="Freeform: Shape 1535">
                      <a:extLst>
                        <a:ext uri="{FF2B5EF4-FFF2-40B4-BE49-F238E27FC236}">
                          <a16:creationId xmlns:a16="http://schemas.microsoft.com/office/drawing/2014/main" id="{32F81EF0-97FE-4F9D-87FE-4215388F5F7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00446" y="4011942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53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537" name="Freeform: Shape 1536">
                      <a:extLst>
                        <a:ext uri="{FF2B5EF4-FFF2-40B4-BE49-F238E27FC236}">
                          <a16:creationId xmlns:a16="http://schemas.microsoft.com/office/drawing/2014/main" id="{0C545784-83AB-4141-90F1-55C9D776CA9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09123" y="4011942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53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538" name="Freeform: Shape 1537">
                      <a:extLst>
                        <a:ext uri="{FF2B5EF4-FFF2-40B4-BE49-F238E27FC236}">
                          <a16:creationId xmlns:a16="http://schemas.microsoft.com/office/drawing/2014/main" id="{0DA71104-5263-465A-A160-6B6F093B155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17823" y="4011942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48" y="16353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539" name="Freeform: Shape 1538">
                      <a:extLst>
                        <a:ext uri="{FF2B5EF4-FFF2-40B4-BE49-F238E27FC236}">
                          <a16:creationId xmlns:a16="http://schemas.microsoft.com/office/drawing/2014/main" id="{C8A9ED73-1BFD-4659-8731-FC5C3ABB472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26499" y="4011942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53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1469" name="Graphic 174">
                    <a:extLst>
                      <a:ext uri="{FF2B5EF4-FFF2-40B4-BE49-F238E27FC236}">
                        <a16:creationId xmlns:a16="http://schemas.microsoft.com/office/drawing/2014/main" id="{2F1E6735-EA97-44EF-BA7F-69CD31E39771}"/>
                      </a:ext>
                    </a:extLst>
                  </p:cNvPr>
                  <p:cNvGrpSpPr/>
                  <p:nvPr/>
                </p:nvGrpSpPr>
                <p:grpSpPr>
                  <a:xfrm>
                    <a:off x="6353388" y="3992379"/>
                    <a:ext cx="181441" cy="18609"/>
                    <a:chOff x="6353388" y="3992379"/>
                    <a:chExt cx="181441" cy="18609"/>
                  </a:xfrm>
                  <a:solidFill>
                    <a:schemeClr val="accent1"/>
                  </a:solidFill>
                </p:grpSpPr>
                <p:sp>
                  <p:nvSpPr>
                    <p:cNvPr id="1494" name="Freeform: Shape 1493">
                      <a:extLst>
                        <a:ext uri="{FF2B5EF4-FFF2-40B4-BE49-F238E27FC236}">
                          <a16:creationId xmlns:a16="http://schemas.microsoft.com/office/drawing/2014/main" id="{DEE0D9B3-B9F4-4025-8BB4-D536FB5B485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53388" y="3992379"/>
                      <a:ext cx="181441" cy="18609"/>
                    </a:xfrm>
                    <a:custGeom>
                      <a:avLst/>
                      <a:gdLst>
                        <a:gd name="connsiteX0" fmla="*/ 181441 w 181441"/>
                        <a:gd name="connsiteY0" fmla="*/ 18633 h 18609"/>
                        <a:gd name="connsiteX1" fmla="*/ 1605 w 181441"/>
                        <a:gd name="connsiteY1" fmla="*/ 18633 h 18609"/>
                        <a:gd name="connsiteX2" fmla="*/ 0 w 181441"/>
                        <a:gd name="connsiteY2" fmla="*/ 17028 h 18609"/>
                        <a:gd name="connsiteX3" fmla="*/ 0 w 181441"/>
                        <a:gd name="connsiteY3" fmla="*/ 1605 h 18609"/>
                        <a:gd name="connsiteX4" fmla="*/ 1605 w 181441"/>
                        <a:gd name="connsiteY4" fmla="*/ 0 h 18609"/>
                        <a:gd name="connsiteX5" fmla="*/ 181441 w 181441"/>
                        <a:gd name="connsiteY5" fmla="*/ 0 h 18609"/>
                        <a:gd name="connsiteX6" fmla="*/ 183046 w 181441"/>
                        <a:gd name="connsiteY6" fmla="*/ 1605 h 18609"/>
                        <a:gd name="connsiteX7" fmla="*/ 183046 w 181441"/>
                        <a:gd name="connsiteY7" fmla="*/ 17028 h 18609"/>
                        <a:gd name="connsiteX8" fmla="*/ 181441 w 181441"/>
                        <a:gd name="connsiteY8" fmla="*/ 18633 h 1860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181441" h="18609">
                          <a:moveTo>
                            <a:pt x="181441" y="18633"/>
                          </a:moveTo>
                          <a:lnTo>
                            <a:pt x="1605" y="18633"/>
                          </a:lnTo>
                          <a:cubicBezTo>
                            <a:pt x="721" y="18633"/>
                            <a:pt x="0" y="17912"/>
                            <a:pt x="0" y="17028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181441" y="0"/>
                          </a:lnTo>
                          <a:cubicBezTo>
                            <a:pt x="182325" y="0"/>
                            <a:pt x="183046" y="721"/>
                            <a:pt x="183046" y="1605"/>
                          </a:cubicBezTo>
                          <a:lnTo>
                            <a:pt x="183046" y="17028"/>
                          </a:lnTo>
                          <a:cubicBezTo>
                            <a:pt x="183046" y="17912"/>
                            <a:pt x="182325" y="18633"/>
                            <a:pt x="181441" y="18633"/>
                          </a:cubicBezTo>
                          <a:close/>
                        </a:path>
                      </a:pathLst>
                    </a:custGeom>
                    <a:solidFill>
                      <a:srgbClr val="F19439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495" name="Freeform: Shape 1494">
                      <a:extLst>
                        <a:ext uri="{FF2B5EF4-FFF2-40B4-BE49-F238E27FC236}">
                          <a16:creationId xmlns:a16="http://schemas.microsoft.com/office/drawing/2014/main" id="{0E83527C-FC5A-4A19-84DB-41D40CAAFCF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41364" y="3993170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74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496" name="Freeform: Shape 1495">
                      <a:extLst>
                        <a:ext uri="{FF2B5EF4-FFF2-40B4-BE49-F238E27FC236}">
                          <a16:creationId xmlns:a16="http://schemas.microsoft.com/office/drawing/2014/main" id="{B6A4104B-E40C-41D6-9E70-42D12A376D9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50063" y="3993170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497" name="Freeform: Shape 1496">
                      <a:extLst>
                        <a:ext uri="{FF2B5EF4-FFF2-40B4-BE49-F238E27FC236}">
                          <a16:creationId xmlns:a16="http://schemas.microsoft.com/office/drawing/2014/main" id="{1232E279-EAB1-427D-B204-42991E878C2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58740" y="3993170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498" name="Freeform: Shape 1497">
                      <a:extLst>
                        <a:ext uri="{FF2B5EF4-FFF2-40B4-BE49-F238E27FC236}">
                          <a16:creationId xmlns:a16="http://schemas.microsoft.com/office/drawing/2014/main" id="{34EF07B7-A187-470B-B8DC-06B03432A59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67417" y="3993170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74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499" name="Freeform: Shape 1498">
                      <a:extLst>
                        <a:ext uri="{FF2B5EF4-FFF2-40B4-BE49-F238E27FC236}">
                          <a16:creationId xmlns:a16="http://schemas.microsoft.com/office/drawing/2014/main" id="{4BE7D0F5-AC31-4F64-9DD7-127D01DEDB3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76117" y="3993170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500" name="Freeform: Shape 1499">
                      <a:extLst>
                        <a:ext uri="{FF2B5EF4-FFF2-40B4-BE49-F238E27FC236}">
                          <a16:creationId xmlns:a16="http://schemas.microsoft.com/office/drawing/2014/main" id="{E11897C7-F4B8-47F9-B3B5-044BD3C4611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84793" y="3993170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501" name="Freeform: Shape 1500">
                      <a:extLst>
                        <a:ext uri="{FF2B5EF4-FFF2-40B4-BE49-F238E27FC236}">
                          <a16:creationId xmlns:a16="http://schemas.microsoft.com/office/drawing/2014/main" id="{B5499FA0-F6A2-4D2B-B05E-756263BF5C9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93470" y="3993170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74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502" name="Freeform: Shape 1501">
                      <a:extLst>
                        <a:ext uri="{FF2B5EF4-FFF2-40B4-BE49-F238E27FC236}">
                          <a16:creationId xmlns:a16="http://schemas.microsoft.com/office/drawing/2014/main" id="{4498B5AF-812A-4AB6-A6FB-88BAA84925A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02170" y="3993170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503" name="Freeform: Shape 1502">
                      <a:extLst>
                        <a:ext uri="{FF2B5EF4-FFF2-40B4-BE49-F238E27FC236}">
                          <a16:creationId xmlns:a16="http://schemas.microsoft.com/office/drawing/2014/main" id="{E3930D66-1C24-4853-80E2-8F8B18C8D17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10846" y="3993170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504" name="Freeform: Shape 1503">
                      <a:extLst>
                        <a:ext uri="{FF2B5EF4-FFF2-40B4-BE49-F238E27FC236}">
                          <a16:creationId xmlns:a16="http://schemas.microsoft.com/office/drawing/2014/main" id="{896D20A7-0390-4B0E-AB22-34D3EB95A76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19523" y="3993170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74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505" name="Freeform: Shape 1504">
                      <a:extLst>
                        <a:ext uri="{FF2B5EF4-FFF2-40B4-BE49-F238E27FC236}">
                          <a16:creationId xmlns:a16="http://schemas.microsoft.com/office/drawing/2014/main" id="{B380A48B-84B2-49B1-967E-4294D2EB96B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28223" y="3993170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506" name="Freeform: Shape 1505">
                      <a:extLst>
                        <a:ext uri="{FF2B5EF4-FFF2-40B4-BE49-F238E27FC236}">
                          <a16:creationId xmlns:a16="http://schemas.microsoft.com/office/drawing/2014/main" id="{F29E59F6-1DB3-4899-AB19-AEF2DBDC765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71904" y="3993170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507" name="Freeform: Shape 1506">
                      <a:extLst>
                        <a:ext uri="{FF2B5EF4-FFF2-40B4-BE49-F238E27FC236}">
                          <a16:creationId xmlns:a16="http://schemas.microsoft.com/office/drawing/2014/main" id="{64116044-055C-4AEB-A68B-013B6A78E0B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80581" y="3993170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508" name="Freeform: Shape 1507">
                      <a:extLst>
                        <a:ext uri="{FF2B5EF4-FFF2-40B4-BE49-F238E27FC236}">
                          <a16:creationId xmlns:a16="http://schemas.microsoft.com/office/drawing/2014/main" id="{6A1D2248-2F8E-4E09-AA29-4A293FA4377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89257" y="3993170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74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509" name="Freeform: Shape 1508">
                      <a:extLst>
                        <a:ext uri="{FF2B5EF4-FFF2-40B4-BE49-F238E27FC236}">
                          <a16:creationId xmlns:a16="http://schemas.microsoft.com/office/drawing/2014/main" id="{00170538-35F6-4D5A-93F9-6AC99B7F666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54528" y="3993170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510" name="Freeform: Shape 1509">
                      <a:extLst>
                        <a:ext uri="{FF2B5EF4-FFF2-40B4-BE49-F238E27FC236}">
                          <a16:creationId xmlns:a16="http://schemas.microsoft.com/office/drawing/2014/main" id="{D590DB39-AE78-4C6C-A306-57C66EAA3A6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63204" y="3993170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74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511" name="Freeform: Shape 1510">
                      <a:extLst>
                        <a:ext uri="{FF2B5EF4-FFF2-40B4-BE49-F238E27FC236}">
                          <a16:creationId xmlns:a16="http://schemas.microsoft.com/office/drawing/2014/main" id="{CF8EBFFC-1B88-443B-AD95-4368C152DD8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71904" y="3993170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512" name="Freeform: Shape 1511">
                      <a:extLst>
                        <a:ext uri="{FF2B5EF4-FFF2-40B4-BE49-F238E27FC236}">
                          <a16:creationId xmlns:a16="http://schemas.microsoft.com/office/drawing/2014/main" id="{C4805686-019A-4691-9E0B-71B63D27AB7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97957" y="3993170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513" name="Freeform: Shape 1512">
                      <a:extLst>
                        <a:ext uri="{FF2B5EF4-FFF2-40B4-BE49-F238E27FC236}">
                          <a16:creationId xmlns:a16="http://schemas.microsoft.com/office/drawing/2014/main" id="{9493DCDF-9948-42E6-985B-5FCFB807344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06634" y="3993170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514" name="Freeform: Shape 1513">
                      <a:extLst>
                        <a:ext uri="{FF2B5EF4-FFF2-40B4-BE49-F238E27FC236}">
                          <a16:creationId xmlns:a16="http://schemas.microsoft.com/office/drawing/2014/main" id="{6DD63A37-BA4B-4071-BB0C-550EF828F73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15310" y="3993170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74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515" name="Freeform: Shape 1514">
                      <a:extLst>
                        <a:ext uri="{FF2B5EF4-FFF2-40B4-BE49-F238E27FC236}">
                          <a16:creationId xmlns:a16="http://schemas.microsoft.com/office/drawing/2014/main" id="{A74F71F1-5658-4233-A9F0-E6A761402BB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24010" y="3993170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516" name="Freeform: Shape 1515">
                      <a:extLst>
                        <a:ext uri="{FF2B5EF4-FFF2-40B4-BE49-F238E27FC236}">
                          <a16:creationId xmlns:a16="http://schemas.microsoft.com/office/drawing/2014/main" id="{8AD6B248-FECF-4ED5-B3BB-39E9AE93530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32687" y="3993170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1470" name="Graphic 174">
                    <a:extLst>
                      <a:ext uri="{FF2B5EF4-FFF2-40B4-BE49-F238E27FC236}">
                        <a16:creationId xmlns:a16="http://schemas.microsoft.com/office/drawing/2014/main" id="{B82A7C4F-9C87-4801-B076-70016322EDE4}"/>
                      </a:ext>
                    </a:extLst>
                  </p:cNvPr>
                  <p:cNvGrpSpPr/>
                  <p:nvPr/>
                </p:nvGrpSpPr>
                <p:grpSpPr>
                  <a:xfrm>
                    <a:off x="6362064" y="3973746"/>
                    <a:ext cx="181441" cy="18609"/>
                    <a:chOff x="6362064" y="3973746"/>
                    <a:chExt cx="181441" cy="18609"/>
                  </a:xfrm>
                  <a:solidFill>
                    <a:schemeClr val="accent1"/>
                  </a:solidFill>
                </p:grpSpPr>
                <p:sp>
                  <p:nvSpPr>
                    <p:cNvPr id="1471" name="Freeform: Shape 1470">
                      <a:extLst>
                        <a:ext uri="{FF2B5EF4-FFF2-40B4-BE49-F238E27FC236}">
                          <a16:creationId xmlns:a16="http://schemas.microsoft.com/office/drawing/2014/main" id="{4FD07923-A617-44E2-A12C-9DDD92BAD29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62064" y="3973746"/>
                      <a:ext cx="181441" cy="18609"/>
                    </a:xfrm>
                    <a:custGeom>
                      <a:avLst/>
                      <a:gdLst>
                        <a:gd name="connsiteX0" fmla="*/ 181441 w 181441"/>
                        <a:gd name="connsiteY0" fmla="*/ 18633 h 18609"/>
                        <a:gd name="connsiteX1" fmla="*/ 1605 w 181441"/>
                        <a:gd name="connsiteY1" fmla="*/ 18633 h 18609"/>
                        <a:gd name="connsiteX2" fmla="*/ 0 w 181441"/>
                        <a:gd name="connsiteY2" fmla="*/ 17028 h 18609"/>
                        <a:gd name="connsiteX3" fmla="*/ 0 w 181441"/>
                        <a:gd name="connsiteY3" fmla="*/ 1605 h 18609"/>
                        <a:gd name="connsiteX4" fmla="*/ 1605 w 181441"/>
                        <a:gd name="connsiteY4" fmla="*/ 0 h 18609"/>
                        <a:gd name="connsiteX5" fmla="*/ 181441 w 181441"/>
                        <a:gd name="connsiteY5" fmla="*/ 0 h 18609"/>
                        <a:gd name="connsiteX6" fmla="*/ 183046 w 181441"/>
                        <a:gd name="connsiteY6" fmla="*/ 1605 h 18609"/>
                        <a:gd name="connsiteX7" fmla="*/ 183046 w 181441"/>
                        <a:gd name="connsiteY7" fmla="*/ 17028 h 18609"/>
                        <a:gd name="connsiteX8" fmla="*/ 181441 w 181441"/>
                        <a:gd name="connsiteY8" fmla="*/ 18633 h 1860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181441" h="18609">
                          <a:moveTo>
                            <a:pt x="181441" y="18633"/>
                          </a:moveTo>
                          <a:lnTo>
                            <a:pt x="1605" y="18633"/>
                          </a:lnTo>
                          <a:cubicBezTo>
                            <a:pt x="721" y="18633"/>
                            <a:pt x="0" y="17911"/>
                            <a:pt x="0" y="17028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181441" y="0"/>
                          </a:lnTo>
                          <a:cubicBezTo>
                            <a:pt x="182325" y="0"/>
                            <a:pt x="183046" y="721"/>
                            <a:pt x="183046" y="1605"/>
                          </a:cubicBezTo>
                          <a:lnTo>
                            <a:pt x="183046" y="17028"/>
                          </a:lnTo>
                          <a:cubicBezTo>
                            <a:pt x="183046" y="17911"/>
                            <a:pt x="182325" y="18633"/>
                            <a:pt x="181441" y="18633"/>
                          </a:cubicBezTo>
                          <a:close/>
                        </a:path>
                      </a:pathLst>
                    </a:custGeom>
                    <a:solidFill>
                      <a:srgbClr val="F19439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472" name="Freeform: Shape 1471">
                      <a:extLst>
                        <a:ext uri="{FF2B5EF4-FFF2-40B4-BE49-F238E27FC236}">
                          <a16:creationId xmlns:a16="http://schemas.microsoft.com/office/drawing/2014/main" id="{BC71D47D-B8BA-4AB4-9502-F40EDE2378A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50063" y="3974537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473" name="Freeform: Shape 1472">
                      <a:extLst>
                        <a:ext uri="{FF2B5EF4-FFF2-40B4-BE49-F238E27FC236}">
                          <a16:creationId xmlns:a16="http://schemas.microsoft.com/office/drawing/2014/main" id="{A1A70D3A-0BBB-4F1E-84F3-78576AF68B3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58740" y="3974537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474" name="Freeform: Shape 1473">
                      <a:extLst>
                        <a:ext uri="{FF2B5EF4-FFF2-40B4-BE49-F238E27FC236}">
                          <a16:creationId xmlns:a16="http://schemas.microsoft.com/office/drawing/2014/main" id="{5D4367FB-C07D-4849-8E54-4FD75F47122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67417" y="3974537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74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475" name="Freeform: Shape 1474">
                      <a:extLst>
                        <a:ext uri="{FF2B5EF4-FFF2-40B4-BE49-F238E27FC236}">
                          <a16:creationId xmlns:a16="http://schemas.microsoft.com/office/drawing/2014/main" id="{C1D81DD7-4E42-4A34-8924-F87CE777581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76117" y="3974537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476" name="Freeform: Shape 1475">
                      <a:extLst>
                        <a:ext uri="{FF2B5EF4-FFF2-40B4-BE49-F238E27FC236}">
                          <a16:creationId xmlns:a16="http://schemas.microsoft.com/office/drawing/2014/main" id="{D34B6DC7-FF61-45B9-8DF6-E33ED6AC230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84793" y="3974537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477" name="Freeform: Shape 1476">
                      <a:extLst>
                        <a:ext uri="{FF2B5EF4-FFF2-40B4-BE49-F238E27FC236}">
                          <a16:creationId xmlns:a16="http://schemas.microsoft.com/office/drawing/2014/main" id="{68A396B6-8952-4F05-BD20-C2E3EB13739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93470" y="3974537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74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478" name="Freeform: Shape 1477">
                      <a:extLst>
                        <a:ext uri="{FF2B5EF4-FFF2-40B4-BE49-F238E27FC236}">
                          <a16:creationId xmlns:a16="http://schemas.microsoft.com/office/drawing/2014/main" id="{7A378869-085E-4EBC-ABAA-F981F710F27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02170" y="3974537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479" name="Freeform: Shape 1478">
                      <a:extLst>
                        <a:ext uri="{FF2B5EF4-FFF2-40B4-BE49-F238E27FC236}">
                          <a16:creationId xmlns:a16="http://schemas.microsoft.com/office/drawing/2014/main" id="{76BEDF9A-2E77-46DA-9FBD-83AD81F1DFA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10846" y="3974537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480" name="Freeform: Shape 1479">
                      <a:extLst>
                        <a:ext uri="{FF2B5EF4-FFF2-40B4-BE49-F238E27FC236}">
                          <a16:creationId xmlns:a16="http://schemas.microsoft.com/office/drawing/2014/main" id="{C0929CB1-6096-4936-86D4-5EF8B5F4B8F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19523" y="3974537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74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481" name="Freeform: Shape 1480">
                      <a:extLst>
                        <a:ext uri="{FF2B5EF4-FFF2-40B4-BE49-F238E27FC236}">
                          <a16:creationId xmlns:a16="http://schemas.microsoft.com/office/drawing/2014/main" id="{BD2A254D-B5C0-4FF3-82DD-C625EA72101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28223" y="3974537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482" name="Freeform: Shape 1481">
                      <a:extLst>
                        <a:ext uri="{FF2B5EF4-FFF2-40B4-BE49-F238E27FC236}">
                          <a16:creationId xmlns:a16="http://schemas.microsoft.com/office/drawing/2014/main" id="{A35786F9-E0E0-4617-A72E-569038EE219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36899" y="3974537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483" name="Freeform: Shape 1482">
                      <a:extLst>
                        <a:ext uri="{FF2B5EF4-FFF2-40B4-BE49-F238E27FC236}">
                          <a16:creationId xmlns:a16="http://schemas.microsoft.com/office/drawing/2014/main" id="{01C536AE-2EE5-4E7B-8EA4-8EDE6F0A4F1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80581" y="3974537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484" name="Freeform: Shape 1483">
                      <a:extLst>
                        <a:ext uri="{FF2B5EF4-FFF2-40B4-BE49-F238E27FC236}">
                          <a16:creationId xmlns:a16="http://schemas.microsoft.com/office/drawing/2014/main" id="{53407AB8-D55B-4A9C-BD1B-54B8B73C6DF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89257" y="3974537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74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485" name="Freeform: Shape 1484">
                      <a:extLst>
                        <a:ext uri="{FF2B5EF4-FFF2-40B4-BE49-F238E27FC236}">
                          <a16:creationId xmlns:a16="http://schemas.microsoft.com/office/drawing/2014/main" id="{D6E15F25-CFEC-47BC-A495-D65D8250E84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97957" y="3974537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486" name="Freeform: Shape 1485">
                      <a:extLst>
                        <a:ext uri="{FF2B5EF4-FFF2-40B4-BE49-F238E27FC236}">
                          <a16:creationId xmlns:a16="http://schemas.microsoft.com/office/drawing/2014/main" id="{74C8E0A0-E222-4899-81C0-D2F42CEC616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63204" y="3974537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74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487" name="Freeform: Shape 1486">
                      <a:extLst>
                        <a:ext uri="{FF2B5EF4-FFF2-40B4-BE49-F238E27FC236}">
                          <a16:creationId xmlns:a16="http://schemas.microsoft.com/office/drawing/2014/main" id="{EF65DD21-5343-47A4-9D3F-07CE462F15E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71904" y="3974537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488" name="Freeform: Shape 1487">
                      <a:extLst>
                        <a:ext uri="{FF2B5EF4-FFF2-40B4-BE49-F238E27FC236}">
                          <a16:creationId xmlns:a16="http://schemas.microsoft.com/office/drawing/2014/main" id="{C38176DE-A7E8-4477-9DDF-D7AC577A2E7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80581" y="3974537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489" name="Freeform: Shape 1488">
                      <a:extLst>
                        <a:ext uri="{FF2B5EF4-FFF2-40B4-BE49-F238E27FC236}">
                          <a16:creationId xmlns:a16="http://schemas.microsoft.com/office/drawing/2014/main" id="{9D0E099D-5EC8-4BF7-B926-371422ECF88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06634" y="3974537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490" name="Freeform: Shape 1489">
                      <a:extLst>
                        <a:ext uri="{FF2B5EF4-FFF2-40B4-BE49-F238E27FC236}">
                          <a16:creationId xmlns:a16="http://schemas.microsoft.com/office/drawing/2014/main" id="{BD6C0E18-65B6-4EFA-9260-04D8BF32958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15310" y="3974537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74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491" name="Freeform: Shape 1490">
                      <a:extLst>
                        <a:ext uri="{FF2B5EF4-FFF2-40B4-BE49-F238E27FC236}">
                          <a16:creationId xmlns:a16="http://schemas.microsoft.com/office/drawing/2014/main" id="{B8509B3D-7FC1-4EB0-96BB-6FB489E9271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24010" y="3974537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492" name="Freeform: Shape 1491">
                      <a:extLst>
                        <a:ext uri="{FF2B5EF4-FFF2-40B4-BE49-F238E27FC236}">
                          <a16:creationId xmlns:a16="http://schemas.microsoft.com/office/drawing/2014/main" id="{0DF19893-2202-4A46-9561-570AB3FA895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32687" y="3974537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493" name="Freeform: Shape 1492">
                      <a:extLst>
                        <a:ext uri="{FF2B5EF4-FFF2-40B4-BE49-F238E27FC236}">
                          <a16:creationId xmlns:a16="http://schemas.microsoft.com/office/drawing/2014/main" id="{DC162A23-3A26-48B4-BCFB-E07408DBD9D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41364" y="3974537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74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</p:grpSp>
            <p:grpSp>
              <p:nvGrpSpPr>
                <p:cNvPr id="1195" name="Graphic 174">
                  <a:extLst>
                    <a:ext uri="{FF2B5EF4-FFF2-40B4-BE49-F238E27FC236}">
                      <a16:creationId xmlns:a16="http://schemas.microsoft.com/office/drawing/2014/main" id="{C8D0C263-F8AD-45D1-8216-966C39D8A746}"/>
                    </a:ext>
                  </a:extLst>
                </p:cNvPr>
                <p:cNvGrpSpPr/>
                <p:nvPr/>
              </p:nvGrpSpPr>
              <p:grpSpPr>
                <a:xfrm>
                  <a:off x="6367624" y="3768648"/>
                  <a:ext cx="196305" cy="205075"/>
                  <a:chOff x="6367624" y="3768648"/>
                  <a:chExt cx="196305" cy="205075"/>
                </a:xfrm>
                <a:solidFill>
                  <a:schemeClr val="accent1"/>
                </a:solidFill>
              </p:grpSpPr>
              <p:grpSp>
                <p:nvGrpSpPr>
                  <p:cNvPr id="1196" name="Graphic 174">
                    <a:extLst>
                      <a:ext uri="{FF2B5EF4-FFF2-40B4-BE49-F238E27FC236}">
                        <a16:creationId xmlns:a16="http://schemas.microsoft.com/office/drawing/2014/main" id="{12C1B79F-E7A5-43C9-A7C0-400D08B9DC80}"/>
                      </a:ext>
                    </a:extLst>
                  </p:cNvPr>
                  <p:cNvGrpSpPr/>
                  <p:nvPr/>
                </p:nvGrpSpPr>
                <p:grpSpPr>
                  <a:xfrm>
                    <a:off x="6371160" y="3955114"/>
                    <a:ext cx="181441" cy="18609"/>
                    <a:chOff x="6371160" y="3955114"/>
                    <a:chExt cx="181441" cy="18609"/>
                  </a:xfrm>
                  <a:solidFill>
                    <a:schemeClr val="accent1"/>
                  </a:solidFill>
                </p:grpSpPr>
                <p:sp>
                  <p:nvSpPr>
                    <p:cNvPr id="1437" name="Freeform: Shape 1436">
                      <a:extLst>
                        <a:ext uri="{FF2B5EF4-FFF2-40B4-BE49-F238E27FC236}">
                          <a16:creationId xmlns:a16="http://schemas.microsoft.com/office/drawing/2014/main" id="{D95968CB-0E84-47F3-ADB0-BBD799FC252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71160" y="3955114"/>
                      <a:ext cx="181441" cy="18609"/>
                    </a:xfrm>
                    <a:custGeom>
                      <a:avLst/>
                      <a:gdLst>
                        <a:gd name="connsiteX0" fmla="*/ 181441 w 181441"/>
                        <a:gd name="connsiteY0" fmla="*/ 18633 h 18609"/>
                        <a:gd name="connsiteX1" fmla="*/ 1605 w 181441"/>
                        <a:gd name="connsiteY1" fmla="*/ 18633 h 18609"/>
                        <a:gd name="connsiteX2" fmla="*/ 0 w 181441"/>
                        <a:gd name="connsiteY2" fmla="*/ 17028 h 18609"/>
                        <a:gd name="connsiteX3" fmla="*/ 0 w 181441"/>
                        <a:gd name="connsiteY3" fmla="*/ 1605 h 18609"/>
                        <a:gd name="connsiteX4" fmla="*/ 1605 w 181441"/>
                        <a:gd name="connsiteY4" fmla="*/ 0 h 18609"/>
                        <a:gd name="connsiteX5" fmla="*/ 181441 w 181441"/>
                        <a:gd name="connsiteY5" fmla="*/ 0 h 18609"/>
                        <a:gd name="connsiteX6" fmla="*/ 183046 w 181441"/>
                        <a:gd name="connsiteY6" fmla="*/ 1605 h 18609"/>
                        <a:gd name="connsiteX7" fmla="*/ 183046 w 181441"/>
                        <a:gd name="connsiteY7" fmla="*/ 17028 h 18609"/>
                        <a:gd name="connsiteX8" fmla="*/ 181441 w 181441"/>
                        <a:gd name="connsiteY8" fmla="*/ 18633 h 1860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181441" h="18609">
                          <a:moveTo>
                            <a:pt x="181441" y="18633"/>
                          </a:moveTo>
                          <a:lnTo>
                            <a:pt x="1605" y="18633"/>
                          </a:lnTo>
                          <a:cubicBezTo>
                            <a:pt x="721" y="18633"/>
                            <a:pt x="0" y="17912"/>
                            <a:pt x="0" y="17028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181441" y="0"/>
                          </a:lnTo>
                          <a:cubicBezTo>
                            <a:pt x="182325" y="0"/>
                            <a:pt x="183046" y="721"/>
                            <a:pt x="183046" y="1605"/>
                          </a:cubicBezTo>
                          <a:lnTo>
                            <a:pt x="183046" y="17028"/>
                          </a:lnTo>
                          <a:cubicBezTo>
                            <a:pt x="183023" y="17912"/>
                            <a:pt x="182325" y="18633"/>
                            <a:pt x="181441" y="18633"/>
                          </a:cubicBezTo>
                          <a:close/>
                        </a:path>
                      </a:pathLst>
                    </a:custGeom>
                    <a:solidFill>
                      <a:srgbClr val="F19439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438" name="Freeform: Shape 1437">
                      <a:extLst>
                        <a:ext uri="{FF2B5EF4-FFF2-40B4-BE49-F238E27FC236}">
                          <a16:creationId xmlns:a16="http://schemas.microsoft.com/office/drawing/2014/main" id="{756E8039-83C9-4D6D-A045-CF4DC6F2654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59135" y="3955904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439" name="Freeform: Shape 1438">
                      <a:extLst>
                        <a:ext uri="{FF2B5EF4-FFF2-40B4-BE49-F238E27FC236}">
                          <a16:creationId xmlns:a16="http://schemas.microsoft.com/office/drawing/2014/main" id="{40334C57-5DD6-486F-977A-B76CA04F942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67812" y="3955904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440" name="Freeform: Shape 1439">
                      <a:extLst>
                        <a:ext uri="{FF2B5EF4-FFF2-40B4-BE49-F238E27FC236}">
                          <a16:creationId xmlns:a16="http://schemas.microsoft.com/office/drawing/2014/main" id="{35FCAF4A-B691-4C9D-B1F0-03AA2200094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76512" y="3955904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441" name="Freeform: Shape 1440">
                      <a:extLst>
                        <a:ext uri="{FF2B5EF4-FFF2-40B4-BE49-F238E27FC236}">
                          <a16:creationId xmlns:a16="http://schemas.microsoft.com/office/drawing/2014/main" id="{D064A9ED-A87C-4E52-8984-94C33D302F4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85189" y="3955904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442" name="Freeform: Shape 1441">
                      <a:extLst>
                        <a:ext uri="{FF2B5EF4-FFF2-40B4-BE49-F238E27FC236}">
                          <a16:creationId xmlns:a16="http://schemas.microsoft.com/office/drawing/2014/main" id="{A6116C1F-869A-46B1-A1CB-95C18D66CF3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93865" y="3955904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443" name="Freeform: Shape 1442">
                      <a:extLst>
                        <a:ext uri="{FF2B5EF4-FFF2-40B4-BE49-F238E27FC236}">
                          <a16:creationId xmlns:a16="http://schemas.microsoft.com/office/drawing/2014/main" id="{7299B959-6EC4-4806-B6BF-2F09AD310E6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02565" y="3955904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444" name="Freeform: Shape 1443">
                      <a:extLst>
                        <a:ext uri="{FF2B5EF4-FFF2-40B4-BE49-F238E27FC236}">
                          <a16:creationId xmlns:a16="http://schemas.microsoft.com/office/drawing/2014/main" id="{B1B1D2CC-33BF-497A-98DC-C2CF0F44AA7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11242" y="3955904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445" name="Freeform: Shape 1444">
                      <a:extLst>
                        <a:ext uri="{FF2B5EF4-FFF2-40B4-BE49-F238E27FC236}">
                          <a16:creationId xmlns:a16="http://schemas.microsoft.com/office/drawing/2014/main" id="{580FC08A-AC63-4A98-8B0D-26221AA2C9C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19918" y="3955904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446" name="Freeform: Shape 1445">
                      <a:extLst>
                        <a:ext uri="{FF2B5EF4-FFF2-40B4-BE49-F238E27FC236}">
                          <a16:creationId xmlns:a16="http://schemas.microsoft.com/office/drawing/2014/main" id="{7C9C8108-6A49-4BB5-AE86-1876FA1C1B2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28618" y="3955904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447" name="Freeform: Shape 1446">
                      <a:extLst>
                        <a:ext uri="{FF2B5EF4-FFF2-40B4-BE49-F238E27FC236}">
                          <a16:creationId xmlns:a16="http://schemas.microsoft.com/office/drawing/2014/main" id="{09EC4D66-B5B9-4535-A1DF-8A8B68390CB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37295" y="3955904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448" name="Freeform: Shape 1447">
                      <a:extLst>
                        <a:ext uri="{FF2B5EF4-FFF2-40B4-BE49-F238E27FC236}">
                          <a16:creationId xmlns:a16="http://schemas.microsoft.com/office/drawing/2014/main" id="{F20E27A8-BBA8-4216-81AD-F52575B459A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45971" y="3955904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449" name="Freeform: Shape 1448">
                      <a:extLst>
                        <a:ext uri="{FF2B5EF4-FFF2-40B4-BE49-F238E27FC236}">
                          <a16:creationId xmlns:a16="http://schemas.microsoft.com/office/drawing/2014/main" id="{B8F1FECB-65DE-45F7-8739-4CF61CEC167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89653" y="3955904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450" name="Freeform: Shape 1449">
                      <a:extLst>
                        <a:ext uri="{FF2B5EF4-FFF2-40B4-BE49-F238E27FC236}">
                          <a16:creationId xmlns:a16="http://schemas.microsoft.com/office/drawing/2014/main" id="{282CF5D4-CA10-4694-B77C-B98741144A8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98353" y="3955904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451" name="Freeform: Shape 1450">
                      <a:extLst>
                        <a:ext uri="{FF2B5EF4-FFF2-40B4-BE49-F238E27FC236}">
                          <a16:creationId xmlns:a16="http://schemas.microsoft.com/office/drawing/2014/main" id="{A2208AA8-D378-4FA3-A85B-1C2AF522FAB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07029" y="3955904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452" name="Freeform: Shape 1451">
                      <a:extLst>
                        <a:ext uri="{FF2B5EF4-FFF2-40B4-BE49-F238E27FC236}">
                          <a16:creationId xmlns:a16="http://schemas.microsoft.com/office/drawing/2014/main" id="{FCC88F3B-54D9-4BE3-9FDD-EE246C73CB4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72300" y="3955904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453" name="Freeform: Shape 1452">
                      <a:extLst>
                        <a:ext uri="{FF2B5EF4-FFF2-40B4-BE49-F238E27FC236}">
                          <a16:creationId xmlns:a16="http://schemas.microsoft.com/office/drawing/2014/main" id="{0C757585-4B94-4CC2-B492-D8CD16865E2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80976" y="3955904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454" name="Freeform: Shape 1453">
                      <a:extLst>
                        <a:ext uri="{FF2B5EF4-FFF2-40B4-BE49-F238E27FC236}">
                          <a16:creationId xmlns:a16="http://schemas.microsoft.com/office/drawing/2014/main" id="{744698F1-EF06-47DE-8537-F4B0FBF3B0B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89653" y="3955904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455" name="Freeform: Shape 1454">
                      <a:extLst>
                        <a:ext uri="{FF2B5EF4-FFF2-40B4-BE49-F238E27FC236}">
                          <a16:creationId xmlns:a16="http://schemas.microsoft.com/office/drawing/2014/main" id="{DB8ADC0A-9129-462D-920E-FB5A1549E9E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15706" y="3955904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456" name="Freeform: Shape 1455">
                      <a:extLst>
                        <a:ext uri="{FF2B5EF4-FFF2-40B4-BE49-F238E27FC236}">
                          <a16:creationId xmlns:a16="http://schemas.microsoft.com/office/drawing/2014/main" id="{98A0B101-D541-48CF-B13B-AAA0DE44290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24406" y="3955904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457" name="Freeform: Shape 1456">
                      <a:extLst>
                        <a:ext uri="{FF2B5EF4-FFF2-40B4-BE49-F238E27FC236}">
                          <a16:creationId xmlns:a16="http://schemas.microsoft.com/office/drawing/2014/main" id="{BBD95063-9211-4FFE-B4D3-FEA262A7658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33082" y="3955904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458" name="Freeform: Shape 1457">
                      <a:extLst>
                        <a:ext uri="{FF2B5EF4-FFF2-40B4-BE49-F238E27FC236}">
                          <a16:creationId xmlns:a16="http://schemas.microsoft.com/office/drawing/2014/main" id="{826F77CF-B2D4-44C2-AC2F-CDD2B87B05E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41759" y="3955904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459" name="Freeform: Shape 1458">
                      <a:extLst>
                        <a:ext uri="{FF2B5EF4-FFF2-40B4-BE49-F238E27FC236}">
                          <a16:creationId xmlns:a16="http://schemas.microsoft.com/office/drawing/2014/main" id="{BF41F197-B3AB-40C8-B219-F04BF430C8A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50459" y="3955904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1197" name="Graphic 174">
                    <a:extLst>
                      <a:ext uri="{FF2B5EF4-FFF2-40B4-BE49-F238E27FC236}">
                        <a16:creationId xmlns:a16="http://schemas.microsoft.com/office/drawing/2014/main" id="{26ABB7FC-C860-4AB9-93FF-1A69CB7E3CD0}"/>
                      </a:ext>
                    </a:extLst>
                  </p:cNvPr>
                  <p:cNvGrpSpPr/>
                  <p:nvPr/>
                </p:nvGrpSpPr>
                <p:grpSpPr>
                  <a:xfrm>
                    <a:off x="6376301" y="3936481"/>
                    <a:ext cx="181441" cy="18609"/>
                    <a:chOff x="6376301" y="3936481"/>
                    <a:chExt cx="181441" cy="18609"/>
                  </a:xfrm>
                  <a:solidFill>
                    <a:schemeClr val="accent1"/>
                  </a:solidFill>
                </p:grpSpPr>
                <p:sp>
                  <p:nvSpPr>
                    <p:cNvPr id="1414" name="Freeform: Shape 1413">
                      <a:extLst>
                        <a:ext uri="{FF2B5EF4-FFF2-40B4-BE49-F238E27FC236}">
                          <a16:creationId xmlns:a16="http://schemas.microsoft.com/office/drawing/2014/main" id="{3D1C118A-0AC2-4A26-A612-C7E2DA00132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76301" y="3936481"/>
                      <a:ext cx="181441" cy="18609"/>
                    </a:xfrm>
                    <a:custGeom>
                      <a:avLst/>
                      <a:gdLst>
                        <a:gd name="connsiteX0" fmla="*/ 181441 w 181441"/>
                        <a:gd name="connsiteY0" fmla="*/ 18633 h 18609"/>
                        <a:gd name="connsiteX1" fmla="*/ 1605 w 181441"/>
                        <a:gd name="connsiteY1" fmla="*/ 18633 h 18609"/>
                        <a:gd name="connsiteX2" fmla="*/ 0 w 181441"/>
                        <a:gd name="connsiteY2" fmla="*/ 17028 h 18609"/>
                        <a:gd name="connsiteX3" fmla="*/ 0 w 181441"/>
                        <a:gd name="connsiteY3" fmla="*/ 1605 h 18609"/>
                        <a:gd name="connsiteX4" fmla="*/ 1605 w 181441"/>
                        <a:gd name="connsiteY4" fmla="*/ 0 h 18609"/>
                        <a:gd name="connsiteX5" fmla="*/ 181441 w 181441"/>
                        <a:gd name="connsiteY5" fmla="*/ 0 h 18609"/>
                        <a:gd name="connsiteX6" fmla="*/ 183046 w 181441"/>
                        <a:gd name="connsiteY6" fmla="*/ 1605 h 18609"/>
                        <a:gd name="connsiteX7" fmla="*/ 183046 w 181441"/>
                        <a:gd name="connsiteY7" fmla="*/ 17028 h 18609"/>
                        <a:gd name="connsiteX8" fmla="*/ 181441 w 181441"/>
                        <a:gd name="connsiteY8" fmla="*/ 18633 h 1860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181441" h="18609">
                          <a:moveTo>
                            <a:pt x="181441" y="18633"/>
                          </a:moveTo>
                          <a:lnTo>
                            <a:pt x="1605" y="18633"/>
                          </a:lnTo>
                          <a:cubicBezTo>
                            <a:pt x="721" y="18633"/>
                            <a:pt x="0" y="17912"/>
                            <a:pt x="0" y="17028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181441" y="0"/>
                          </a:lnTo>
                          <a:cubicBezTo>
                            <a:pt x="182325" y="0"/>
                            <a:pt x="183046" y="721"/>
                            <a:pt x="183046" y="1605"/>
                          </a:cubicBezTo>
                          <a:lnTo>
                            <a:pt x="183046" y="17028"/>
                          </a:lnTo>
                          <a:cubicBezTo>
                            <a:pt x="183046" y="17912"/>
                            <a:pt x="182325" y="18633"/>
                            <a:pt x="181441" y="18633"/>
                          </a:cubicBezTo>
                          <a:close/>
                        </a:path>
                      </a:pathLst>
                    </a:custGeom>
                    <a:solidFill>
                      <a:srgbClr val="F19439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415" name="Freeform: Shape 1414">
                      <a:extLst>
                        <a:ext uri="{FF2B5EF4-FFF2-40B4-BE49-F238E27FC236}">
                          <a16:creationId xmlns:a16="http://schemas.microsoft.com/office/drawing/2014/main" id="{8B70F875-43AF-4767-A4B7-5374A072610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64300" y="3937272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48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416" name="Freeform: Shape 1415">
                      <a:extLst>
                        <a:ext uri="{FF2B5EF4-FFF2-40B4-BE49-F238E27FC236}">
                          <a16:creationId xmlns:a16="http://schemas.microsoft.com/office/drawing/2014/main" id="{49D3F631-C1BC-4F5D-B95A-B36E78B74A3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72976" y="3937272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417" name="Freeform: Shape 1416">
                      <a:extLst>
                        <a:ext uri="{FF2B5EF4-FFF2-40B4-BE49-F238E27FC236}">
                          <a16:creationId xmlns:a16="http://schemas.microsoft.com/office/drawing/2014/main" id="{9C993BBE-B189-47F5-814F-FA9E7B25398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81653" y="3937272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418" name="Freeform: Shape 1417">
                      <a:extLst>
                        <a:ext uri="{FF2B5EF4-FFF2-40B4-BE49-F238E27FC236}">
                          <a16:creationId xmlns:a16="http://schemas.microsoft.com/office/drawing/2014/main" id="{D5CCEC30-85D4-47C2-B3D2-9F3B3B2944B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90353" y="3937272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48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419" name="Freeform: Shape 1418">
                      <a:extLst>
                        <a:ext uri="{FF2B5EF4-FFF2-40B4-BE49-F238E27FC236}">
                          <a16:creationId xmlns:a16="http://schemas.microsoft.com/office/drawing/2014/main" id="{1CBD5DA7-3F2F-4316-B18C-AEF4B2454AA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99029" y="3937272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420" name="Freeform: Shape 1419">
                      <a:extLst>
                        <a:ext uri="{FF2B5EF4-FFF2-40B4-BE49-F238E27FC236}">
                          <a16:creationId xmlns:a16="http://schemas.microsoft.com/office/drawing/2014/main" id="{05857D8D-B2F4-4342-9C8E-35D3E298C93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07706" y="3937272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421" name="Freeform: Shape 1420">
                      <a:extLst>
                        <a:ext uri="{FF2B5EF4-FFF2-40B4-BE49-F238E27FC236}">
                          <a16:creationId xmlns:a16="http://schemas.microsoft.com/office/drawing/2014/main" id="{EE4E37B8-E73A-4397-8DC9-C91C77B5374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16383" y="3937272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74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422" name="Freeform: Shape 1421">
                      <a:extLst>
                        <a:ext uri="{FF2B5EF4-FFF2-40B4-BE49-F238E27FC236}">
                          <a16:creationId xmlns:a16="http://schemas.microsoft.com/office/drawing/2014/main" id="{B7F31E24-19A4-405E-8CD1-DA262142161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25082" y="3937272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423" name="Freeform: Shape 1422">
                      <a:extLst>
                        <a:ext uri="{FF2B5EF4-FFF2-40B4-BE49-F238E27FC236}">
                          <a16:creationId xmlns:a16="http://schemas.microsoft.com/office/drawing/2014/main" id="{5099FA4B-E900-49CB-944C-1FC674F499D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33759" y="3937272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424" name="Freeform: Shape 1423">
                      <a:extLst>
                        <a:ext uri="{FF2B5EF4-FFF2-40B4-BE49-F238E27FC236}">
                          <a16:creationId xmlns:a16="http://schemas.microsoft.com/office/drawing/2014/main" id="{3B7D7CAF-C20D-4271-BBF0-4498F67F8BA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42436" y="3937272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74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425" name="Freeform: Shape 1424">
                      <a:extLst>
                        <a:ext uri="{FF2B5EF4-FFF2-40B4-BE49-F238E27FC236}">
                          <a16:creationId xmlns:a16="http://schemas.microsoft.com/office/drawing/2014/main" id="{9E5E21AF-4960-4D4E-A3CF-8C36B717279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51136" y="3937272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426" name="Freeform: Shape 1425">
                      <a:extLst>
                        <a:ext uri="{FF2B5EF4-FFF2-40B4-BE49-F238E27FC236}">
                          <a16:creationId xmlns:a16="http://schemas.microsoft.com/office/drawing/2014/main" id="{B15943F3-5C49-4202-A588-A5537C07572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94817" y="3937272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427" name="Freeform: Shape 1426">
                      <a:extLst>
                        <a:ext uri="{FF2B5EF4-FFF2-40B4-BE49-F238E27FC236}">
                          <a16:creationId xmlns:a16="http://schemas.microsoft.com/office/drawing/2014/main" id="{3E9F40E8-E903-4387-8D53-5A2FFFFFC2C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03494" y="3937272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428" name="Freeform: Shape 1427">
                      <a:extLst>
                        <a:ext uri="{FF2B5EF4-FFF2-40B4-BE49-F238E27FC236}">
                          <a16:creationId xmlns:a16="http://schemas.microsoft.com/office/drawing/2014/main" id="{C8F1A618-0A30-4A3E-935F-8ADE16A3F1B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12193" y="3937272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48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429" name="Freeform: Shape 1428">
                      <a:extLst>
                        <a:ext uri="{FF2B5EF4-FFF2-40B4-BE49-F238E27FC236}">
                          <a16:creationId xmlns:a16="http://schemas.microsoft.com/office/drawing/2014/main" id="{395B0C4D-7CBA-4FB9-B9B5-F3662914BAC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77440" y="3937272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430" name="Freeform: Shape 1429">
                      <a:extLst>
                        <a:ext uri="{FF2B5EF4-FFF2-40B4-BE49-F238E27FC236}">
                          <a16:creationId xmlns:a16="http://schemas.microsoft.com/office/drawing/2014/main" id="{6AEF3519-3CC9-4951-A625-F2775CA2A63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86140" y="3937272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48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431" name="Freeform: Shape 1430">
                      <a:extLst>
                        <a:ext uri="{FF2B5EF4-FFF2-40B4-BE49-F238E27FC236}">
                          <a16:creationId xmlns:a16="http://schemas.microsoft.com/office/drawing/2014/main" id="{595D8BF7-E69E-425C-A722-13311DCD04E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94817" y="3937272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432" name="Freeform: Shape 1431">
                      <a:extLst>
                        <a:ext uri="{FF2B5EF4-FFF2-40B4-BE49-F238E27FC236}">
                          <a16:creationId xmlns:a16="http://schemas.microsoft.com/office/drawing/2014/main" id="{8B21691F-F75B-40F5-8E27-72E8DA29EF8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20870" y="3937272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433" name="Freeform: Shape 1432">
                      <a:extLst>
                        <a:ext uri="{FF2B5EF4-FFF2-40B4-BE49-F238E27FC236}">
                          <a16:creationId xmlns:a16="http://schemas.microsoft.com/office/drawing/2014/main" id="{FD01AF16-D51C-4795-94E1-57FBD326696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29547" y="3937272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434" name="Freeform: Shape 1433">
                      <a:extLst>
                        <a:ext uri="{FF2B5EF4-FFF2-40B4-BE49-F238E27FC236}">
                          <a16:creationId xmlns:a16="http://schemas.microsoft.com/office/drawing/2014/main" id="{942AA2F7-9B2E-4044-8B20-69FE2461377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38246" y="3937272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48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435" name="Freeform: Shape 1434">
                      <a:extLst>
                        <a:ext uri="{FF2B5EF4-FFF2-40B4-BE49-F238E27FC236}">
                          <a16:creationId xmlns:a16="http://schemas.microsoft.com/office/drawing/2014/main" id="{73F4164E-8BF1-48C8-AC02-2872C2FF0A0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46923" y="3937272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436" name="Freeform: Shape 1435">
                      <a:extLst>
                        <a:ext uri="{FF2B5EF4-FFF2-40B4-BE49-F238E27FC236}">
                          <a16:creationId xmlns:a16="http://schemas.microsoft.com/office/drawing/2014/main" id="{FDA80A57-F3DB-43F0-92A1-EF725ACBC44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55600" y="3937272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1198" name="Graphic 174">
                    <a:extLst>
                      <a:ext uri="{FF2B5EF4-FFF2-40B4-BE49-F238E27FC236}">
                        <a16:creationId xmlns:a16="http://schemas.microsoft.com/office/drawing/2014/main" id="{B2063482-549B-42F5-9F2E-A81C69FE9D49}"/>
                      </a:ext>
                    </a:extLst>
                  </p:cNvPr>
                  <p:cNvGrpSpPr/>
                  <p:nvPr/>
                </p:nvGrpSpPr>
                <p:grpSpPr>
                  <a:xfrm>
                    <a:off x="6376301" y="3899216"/>
                    <a:ext cx="181441" cy="18609"/>
                    <a:chOff x="6376301" y="3899216"/>
                    <a:chExt cx="181441" cy="18609"/>
                  </a:xfrm>
                  <a:solidFill>
                    <a:schemeClr val="accent1"/>
                  </a:solidFill>
                </p:grpSpPr>
                <p:sp>
                  <p:nvSpPr>
                    <p:cNvPr id="1391" name="Freeform: Shape 1390">
                      <a:extLst>
                        <a:ext uri="{FF2B5EF4-FFF2-40B4-BE49-F238E27FC236}">
                          <a16:creationId xmlns:a16="http://schemas.microsoft.com/office/drawing/2014/main" id="{ED7BF2D6-C764-43CC-B52C-0526AC6160A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76301" y="3899216"/>
                      <a:ext cx="181441" cy="18609"/>
                    </a:xfrm>
                    <a:custGeom>
                      <a:avLst/>
                      <a:gdLst>
                        <a:gd name="connsiteX0" fmla="*/ 181441 w 181441"/>
                        <a:gd name="connsiteY0" fmla="*/ 18633 h 18609"/>
                        <a:gd name="connsiteX1" fmla="*/ 1605 w 181441"/>
                        <a:gd name="connsiteY1" fmla="*/ 18633 h 18609"/>
                        <a:gd name="connsiteX2" fmla="*/ 0 w 181441"/>
                        <a:gd name="connsiteY2" fmla="*/ 17028 h 18609"/>
                        <a:gd name="connsiteX3" fmla="*/ 0 w 181441"/>
                        <a:gd name="connsiteY3" fmla="*/ 1605 h 18609"/>
                        <a:gd name="connsiteX4" fmla="*/ 1605 w 181441"/>
                        <a:gd name="connsiteY4" fmla="*/ 0 h 18609"/>
                        <a:gd name="connsiteX5" fmla="*/ 181441 w 181441"/>
                        <a:gd name="connsiteY5" fmla="*/ 0 h 18609"/>
                        <a:gd name="connsiteX6" fmla="*/ 183046 w 181441"/>
                        <a:gd name="connsiteY6" fmla="*/ 1605 h 18609"/>
                        <a:gd name="connsiteX7" fmla="*/ 183046 w 181441"/>
                        <a:gd name="connsiteY7" fmla="*/ 17028 h 18609"/>
                        <a:gd name="connsiteX8" fmla="*/ 181441 w 181441"/>
                        <a:gd name="connsiteY8" fmla="*/ 18633 h 1860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181441" h="18609">
                          <a:moveTo>
                            <a:pt x="181441" y="18633"/>
                          </a:moveTo>
                          <a:lnTo>
                            <a:pt x="1605" y="18633"/>
                          </a:lnTo>
                          <a:cubicBezTo>
                            <a:pt x="721" y="18633"/>
                            <a:pt x="0" y="17911"/>
                            <a:pt x="0" y="17028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181441" y="0"/>
                          </a:lnTo>
                          <a:cubicBezTo>
                            <a:pt x="182325" y="0"/>
                            <a:pt x="183046" y="721"/>
                            <a:pt x="183046" y="1605"/>
                          </a:cubicBezTo>
                          <a:lnTo>
                            <a:pt x="183046" y="17028"/>
                          </a:lnTo>
                          <a:cubicBezTo>
                            <a:pt x="183046" y="17911"/>
                            <a:pt x="182325" y="18633"/>
                            <a:pt x="181441" y="18633"/>
                          </a:cubicBezTo>
                          <a:close/>
                        </a:path>
                      </a:pathLst>
                    </a:custGeom>
                    <a:solidFill>
                      <a:srgbClr val="F19439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92" name="Freeform: Shape 1391">
                      <a:extLst>
                        <a:ext uri="{FF2B5EF4-FFF2-40B4-BE49-F238E27FC236}">
                          <a16:creationId xmlns:a16="http://schemas.microsoft.com/office/drawing/2014/main" id="{87751F81-ECE9-43C7-A333-EBB92128DDD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64300" y="3900007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48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93" name="Freeform: Shape 1392">
                      <a:extLst>
                        <a:ext uri="{FF2B5EF4-FFF2-40B4-BE49-F238E27FC236}">
                          <a16:creationId xmlns:a16="http://schemas.microsoft.com/office/drawing/2014/main" id="{D46E3BCF-052F-4740-BA31-C74624A41E6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72976" y="3900007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94" name="Freeform: Shape 1393">
                      <a:extLst>
                        <a:ext uri="{FF2B5EF4-FFF2-40B4-BE49-F238E27FC236}">
                          <a16:creationId xmlns:a16="http://schemas.microsoft.com/office/drawing/2014/main" id="{E4FD9CF9-7FA3-4632-91B4-68706CE6D70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81653" y="3900007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95" name="Freeform: Shape 1394">
                      <a:extLst>
                        <a:ext uri="{FF2B5EF4-FFF2-40B4-BE49-F238E27FC236}">
                          <a16:creationId xmlns:a16="http://schemas.microsoft.com/office/drawing/2014/main" id="{F9BB9CF5-1F32-4C04-8A39-A3FD5951F24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90353" y="3900007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48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96" name="Freeform: Shape 1395">
                      <a:extLst>
                        <a:ext uri="{FF2B5EF4-FFF2-40B4-BE49-F238E27FC236}">
                          <a16:creationId xmlns:a16="http://schemas.microsoft.com/office/drawing/2014/main" id="{EE765A36-CACF-4418-9462-31ABE3E6B0C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99029" y="3900007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97" name="Freeform: Shape 1396">
                      <a:extLst>
                        <a:ext uri="{FF2B5EF4-FFF2-40B4-BE49-F238E27FC236}">
                          <a16:creationId xmlns:a16="http://schemas.microsoft.com/office/drawing/2014/main" id="{8EF2031D-C157-46C6-B003-E7CBB74C9DB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07706" y="3900007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98" name="Freeform: Shape 1397">
                      <a:extLst>
                        <a:ext uri="{FF2B5EF4-FFF2-40B4-BE49-F238E27FC236}">
                          <a16:creationId xmlns:a16="http://schemas.microsoft.com/office/drawing/2014/main" id="{72D8B239-37D6-4016-A651-979D82579D2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16383" y="3900007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74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99" name="Freeform: Shape 1398">
                      <a:extLst>
                        <a:ext uri="{FF2B5EF4-FFF2-40B4-BE49-F238E27FC236}">
                          <a16:creationId xmlns:a16="http://schemas.microsoft.com/office/drawing/2014/main" id="{5CCD2D7D-25F0-4FFD-9489-4A1E602EA9C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25082" y="3900007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400" name="Freeform: Shape 1399">
                      <a:extLst>
                        <a:ext uri="{FF2B5EF4-FFF2-40B4-BE49-F238E27FC236}">
                          <a16:creationId xmlns:a16="http://schemas.microsoft.com/office/drawing/2014/main" id="{77AAC2C0-A9E9-4A09-A647-44A0258D4CE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33759" y="3900007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401" name="Freeform: Shape 1400">
                      <a:extLst>
                        <a:ext uri="{FF2B5EF4-FFF2-40B4-BE49-F238E27FC236}">
                          <a16:creationId xmlns:a16="http://schemas.microsoft.com/office/drawing/2014/main" id="{ECAA97DB-AD35-4C9A-93A5-5A82541FF8A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42436" y="3900007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74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402" name="Freeform: Shape 1401">
                      <a:extLst>
                        <a:ext uri="{FF2B5EF4-FFF2-40B4-BE49-F238E27FC236}">
                          <a16:creationId xmlns:a16="http://schemas.microsoft.com/office/drawing/2014/main" id="{AF8A908E-4367-4F32-909E-43564A79472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51136" y="3900007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403" name="Freeform: Shape 1402">
                      <a:extLst>
                        <a:ext uri="{FF2B5EF4-FFF2-40B4-BE49-F238E27FC236}">
                          <a16:creationId xmlns:a16="http://schemas.microsoft.com/office/drawing/2014/main" id="{EEDCC2FD-6753-4F04-AC0C-F9F7C061E7F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94817" y="3900007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404" name="Freeform: Shape 1403">
                      <a:extLst>
                        <a:ext uri="{FF2B5EF4-FFF2-40B4-BE49-F238E27FC236}">
                          <a16:creationId xmlns:a16="http://schemas.microsoft.com/office/drawing/2014/main" id="{CF101F81-2EA0-46B4-88C9-1BCC0A992C8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03494" y="3900007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405" name="Freeform: Shape 1404">
                      <a:extLst>
                        <a:ext uri="{FF2B5EF4-FFF2-40B4-BE49-F238E27FC236}">
                          <a16:creationId xmlns:a16="http://schemas.microsoft.com/office/drawing/2014/main" id="{97857596-2F11-45BA-953E-38FF60C00AA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12193" y="3900007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48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406" name="Freeform: Shape 1405">
                      <a:extLst>
                        <a:ext uri="{FF2B5EF4-FFF2-40B4-BE49-F238E27FC236}">
                          <a16:creationId xmlns:a16="http://schemas.microsoft.com/office/drawing/2014/main" id="{8D5F36E3-130A-4398-9460-F2A4EF92FEC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77440" y="3900007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407" name="Freeform: Shape 1406">
                      <a:extLst>
                        <a:ext uri="{FF2B5EF4-FFF2-40B4-BE49-F238E27FC236}">
                          <a16:creationId xmlns:a16="http://schemas.microsoft.com/office/drawing/2014/main" id="{B38246B8-6D03-4C77-A4CB-E510CF738F3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86140" y="3900007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48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408" name="Freeform: Shape 1407">
                      <a:extLst>
                        <a:ext uri="{FF2B5EF4-FFF2-40B4-BE49-F238E27FC236}">
                          <a16:creationId xmlns:a16="http://schemas.microsoft.com/office/drawing/2014/main" id="{4906867F-A806-4B37-A58D-599C1D96129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94817" y="3900007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409" name="Freeform: Shape 1408">
                      <a:extLst>
                        <a:ext uri="{FF2B5EF4-FFF2-40B4-BE49-F238E27FC236}">
                          <a16:creationId xmlns:a16="http://schemas.microsoft.com/office/drawing/2014/main" id="{BE715CD0-A758-406C-8EE4-FD3C451515F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20870" y="3900007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410" name="Freeform: Shape 1409">
                      <a:extLst>
                        <a:ext uri="{FF2B5EF4-FFF2-40B4-BE49-F238E27FC236}">
                          <a16:creationId xmlns:a16="http://schemas.microsoft.com/office/drawing/2014/main" id="{D1C76896-D9E6-46F0-BA87-45286D4DBA3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29547" y="3900007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411" name="Freeform: Shape 1410">
                      <a:extLst>
                        <a:ext uri="{FF2B5EF4-FFF2-40B4-BE49-F238E27FC236}">
                          <a16:creationId xmlns:a16="http://schemas.microsoft.com/office/drawing/2014/main" id="{24F0E94B-5630-4702-BEF4-DCAAEA44539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38246" y="3900007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48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412" name="Freeform: Shape 1411">
                      <a:extLst>
                        <a:ext uri="{FF2B5EF4-FFF2-40B4-BE49-F238E27FC236}">
                          <a16:creationId xmlns:a16="http://schemas.microsoft.com/office/drawing/2014/main" id="{E21B1E20-4AE4-47F6-8C14-02AEB8506D7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46923" y="3900007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413" name="Freeform: Shape 1412">
                      <a:extLst>
                        <a:ext uri="{FF2B5EF4-FFF2-40B4-BE49-F238E27FC236}">
                          <a16:creationId xmlns:a16="http://schemas.microsoft.com/office/drawing/2014/main" id="{3B2177CE-E1A9-4E5E-9EEA-76078BF2B77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55600" y="3900007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1199" name="Graphic 174">
                    <a:extLst>
                      <a:ext uri="{FF2B5EF4-FFF2-40B4-BE49-F238E27FC236}">
                        <a16:creationId xmlns:a16="http://schemas.microsoft.com/office/drawing/2014/main" id="{F3A32669-2AC4-4CA9-A7E9-D8DB1E4B5D59}"/>
                      </a:ext>
                    </a:extLst>
                  </p:cNvPr>
                  <p:cNvGrpSpPr/>
                  <p:nvPr/>
                </p:nvGrpSpPr>
                <p:grpSpPr>
                  <a:xfrm>
                    <a:off x="6367624" y="3917848"/>
                    <a:ext cx="181441" cy="18609"/>
                    <a:chOff x="6367624" y="3917848"/>
                    <a:chExt cx="181441" cy="18609"/>
                  </a:xfrm>
                  <a:solidFill>
                    <a:schemeClr val="accent1"/>
                  </a:solidFill>
                </p:grpSpPr>
                <p:sp>
                  <p:nvSpPr>
                    <p:cNvPr id="1368" name="Freeform: Shape 1367">
                      <a:extLst>
                        <a:ext uri="{FF2B5EF4-FFF2-40B4-BE49-F238E27FC236}">
                          <a16:creationId xmlns:a16="http://schemas.microsoft.com/office/drawing/2014/main" id="{67285214-A2B9-45A0-8787-4E1B30FDE56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67624" y="3917848"/>
                      <a:ext cx="181441" cy="18609"/>
                    </a:xfrm>
                    <a:custGeom>
                      <a:avLst/>
                      <a:gdLst>
                        <a:gd name="connsiteX0" fmla="*/ 181441 w 181441"/>
                        <a:gd name="connsiteY0" fmla="*/ 18633 h 18609"/>
                        <a:gd name="connsiteX1" fmla="*/ 1605 w 181441"/>
                        <a:gd name="connsiteY1" fmla="*/ 18633 h 18609"/>
                        <a:gd name="connsiteX2" fmla="*/ 0 w 181441"/>
                        <a:gd name="connsiteY2" fmla="*/ 17028 h 18609"/>
                        <a:gd name="connsiteX3" fmla="*/ 0 w 181441"/>
                        <a:gd name="connsiteY3" fmla="*/ 1605 h 18609"/>
                        <a:gd name="connsiteX4" fmla="*/ 1605 w 181441"/>
                        <a:gd name="connsiteY4" fmla="*/ 0 h 18609"/>
                        <a:gd name="connsiteX5" fmla="*/ 181441 w 181441"/>
                        <a:gd name="connsiteY5" fmla="*/ 0 h 18609"/>
                        <a:gd name="connsiteX6" fmla="*/ 183046 w 181441"/>
                        <a:gd name="connsiteY6" fmla="*/ 1605 h 18609"/>
                        <a:gd name="connsiteX7" fmla="*/ 183046 w 181441"/>
                        <a:gd name="connsiteY7" fmla="*/ 17028 h 18609"/>
                        <a:gd name="connsiteX8" fmla="*/ 181441 w 181441"/>
                        <a:gd name="connsiteY8" fmla="*/ 18633 h 1860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181441" h="18609">
                          <a:moveTo>
                            <a:pt x="181441" y="18633"/>
                          </a:moveTo>
                          <a:lnTo>
                            <a:pt x="1605" y="18633"/>
                          </a:lnTo>
                          <a:cubicBezTo>
                            <a:pt x="721" y="18633"/>
                            <a:pt x="0" y="17911"/>
                            <a:pt x="0" y="17028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181441" y="0"/>
                          </a:lnTo>
                          <a:cubicBezTo>
                            <a:pt x="182325" y="0"/>
                            <a:pt x="183046" y="721"/>
                            <a:pt x="183046" y="1605"/>
                          </a:cubicBezTo>
                          <a:lnTo>
                            <a:pt x="183046" y="17028"/>
                          </a:lnTo>
                          <a:cubicBezTo>
                            <a:pt x="183046" y="17911"/>
                            <a:pt x="182325" y="18633"/>
                            <a:pt x="181441" y="18633"/>
                          </a:cubicBezTo>
                          <a:close/>
                        </a:path>
                      </a:pathLst>
                    </a:custGeom>
                    <a:solidFill>
                      <a:srgbClr val="F19439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69" name="Freeform: Shape 1368">
                      <a:extLst>
                        <a:ext uri="{FF2B5EF4-FFF2-40B4-BE49-F238E27FC236}">
                          <a16:creationId xmlns:a16="http://schemas.microsoft.com/office/drawing/2014/main" id="{F107D421-99BE-46D5-B049-48F0DFB9897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55600" y="3918639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70" name="Freeform: Shape 1369">
                      <a:extLst>
                        <a:ext uri="{FF2B5EF4-FFF2-40B4-BE49-F238E27FC236}">
                          <a16:creationId xmlns:a16="http://schemas.microsoft.com/office/drawing/2014/main" id="{B8CEDE8B-713C-4B18-B380-427B35569E4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64300" y="3918639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48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71" name="Freeform: Shape 1370">
                      <a:extLst>
                        <a:ext uri="{FF2B5EF4-FFF2-40B4-BE49-F238E27FC236}">
                          <a16:creationId xmlns:a16="http://schemas.microsoft.com/office/drawing/2014/main" id="{5A1A0F39-8BEA-48E9-B56C-E10E1C12DB4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72976" y="3918639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72" name="Freeform: Shape 1371">
                      <a:extLst>
                        <a:ext uri="{FF2B5EF4-FFF2-40B4-BE49-F238E27FC236}">
                          <a16:creationId xmlns:a16="http://schemas.microsoft.com/office/drawing/2014/main" id="{650AC503-41FA-4A00-9898-3741472BF80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81653" y="3918639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73" name="Freeform: Shape 1372">
                      <a:extLst>
                        <a:ext uri="{FF2B5EF4-FFF2-40B4-BE49-F238E27FC236}">
                          <a16:creationId xmlns:a16="http://schemas.microsoft.com/office/drawing/2014/main" id="{76D51699-0309-41DA-B0F6-38D22066C49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90353" y="3918639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48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74" name="Freeform: Shape 1373">
                      <a:extLst>
                        <a:ext uri="{FF2B5EF4-FFF2-40B4-BE49-F238E27FC236}">
                          <a16:creationId xmlns:a16="http://schemas.microsoft.com/office/drawing/2014/main" id="{1E6ABEB0-8432-458B-883F-34B18E68CC6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99029" y="3918639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75" name="Freeform: Shape 1374">
                      <a:extLst>
                        <a:ext uri="{FF2B5EF4-FFF2-40B4-BE49-F238E27FC236}">
                          <a16:creationId xmlns:a16="http://schemas.microsoft.com/office/drawing/2014/main" id="{FEFEA441-BAFF-4A53-9684-E4BF11CBDBB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07706" y="3918639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76" name="Freeform: Shape 1375">
                      <a:extLst>
                        <a:ext uri="{FF2B5EF4-FFF2-40B4-BE49-F238E27FC236}">
                          <a16:creationId xmlns:a16="http://schemas.microsoft.com/office/drawing/2014/main" id="{4F8F15E9-1F25-4AC5-8258-12D74F3CBBA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16383" y="3918639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74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77" name="Freeform: Shape 1376">
                      <a:extLst>
                        <a:ext uri="{FF2B5EF4-FFF2-40B4-BE49-F238E27FC236}">
                          <a16:creationId xmlns:a16="http://schemas.microsoft.com/office/drawing/2014/main" id="{4715D85E-FE8E-4122-BE3B-E5F1E3B7F3D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25082" y="3918639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78" name="Freeform: Shape 1377">
                      <a:extLst>
                        <a:ext uri="{FF2B5EF4-FFF2-40B4-BE49-F238E27FC236}">
                          <a16:creationId xmlns:a16="http://schemas.microsoft.com/office/drawing/2014/main" id="{8CF7B4E9-2650-4359-A9DC-A29A13432AB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33759" y="3918639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79" name="Freeform: Shape 1378">
                      <a:extLst>
                        <a:ext uri="{FF2B5EF4-FFF2-40B4-BE49-F238E27FC236}">
                          <a16:creationId xmlns:a16="http://schemas.microsoft.com/office/drawing/2014/main" id="{3810F746-AE97-4B54-9E86-4EAEFFF086C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42436" y="3918639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74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80" name="Freeform: Shape 1379">
                      <a:extLst>
                        <a:ext uri="{FF2B5EF4-FFF2-40B4-BE49-F238E27FC236}">
                          <a16:creationId xmlns:a16="http://schemas.microsoft.com/office/drawing/2014/main" id="{5F471815-822C-443D-A64F-7FC6D6E5982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86140" y="3918639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48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81" name="Freeform: Shape 1380">
                      <a:extLst>
                        <a:ext uri="{FF2B5EF4-FFF2-40B4-BE49-F238E27FC236}">
                          <a16:creationId xmlns:a16="http://schemas.microsoft.com/office/drawing/2014/main" id="{529D39FD-0014-4476-A5FE-D8E788073DC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94817" y="3918639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82" name="Freeform: Shape 1381">
                      <a:extLst>
                        <a:ext uri="{FF2B5EF4-FFF2-40B4-BE49-F238E27FC236}">
                          <a16:creationId xmlns:a16="http://schemas.microsoft.com/office/drawing/2014/main" id="{FCDE198A-C4AE-4C54-8D2F-A13371BDE90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03494" y="3918639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83" name="Freeform: Shape 1382">
                      <a:extLst>
                        <a:ext uri="{FF2B5EF4-FFF2-40B4-BE49-F238E27FC236}">
                          <a16:creationId xmlns:a16="http://schemas.microsoft.com/office/drawing/2014/main" id="{137BBD1D-0B19-459E-BFDE-AE867501178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68764" y="3918639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84" name="Freeform: Shape 1383">
                      <a:extLst>
                        <a:ext uri="{FF2B5EF4-FFF2-40B4-BE49-F238E27FC236}">
                          <a16:creationId xmlns:a16="http://schemas.microsoft.com/office/drawing/2014/main" id="{87F68E34-932F-413B-AD84-B00D80A6652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77440" y="3918639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85" name="Freeform: Shape 1384">
                      <a:extLst>
                        <a:ext uri="{FF2B5EF4-FFF2-40B4-BE49-F238E27FC236}">
                          <a16:creationId xmlns:a16="http://schemas.microsoft.com/office/drawing/2014/main" id="{16D97A08-6954-4607-8E40-50D797392A4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86140" y="3918639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48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86" name="Freeform: Shape 1385">
                      <a:extLst>
                        <a:ext uri="{FF2B5EF4-FFF2-40B4-BE49-F238E27FC236}">
                          <a16:creationId xmlns:a16="http://schemas.microsoft.com/office/drawing/2014/main" id="{9D0C24E6-F407-4241-9408-41E551B2662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12193" y="3918639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48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87" name="Freeform: Shape 1386">
                      <a:extLst>
                        <a:ext uri="{FF2B5EF4-FFF2-40B4-BE49-F238E27FC236}">
                          <a16:creationId xmlns:a16="http://schemas.microsoft.com/office/drawing/2014/main" id="{15732DC5-5AFC-48B8-8FAC-BEA57370795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20870" y="3918639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88" name="Freeform: Shape 1387">
                      <a:extLst>
                        <a:ext uri="{FF2B5EF4-FFF2-40B4-BE49-F238E27FC236}">
                          <a16:creationId xmlns:a16="http://schemas.microsoft.com/office/drawing/2014/main" id="{F1CD0747-A9F0-4532-83F4-D23FE7A549F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29547" y="3918639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89" name="Freeform: Shape 1388">
                      <a:extLst>
                        <a:ext uri="{FF2B5EF4-FFF2-40B4-BE49-F238E27FC236}">
                          <a16:creationId xmlns:a16="http://schemas.microsoft.com/office/drawing/2014/main" id="{7F70A695-A95B-4F29-AF8D-4C9296A4F24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38246" y="3918639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48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90" name="Freeform: Shape 1389">
                      <a:extLst>
                        <a:ext uri="{FF2B5EF4-FFF2-40B4-BE49-F238E27FC236}">
                          <a16:creationId xmlns:a16="http://schemas.microsoft.com/office/drawing/2014/main" id="{18D899D7-FCE0-4EEC-8F9D-AFB31AFEE36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46923" y="3918639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1200" name="Graphic 174">
                    <a:extLst>
                      <a:ext uri="{FF2B5EF4-FFF2-40B4-BE49-F238E27FC236}">
                        <a16:creationId xmlns:a16="http://schemas.microsoft.com/office/drawing/2014/main" id="{11BEFB5E-DE88-4DE8-9A3E-4B6CD7B4FFF9}"/>
                      </a:ext>
                    </a:extLst>
                  </p:cNvPr>
                  <p:cNvGrpSpPr/>
                  <p:nvPr/>
                </p:nvGrpSpPr>
                <p:grpSpPr>
                  <a:xfrm>
                    <a:off x="6371160" y="3880583"/>
                    <a:ext cx="181441" cy="18609"/>
                    <a:chOff x="6371160" y="3880583"/>
                    <a:chExt cx="181441" cy="18609"/>
                  </a:xfrm>
                  <a:solidFill>
                    <a:schemeClr val="accent1"/>
                  </a:solidFill>
                </p:grpSpPr>
                <p:sp>
                  <p:nvSpPr>
                    <p:cNvPr id="1345" name="Freeform: Shape 1344">
                      <a:extLst>
                        <a:ext uri="{FF2B5EF4-FFF2-40B4-BE49-F238E27FC236}">
                          <a16:creationId xmlns:a16="http://schemas.microsoft.com/office/drawing/2014/main" id="{27FB4022-ECAF-4C5F-9AC4-C7F144C9ACC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71160" y="3880583"/>
                      <a:ext cx="181441" cy="18609"/>
                    </a:xfrm>
                    <a:custGeom>
                      <a:avLst/>
                      <a:gdLst>
                        <a:gd name="connsiteX0" fmla="*/ 181441 w 181441"/>
                        <a:gd name="connsiteY0" fmla="*/ 18633 h 18609"/>
                        <a:gd name="connsiteX1" fmla="*/ 1605 w 181441"/>
                        <a:gd name="connsiteY1" fmla="*/ 18633 h 18609"/>
                        <a:gd name="connsiteX2" fmla="*/ 0 w 181441"/>
                        <a:gd name="connsiteY2" fmla="*/ 17028 h 18609"/>
                        <a:gd name="connsiteX3" fmla="*/ 0 w 181441"/>
                        <a:gd name="connsiteY3" fmla="*/ 1605 h 18609"/>
                        <a:gd name="connsiteX4" fmla="*/ 1605 w 181441"/>
                        <a:gd name="connsiteY4" fmla="*/ 0 h 18609"/>
                        <a:gd name="connsiteX5" fmla="*/ 181441 w 181441"/>
                        <a:gd name="connsiteY5" fmla="*/ 0 h 18609"/>
                        <a:gd name="connsiteX6" fmla="*/ 183046 w 181441"/>
                        <a:gd name="connsiteY6" fmla="*/ 1605 h 18609"/>
                        <a:gd name="connsiteX7" fmla="*/ 183046 w 181441"/>
                        <a:gd name="connsiteY7" fmla="*/ 17028 h 18609"/>
                        <a:gd name="connsiteX8" fmla="*/ 181441 w 181441"/>
                        <a:gd name="connsiteY8" fmla="*/ 18633 h 1860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181441" h="18609">
                          <a:moveTo>
                            <a:pt x="181441" y="18633"/>
                          </a:moveTo>
                          <a:lnTo>
                            <a:pt x="1605" y="18633"/>
                          </a:lnTo>
                          <a:cubicBezTo>
                            <a:pt x="721" y="18633"/>
                            <a:pt x="0" y="17912"/>
                            <a:pt x="0" y="17028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181441" y="0"/>
                          </a:lnTo>
                          <a:cubicBezTo>
                            <a:pt x="182325" y="0"/>
                            <a:pt x="183046" y="721"/>
                            <a:pt x="183046" y="1605"/>
                          </a:cubicBezTo>
                          <a:lnTo>
                            <a:pt x="183046" y="17028"/>
                          </a:lnTo>
                          <a:cubicBezTo>
                            <a:pt x="183023" y="17912"/>
                            <a:pt x="182325" y="18633"/>
                            <a:pt x="181441" y="18633"/>
                          </a:cubicBezTo>
                          <a:close/>
                        </a:path>
                      </a:pathLst>
                    </a:custGeom>
                    <a:solidFill>
                      <a:srgbClr val="F19439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46" name="Freeform: Shape 1345">
                      <a:extLst>
                        <a:ext uri="{FF2B5EF4-FFF2-40B4-BE49-F238E27FC236}">
                          <a16:creationId xmlns:a16="http://schemas.microsoft.com/office/drawing/2014/main" id="{29D9A986-3BDD-4569-ABE0-B49751327A6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59135" y="3881374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47" name="Freeform: Shape 1346">
                      <a:extLst>
                        <a:ext uri="{FF2B5EF4-FFF2-40B4-BE49-F238E27FC236}">
                          <a16:creationId xmlns:a16="http://schemas.microsoft.com/office/drawing/2014/main" id="{68FAF4D0-6540-4178-A31B-B10B98B11FE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67812" y="3881374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48" name="Freeform: Shape 1347">
                      <a:extLst>
                        <a:ext uri="{FF2B5EF4-FFF2-40B4-BE49-F238E27FC236}">
                          <a16:creationId xmlns:a16="http://schemas.microsoft.com/office/drawing/2014/main" id="{61FE96C6-A6FA-4359-B36D-442164E0462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76512" y="3881374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49" name="Freeform: Shape 1348">
                      <a:extLst>
                        <a:ext uri="{FF2B5EF4-FFF2-40B4-BE49-F238E27FC236}">
                          <a16:creationId xmlns:a16="http://schemas.microsoft.com/office/drawing/2014/main" id="{A7840698-980A-48C2-AEF7-8716228EDD5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85189" y="3881374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50" name="Freeform: Shape 1349">
                      <a:extLst>
                        <a:ext uri="{FF2B5EF4-FFF2-40B4-BE49-F238E27FC236}">
                          <a16:creationId xmlns:a16="http://schemas.microsoft.com/office/drawing/2014/main" id="{C1FC2BE0-9555-49C5-B92E-F242AE5FA62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93865" y="3881374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51" name="Freeform: Shape 1350">
                      <a:extLst>
                        <a:ext uri="{FF2B5EF4-FFF2-40B4-BE49-F238E27FC236}">
                          <a16:creationId xmlns:a16="http://schemas.microsoft.com/office/drawing/2014/main" id="{733FFFA5-A87C-4FD4-AE38-31FC122BACC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02565" y="3881374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52" name="Freeform: Shape 1351">
                      <a:extLst>
                        <a:ext uri="{FF2B5EF4-FFF2-40B4-BE49-F238E27FC236}">
                          <a16:creationId xmlns:a16="http://schemas.microsoft.com/office/drawing/2014/main" id="{A4941FA7-B2C3-4A3D-87C3-7AADA7EF8BA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11242" y="3881374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53" name="Freeform: Shape 1352">
                      <a:extLst>
                        <a:ext uri="{FF2B5EF4-FFF2-40B4-BE49-F238E27FC236}">
                          <a16:creationId xmlns:a16="http://schemas.microsoft.com/office/drawing/2014/main" id="{43232A2A-AA33-404F-A581-23416151B6E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19918" y="3881374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54" name="Freeform: Shape 1353">
                      <a:extLst>
                        <a:ext uri="{FF2B5EF4-FFF2-40B4-BE49-F238E27FC236}">
                          <a16:creationId xmlns:a16="http://schemas.microsoft.com/office/drawing/2014/main" id="{3FF61E05-7C5E-4772-8CF5-F51CE994FDF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28618" y="3881374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55" name="Freeform: Shape 1354">
                      <a:extLst>
                        <a:ext uri="{FF2B5EF4-FFF2-40B4-BE49-F238E27FC236}">
                          <a16:creationId xmlns:a16="http://schemas.microsoft.com/office/drawing/2014/main" id="{E966C4FA-E4F4-4798-9B81-85D9921CA25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37295" y="3881374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56" name="Freeform: Shape 1355">
                      <a:extLst>
                        <a:ext uri="{FF2B5EF4-FFF2-40B4-BE49-F238E27FC236}">
                          <a16:creationId xmlns:a16="http://schemas.microsoft.com/office/drawing/2014/main" id="{8C67892F-FB5F-4066-A4E6-05C88D87493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45971" y="3881374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57" name="Freeform: Shape 1356">
                      <a:extLst>
                        <a:ext uri="{FF2B5EF4-FFF2-40B4-BE49-F238E27FC236}">
                          <a16:creationId xmlns:a16="http://schemas.microsoft.com/office/drawing/2014/main" id="{E0677523-49A7-4E3B-81D2-CA1089D23A0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89653" y="3881374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58" name="Freeform: Shape 1357">
                      <a:extLst>
                        <a:ext uri="{FF2B5EF4-FFF2-40B4-BE49-F238E27FC236}">
                          <a16:creationId xmlns:a16="http://schemas.microsoft.com/office/drawing/2014/main" id="{364BB307-BCCF-47E0-8D99-B9B8B3B2CF9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98353" y="3881374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59" name="Freeform: Shape 1358">
                      <a:extLst>
                        <a:ext uri="{FF2B5EF4-FFF2-40B4-BE49-F238E27FC236}">
                          <a16:creationId xmlns:a16="http://schemas.microsoft.com/office/drawing/2014/main" id="{431898DF-8F7B-456B-91FE-D728456D979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07029" y="3881374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60" name="Freeform: Shape 1359">
                      <a:extLst>
                        <a:ext uri="{FF2B5EF4-FFF2-40B4-BE49-F238E27FC236}">
                          <a16:creationId xmlns:a16="http://schemas.microsoft.com/office/drawing/2014/main" id="{32958789-BADF-415C-B1E0-6CD242C24B4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72300" y="3881374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61" name="Freeform: Shape 1360">
                      <a:extLst>
                        <a:ext uri="{FF2B5EF4-FFF2-40B4-BE49-F238E27FC236}">
                          <a16:creationId xmlns:a16="http://schemas.microsoft.com/office/drawing/2014/main" id="{1FD5AE36-ECC8-4870-BA93-B0CD6469107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80976" y="3881374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62" name="Freeform: Shape 1361">
                      <a:extLst>
                        <a:ext uri="{FF2B5EF4-FFF2-40B4-BE49-F238E27FC236}">
                          <a16:creationId xmlns:a16="http://schemas.microsoft.com/office/drawing/2014/main" id="{470BD466-9D88-48CF-8BF7-D5902ADF2FE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89653" y="3881374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63" name="Freeform: Shape 1362">
                      <a:extLst>
                        <a:ext uri="{FF2B5EF4-FFF2-40B4-BE49-F238E27FC236}">
                          <a16:creationId xmlns:a16="http://schemas.microsoft.com/office/drawing/2014/main" id="{D87920DF-93FC-4D5C-A82C-FB393A35ACF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15706" y="3881374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64" name="Freeform: Shape 1363">
                      <a:extLst>
                        <a:ext uri="{FF2B5EF4-FFF2-40B4-BE49-F238E27FC236}">
                          <a16:creationId xmlns:a16="http://schemas.microsoft.com/office/drawing/2014/main" id="{7C64904A-93D7-4922-A263-8E0350B1AD6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24406" y="3881374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65" name="Freeform: Shape 1364">
                      <a:extLst>
                        <a:ext uri="{FF2B5EF4-FFF2-40B4-BE49-F238E27FC236}">
                          <a16:creationId xmlns:a16="http://schemas.microsoft.com/office/drawing/2014/main" id="{1C4FB40A-08CD-4F52-914D-A87DBC8B26C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33082" y="3881374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66" name="Freeform: Shape 1365">
                      <a:extLst>
                        <a:ext uri="{FF2B5EF4-FFF2-40B4-BE49-F238E27FC236}">
                          <a16:creationId xmlns:a16="http://schemas.microsoft.com/office/drawing/2014/main" id="{8BCC3380-384E-4A22-B49E-EF767900246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41759" y="3881374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67" name="Freeform: Shape 1366">
                      <a:extLst>
                        <a:ext uri="{FF2B5EF4-FFF2-40B4-BE49-F238E27FC236}">
                          <a16:creationId xmlns:a16="http://schemas.microsoft.com/office/drawing/2014/main" id="{5D71BC37-89C7-4A6F-A3E5-8FF7E6DDFA2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50459" y="3881374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1201" name="Graphic 174">
                    <a:extLst>
                      <a:ext uri="{FF2B5EF4-FFF2-40B4-BE49-F238E27FC236}">
                        <a16:creationId xmlns:a16="http://schemas.microsoft.com/office/drawing/2014/main" id="{A647FA01-111E-4326-86B9-A6FBA574227D}"/>
                      </a:ext>
                    </a:extLst>
                  </p:cNvPr>
                  <p:cNvGrpSpPr/>
                  <p:nvPr/>
                </p:nvGrpSpPr>
                <p:grpSpPr>
                  <a:xfrm>
                    <a:off x="6376301" y="3861950"/>
                    <a:ext cx="181441" cy="18609"/>
                    <a:chOff x="6376301" y="3861950"/>
                    <a:chExt cx="181441" cy="18609"/>
                  </a:xfrm>
                  <a:solidFill>
                    <a:schemeClr val="accent1"/>
                  </a:solidFill>
                </p:grpSpPr>
                <p:sp>
                  <p:nvSpPr>
                    <p:cNvPr id="1322" name="Freeform: Shape 1321">
                      <a:extLst>
                        <a:ext uri="{FF2B5EF4-FFF2-40B4-BE49-F238E27FC236}">
                          <a16:creationId xmlns:a16="http://schemas.microsoft.com/office/drawing/2014/main" id="{503473D1-DE7C-49FD-BC37-43FCED114F2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76301" y="3861950"/>
                      <a:ext cx="181441" cy="18609"/>
                    </a:xfrm>
                    <a:custGeom>
                      <a:avLst/>
                      <a:gdLst>
                        <a:gd name="connsiteX0" fmla="*/ 181441 w 181441"/>
                        <a:gd name="connsiteY0" fmla="*/ 18633 h 18609"/>
                        <a:gd name="connsiteX1" fmla="*/ 1605 w 181441"/>
                        <a:gd name="connsiteY1" fmla="*/ 18633 h 18609"/>
                        <a:gd name="connsiteX2" fmla="*/ 0 w 181441"/>
                        <a:gd name="connsiteY2" fmla="*/ 17028 h 18609"/>
                        <a:gd name="connsiteX3" fmla="*/ 0 w 181441"/>
                        <a:gd name="connsiteY3" fmla="*/ 1605 h 18609"/>
                        <a:gd name="connsiteX4" fmla="*/ 1605 w 181441"/>
                        <a:gd name="connsiteY4" fmla="*/ 0 h 18609"/>
                        <a:gd name="connsiteX5" fmla="*/ 181441 w 181441"/>
                        <a:gd name="connsiteY5" fmla="*/ 0 h 18609"/>
                        <a:gd name="connsiteX6" fmla="*/ 183046 w 181441"/>
                        <a:gd name="connsiteY6" fmla="*/ 1605 h 18609"/>
                        <a:gd name="connsiteX7" fmla="*/ 183046 w 181441"/>
                        <a:gd name="connsiteY7" fmla="*/ 17028 h 18609"/>
                        <a:gd name="connsiteX8" fmla="*/ 181441 w 181441"/>
                        <a:gd name="connsiteY8" fmla="*/ 18633 h 1860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181441" h="18609">
                          <a:moveTo>
                            <a:pt x="181441" y="18633"/>
                          </a:moveTo>
                          <a:lnTo>
                            <a:pt x="1605" y="18633"/>
                          </a:lnTo>
                          <a:cubicBezTo>
                            <a:pt x="721" y="18633"/>
                            <a:pt x="0" y="17912"/>
                            <a:pt x="0" y="17028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181441" y="0"/>
                          </a:lnTo>
                          <a:cubicBezTo>
                            <a:pt x="182325" y="0"/>
                            <a:pt x="183046" y="721"/>
                            <a:pt x="183046" y="1605"/>
                          </a:cubicBezTo>
                          <a:lnTo>
                            <a:pt x="183046" y="17028"/>
                          </a:lnTo>
                          <a:cubicBezTo>
                            <a:pt x="183046" y="17935"/>
                            <a:pt x="182325" y="18633"/>
                            <a:pt x="181441" y="18633"/>
                          </a:cubicBezTo>
                          <a:close/>
                        </a:path>
                      </a:pathLst>
                    </a:custGeom>
                    <a:solidFill>
                      <a:srgbClr val="F19439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23" name="Freeform: Shape 1322">
                      <a:extLst>
                        <a:ext uri="{FF2B5EF4-FFF2-40B4-BE49-F238E27FC236}">
                          <a16:creationId xmlns:a16="http://schemas.microsoft.com/office/drawing/2014/main" id="{C1A40352-07B6-4EC4-919D-89F7A35E1DF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64300" y="3862741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48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24" name="Freeform: Shape 1323">
                      <a:extLst>
                        <a:ext uri="{FF2B5EF4-FFF2-40B4-BE49-F238E27FC236}">
                          <a16:creationId xmlns:a16="http://schemas.microsoft.com/office/drawing/2014/main" id="{C3626BD5-CF47-4737-90D4-5FCFBA213C1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72976" y="3862741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25" name="Freeform: Shape 1324">
                      <a:extLst>
                        <a:ext uri="{FF2B5EF4-FFF2-40B4-BE49-F238E27FC236}">
                          <a16:creationId xmlns:a16="http://schemas.microsoft.com/office/drawing/2014/main" id="{E4EE9764-70D1-4177-88CE-5BEEB5215B1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81653" y="3862741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26" name="Freeform: Shape 1325">
                      <a:extLst>
                        <a:ext uri="{FF2B5EF4-FFF2-40B4-BE49-F238E27FC236}">
                          <a16:creationId xmlns:a16="http://schemas.microsoft.com/office/drawing/2014/main" id="{7D8C048F-AED8-4B20-8129-212A7A191CE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90353" y="3862741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48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27" name="Freeform: Shape 1326">
                      <a:extLst>
                        <a:ext uri="{FF2B5EF4-FFF2-40B4-BE49-F238E27FC236}">
                          <a16:creationId xmlns:a16="http://schemas.microsoft.com/office/drawing/2014/main" id="{9253FEED-70BC-4048-BE13-BC9E5B9B770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99029" y="3862741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28" name="Freeform: Shape 1327">
                      <a:extLst>
                        <a:ext uri="{FF2B5EF4-FFF2-40B4-BE49-F238E27FC236}">
                          <a16:creationId xmlns:a16="http://schemas.microsoft.com/office/drawing/2014/main" id="{C06F6357-C28E-481C-9D47-E0631B21C4E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07706" y="3862741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29" name="Freeform: Shape 1328">
                      <a:extLst>
                        <a:ext uri="{FF2B5EF4-FFF2-40B4-BE49-F238E27FC236}">
                          <a16:creationId xmlns:a16="http://schemas.microsoft.com/office/drawing/2014/main" id="{DE48AF98-87A1-4682-8EF4-AD1310CC136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16383" y="3862741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74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30" name="Freeform: Shape 1329">
                      <a:extLst>
                        <a:ext uri="{FF2B5EF4-FFF2-40B4-BE49-F238E27FC236}">
                          <a16:creationId xmlns:a16="http://schemas.microsoft.com/office/drawing/2014/main" id="{EF3FC57D-30F0-4FEF-8C51-B77BF380EFE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25082" y="3862741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31" name="Freeform: Shape 1330">
                      <a:extLst>
                        <a:ext uri="{FF2B5EF4-FFF2-40B4-BE49-F238E27FC236}">
                          <a16:creationId xmlns:a16="http://schemas.microsoft.com/office/drawing/2014/main" id="{E4B69406-603C-47FA-950B-F672D34473E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33759" y="3862741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32" name="Freeform: Shape 1331">
                      <a:extLst>
                        <a:ext uri="{FF2B5EF4-FFF2-40B4-BE49-F238E27FC236}">
                          <a16:creationId xmlns:a16="http://schemas.microsoft.com/office/drawing/2014/main" id="{C88A842F-8BCD-4451-94BE-E3EA11C98DD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42436" y="3862741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74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33" name="Freeform: Shape 1332">
                      <a:extLst>
                        <a:ext uri="{FF2B5EF4-FFF2-40B4-BE49-F238E27FC236}">
                          <a16:creationId xmlns:a16="http://schemas.microsoft.com/office/drawing/2014/main" id="{694D12C0-D59F-48CB-A29F-26F703D57DC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51136" y="3862741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34" name="Freeform: Shape 1333">
                      <a:extLst>
                        <a:ext uri="{FF2B5EF4-FFF2-40B4-BE49-F238E27FC236}">
                          <a16:creationId xmlns:a16="http://schemas.microsoft.com/office/drawing/2014/main" id="{027AB14E-1810-4B5D-97BC-144649057F8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94817" y="3862741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35" name="Freeform: Shape 1334">
                      <a:extLst>
                        <a:ext uri="{FF2B5EF4-FFF2-40B4-BE49-F238E27FC236}">
                          <a16:creationId xmlns:a16="http://schemas.microsoft.com/office/drawing/2014/main" id="{57DE71D3-4E53-4558-A47D-F4D41262408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03494" y="3862741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36" name="Freeform: Shape 1335">
                      <a:extLst>
                        <a:ext uri="{FF2B5EF4-FFF2-40B4-BE49-F238E27FC236}">
                          <a16:creationId xmlns:a16="http://schemas.microsoft.com/office/drawing/2014/main" id="{9FF8CE11-415D-4202-A1C3-FCE293086FE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12193" y="3862741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48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37" name="Freeform: Shape 1336">
                      <a:extLst>
                        <a:ext uri="{FF2B5EF4-FFF2-40B4-BE49-F238E27FC236}">
                          <a16:creationId xmlns:a16="http://schemas.microsoft.com/office/drawing/2014/main" id="{9759E071-5E0B-469F-A0B5-E86C0987300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77440" y="3862741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38" name="Freeform: Shape 1337">
                      <a:extLst>
                        <a:ext uri="{FF2B5EF4-FFF2-40B4-BE49-F238E27FC236}">
                          <a16:creationId xmlns:a16="http://schemas.microsoft.com/office/drawing/2014/main" id="{457A4DC9-D0B1-4B66-9A23-F0178FD4891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86140" y="3862741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48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39" name="Freeform: Shape 1338">
                      <a:extLst>
                        <a:ext uri="{FF2B5EF4-FFF2-40B4-BE49-F238E27FC236}">
                          <a16:creationId xmlns:a16="http://schemas.microsoft.com/office/drawing/2014/main" id="{E84EEE74-FC37-4CCA-9BD0-A49AF030FF9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94817" y="3862741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40" name="Freeform: Shape 1339">
                      <a:extLst>
                        <a:ext uri="{FF2B5EF4-FFF2-40B4-BE49-F238E27FC236}">
                          <a16:creationId xmlns:a16="http://schemas.microsoft.com/office/drawing/2014/main" id="{D8ADFE5A-24B4-4967-BA8C-7ED8D8835E1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20870" y="3862741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41" name="Freeform: Shape 1340">
                      <a:extLst>
                        <a:ext uri="{FF2B5EF4-FFF2-40B4-BE49-F238E27FC236}">
                          <a16:creationId xmlns:a16="http://schemas.microsoft.com/office/drawing/2014/main" id="{0B873F98-88BA-47AE-8DF6-22DC7DB5C7F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29547" y="3862741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42" name="Freeform: Shape 1341">
                      <a:extLst>
                        <a:ext uri="{FF2B5EF4-FFF2-40B4-BE49-F238E27FC236}">
                          <a16:creationId xmlns:a16="http://schemas.microsoft.com/office/drawing/2014/main" id="{D79AF05A-7F99-4280-AD86-9946ED2F31F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38246" y="3862741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48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43" name="Freeform: Shape 1342">
                      <a:extLst>
                        <a:ext uri="{FF2B5EF4-FFF2-40B4-BE49-F238E27FC236}">
                          <a16:creationId xmlns:a16="http://schemas.microsoft.com/office/drawing/2014/main" id="{8BB5FCC0-3C4B-450F-855A-18A26B4DC91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46923" y="3862741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44" name="Freeform: Shape 1343">
                      <a:extLst>
                        <a:ext uri="{FF2B5EF4-FFF2-40B4-BE49-F238E27FC236}">
                          <a16:creationId xmlns:a16="http://schemas.microsoft.com/office/drawing/2014/main" id="{1CD70B4F-AF62-4995-AD79-5D6CACE6DAE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55600" y="3862741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1202" name="Graphic 174">
                    <a:extLst>
                      <a:ext uri="{FF2B5EF4-FFF2-40B4-BE49-F238E27FC236}">
                        <a16:creationId xmlns:a16="http://schemas.microsoft.com/office/drawing/2014/main" id="{413B8F93-193F-4B55-A94E-EFA8AAB5137C}"/>
                      </a:ext>
                    </a:extLst>
                  </p:cNvPr>
                  <p:cNvGrpSpPr/>
                  <p:nvPr/>
                </p:nvGrpSpPr>
                <p:grpSpPr>
                  <a:xfrm>
                    <a:off x="6367624" y="3843318"/>
                    <a:ext cx="181441" cy="18609"/>
                    <a:chOff x="6367624" y="3843318"/>
                    <a:chExt cx="181441" cy="18609"/>
                  </a:xfrm>
                  <a:solidFill>
                    <a:schemeClr val="accent1"/>
                  </a:solidFill>
                </p:grpSpPr>
                <p:sp>
                  <p:nvSpPr>
                    <p:cNvPr id="1299" name="Freeform: Shape 1298">
                      <a:extLst>
                        <a:ext uri="{FF2B5EF4-FFF2-40B4-BE49-F238E27FC236}">
                          <a16:creationId xmlns:a16="http://schemas.microsoft.com/office/drawing/2014/main" id="{5E5691DF-3FA2-4BEB-888D-03D9B09D959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67624" y="3843318"/>
                      <a:ext cx="181441" cy="18609"/>
                    </a:xfrm>
                    <a:custGeom>
                      <a:avLst/>
                      <a:gdLst>
                        <a:gd name="connsiteX0" fmla="*/ 181441 w 181441"/>
                        <a:gd name="connsiteY0" fmla="*/ 18633 h 18609"/>
                        <a:gd name="connsiteX1" fmla="*/ 1605 w 181441"/>
                        <a:gd name="connsiteY1" fmla="*/ 18633 h 18609"/>
                        <a:gd name="connsiteX2" fmla="*/ 0 w 181441"/>
                        <a:gd name="connsiteY2" fmla="*/ 17028 h 18609"/>
                        <a:gd name="connsiteX3" fmla="*/ 0 w 181441"/>
                        <a:gd name="connsiteY3" fmla="*/ 1605 h 18609"/>
                        <a:gd name="connsiteX4" fmla="*/ 1605 w 181441"/>
                        <a:gd name="connsiteY4" fmla="*/ 0 h 18609"/>
                        <a:gd name="connsiteX5" fmla="*/ 181441 w 181441"/>
                        <a:gd name="connsiteY5" fmla="*/ 0 h 18609"/>
                        <a:gd name="connsiteX6" fmla="*/ 183046 w 181441"/>
                        <a:gd name="connsiteY6" fmla="*/ 1605 h 18609"/>
                        <a:gd name="connsiteX7" fmla="*/ 183046 w 181441"/>
                        <a:gd name="connsiteY7" fmla="*/ 17028 h 18609"/>
                        <a:gd name="connsiteX8" fmla="*/ 181441 w 181441"/>
                        <a:gd name="connsiteY8" fmla="*/ 18633 h 1860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181441" h="18609">
                          <a:moveTo>
                            <a:pt x="181441" y="18633"/>
                          </a:moveTo>
                          <a:lnTo>
                            <a:pt x="1605" y="18633"/>
                          </a:lnTo>
                          <a:cubicBezTo>
                            <a:pt x="721" y="18633"/>
                            <a:pt x="0" y="17912"/>
                            <a:pt x="0" y="17028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181441" y="0"/>
                          </a:lnTo>
                          <a:cubicBezTo>
                            <a:pt x="182325" y="0"/>
                            <a:pt x="183046" y="721"/>
                            <a:pt x="183046" y="1605"/>
                          </a:cubicBezTo>
                          <a:lnTo>
                            <a:pt x="183046" y="17028"/>
                          </a:lnTo>
                          <a:cubicBezTo>
                            <a:pt x="183046" y="17935"/>
                            <a:pt x="182325" y="18633"/>
                            <a:pt x="181441" y="18633"/>
                          </a:cubicBezTo>
                          <a:close/>
                        </a:path>
                      </a:pathLst>
                    </a:custGeom>
                    <a:solidFill>
                      <a:srgbClr val="F19439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00" name="Freeform: Shape 1299">
                      <a:extLst>
                        <a:ext uri="{FF2B5EF4-FFF2-40B4-BE49-F238E27FC236}">
                          <a16:creationId xmlns:a16="http://schemas.microsoft.com/office/drawing/2014/main" id="{023C3B02-0824-4300-A20B-2D808DBD769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55600" y="3844109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53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01" name="Freeform: Shape 1300">
                      <a:extLst>
                        <a:ext uri="{FF2B5EF4-FFF2-40B4-BE49-F238E27FC236}">
                          <a16:creationId xmlns:a16="http://schemas.microsoft.com/office/drawing/2014/main" id="{DCDB7631-81C1-43EE-BBBC-DDA9A9D1723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64300" y="3844109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48" y="16353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02" name="Freeform: Shape 1301">
                      <a:extLst>
                        <a:ext uri="{FF2B5EF4-FFF2-40B4-BE49-F238E27FC236}">
                          <a16:creationId xmlns:a16="http://schemas.microsoft.com/office/drawing/2014/main" id="{BA28BAED-203D-4A5F-AAB0-0B89A5CC681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72976" y="3844109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53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03" name="Freeform: Shape 1302">
                      <a:extLst>
                        <a:ext uri="{FF2B5EF4-FFF2-40B4-BE49-F238E27FC236}">
                          <a16:creationId xmlns:a16="http://schemas.microsoft.com/office/drawing/2014/main" id="{877FF4DC-AE84-41BF-BB59-379A55E3717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81653" y="3844109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53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04" name="Freeform: Shape 1303">
                      <a:extLst>
                        <a:ext uri="{FF2B5EF4-FFF2-40B4-BE49-F238E27FC236}">
                          <a16:creationId xmlns:a16="http://schemas.microsoft.com/office/drawing/2014/main" id="{0F3554AE-D6D2-4E91-97D6-8B2DD8BDEB9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90353" y="3844109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48" y="16353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05" name="Freeform: Shape 1304">
                      <a:extLst>
                        <a:ext uri="{FF2B5EF4-FFF2-40B4-BE49-F238E27FC236}">
                          <a16:creationId xmlns:a16="http://schemas.microsoft.com/office/drawing/2014/main" id="{6C674200-5DF1-4A04-9DA8-E1BDDD14F31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99029" y="3844109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53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06" name="Freeform: Shape 1305">
                      <a:extLst>
                        <a:ext uri="{FF2B5EF4-FFF2-40B4-BE49-F238E27FC236}">
                          <a16:creationId xmlns:a16="http://schemas.microsoft.com/office/drawing/2014/main" id="{BF760401-8357-46ED-A08D-F4C2DDD86A4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07706" y="3844109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53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07" name="Freeform: Shape 1306">
                      <a:extLst>
                        <a:ext uri="{FF2B5EF4-FFF2-40B4-BE49-F238E27FC236}">
                          <a16:creationId xmlns:a16="http://schemas.microsoft.com/office/drawing/2014/main" id="{F34A0A11-0B54-4CA9-9DAF-EF94BB46B25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16383" y="3844109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53"/>
                            <a:pt x="6374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08" name="Freeform: Shape 1307">
                      <a:extLst>
                        <a:ext uri="{FF2B5EF4-FFF2-40B4-BE49-F238E27FC236}">
                          <a16:creationId xmlns:a16="http://schemas.microsoft.com/office/drawing/2014/main" id="{A355B036-A4D5-4470-8DFC-75D9DCF955C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25082" y="3844109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53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09" name="Freeform: Shape 1308">
                      <a:extLst>
                        <a:ext uri="{FF2B5EF4-FFF2-40B4-BE49-F238E27FC236}">
                          <a16:creationId xmlns:a16="http://schemas.microsoft.com/office/drawing/2014/main" id="{F58837CB-DC50-4EC5-A9B4-C92824BB884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33759" y="3844109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53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10" name="Freeform: Shape 1309">
                      <a:extLst>
                        <a:ext uri="{FF2B5EF4-FFF2-40B4-BE49-F238E27FC236}">
                          <a16:creationId xmlns:a16="http://schemas.microsoft.com/office/drawing/2014/main" id="{EA5647E6-1D00-4DCD-AB29-172ACAC9356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42436" y="3844109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53"/>
                            <a:pt x="6374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11" name="Freeform: Shape 1310">
                      <a:extLst>
                        <a:ext uri="{FF2B5EF4-FFF2-40B4-BE49-F238E27FC236}">
                          <a16:creationId xmlns:a16="http://schemas.microsoft.com/office/drawing/2014/main" id="{7311394F-2C1A-4521-B778-3AF9001C079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86140" y="3844109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48" y="16353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12" name="Freeform: Shape 1311">
                      <a:extLst>
                        <a:ext uri="{FF2B5EF4-FFF2-40B4-BE49-F238E27FC236}">
                          <a16:creationId xmlns:a16="http://schemas.microsoft.com/office/drawing/2014/main" id="{9B06BC17-4CD7-4DC1-B777-5929A476AE8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94817" y="3844109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53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13" name="Freeform: Shape 1312">
                      <a:extLst>
                        <a:ext uri="{FF2B5EF4-FFF2-40B4-BE49-F238E27FC236}">
                          <a16:creationId xmlns:a16="http://schemas.microsoft.com/office/drawing/2014/main" id="{48ED9DE1-1884-449E-9B4D-4DE67C31EAD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03494" y="3844109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53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14" name="Freeform: Shape 1313">
                      <a:extLst>
                        <a:ext uri="{FF2B5EF4-FFF2-40B4-BE49-F238E27FC236}">
                          <a16:creationId xmlns:a16="http://schemas.microsoft.com/office/drawing/2014/main" id="{E2DF8B8F-9D33-432D-870F-801777FE23B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68764" y="3844109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53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15" name="Freeform: Shape 1314">
                      <a:extLst>
                        <a:ext uri="{FF2B5EF4-FFF2-40B4-BE49-F238E27FC236}">
                          <a16:creationId xmlns:a16="http://schemas.microsoft.com/office/drawing/2014/main" id="{07627E73-E953-4B25-A1D0-572387BD967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77440" y="3844109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53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16" name="Freeform: Shape 1315">
                      <a:extLst>
                        <a:ext uri="{FF2B5EF4-FFF2-40B4-BE49-F238E27FC236}">
                          <a16:creationId xmlns:a16="http://schemas.microsoft.com/office/drawing/2014/main" id="{461EAE6C-9C52-4222-92A8-AA854B09D69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86140" y="3844109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48" y="16353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17" name="Freeform: Shape 1316">
                      <a:extLst>
                        <a:ext uri="{FF2B5EF4-FFF2-40B4-BE49-F238E27FC236}">
                          <a16:creationId xmlns:a16="http://schemas.microsoft.com/office/drawing/2014/main" id="{B2F06EE0-B00E-48A5-AECC-84F9804BEA1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12193" y="3844109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48" y="16353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18" name="Freeform: Shape 1317">
                      <a:extLst>
                        <a:ext uri="{FF2B5EF4-FFF2-40B4-BE49-F238E27FC236}">
                          <a16:creationId xmlns:a16="http://schemas.microsoft.com/office/drawing/2014/main" id="{98EDF1DC-60AB-467F-9B07-C20A6B1A650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20870" y="3844109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53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19" name="Freeform: Shape 1318">
                      <a:extLst>
                        <a:ext uri="{FF2B5EF4-FFF2-40B4-BE49-F238E27FC236}">
                          <a16:creationId xmlns:a16="http://schemas.microsoft.com/office/drawing/2014/main" id="{D72FCAB2-20B9-4160-91EA-869297B08C4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29547" y="3844109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53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20" name="Freeform: Shape 1319">
                      <a:extLst>
                        <a:ext uri="{FF2B5EF4-FFF2-40B4-BE49-F238E27FC236}">
                          <a16:creationId xmlns:a16="http://schemas.microsoft.com/office/drawing/2014/main" id="{5B54D7AD-B392-49DF-9EEA-7D054E6DBA4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38246" y="3844109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48" y="16353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321" name="Freeform: Shape 1320">
                      <a:extLst>
                        <a:ext uri="{FF2B5EF4-FFF2-40B4-BE49-F238E27FC236}">
                          <a16:creationId xmlns:a16="http://schemas.microsoft.com/office/drawing/2014/main" id="{A18855F1-ABF5-41D5-9588-D67BCAF019F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46923" y="3844109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53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1203" name="Graphic 174">
                    <a:extLst>
                      <a:ext uri="{FF2B5EF4-FFF2-40B4-BE49-F238E27FC236}">
                        <a16:creationId xmlns:a16="http://schemas.microsoft.com/office/drawing/2014/main" id="{2F6A70E0-4696-4966-BEAD-16A0745130F0}"/>
                      </a:ext>
                    </a:extLst>
                  </p:cNvPr>
                  <p:cNvGrpSpPr/>
                  <p:nvPr/>
                </p:nvGrpSpPr>
                <p:grpSpPr>
                  <a:xfrm>
                    <a:off x="6376301" y="3824708"/>
                    <a:ext cx="181441" cy="18609"/>
                    <a:chOff x="6376301" y="3824708"/>
                    <a:chExt cx="181441" cy="18609"/>
                  </a:xfrm>
                  <a:solidFill>
                    <a:schemeClr val="accent1"/>
                  </a:solidFill>
                </p:grpSpPr>
                <p:sp>
                  <p:nvSpPr>
                    <p:cNvPr id="1276" name="Freeform: Shape 1275">
                      <a:extLst>
                        <a:ext uri="{FF2B5EF4-FFF2-40B4-BE49-F238E27FC236}">
                          <a16:creationId xmlns:a16="http://schemas.microsoft.com/office/drawing/2014/main" id="{0FE3CBD3-9C82-498D-9F6D-59A1549E149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76301" y="3824708"/>
                      <a:ext cx="181441" cy="18609"/>
                    </a:xfrm>
                    <a:custGeom>
                      <a:avLst/>
                      <a:gdLst>
                        <a:gd name="connsiteX0" fmla="*/ 181441 w 181441"/>
                        <a:gd name="connsiteY0" fmla="*/ 18633 h 18609"/>
                        <a:gd name="connsiteX1" fmla="*/ 1605 w 181441"/>
                        <a:gd name="connsiteY1" fmla="*/ 18633 h 18609"/>
                        <a:gd name="connsiteX2" fmla="*/ 0 w 181441"/>
                        <a:gd name="connsiteY2" fmla="*/ 17028 h 18609"/>
                        <a:gd name="connsiteX3" fmla="*/ 0 w 181441"/>
                        <a:gd name="connsiteY3" fmla="*/ 1605 h 18609"/>
                        <a:gd name="connsiteX4" fmla="*/ 1605 w 181441"/>
                        <a:gd name="connsiteY4" fmla="*/ 0 h 18609"/>
                        <a:gd name="connsiteX5" fmla="*/ 181441 w 181441"/>
                        <a:gd name="connsiteY5" fmla="*/ 0 h 18609"/>
                        <a:gd name="connsiteX6" fmla="*/ 183046 w 181441"/>
                        <a:gd name="connsiteY6" fmla="*/ 1605 h 18609"/>
                        <a:gd name="connsiteX7" fmla="*/ 183046 w 181441"/>
                        <a:gd name="connsiteY7" fmla="*/ 17028 h 18609"/>
                        <a:gd name="connsiteX8" fmla="*/ 181441 w 181441"/>
                        <a:gd name="connsiteY8" fmla="*/ 18633 h 1860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181441" h="18609">
                          <a:moveTo>
                            <a:pt x="181441" y="18633"/>
                          </a:moveTo>
                          <a:lnTo>
                            <a:pt x="1605" y="18633"/>
                          </a:lnTo>
                          <a:cubicBezTo>
                            <a:pt x="721" y="18633"/>
                            <a:pt x="0" y="17912"/>
                            <a:pt x="0" y="17028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181441" y="0"/>
                          </a:lnTo>
                          <a:cubicBezTo>
                            <a:pt x="182325" y="0"/>
                            <a:pt x="183046" y="721"/>
                            <a:pt x="183046" y="1605"/>
                          </a:cubicBezTo>
                          <a:lnTo>
                            <a:pt x="183046" y="17028"/>
                          </a:lnTo>
                          <a:cubicBezTo>
                            <a:pt x="183046" y="17912"/>
                            <a:pt x="182325" y="18633"/>
                            <a:pt x="181441" y="18633"/>
                          </a:cubicBezTo>
                          <a:close/>
                        </a:path>
                      </a:pathLst>
                    </a:custGeom>
                    <a:solidFill>
                      <a:srgbClr val="F19439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277" name="Freeform: Shape 1276">
                      <a:extLst>
                        <a:ext uri="{FF2B5EF4-FFF2-40B4-BE49-F238E27FC236}">
                          <a16:creationId xmlns:a16="http://schemas.microsoft.com/office/drawing/2014/main" id="{8CEF459B-79A6-464E-82A8-6355883CC95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64300" y="3825476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48" y="16353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278" name="Freeform: Shape 1277">
                      <a:extLst>
                        <a:ext uri="{FF2B5EF4-FFF2-40B4-BE49-F238E27FC236}">
                          <a16:creationId xmlns:a16="http://schemas.microsoft.com/office/drawing/2014/main" id="{042F4CBF-5A4D-4B8E-87B1-9B8EC3CD6D0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72976" y="3825476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53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279" name="Freeform: Shape 1278">
                      <a:extLst>
                        <a:ext uri="{FF2B5EF4-FFF2-40B4-BE49-F238E27FC236}">
                          <a16:creationId xmlns:a16="http://schemas.microsoft.com/office/drawing/2014/main" id="{09E6C8E6-7CB8-4606-9D5E-C4AC52F18F3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81653" y="3825476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53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280" name="Freeform: Shape 1279">
                      <a:extLst>
                        <a:ext uri="{FF2B5EF4-FFF2-40B4-BE49-F238E27FC236}">
                          <a16:creationId xmlns:a16="http://schemas.microsoft.com/office/drawing/2014/main" id="{30903F14-E154-43BB-AEC7-32F123A58DE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90353" y="3825476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48" y="16353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281" name="Freeform: Shape 1280">
                      <a:extLst>
                        <a:ext uri="{FF2B5EF4-FFF2-40B4-BE49-F238E27FC236}">
                          <a16:creationId xmlns:a16="http://schemas.microsoft.com/office/drawing/2014/main" id="{756F829C-6795-482F-8EC3-AC7C336A49D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99029" y="3825476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53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282" name="Freeform: Shape 1281">
                      <a:extLst>
                        <a:ext uri="{FF2B5EF4-FFF2-40B4-BE49-F238E27FC236}">
                          <a16:creationId xmlns:a16="http://schemas.microsoft.com/office/drawing/2014/main" id="{729D9B51-BABE-45DB-83A4-5E31D08077A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07706" y="3825476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53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283" name="Freeform: Shape 1282">
                      <a:extLst>
                        <a:ext uri="{FF2B5EF4-FFF2-40B4-BE49-F238E27FC236}">
                          <a16:creationId xmlns:a16="http://schemas.microsoft.com/office/drawing/2014/main" id="{797BFB34-BE94-4B99-B1A7-C01A6905BAA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16383" y="3825476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53"/>
                            <a:pt x="6374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284" name="Freeform: Shape 1283">
                      <a:extLst>
                        <a:ext uri="{FF2B5EF4-FFF2-40B4-BE49-F238E27FC236}">
                          <a16:creationId xmlns:a16="http://schemas.microsoft.com/office/drawing/2014/main" id="{353C51AB-F72B-4A2D-A298-7E59080A698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25082" y="3825476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53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285" name="Freeform: Shape 1284">
                      <a:extLst>
                        <a:ext uri="{FF2B5EF4-FFF2-40B4-BE49-F238E27FC236}">
                          <a16:creationId xmlns:a16="http://schemas.microsoft.com/office/drawing/2014/main" id="{249BF353-89FC-4404-AAA0-F4694C236B0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33759" y="3825476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53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286" name="Freeform: Shape 1285">
                      <a:extLst>
                        <a:ext uri="{FF2B5EF4-FFF2-40B4-BE49-F238E27FC236}">
                          <a16:creationId xmlns:a16="http://schemas.microsoft.com/office/drawing/2014/main" id="{5FD534A5-E634-4DBB-81B8-BD52F45C0C8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42436" y="3825476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53"/>
                            <a:pt x="6374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287" name="Freeform: Shape 1286">
                      <a:extLst>
                        <a:ext uri="{FF2B5EF4-FFF2-40B4-BE49-F238E27FC236}">
                          <a16:creationId xmlns:a16="http://schemas.microsoft.com/office/drawing/2014/main" id="{90DB7EB1-C944-43F8-B4EA-0CEDE53EA8E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51136" y="3825476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53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288" name="Freeform: Shape 1287">
                      <a:extLst>
                        <a:ext uri="{FF2B5EF4-FFF2-40B4-BE49-F238E27FC236}">
                          <a16:creationId xmlns:a16="http://schemas.microsoft.com/office/drawing/2014/main" id="{1EAE6A77-629A-4830-AD6C-B1097398725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94817" y="3825476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53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289" name="Freeform: Shape 1288">
                      <a:extLst>
                        <a:ext uri="{FF2B5EF4-FFF2-40B4-BE49-F238E27FC236}">
                          <a16:creationId xmlns:a16="http://schemas.microsoft.com/office/drawing/2014/main" id="{80F0FB3F-E93F-4DF8-A896-218ADAE05F1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03494" y="3825476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53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290" name="Freeform: Shape 1289">
                      <a:extLst>
                        <a:ext uri="{FF2B5EF4-FFF2-40B4-BE49-F238E27FC236}">
                          <a16:creationId xmlns:a16="http://schemas.microsoft.com/office/drawing/2014/main" id="{1007CF37-8210-4495-B15E-5EFBBF43292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12193" y="3825476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48" y="16353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291" name="Freeform: Shape 1290">
                      <a:extLst>
                        <a:ext uri="{FF2B5EF4-FFF2-40B4-BE49-F238E27FC236}">
                          <a16:creationId xmlns:a16="http://schemas.microsoft.com/office/drawing/2014/main" id="{B409A9D3-D51D-4AF7-A546-5621A9DF1E0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77440" y="3825476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53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292" name="Freeform: Shape 1291">
                      <a:extLst>
                        <a:ext uri="{FF2B5EF4-FFF2-40B4-BE49-F238E27FC236}">
                          <a16:creationId xmlns:a16="http://schemas.microsoft.com/office/drawing/2014/main" id="{DF1AF5D2-0F2C-4B03-966A-3300C9ABC94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86140" y="3825476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48" y="16353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293" name="Freeform: Shape 1292">
                      <a:extLst>
                        <a:ext uri="{FF2B5EF4-FFF2-40B4-BE49-F238E27FC236}">
                          <a16:creationId xmlns:a16="http://schemas.microsoft.com/office/drawing/2014/main" id="{2EB6D323-4288-4004-A44B-84649D3337E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94817" y="3825476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53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294" name="Freeform: Shape 1293">
                      <a:extLst>
                        <a:ext uri="{FF2B5EF4-FFF2-40B4-BE49-F238E27FC236}">
                          <a16:creationId xmlns:a16="http://schemas.microsoft.com/office/drawing/2014/main" id="{794732F7-AC01-420A-8BCC-AEC4E2573AA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20870" y="3825476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53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295" name="Freeform: Shape 1294">
                      <a:extLst>
                        <a:ext uri="{FF2B5EF4-FFF2-40B4-BE49-F238E27FC236}">
                          <a16:creationId xmlns:a16="http://schemas.microsoft.com/office/drawing/2014/main" id="{86E07511-5F93-492A-BD12-5AA4370DBF6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29547" y="3825476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53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296" name="Freeform: Shape 1295">
                      <a:extLst>
                        <a:ext uri="{FF2B5EF4-FFF2-40B4-BE49-F238E27FC236}">
                          <a16:creationId xmlns:a16="http://schemas.microsoft.com/office/drawing/2014/main" id="{8AA644E8-3B35-4259-A15E-E0EAB0AC3CF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38246" y="3825476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48" y="16353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297" name="Freeform: Shape 1296">
                      <a:extLst>
                        <a:ext uri="{FF2B5EF4-FFF2-40B4-BE49-F238E27FC236}">
                          <a16:creationId xmlns:a16="http://schemas.microsoft.com/office/drawing/2014/main" id="{85BBD986-00EB-47D6-AC92-86922D6071A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46923" y="3825476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53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298" name="Freeform: Shape 1297">
                      <a:extLst>
                        <a:ext uri="{FF2B5EF4-FFF2-40B4-BE49-F238E27FC236}">
                          <a16:creationId xmlns:a16="http://schemas.microsoft.com/office/drawing/2014/main" id="{689A9121-40DC-4A18-9800-DA931D8B7FE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55600" y="3825476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53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1204" name="Graphic 174">
                    <a:extLst>
                      <a:ext uri="{FF2B5EF4-FFF2-40B4-BE49-F238E27FC236}">
                        <a16:creationId xmlns:a16="http://schemas.microsoft.com/office/drawing/2014/main" id="{7A3C9F5B-3DE2-425D-B4F2-2B625C9F4190}"/>
                      </a:ext>
                    </a:extLst>
                  </p:cNvPr>
                  <p:cNvGrpSpPr/>
                  <p:nvPr/>
                </p:nvGrpSpPr>
                <p:grpSpPr>
                  <a:xfrm>
                    <a:off x="6367624" y="3806076"/>
                    <a:ext cx="181441" cy="18609"/>
                    <a:chOff x="6367624" y="3806076"/>
                    <a:chExt cx="181441" cy="18609"/>
                  </a:xfrm>
                  <a:solidFill>
                    <a:schemeClr val="accent1"/>
                  </a:solidFill>
                </p:grpSpPr>
                <p:sp>
                  <p:nvSpPr>
                    <p:cNvPr id="1253" name="Freeform: Shape 1252">
                      <a:extLst>
                        <a:ext uri="{FF2B5EF4-FFF2-40B4-BE49-F238E27FC236}">
                          <a16:creationId xmlns:a16="http://schemas.microsoft.com/office/drawing/2014/main" id="{E4AB5041-7904-4C26-89E8-5F456E39B5C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67624" y="3806076"/>
                      <a:ext cx="181441" cy="18609"/>
                    </a:xfrm>
                    <a:custGeom>
                      <a:avLst/>
                      <a:gdLst>
                        <a:gd name="connsiteX0" fmla="*/ 181441 w 181441"/>
                        <a:gd name="connsiteY0" fmla="*/ 18633 h 18609"/>
                        <a:gd name="connsiteX1" fmla="*/ 1605 w 181441"/>
                        <a:gd name="connsiteY1" fmla="*/ 18633 h 18609"/>
                        <a:gd name="connsiteX2" fmla="*/ 0 w 181441"/>
                        <a:gd name="connsiteY2" fmla="*/ 17028 h 18609"/>
                        <a:gd name="connsiteX3" fmla="*/ 0 w 181441"/>
                        <a:gd name="connsiteY3" fmla="*/ 1605 h 18609"/>
                        <a:gd name="connsiteX4" fmla="*/ 1605 w 181441"/>
                        <a:gd name="connsiteY4" fmla="*/ 0 h 18609"/>
                        <a:gd name="connsiteX5" fmla="*/ 181441 w 181441"/>
                        <a:gd name="connsiteY5" fmla="*/ 0 h 18609"/>
                        <a:gd name="connsiteX6" fmla="*/ 183046 w 181441"/>
                        <a:gd name="connsiteY6" fmla="*/ 1605 h 18609"/>
                        <a:gd name="connsiteX7" fmla="*/ 183046 w 181441"/>
                        <a:gd name="connsiteY7" fmla="*/ 17028 h 18609"/>
                        <a:gd name="connsiteX8" fmla="*/ 181441 w 181441"/>
                        <a:gd name="connsiteY8" fmla="*/ 18633 h 1860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181441" h="18609">
                          <a:moveTo>
                            <a:pt x="181441" y="18633"/>
                          </a:moveTo>
                          <a:lnTo>
                            <a:pt x="1605" y="18633"/>
                          </a:lnTo>
                          <a:cubicBezTo>
                            <a:pt x="721" y="18633"/>
                            <a:pt x="0" y="17912"/>
                            <a:pt x="0" y="17028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181441" y="0"/>
                          </a:lnTo>
                          <a:cubicBezTo>
                            <a:pt x="182325" y="0"/>
                            <a:pt x="183046" y="721"/>
                            <a:pt x="183046" y="1605"/>
                          </a:cubicBezTo>
                          <a:lnTo>
                            <a:pt x="183046" y="17028"/>
                          </a:lnTo>
                          <a:cubicBezTo>
                            <a:pt x="183046" y="17912"/>
                            <a:pt x="182325" y="18633"/>
                            <a:pt x="181441" y="18633"/>
                          </a:cubicBezTo>
                          <a:close/>
                        </a:path>
                      </a:pathLst>
                    </a:custGeom>
                    <a:solidFill>
                      <a:srgbClr val="F19439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254" name="Freeform: Shape 1253">
                      <a:extLst>
                        <a:ext uri="{FF2B5EF4-FFF2-40B4-BE49-F238E27FC236}">
                          <a16:creationId xmlns:a16="http://schemas.microsoft.com/office/drawing/2014/main" id="{A864DB9F-44D8-4B1D-A482-36019223B53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55600" y="3806867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255" name="Freeform: Shape 1254">
                      <a:extLst>
                        <a:ext uri="{FF2B5EF4-FFF2-40B4-BE49-F238E27FC236}">
                          <a16:creationId xmlns:a16="http://schemas.microsoft.com/office/drawing/2014/main" id="{F6F58F7A-1EC0-446B-A027-01228463F66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64300" y="3806867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48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256" name="Freeform: Shape 1255">
                      <a:extLst>
                        <a:ext uri="{FF2B5EF4-FFF2-40B4-BE49-F238E27FC236}">
                          <a16:creationId xmlns:a16="http://schemas.microsoft.com/office/drawing/2014/main" id="{B610A8D3-33AD-43B8-B263-F7DC3E895F6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72976" y="3806867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257" name="Freeform: Shape 1256">
                      <a:extLst>
                        <a:ext uri="{FF2B5EF4-FFF2-40B4-BE49-F238E27FC236}">
                          <a16:creationId xmlns:a16="http://schemas.microsoft.com/office/drawing/2014/main" id="{060785EF-8684-4280-BB4D-158982DB05B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81653" y="3806867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258" name="Freeform: Shape 1257">
                      <a:extLst>
                        <a:ext uri="{FF2B5EF4-FFF2-40B4-BE49-F238E27FC236}">
                          <a16:creationId xmlns:a16="http://schemas.microsoft.com/office/drawing/2014/main" id="{47AE2BF9-9C47-4AD1-88DB-D67048611D6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90353" y="3806867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48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259" name="Freeform: Shape 1258">
                      <a:extLst>
                        <a:ext uri="{FF2B5EF4-FFF2-40B4-BE49-F238E27FC236}">
                          <a16:creationId xmlns:a16="http://schemas.microsoft.com/office/drawing/2014/main" id="{5165296B-3B8A-48B1-8577-3738C6B38D2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99029" y="3806867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260" name="Freeform: Shape 1259">
                      <a:extLst>
                        <a:ext uri="{FF2B5EF4-FFF2-40B4-BE49-F238E27FC236}">
                          <a16:creationId xmlns:a16="http://schemas.microsoft.com/office/drawing/2014/main" id="{755E7B0C-132E-4211-9D72-BC591E77CB6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07706" y="3806867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261" name="Freeform: Shape 1260">
                      <a:extLst>
                        <a:ext uri="{FF2B5EF4-FFF2-40B4-BE49-F238E27FC236}">
                          <a16:creationId xmlns:a16="http://schemas.microsoft.com/office/drawing/2014/main" id="{74CAFE11-33E3-4208-9165-80DF3277159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16383" y="3806867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74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262" name="Freeform: Shape 1261">
                      <a:extLst>
                        <a:ext uri="{FF2B5EF4-FFF2-40B4-BE49-F238E27FC236}">
                          <a16:creationId xmlns:a16="http://schemas.microsoft.com/office/drawing/2014/main" id="{7940F12A-0487-4A26-91FF-ACA464B768D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25082" y="3806867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263" name="Freeform: Shape 1262">
                      <a:extLst>
                        <a:ext uri="{FF2B5EF4-FFF2-40B4-BE49-F238E27FC236}">
                          <a16:creationId xmlns:a16="http://schemas.microsoft.com/office/drawing/2014/main" id="{11F2C9B6-FFD7-41A5-959C-18214DF84EB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33759" y="3806867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264" name="Freeform: Shape 1263">
                      <a:extLst>
                        <a:ext uri="{FF2B5EF4-FFF2-40B4-BE49-F238E27FC236}">
                          <a16:creationId xmlns:a16="http://schemas.microsoft.com/office/drawing/2014/main" id="{379A95E0-112E-4F39-BCB0-BCFB177FC9E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42436" y="3806867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74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265" name="Freeform: Shape 1264">
                      <a:extLst>
                        <a:ext uri="{FF2B5EF4-FFF2-40B4-BE49-F238E27FC236}">
                          <a16:creationId xmlns:a16="http://schemas.microsoft.com/office/drawing/2014/main" id="{888D8D34-995B-498D-8A4E-5DFA32499B6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86140" y="3806867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48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266" name="Freeform: Shape 1265">
                      <a:extLst>
                        <a:ext uri="{FF2B5EF4-FFF2-40B4-BE49-F238E27FC236}">
                          <a16:creationId xmlns:a16="http://schemas.microsoft.com/office/drawing/2014/main" id="{AF1BD995-EA3A-4A1A-946C-D7ECF3C3C39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94817" y="3806867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267" name="Freeform: Shape 1266">
                      <a:extLst>
                        <a:ext uri="{FF2B5EF4-FFF2-40B4-BE49-F238E27FC236}">
                          <a16:creationId xmlns:a16="http://schemas.microsoft.com/office/drawing/2014/main" id="{7F131AC4-1AE0-45D6-903B-856E43C86A6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03494" y="3806867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268" name="Freeform: Shape 1267">
                      <a:extLst>
                        <a:ext uri="{FF2B5EF4-FFF2-40B4-BE49-F238E27FC236}">
                          <a16:creationId xmlns:a16="http://schemas.microsoft.com/office/drawing/2014/main" id="{9438E7BD-F339-4205-B4C1-0880C90F5BD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68764" y="3806867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269" name="Freeform: Shape 1268">
                      <a:extLst>
                        <a:ext uri="{FF2B5EF4-FFF2-40B4-BE49-F238E27FC236}">
                          <a16:creationId xmlns:a16="http://schemas.microsoft.com/office/drawing/2014/main" id="{391057C6-98A7-4022-9513-4466B9CA7CC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77440" y="3806867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270" name="Freeform: Shape 1269">
                      <a:extLst>
                        <a:ext uri="{FF2B5EF4-FFF2-40B4-BE49-F238E27FC236}">
                          <a16:creationId xmlns:a16="http://schemas.microsoft.com/office/drawing/2014/main" id="{35E1F42C-A1D7-4782-A276-BBEFFE44FF3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86140" y="3806867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48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271" name="Freeform: Shape 1270">
                      <a:extLst>
                        <a:ext uri="{FF2B5EF4-FFF2-40B4-BE49-F238E27FC236}">
                          <a16:creationId xmlns:a16="http://schemas.microsoft.com/office/drawing/2014/main" id="{1E71CC7B-9A40-45CF-9402-908E9E553FE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12193" y="3806867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48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272" name="Freeform: Shape 1271">
                      <a:extLst>
                        <a:ext uri="{FF2B5EF4-FFF2-40B4-BE49-F238E27FC236}">
                          <a16:creationId xmlns:a16="http://schemas.microsoft.com/office/drawing/2014/main" id="{C794098B-DF70-41A5-9BBF-457EA3FA75D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20870" y="3806867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273" name="Freeform: Shape 1272">
                      <a:extLst>
                        <a:ext uri="{FF2B5EF4-FFF2-40B4-BE49-F238E27FC236}">
                          <a16:creationId xmlns:a16="http://schemas.microsoft.com/office/drawing/2014/main" id="{86E41606-6E9B-45B1-AB4F-01543E5770A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29547" y="3806867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274" name="Freeform: Shape 1273">
                      <a:extLst>
                        <a:ext uri="{FF2B5EF4-FFF2-40B4-BE49-F238E27FC236}">
                          <a16:creationId xmlns:a16="http://schemas.microsoft.com/office/drawing/2014/main" id="{EE56E4A1-D6CD-40C7-BC4E-85256DDD40E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38246" y="3806867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48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275" name="Freeform: Shape 1274">
                      <a:extLst>
                        <a:ext uri="{FF2B5EF4-FFF2-40B4-BE49-F238E27FC236}">
                          <a16:creationId xmlns:a16="http://schemas.microsoft.com/office/drawing/2014/main" id="{3E792677-1E4E-47F5-81D7-0FC11951CC7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46923" y="3806867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1205" name="Graphic 174">
                    <a:extLst>
                      <a:ext uri="{FF2B5EF4-FFF2-40B4-BE49-F238E27FC236}">
                        <a16:creationId xmlns:a16="http://schemas.microsoft.com/office/drawing/2014/main" id="{B50D695C-ACD8-4929-A906-938EA27F2A4E}"/>
                      </a:ext>
                    </a:extLst>
                  </p:cNvPr>
                  <p:cNvGrpSpPr/>
                  <p:nvPr/>
                </p:nvGrpSpPr>
                <p:grpSpPr>
                  <a:xfrm>
                    <a:off x="6373812" y="3787280"/>
                    <a:ext cx="181441" cy="18609"/>
                    <a:chOff x="6373812" y="3787280"/>
                    <a:chExt cx="181441" cy="18609"/>
                  </a:xfrm>
                  <a:solidFill>
                    <a:schemeClr val="accent1"/>
                  </a:solidFill>
                </p:grpSpPr>
                <p:sp>
                  <p:nvSpPr>
                    <p:cNvPr id="1230" name="Freeform: Shape 1229">
                      <a:extLst>
                        <a:ext uri="{FF2B5EF4-FFF2-40B4-BE49-F238E27FC236}">
                          <a16:creationId xmlns:a16="http://schemas.microsoft.com/office/drawing/2014/main" id="{9D592A39-B6E4-4C51-949B-9607188FA56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73812" y="3787280"/>
                      <a:ext cx="181441" cy="18609"/>
                    </a:xfrm>
                    <a:custGeom>
                      <a:avLst/>
                      <a:gdLst>
                        <a:gd name="connsiteX0" fmla="*/ 181441 w 181441"/>
                        <a:gd name="connsiteY0" fmla="*/ 18633 h 18609"/>
                        <a:gd name="connsiteX1" fmla="*/ 1605 w 181441"/>
                        <a:gd name="connsiteY1" fmla="*/ 18633 h 18609"/>
                        <a:gd name="connsiteX2" fmla="*/ 0 w 181441"/>
                        <a:gd name="connsiteY2" fmla="*/ 17028 h 18609"/>
                        <a:gd name="connsiteX3" fmla="*/ 0 w 181441"/>
                        <a:gd name="connsiteY3" fmla="*/ 1605 h 18609"/>
                        <a:gd name="connsiteX4" fmla="*/ 1605 w 181441"/>
                        <a:gd name="connsiteY4" fmla="*/ 0 h 18609"/>
                        <a:gd name="connsiteX5" fmla="*/ 181441 w 181441"/>
                        <a:gd name="connsiteY5" fmla="*/ 0 h 18609"/>
                        <a:gd name="connsiteX6" fmla="*/ 183046 w 181441"/>
                        <a:gd name="connsiteY6" fmla="*/ 1605 h 18609"/>
                        <a:gd name="connsiteX7" fmla="*/ 183046 w 181441"/>
                        <a:gd name="connsiteY7" fmla="*/ 17028 h 18609"/>
                        <a:gd name="connsiteX8" fmla="*/ 181441 w 181441"/>
                        <a:gd name="connsiteY8" fmla="*/ 18633 h 1860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181441" h="18609">
                          <a:moveTo>
                            <a:pt x="181441" y="18633"/>
                          </a:moveTo>
                          <a:lnTo>
                            <a:pt x="1605" y="18633"/>
                          </a:lnTo>
                          <a:cubicBezTo>
                            <a:pt x="721" y="18633"/>
                            <a:pt x="0" y="17912"/>
                            <a:pt x="0" y="17028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181441" y="0"/>
                          </a:lnTo>
                          <a:cubicBezTo>
                            <a:pt x="182325" y="0"/>
                            <a:pt x="183046" y="721"/>
                            <a:pt x="183046" y="1605"/>
                          </a:cubicBezTo>
                          <a:lnTo>
                            <a:pt x="183046" y="17028"/>
                          </a:lnTo>
                          <a:cubicBezTo>
                            <a:pt x="183046" y="17912"/>
                            <a:pt x="182325" y="18633"/>
                            <a:pt x="181441" y="18633"/>
                          </a:cubicBezTo>
                          <a:close/>
                        </a:path>
                      </a:pathLst>
                    </a:custGeom>
                    <a:solidFill>
                      <a:srgbClr val="F19439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231" name="Freeform: Shape 1230">
                      <a:extLst>
                        <a:ext uri="{FF2B5EF4-FFF2-40B4-BE49-F238E27FC236}">
                          <a16:creationId xmlns:a16="http://schemas.microsoft.com/office/drawing/2014/main" id="{EC0E2054-5B67-4A65-AE6B-3E74535470C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61787" y="3788071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232" name="Freeform: Shape 1231">
                      <a:extLst>
                        <a:ext uri="{FF2B5EF4-FFF2-40B4-BE49-F238E27FC236}">
                          <a16:creationId xmlns:a16="http://schemas.microsoft.com/office/drawing/2014/main" id="{650580FA-D861-497D-9913-4268DDA4F91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70487" y="3788071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233" name="Freeform: Shape 1232">
                      <a:extLst>
                        <a:ext uri="{FF2B5EF4-FFF2-40B4-BE49-F238E27FC236}">
                          <a16:creationId xmlns:a16="http://schemas.microsoft.com/office/drawing/2014/main" id="{96A29693-2B23-449F-959A-2131328A41C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79164" y="3788071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234" name="Freeform: Shape 1233">
                      <a:extLst>
                        <a:ext uri="{FF2B5EF4-FFF2-40B4-BE49-F238E27FC236}">
                          <a16:creationId xmlns:a16="http://schemas.microsoft.com/office/drawing/2014/main" id="{C3A95599-4025-4C63-9514-CAE787F1765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87840" y="3788071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235" name="Freeform: Shape 1234">
                      <a:extLst>
                        <a:ext uri="{FF2B5EF4-FFF2-40B4-BE49-F238E27FC236}">
                          <a16:creationId xmlns:a16="http://schemas.microsoft.com/office/drawing/2014/main" id="{063A6EFE-B893-465D-926B-20C2C113240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96540" y="3788071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236" name="Freeform: Shape 1235">
                      <a:extLst>
                        <a:ext uri="{FF2B5EF4-FFF2-40B4-BE49-F238E27FC236}">
                          <a16:creationId xmlns:a16="http://schemas.microsoft.com/office/drawing/2014/main" id="{76FB7400-D3CA-4DBC-B48E-BE9AB07A96F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05217" y="3788071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237" name="Freeform: Shape 1236">
                      <a:extLst>
                        <a:ext uri="{FF2B5EF4-FFF2-40B4-BE49-F238E27FC236}">
                          <a16:creationId xmlns:a16="http://schemas.microsoft.com/office/drawing/2014/main" id="{61A06FFB-2543-443B-B0BA-38F88C63B0F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13894" y="3788071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238" name="Freeform: Shape 1237">
                      <a:extLst>
                        <a:ext uri="{FF2B5EF4-FFF2-40B4-BE49-F238E27FC236}">
                          <a16:creationId xmlns:a16="http://schemas.microsoft.com/office/drawing/2014/main" id="{04160CB0-9E81-4E0D-9A7E-7FD17499EE2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22593" y="3788071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239" name="Freeform: Shape 1238">
                      <a:extLst>
                        <a:ext uri="{FF2B5EF4-FFF2-40B4-BE49-F238E27FC236}">
                          <a16:creationId xmlns:a16="http://schemas.microsoft.com/office/drawing/2014/main" id="{F8854F54-9618-473D-BB16-FC1BCCE7E91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31270" y="3788071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240" name="Freeform: Shape 1239">
                      <a:extLst>
                        <a:ext uri="{FF2B5EF4-FFF2-40B4-BE49-F238E27FC236}">
                          <a16:creationId xmlns:a16="http://schemas.microsoft.com/office/drawing/2014/main" id="{42FFD5E8-12D0-40FA-A820-46916211BA8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39947" y="3788071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241" name="Freeform: Shape 1240">
                      <a:extLst>
                        <a:ext uri="{FF2B5EF4-FFF2-40B4-BE49-F238E27FC236}">
                          <a16:creationId xmlns:a16="http://schemas.microsoft.com/office/drawing/2014/main" id="{6E2FC361-2158-4F15-B594-19B6CDC6991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48647" y="3788071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242" name="Freeform: Shape 1241">
                      <a:extLst>
                        <a:ext uri="{FF2B5EF4-FFF2-40B4-BE49-F238E27FC236}">
                          <a16:creationId xmlns:a16="http://schemas.microsoft.com/office/drawing/2014/main" id="{4D03F2B3-164D-40C9-A6F8-FCE036A95CB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92328" y="3788071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243" name="Freeform: Shape 1242">
                      <a:extLst>
                        <a:ext uri="{FF2B5EF4-FFF2-40B4-BE49-F238E27FC236}">
                          <a16:creationId xmlns:a16="http://schemas.microsoft.com/office/drawing/2014/main" id="{0959CF36-CE67-4A6F-80B0-21055B33B73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01004" y="3788071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244" name="Freeform: Shape 1243">
                      <a:extLst>
                        <a:ext uri="{FF2B5EF4-FFF2-40B4-BE49-F238E27FC236}">
                          <a16:creationId xmlns:a16="http://schemas.microsoft.com/office/drawing/2014/main" id="{B69D27C6-ED48-460D-8F78-D81F5E829F8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09681" y="3788071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245" name="Freeform: Shape 1244">
                      <a:extLst>
                        <a:ext uri="{FF2B5EF4-FFF2-40B4-BE49-F238E27FC236}">
                          <a16:creationId xmlns:a16="http://schemas.microsoft.com/office/drawing/2014/main" id="{E72D5FB3-532B-4EAB-9179-4261FEA22AB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74951" y="3788071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246" name="Freeform: Shape 1245">
                      <a:extLst>
                        <a:ext uri="{FF2B5EF4-FFF2-40B4-BE49-F238E27FC236}">
                          <a16:creationId xmlns:a16="http://schemas.microsoft.com/office/drawing/2014/main" id="{DC5B4EEF-07E9-4856-895A-2763AE5379A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83628" y="3788071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247" name="Freeform: Shape 1246">
                      <a:extLst>
                        <a:ext uri="{FF2B5EF4-FFF2-40B4-BE49-F238E27FC236}">
                          <a16:creationId xmlns:a16="http://schemas.microsoft.com/office/drawing/2014/main" id="{EABAD67D-8374-4D3C-A763-4AD95A66BB0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92328" y="3788071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248" name="Freeform: Shape 1247">
                      <a:extLst>
                        <a:ext uri="{FF2B5EF4-FFF2-40B4-BE49-F238E27FC236}">
                          <a16:creationId xmlns:a16="http://schemas.microsoft.com/office/drawing/2014/main" id="{CB255E09-4B14-4BB9-9D4E-860F382EF6A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18381" y="3788071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249" name="Freeform: Shape 1248">
                      <a:extLst>
                        <a:ext uri="{FF2B5EF4-FFF2-40B4-BE49-F238E27FC236}">
                          <a16:creationId xmlns:a16="http://schemas.microsoft.com/office/drawing/2014/main" id="{A715C9B3-E303-484D-A4D6-8D61EA37C69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27058" y="3788071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250" name="Freeform: Shape 1249">
                      <a:extLst>
                        <a:ext uri="{FF2B5EF4-FFF2-40B4-BE49-F238E27FC236}">
                          <a16:creationId xmlns:a16="http://schemas.microsoft.com/office/drawing/2014/main" id="{1E2CF748-BD38-444D-83C1-1885ED71F2B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35734" y="3788071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251" name="Freeform: Shape 1250">
                      <a:extLst>
                        <a:ext uri="{FF2B5EF4-FFF2-40B4-BE49-F238E27FC236}">
                          <a16:creationId xmlns:a16="http://schemas.microsoft.com/office/drawing/2014/main" id="{B5E7E637-88F6-4DEE-B5FF-F21608CD5E6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44434" y="3788071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252" name="Freeform: Shape 1251">
                      <a:extLst>
                        <a:ext uri="{FF2B5EF4-FFF2-40B4-BE49-F238E27FC236}">
                          <a16:creationId xmlns:a16="http://schemas.microsoft.com/office/drawing/2014/main" id="{9C3882CC-11E0-4719-B45F-01EE8ADC1B4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53111" y="3788071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1206" name="Graphic 174">
                    <a:extLst>
                      <a:ext uri="{FF2B5EF4-FFF2-40B4-BE49-F238E27FC236}">
                        <a16:creationId xmlns:a16="http://schemas.microsoft.com/office/drawing/2014/main" id="{200DABEC-6BE6-4BE6-8567-427E48CE21C7}"/>
                      </a:ext>
                    </a:extLst>
                  </p:cNvPr>
                  <p:cNvGrpSpPr/>
                  <p:nvPr/>
                </p:nvGrpSpPr>
                <p:grpSpPr>
                  <a:xfrm>
                    <a:off x="6382488" y="3768648"/>
                    <a:ext cx="181441" cy="18609"/>
                    <a:chOff x="6382488" y="3768648"/>
                    <a:chExt cx="181441" cy="18609"/>
                  </a:xfrm>
                  <a:solidFill>
                    <a:schemeClr val="accent1"/>
                  </a:solidFill>
                </p:grpSpPr>
                <p:sp>
                  <p:nvSpPr>
                    <p:cNvPr id="1207" name="Freeform: Shape 1206">
                      <a:extLst>
                        <a:ext uri="{FF2B5EF4-FFF2-40B4-BE49-F238E27FC236}">
                          <a16:creationId xmlns:a16="http://schemas.microsoft.com/office/drawing/2014/main" id="{3079474A-76F3-4AD2-84C6-AB8F5FF230F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82488" y="3768648"/>
                      <a:ext cx="181441" cy="18609"/>
                    </a:xfrm>
                    <a:custGeom>
                      <a:avLst/>
                      <a:gdLst>
                        <a:gd name="connsiteX0" fmla="*/ 181441 w 181441"/>
                        <a:gd name="connsiteY0" fmla="*/ 18633 h 18609"/>
                        <a:gd name="connsiteX1" fmla="*/ 1605 w 181441"/>
                        <a:gd name="connsiteY1" fmla="*/ 18633 h 18609"/>
                        <a:gd name="connsiteX2" fmla="*/ 0 w 181441"/>
                        <a:gd name="connsiteY2" fmla="*/ 17028 h 18609"/>
                        <a:gd name="connsiteX3" fmla="*/ 0 w 181441"/>
                        <a:gd name="connsiteY3" fmla="*/ 1605 h 18609"/>
                        <a:gd name="connsiteX4" fmla="*/ 1605 w 181441"/>
                        <a:gd name="connsiteY4" fmla="*/ 0 h 18609"/>
                        <a:gd name="connsiteX5" fmla="*/ 181441 w 181441"/>
                        <a:gd name="connsiteY5" fmla="*/ 0 h 18609"/>
                        <a:gd name="connsiteX6" fmla="*/ 183046 w 181441"/>
                        <a:gd name="connsiteY6" fmla="*/ 1605 h 18609"/>
                        <a:gd name="connsiteX7" fmla="*/ 183046 w 181441"/>
                        <a:gd name="connsiteY7" fmla="*/ 17028 h 18609"/>
                        <a:gd name="connsiteX8" fmla="*/ 181441 w 181441"/>
                        <a:gd name="connsiteY8" fmla="*/ 18633 h 1860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181441" h="18609">
                          <a:moveTo>
                            <a:pt x="181441" y="18633"/>
                          </a:moveTo>
                          <a:lnTo>
                            <a:pt x="1605" y="18633"/>
                          </a:lnTo>
                          <a:cubicBezTo>
                            <a:pt x="721" y="18633"/>
                            <a:pt x="0" y="17912"/>
                            <a:pt x="0" y="17028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181441" y="0"/>
                          </a:lnTo>
                          <a:cubicBezTo>
                            <a:pt x="182325" y="0"/>
                            <a:pt x="183046" y="721"/>
                            <a:pt x="183046" y="1605"/>
                          </a:cubicBezTo>
                          <a:lnTo>
                            <a:pt x="183046" y="17028"/>
                          </a:lnTo>
                          <a:cubicBezTo>
                            <a:pt x="183046" y="17912"/>
                            <a:pt x="182325" y="18633"/>
                            <a:pt x="181441" y="18633"/>
                          </a:cubicBezTo>
                          <a:close/>
                        </a:path>
                      </a:pathLst>
                    </a:custGeom>
                    <a:solidFill>
                      <a:srgbClr val="F19439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208" name="Freeform: Shape 1207">
                      <a:extLst>
                        <a:ext uri="{FF2B5EF4-FFF2-40B4-BE49-F238E27FC236}">
                          <a16:creationId xmlns:a16="http://schemas.microsoft.com/office/drawing/2014/main" id="{153067C6-DEC6-4680-B550-4DCBA86C11D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70487" y="3769439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209" name="Freeform: Shape 1208">
                      <a:extLst>
                        <a:ext uri="{FF2B5EF4-FFF2-40B4-BE49-F238E27FC236}">
                          <a16:creationId xmlns:a16="http://schemas.microsoft.com/office/drawing/2014/main" id="{DAD1BC5D-0570-4E43-96FD-6BBE42FFCDE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79164" y="3769439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210" name="Freeform: Shape 1209">
                      <a:extLst>
                        <a:ext uri="{FF2B5EF4-FFF2-40B4-BE49-F238E27FC236}">
                          <a16:creationId xmlns:a16="http://schemas.microsoft.com/office/drawing/2014/main" id="{E22801D0-5323-4EBF-AC50-B234E702CDC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87840" y="3769439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211" name="Freeform: Shape 1210">
                      <a:extLst>
                        <a:ext uri="{FF2B5EF4-FFF2-40B4-BE49-F238E27FC236}">
                          <a16:creationId xmlns:a16="http://schemas.microsoft.com/office/drawing/2014/main" id="{4347E2B1-8BA2-4C0F-87BA-6A09A22A528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96540" y="3769439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212" name="Freeform: Shape 1211">
                      <a:extLst>
                        <a:ext uri="{FF2B5EF4-FFF2-40B4-BE49-F238E27FC236}">
                          <a16:creationId xmlns:a16="http://schemas.microsoft.com/office/drawing/2014/main" id="{680DDC72-8890-459F-8965-57D1B7F599F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05217" y="3769439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213" name="Freeform: Shape 1212">
                      <a:extLst>
                        <a:ext uri="{FF2B5EF4-FFF2-40B4-BE49-F238E27FC236}">
                          <a16:creationId xmlns:a16="http://schemas.microsoft.com/office/drawing/2014/main" id="{1A2BA48B-4FE2-4C8A-AA5A-4E977807938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13894" y="3769439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214" name="Freeform: Shape 1213">
                      <a:extLst>
                        <a:ext uri="{FF2B5EF4-FFF2-40B4-BE49-F238E27FC236}">
                          <a16:creationId xmlns:a16="http://schemas.microsoft.com/office/drawing/2014/main" id="{41E176CD-27FE-4E54-B159-4039BF6C995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22593" y="3769439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215" name="Freeform: Shape 1214">
                      <a:extLst>
                        <a:ext uri="{FF2B5EF4-FFF2-40B4-BE49-F238E27FC236}">
                          <a16:creationId xmlns:a16="http://schemas.microsoft.com/office/drawing/2014/main" id="{CA97FEE0-0106-45B6-BB83-9B3FC1C6907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31270" y="3769439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216" name="Freeform: Shape 1215">
                      <a:extLst>
                        <a:ext uri="{FF2B5EF4-FFF2-40B4-BE49-F238E27FC236}">
                          <a16:creationId xmlns:a16="http://schemas.microsoft.com/office/drawing/2014/main" id="{93C2726E-F307-4180-A868-5A6BA81402B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39947" y="3769439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217" name="Freeform: Shape 1216">
                      <a:extLst>
                        <a:ext uri="{FF2B5EF4-FFF2-40B4-BE49-F238E27FC236}">
                          <a16:creationId xmlns:a16="http://schemas.microsoft.com/office/drawing/2014/main" id="{DD85602C-BF90-4110-8C09-602AC33A421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48647" y="3769439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218" name="Freeform: Shape 1217">
                      <a:extLst>
                        <a:ext uri="{FF2B5EF4-FFF2-40B4-BE49-F238E27FC236}">
                          <a16:creationId xmlns:a16="http://schemas.microsoft.com/office/drawing/2014/main" id="{07233DA6-46C4-4219-A012-ACB5EA74BAA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57323" y="3769439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219" name="Freeform: Shape 1218">
                      <a:extLst>
                        <a:ext uri="{FF2B5EF4-FFF2-40B4-BE49-F238E27FC236}">
                          <a16:creationId xmlns:a16="http://schemas.microsoft.com/office/drawing/2014/main" id="{9E8D74B9-BBAE-479E-A97C-7D397199304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01004" y="3769439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220" name="Freeform: Shape 1219">
                      <a:extLst>
                        <a:ext uri="{FF2B5EF4-FFF2-40B4-BE49-F238E27FC236}">
                          <a16:creationId xmlns:a16="http://schemas.microsoft.com/office/drawing/2014/main" id="{8F9255E8-AB2D-48D6-A9F5-51473EA7432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09681" y="3769439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221" name="Freeform: Shape 1220">
                      <a:extLst>
                        <a:ext uri="{FF2B5EF4-FFF2-40B4-BE49-F238E27FC236}">
                          <a16:creationId xmlns:a16="http://schemas.microsoft.com/office/drawing/2014/main" id="{4056CBB0-CC44-4A67-AB8C-F0C1DB6AF6C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18381" y="3769439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222" name="Freeform: Shape 1221">
                      <a:extLst>
                        <a:ext uri="{FF2B5EF4-FFF2-40B4-BE49-F238E27FC236}">
                          <a16:creationId xmlns:a16="http://schemas.microsoft.com/office/drawing/2014/main" id="{CC92485D-5368-4260-8946-E236EEEC2A9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83628" y="3769439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223" name="Freeform: Shape 1222">
                      <a:extLst>
                        <a:ext uri="{FF2B5EF4-FFF2-40B4-BE49-F238E27FC236}">
                          <a16:creationId xmlns:a16="http://schemas.microsoft.com/office/drawing/2014/main" id="{459D8139-0305-4334-B6D6-69794160A51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392328" y="3769439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224" name="Freeform: Shape 1223">
                      <a:extLst>
                        <a:ext uri="{FF2B5EF4-FFF2-40B4-BE49-F238E27FC236}">
                          <a16:creationId xmlns:a16="http://schemas.microsoft.com/office/drawing/2014/main" id="{D4F82F71-A406-47AC-A6B7-0A2D2DB8CC7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01004" y="3769439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225" name="Freeform: Shape 1224">
                      <a:extLst>
                        <a:ext uri="{FF2B5EF4-FFF2-40B4-BE49-F238E27FC236}">
                          <a16:creationId xmlns:a16="http://schemas.microsoft.com/office/drawing/2014/main" id="{DE7E0F04-87F6-46F5-A1BB-B98E1D897AF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27058" y="3769439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226" name="Freeform: Shape 1225">
                      <a:extLst>
                        <a:ext uri="{FF2B5EF4-FFF2-40B4-BE49-F238E27FC236}">
                          <a16:creationId xmlns:a16="http://schemas.microsoft.com/office/drawing/2014/main" id="{FFC37CD6-B5EF-41C7-820C-BC8A0F2F142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35734" y="3769439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227" name="Freeform: Shape 1226">
                      <a:extLst>
                        <a:ext uri="{FF2B5EF4-FFF2-40B4-BE49-F238E27FC236}">
                          <a16:creationId xmlns:a16="http://schemas.microsoft.com/office/drawing/2014/main" id="{4D557B0A-ED36-4A5A-8925-88CF02DBD9D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44434" y="3769439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228" name="Freeform: Shape 1227">
                      <a:extLst>
                        <a:ext uri="{FF2B5EF4-FFF2-40B4-BE49-F238E27FC236}">
                          <a16:creationId xmlns:a16="http://schemas.microsoft.com/office/drawing/2014/main" id="{B75A0B40-ED07-42E3-BDF7-67196372605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53111" y="3769439"/>
                      <a:ext cx="6979" cy="16283"/>
                    </a:xfrm>
                    <a:custGeom>
                      <a:avLst/>
                      <a:gdLst>
                        <a:gd name="connsiteX0" fmla="*/ 5466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6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6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6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6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6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229" name="Freeform: Shape 1228">
                      <a:extLst>
                        <a:ext uri="{FF2B5EF4-FFF2-40B4-BE49-F238E27FC236}">
                          <a16:creationId xmlns:a16="http://schemas.microsoft.com/office/drawing/2014/main" id="{E134F64F-3D39-4F2C-A77A-6C8F4C40790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461787" y="3769439"/>
                      <a:ext cx="6979" cy="16283"/>
                    </a:xfrm>
                    <a:custGeom>
                      <a:avLst/>
                      <a:gdLst>
                        <a:gd name="connsiteX0" fmla="*/ 5467 w 6978"/>
                        <a:gd name="connsiteY0" fmla="*/ 17051 h 16283"/>
                        <a:gd name="connsiteX1" fmla="*/ 1605 w 6978"/>
                        <a:gd name="connsiteY1" fmla="*/ 17051 h 16283"/>
                        <a:gd name="connsiteX2" fmla="*/ 0 w 6978"/>
                        <a:gd name="connsiteY2" fmla="*/ 15446 h 16283"/>
                        <a:gd name="connsiteX3" fmla="*/ 0 w 6978"/>
                        <a:gd name="connsiteY3" fmla="*/ 1605 h 16283"/>
                        <a:gd name="connsiteX4" fmla="*/ 1605 w 6978"/>
                        <a:gd name="connsiteY4" fmla="*/ 0 h 16283"/>
                        <a:gd name="connsiteX5" fmla="*/ 5467 w 6978"/>
                        <a:gd name="connsiteY5" fmla="*/ 0 h 16283"/>
                        <a:gd name="connsiteX6" fmla="*/ 7072 w 6978"/>
                        <a:gd name="connsiteY6" fmla="*/ 1605 h 16283"/>
                        <a:gd name="connsiteX7" fmla="*/ 7072 w 6978"/>
                        <a:gd name="connsiteY7" fmla="*/ 15446 h 16283"/>
                        <a:gd name="connsiteX8" fmla="*/ 5467 w 6978"/>
                        <a:gd name="connsiteY8" fmla="*/ 1705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978" h="16283">
                          <a:moveTo>
                            <a:pt x="5467" y="17051"/>
                          </a:moveTo>
                          <a:lnTo>
                            <a:pt x="1605" y="17051"/>
                          </a:lnTo>
                          <a:cubicBezTo>
                            <a:pt x="721" y="17051"/>
                            <a:pt x="0" y="16330"/>
                            <a:pt x="0" y="15446"/>
                          </a:cubicBezTo>
                          <a:lnTo>
                            <a:pt x="0" y="1605"/>
                          </a:lnTo>
                          <a:cubicBezTo>
                            <a:pt x="0" y="721"/>
                            <a:pt x="721" y="0"/>
                            <a:pt x="1605" y="0"/>
                          </a:cubicBezTo>
                          <a:lnTo>
                            <a:pt x="5467" y="0"/>
                          </a:lnTo>
                          <a:cubicBezTo>
                            <a:pt x="6350" y="0"/>
                            <a:pt x="7072" y="721"/>
                            <a:pt x="7072" y="1605"/>
                          </a:cubicBezTo>
                          <a:lnTo>
                            <a:pt x="7072" y="15446"/>
                          </a:lnTo>
                          <a:cubicBezTo>
                            <a:pt x="7072" y="16330"/>
                            <a:pt x="6350" y="17051"/>
                            <a:pt x="5467" y="17051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</p:grpSp>
          </p:grpSp>
          <p:grpSp>
            <p:nvGrpSpPr>
              <p:cNvPr id="53" name="Graphic 174">
                <a:extLst>
                  <a:ext uri="{FF2B5EF4-FFF2-40B4-BE49-F238E27FC236}">
                    <a16:creationId xmlns:a16="http://schemas.microsoft.com/office/drawing/2014/main" id="{30EA998A-2BB4-405B-95C7-D85FC5930DC3}"/>
                  </a:ext>
                </a:extLst>
              </p:cNvPr>
              <p:cNvGrpSpPr/>
              <p:nvPr/>
            </p:nvGrpSpPr>
            <p:grpSpPr>
              <a:xfrm>
                <a:off x="6806973" y="3348596"/>
                <a:ext cx="481500" cy="527305"/>
                <a:chOff x="6806973" y="3348596"/>
                <a:chExt cx="481500" cy="527305"/>
              </a:xfrm>
              <a:solidFill>
                <a:schemeClr val="accent1"/>
              </a:solidFill>
            </p:grpSpPr>
            <p:grpSp>
              <p:nvGrpSpPr>
                <p:cNvPr id="1179" name="Graphic 174">
                  <a:extLst>
                    <a:ext uri="{FF2B5EF4-FFF2-40B4-BE49-F238E27FC236}">
                      <a16:creationId xmlns:a16="http://schemas.microsoft.com/office/drawing/2014/main" id="{20FBBD51-9A83-436D-AED5-D5157199321A}"/>
                    </a:ext>
                  </a:extLst>
                </p:cNvPr>
                <p:cNvGrpSpPr/>
                <p:nvPr/>
              </p:nvGrpSpPr>
              <p:grpSpPr>
                <a:xfrm>
                  <a:off x="6813397" y="3348596"/>
                  <a:ext cx="337295" cy="521062"/>
                  <a:chOff x="6813397" y="3348596"/>
                  <a:chExt cx="337295" cy="521062"/>
                </a:xfrm>
                <a:solidFill>
                  <a:schemeClr val="accent1"/>
                </a:solidFill>
              </p:grpSpPr>
              <p:sp>
                <p:nvSpPr>
                  <p:cNvPr id="1190" name="Freeform: Shape 1189">
                    <a:extLst>
                      <a:ext uri="{FF2B5EF4-FFF2-40B4-BE49-F238E27FC236}">
                        <a16:creationId xmlns:a16="http://schemas.microsoft.com/office/drawing/2014/main" id="{9D7E57DB-B5B7-4CA6-806A-7BA161BCD7CE}"/>
                      </a:ext>
                    </a:extLst>
                  </p:cNvPr>
                  <p:cNvSpPr/>
                  <p:nvPr/>
                </p:nvSpPr>
                <p:spPr>
                  <a:xfrm>
                    <a:off x="6813397" y="3348596"/>
                    <a:ext cx="337295" cy="521062"/>
                  </a:xfrm>
                  <a:custGeom>
                    <a:avLst/>
                    <a:gdLst>
                      <a:gd name="connsiteX0" fmla="*/ 130629 w 337294"/>
                      <a:gd name="connsiteY0" fmla="*/ 9645 h 521062"/>
                      <a:gd name="connsiteX1" fmla="*/ 550 w 337294"/>
                      <a:gd name="connsiteY1" fmla="*/ 451571 h 521062"/>
                      <a:gd name="connsiteX2" fmla="*/ 9645 w 337294"/>
                      <a:gd name="connsiteY2" fmla="*/ 468226 h 521062"/>
                      <a:gd name="connsiteX3" fmla="*/ 191738 w 337294"/>
                      <a:gd name="connsiteY3" fmla="*/ 521821 h 521062"/>
                      <a:gd name="connsiteX4" fmla="*/ 208416 w 337294"/>
                      <a:gd name="connsiteY4" fmla="*/ 512726 h 521062"/>
                      <a:gd name="connsiteX5" fmla="*/ 338496 w 337294"/>
                      <a:gd name="connsiteY5" fmla="*/ 70823 h 521062"/>
                      <a:gd name="connsiteX6" fmla="*/ 329400 w 337294"/>
                      <a:gd name="connsiteY6" fmla="*/ 54145 h 521062"/>
                      <a:gd name="connsiteX7" fmla="*/ 147308 w 337294"/>
                      <a:gd name="connsiteY7" fmla="*/ 550 h 521062"/>
                      <a:gd name="connsiteX8" fmla="*/ 130629 w 337294"/>
                      <a:gd name="connsiteY8" fmla="*/ 9645 h 5210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337294" h="521062">
                        <a:moveTo>
                          <a:pt x="130629" y="9645"/>
                        </a:moveTo>
                        <a:lnTo>
                          <a:pt x="550" y="451571"/>
                        </a:lnTo>
                        <a:cubicBezTo>
                          <a:pt x="-1544" y="458689"/>
                          <a:pt x="2527" y="466133"/>
                          <a:pt x="9645" y="468226"/>
                        </a:cubicBezTo>
                        <a:lnTo>
                          <a:pt x="191738" y="521821"/>
                        </a:lnTo>
                        <a:cubicBezTo>
                          <a:pt x="198856" y="523915"/>
                          <a:pt x="206323" y="519844"/>
                          <a:pt x="208416" y="512726"/>
                        </a:cubicBezTo>
                        <a:lnTo>
                          <a:pt x="338496" y="70823"/>
                        </a:lnTo>
                        <a:cubicBezTo>
                          <a:pt x="340589" y="63705"/>
                          <a:pt x="336518" y="56238"/>
                          <a:pt x="329400" y="54145"/>
                        </a:cubicBezTo>
                        <a:lnTo>
                          <a:pt x="147308" y="550"/>
                        </a:lnTo>
                        <a:cubicBezTo>
                          <a:pt x="140190" y="-1544"/>
                          <a:pt x="132746" y="2527"/>
                          <a:pt x="130629" y="9645"/>
                        </a:cubicBezTo>
                        <a:close/>
                      </a:path>
                    </a:pathLst>
                  </a:custGeom>
                  <a:solidFill>
                    <a:srgbClr val="90855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191" name="Freeform: Shape 1190">
                    <a:extLst>
                      <a:ext uri="{FF2B5EF4-FFF2-40B4-BE49-F238E27FC236}">
                        <a16:creationId xmlns:a16="http://schemas.microsoft.com/office/drawing/2014/main" id="{6943F453-2F64-4AC7-B179-DFF224DA08E9}"/>
                      </a:ext>
                    </a:extLst>
                  </p:cNvPr>
                  <p:cNvSpPr/>
                  <p:nvPr/>
                </p:nvSpPr>
                <p:spPr>
                  <a:xfrm>
                    <a:off x="6913057" y="3388217"/>
                    <a:ext cx="197724" cy="202377"/>
                  </a:xfrm>
                  <a:custGeom>
                    <a:avLst/>
                    <a:gdLst>
                      <a:gd name="connsiteX0" fmla="*/ 95707 w 197724"/>
                      <a:gd name="connsiteY0" fmla="*/ 4451 h 202376"/>
                      <a:gd name="connsiteX1" fmla="*/ 41530 w 197724"/>
                      <a:gd name="connsiteY1" fmla="*/ 33994 h 202376"/>
                      <a:gd name="connsiteX2" fmla="*/ 33179 w 197724"/>
                      <a:gd name="connsiteY2" fmla="*/ 39274 h 202376"/>
                      <a:gd name="connsiteX3" fmla="*/ 171 w 197724"/>
                      <a:gd name="connsiteY3" fmla="*/ 151419 h 202376"/>
                      <a:gd name="connsiteX4" fmla="*/ 1636 w 197724"/>
                      <a:gd name="connsiteY4" fmla="*/ 156071 h 202376"/>
                      <a:gd name="connsiteX5" fmla="*/ 6498 w 197724"/>
                      <a:gd name="connsiteY5" fmla="*/ 156490 h 202376"/>
                      <a:gd name="connsiteX6" fmla="*/ 90891 w 197724"/>
                      <a:gd name="connsiteY6" fmla="*/ 150140 h 202376"/>
                      <a:gd name="connsiteX7" fmla="*/ 158397 w 197724"/>
                      <a:gd name="connsiteY7" fmla="*/ 201222 h 202376"/>
                      <a:gd name="connsiteX8" fmla="*/ 162700 w 197724"/>
                      <a:gd name="connsiteY8" fmla="*/ 203502 h 202376"/>
                      <a:gd name="connsiteX9" fmla="*/ 166445 w 197724"/>
                      <a:gd name="connsiteY9" fmla="*/ 200385 h 202376"/>
                      <a:gd name="connsiteX10" fmla="*/ 199454 w 197724"/>
                      <a:gd name="connsiteY10" fmla="*/ 88240 h 202376"/>
                      <a:gd name="connsiteX11" fmla="*/ 195290 w 197724"/>
                      <a:gd name="connsiteY11" fmla="*/ 79284 h 202376"/>
                      <a:gd name="connsiteX12" fmla="*/ 165748 w 197724"/>
                      <a:gd name="connsiteY12" fmla="*/ 25108 h 202376"/>
                      <a:gd name="connsiteX13" fmla="*/ 160467 w 197724"/>
                      <a:gd name="connsiteY13" fmla="*/ 16757 h 202376"/>
                      <a:gd name="connsiteX14" fmla="*/ 104616 w 197724"/>
                      <a:gd name="connsiteY14" fmla="*/ 311 h 202376"/>
                      <a:gd name="connsiteX15" fmla="*/ 95707 w 197724"/>
                      <a:gd name="connsiteY15" fmla="*/ 4451 h 20237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</a:cxnLst>
                    <a:rect l="l" t="t" r="r" b="b"/>
                    <a:pathLst>
                      <a:path w="197724" h="202376">
                        <a:moveTo>
                          <a:pt x="95707" y="4451"/>
                        </a:moveTo>
                        <a:cubicBezTo>
                          <a:pt x="86495" y="25410"/>
                          <a:pt x="64140" y="37599"/>
                          <a:pt x="41530" y="33994"/>
                        </a:cubicBezTo>
                        <a:cubicBezTo>
                          <a:pt x="37808" y="33389"/>
                          <a:pt x="34249" y="35645"/>
                          <a:pt x="33179" y="39274"/>
                        </a:cubicBezTo>
                        <a:lnTo>
                          <a:pt x="171" y="151419"/>
                        </a:lnTo>
                        <a:cubicBezTo>
                          <a:pt x="-318" y="153117"/>
                          <a:pt x="264" y="154955"/>
                          <a:pt x="1636" y="156071"/>
                        </a:cubicBezTo>
                        <a:cubicBezTo>
                          <a:pt x="3032" y="157188"/>
                          <a:pt x="4939" y="157351"/>
                          <a:pt x="6498" y="156490"/>
                        </a:cubicBezTo>
                        <a:cubicBezTo>
                          <a:pt x="28922" y="144138"/>
                          <a:pt x="59814" y="140974"/>
                          <a:pt x="90891" y="150140"/>
                        </a:cubicBezTo>
                        <a:cubicBezTo>
                          <a:pt x="121969" y="159281"/>
                          <a:pt x="146231" y="178705"/>
                          <a:pt x="158397" y="201222"/>
                        </a:cubicBezTo>
                        <a:cubicBezTo>
                          <a:pt x="159234" y="202781"/>
                          <a:pt x="160932" y="203688"/>
                          <a:pt x="162700" y="203502"/>
                        </a:cubicBezTo>
                        <a:cubicBezTo>
                          <a:pt x="164468" y="203316"/>
                          <a:pt x="165957" y="202083"/>
                          <a:pt x="166445" y="200385"/>
                        </a:cubicBezTo>
                        <a:lnTo>
                          <a:pt x="199454" y="88240"/>
                        </a:lnTo>
                        <a:cubicBezTo>
                          <a:pt x="200524" y="84635"/>
                          <a:pt x="198733" y="80796"/>
                          <a:pt x="195290" y="79284"/>
                        </a:cubicBezTo>
                        <a:cubicBezTo>
                          <a:pt x="174331" y="70073"/>
                          <a:pt x="162142" y="47718"/>
                          <a:pt x="165748" y="25108"/>
                        </a:cubicBezTo>
                        <a:cubicBezTo>
                          <a:pt x="166352" y="21386"/>
                          <a:pt x="164096" y="17827"/>
                          <a:pt x="160467" y="16757"/>
                        </a:cubicBezTo>
                        <a:lnTo>
                          <a:pt x="104616" y="311"/>
                        </a:lnTo>
                        <a:cubicBezTo>
                          <a:pt x="101057" y="-759"/>
                          <a:pt x="97219" y="1009"/>
                          <a:pt x="95707" y="4451"/>
                        </a:cubicBezTo>
                        <a:close/>
                      </a:path>
                    </a:pathLst>
                  </a:custGeom>
                  <a:solidFill>
                    <a:srgbClr val="FFFFB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192" name="Freeform: Shape 1191">
                    <a:extLst>
                      <a:ext uri="{FF2B5EF4-FFF2-40B4-BE49-F238E27FC236}">
                        <a16:creationId xmlns:a16="http://schemas.microsoft.com/office/drawing/2014/main" id="{9E9BABAF-58E9-433F-A881-DD3FCC66019B}"/>
                      </a:ext>
                    </a:extLst>
                  </p:cNvPr>
                  <p:cNvSpPr/>
                  <p:nvPr/>
                </p:nvSpPr>
                <p:spPr>
                  <a:xfrm>
                    <a:off x="6853020" y="3627960"/>
                    <a:ext cx="197724" cy="202377"/>
                  </a:xfrm>
                  <a:custGeom>
                    <a:avLst/>
                    <a:gdLst>
                      <a:gd name="connsiteX0" fmla="*/ 37039 w 197724"/>
                      <a:gd name="connsiteY0" fmla="*/ 24 h 202376"/>
                      <a:gd name="connsiteX1" fmla="*/ 33294 w 197724"/>
                      <a:gd name="connsiteY1" fmla="*/ 3141 h 202376"/>
                      <a:gd name="connsiteX2" fmla="*/ 309 w 197724"/>
                      <a:gd name="connsiteY2" fmla="*/ 115193 h 202376"/>
                      <a:gd name="connsiteX3" fmla="*/ 4472 w 197724"/>
                      <a:gd name="connsiteY3" fmla="*/ 124149 h 202376"/>
                      <a:gd name="connsiteX4" fmla="*/ 33992 w 197724"/>
                      <a:gd name="connsiteY4" fmla="*/ 178325 h 202376"/>
                      <a:gd name="connsiteX5" fmla="*/ 39272 w 197724"/>
                      <a:gd name="connsiteY5" fmla="*/ 186676 h 202376"/>
                      <a:gd name="connsiteX6" fmla="*/ 95123 w 197724"/>
                      <a:gd name="connsiteY6" fmla="*/ 203122 h 202376"/>
                      <a:gd name="connsiteX7" fmla="*/ 104079 w 197724"/>
                      <a:gd name="connsiteY7" fmla="*/ 198958 h 202376"/>
                      <a:gd name="connsiteX8" fmla="*/ 158256 w 197724"/>
                      <a:gd name="connsiteY8" fmla="*/ 169416 h 202376"/>
                      <a:gd name="connsiteX9" fmla="*/ 166607 w 197724"/>
                      <a:gd name="connsiteY9" fmla="*/ 164135 h 202376"/>
                      <a:gd name="connsiteX10" fmla="*/ 199592 w 197724"/>
                      <a:gd name="connsiteY10" fmla="*/ 52084 h 202376"/>
                      <a:gd name="connsiteX11" fmla="*/ 198126 w 197724"/>
                      <a:gd name="connsiteY11" fmla="*/ 47431 h 202376"/>
                      <a:gd name="connsiteX12" fmla="*/ 193264 w 197724"/>
                      <a:gd name="connsiteY12" fmla="*/ 47013 h 202376"/>
                      <a:gd name="connsiteX13" fmla="*/ 108848 w 197724"/>
                      <a:gd name="connsiteY13" fmla="*/ 53363 h 202376"/>
                      <a:gd name="connsiteX14" fmla="*/ 41342 w 197724"/>
                      <a:gd name="connsiteY14" fmla="*/ 2304 h 202376"/>
                      <a:gd name="connsiteX15" fmla="*/ 37039 w 197724"/>
                      <a:gd name="connsiteY15" fmla="*/ 24 h 20237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</a:cxnLst>
                    <a:rect l="l" t="t" r="r" b="b"/>
                    <a:pathLst>
                      <a:path w="197724" h="202376">
                        <a:moveTo>
                          <a:pt x="37039" y="24"/>
                        </a:moveTo>
                        <a:cubicBezTo>
                          <a:pt x="35271" y="210"/>
                          <a:pt x="33805" y="1443"/>
                          <a:pt x="33294" y="3141"/>
                        </a:cubicBezTo>
                        <a:lnTo>
                          <a:pt x="309" y="115193"/>
                        </a:lnTo>
                        <a:cubicBezTo>
                          <a:pt x="-761" y="118798"/>
                          <a:pt x="1030" y="122637"/>
                          <a:pt x="4472" y="124149"/>
                        </a:cubicBezTo>
                        <a:cubicBezTo>
                          <a:pt x="25431" y="133360"/>
                          <a:pt x="37620" y="155715"/>
                          <a:pt x="33992" y="178325"/>
                        </a:cubicBezTo>
                        <a:cubicBezTo>
                          <a:pt x="33410" y="182047"/>
                          <a:pt x="35666" y="185606"/>
                          <a:pt x="39272" y="186676"/>
                        </a:cubicBezTo>
                        <a:lnTo>
                          <a:pt x="95123" y="203122"/>
                        </a:lnTo>
                        <a:cubicBezTo>
                          <a:pt x="98729" y="204192"/>
                          <a:pt x="102567" y="202401"/>
                          <a:pt x="104079" y="198958"/>
                        </a:cubicBezTo>
                        <a:cubicBezTo>
                          <a:pt x="113291" y="177999"/>
                          <a:pt x="135645" y="165810"/>
                          <a:pt x="158256" y="169416"/>
                        </a:cubicBezTo>
                        <a:cubicBezTo>
                          <a:pt x="161977" y="170021"/>
                          <a:pt x="165536" y="167764"/>
                          <a:pt x="166607" y="164135"/>
                        </a:cubicBezTo>
                        <a:lnTo>
                          <a:pt x="199592" y="52084"/>
                        </a:lnTo>
                        <a:cubicBezTo>
                          <a:pt x="200103" y="50386"/>
                          <a:pt x="199522" y="48548"/>
                          <a:pt x="198126" y="47431"/>
                        </a:cubicBezTo>
                        <a:cubicBezTo>
                          <a:pt x="196730" y="46315"/>
                          <a:pt x="194823" y="46152"/>
                          <a:pt x="193264" y="47013"/>
                        </a:cubicBezTo>
                        <a:cubicBezTo>
                          <a:pt x="170840" y="59365"/>
                          <a:pt x="139949" y="62528"/>
                          <a:pt x="108848" y="53363"/>
                        </a:cubicBezTo>
                        <a:cubicBezTo>
                          <a:pt x="77770" y="44221"/>
                          <a:pt x="53508" y="24798"/>
                          <a:pt x="41342" y="2304"/>
                        </a:cubicBezTo>
                        <a:cubicBezTo>
                          <a:pt x="40505" y="745"/>
                          <a:pt x="38807" y="-162"/>
                          <a:pt x="37039" y="24"/>
                        </a:cubicBezTo>
                        <a:close/>
                      </a:path>
                    </a:pathLst>
                  </a:custGeom>
                  <a:solidFill>
                    <a:srgbClr val="FFFFB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193" name="Freeform: Shape 1192">
                    <a:extLst>
                      <a:ext uri="{FF2B5EF4-FFF2-40B4-BE49-F238E27FC236}">
                        <a16:creationId xmlns:a16="http://schemas.microsoft.com/office/drawing/2014/main" id="{A8DE5F35-D06C-4ABA-8C9A-525BF6950B78}"/>
                      </a:ext>
                    </a:extLst>
                  </p:cNvPr>
                  <p:cNvSpPr/>
                  <p:nvPr/>
                </p:nvSpPr>
                <p:spPr>
                  <a:xfrm>
                    <a:off x="6899823" y="3562767"/>
                    <a:ext cx="165158" cy="93047"/>
                  </a:xfrm>
                  <a:custGeom>
                    <a:avLst/>
                    <a:gdLst>
                      <a:gd name="connsiteX0" fmla="*/ 76769 w 165158"/>
                      <a:gd name="connsiteY0" fmla="*/ 17228 h 93046"/>
                      <a:gd name="connsiteX1" fmla="*/ 71396 w 165158"/>
                      <a:gd name="connsiteY1" fmla="*/ 2876 h 93046"/>
                      <a:gd name="connsiteX2" fmla="*/ 43854 w 165158"/>
                      <a:gd name="connsiteY2" fmla="*/ 2853 h 93046"/>
                      <a:gd name="connsiteX3" fmla="*/ 27501 w 165158"/>
                      <a:gd name="connsiteY3" fmla="*/ 19369 h 93046"/>
                      <a:gd name="connsiteX4" fmla="*/ 13893 w 165158"/>
                      <a:gd name="connsiteY4" fmla="*/ 15368 h 93046"/>
                      <a:gd name="connsiteX5" fmla="*/ 448 w 165158"/>
                      <a:gd name="connsiteY5" fmla="*/ 22695 h 93046"/>
                      <a:gd name="connsiteX6" fmla="*/ 7775 w 165158"/>
                      <a:gd name="connsiteY6" fmla="*/ 36140 h 93046"/>
                      <a:gd name="connsiteX7" fmla="*/ 21337 w 165158"/>
                      <a:gd name="connsiteY7" fmla="*/ 40141 h 93046"/>
                      <a:gd name="connsiteX8" fmla="*/ 24942 w 165158"/>
                      <a:gd name="connsiteY8" fmla="*/ 61449 h 93046"/>
                      <a:gd name="connsiteX9" fmla="*/ 47832 w 165158"/>
                      <a:gd name="connsiteY9" fmla="*/ 77453 h 93046"/>
                      <a:gd name="connsiteX10" fmla="*/ 91657 w 165158"/>
                      <a:gd name="connsiteY10" fmla="*/ 53633 h 93046"/>
                      <a:gd name="connsiteX11" fmla="*/ 113221 w 165158"/>
                      <a:gd name="connsiteY11" fmla="*/ 37629 h 93046"/>
                      <a:gd name="connsiteX12" fmla="*/ 122293 w 165158"/>
                      <a:gd name="connsiteY12" fmla="*/ 43119 h 93046"/>
                      <a:gd name="connsiteX13" fmla="*/ 121990 w 165158"/>
                      <a:gd name="connsiteY13" fmla="*/ 58448 h 93046"/>
                      <a:gd name="connsiteX14" fmla="*/ 113453 w 165158"/>
                      <a:gd name="connsiteY14" fmla="*/ 71405 h 93046"/>
                      <a:gd name="connsiteX15" fmla="*/ 103660 w 165158"/>
                      <a:gd name="connsiteY15" fmla="*/ 71382 h 93046"/>
                      <a:gd name="connsiteX16" fmla="*/ 89447 w 165158"/>
                      <a:gd name="connsiteY16" fmla="*/ 76802 h 93046"/>
                      <a:gd name="connsiteX17" fmla="*/ 94821 w 165158"/>
                      <a:gd name="connsiteY17" fmla="*/ 91154 h 93046"/>
                      <a:gd name="connsiteX18" fmla="*/ 122362 w 165158"/>
                      <a:gd name="connsiteY18" fmla="*/ 91177 h 93046"/>
                      <a:gd name="connsiteX19" fmla="*/ 138715 w 165158"/>
                      <a:gd name="connsiteY19" fmla="*/ 74662 h 93046"/>
                      <a:gd name="connsiteX20" fmla="*/ 152323 w 165158"/>
                      <a:gd name="connsiteY20" fmla="*/ 78663 h 93046"/>
                      <a:gd name="connsiteX21" fmla="*/ 165769 w 165158"/>
                      <a:gd name="connsiteY21" fmla="*/ 71335 h 93046"/>
                      <a:gd name="connsiteX22" fmla="*/ 158441 w 165158"/>
                      <a:gd name="connsiteY22" fmla="*/ 57890 h 93046"/>
                      <a:gd name="connsiteX23" fmla="*/ 144880 w 165158"/>
                      <a:gd name="connsiteY23" fmla="*/ 53889 h 93046"/>
                      <a:gd name="connsiteX24" fmla="*/ 141251 w 165158"/>
                      <a:gd name="connsiteY24" fmla="*/ 32581 h 93046"/>
                      <a:gd name="connsiteX25" fmla="*/ 118361 w 165158"/>
                      <a:gd name="connsiteY25" fmla="*/ 16577 h 93046"/>
                      <a:gd name="connsiteX26" fmla="*/ 74536 w 165158"/>
                      <a:gd name="connsiteY26" fmla="*/ 40397 h 93046"/>
                      <a:gd name="connsiteX27" fmla="*/ 52973 w 165158"/>
                      <a:gd name="connsiteY27" fmla="*/ 56401 h 93046"/>
                      <a:gd name="connsiteX28" fmla="*/ 43901 w 165158"/>
                      <a:gd name="connsiteY28" fmla="*/ 50911 h 93046"/>
                      <a:gd name="connsiteX29" fmla="*/ 44226 w 165158"/>
                      <a:gd name="connsiteY29" fmla="*/ 35582 h 93046"/>
                      <a:gd name="connsiteX30" fmla="*/ 52763 w 165158"/>
                      <a:gd name="connsiteY30" fmla="*/ 22625 h 93046"/>
                      <a:gd name="connsiteX31" fmla="*/ 62580 w 165158"/>
                      <a:gd name="connsiteY31" fmla="*/ 22648 h 93046"/>
                      <a:gd name="connsiteX32" fmla="*/ 76769 w 165158"/>
                      <a:gd name="connsiteY32" fmla="*/ 17228 h 930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</a:cxnLst>
                    <a:rect l="l" t="t" r="r" b="b"/>
                    <a:pathLst>
                      <a:path w="165158" h="93046">
                        <a:moveTo>
                          <a:pt x="76769" y="17228"/>
                        </a:moveTo>
                        <a:cubicBezTo>
                          <a:pt x="79258" y="11855"/>
                          <a:pt x="76839" y="5365"/>
                          <a:pt x="71396" y="2876"/>
                        </a:cubicBezTo>
                        <a:cubicBezTo>
                          <a:pt x="69977" y="2225"/>
                          <a:pt x="57183" y="-3242"/>
                          <a:pt x="43854" y="2853"/>
                        </a:cubicBezTo>
                        <a:cubicBezTo>
                          <a:pt x="36922" y="6040"/>
                          <a:pt x="31479" y="11622"/>
                          <a:pt x="27501" y="19369"/>
                        </a:cubicBezTo>
                        <a:lnTo>
                          <a:pt x="13893" y="15368"/>
                        </a:lnTo>
                        <a:cubicBezTo>
                          <a:pt x="8147" y="13669"/>
                          <a:pt x="2123" y="16973"/>
                          <a:pt x="448" y="22695"/>
                        </a:cubicBezTo>
                        <a:cubicBezTo>
                          <a:pt x="-1250" y="28441"/>
                          <a:pt x="2030" y="34442"/>
                          <a:pt x="7775" y="36140"/>
                        </a:cubicBezTo>
                        <a:lnTo>
                          <a:pt x="21337" y="40141"/>
                        </a:lnTo>
                        <a:cubicBezTo>
                          <a:pt x="20476" y="48260"/>
                          <a:pt x="21593" y="55447"/>
                          <a:pt x="24942" y="61449"/>
                        </a:cubicBezTo>
                        <a:cubicBezTo>
                          <a:pt x="31339" y="72940"/>
                          <a:pt x="42877" y="76081"/>
                          <a:pt x="47832" y="77453"/>
                        </a:cubicBezTo>
                        <a:cubicBezTo>
                          <a:pt x="61580" y="81501"/>
                          <a:pt x="76304" y="73475"/>
                          <a:pt x="91657" y="53633"/>
                        </a:cubicBezTo>
                        <a:cubicBezTo>
                          <a:pt x="102776" y="39234"/>
                          <a:pt x="109964" y="36699"/>
                          <a:pt x="113221" y="37629"/>
                        </a:cubicBezTo>
                        <a:cubicBezTo>
                          <a:pt x="115686" y="38304"/>
                          <a:pt x="120315" y="39583"/>
                          <a:pt x="122293" y="43119"/>
                        </a:cubicBezTo>
                        <a:cubicBezTo>
                          <a:pt x="124084" y="46352"/>
                          <a:pt x="123991" y="51656"/>
                          <a:pt x="121990" y="58448"/>
                        </a:cubicBezTo>
                        <a:cubicBezTo>
                          <a:pt x="120595" y="63170"/>
                          <a:pt x="117989" y="69265"/>
                          <a:pt x="113453" y="71405"/>
                        </a:cubicBezTo>
                        <a:cubicBezTo>
                          <a:pt x="109057" y="73475"/>
                          <a:pt x="103986" y="71498"/>
                          <a:pt x="103660" y="71382"/>
                        </a:cubicBezTo>
                        <a:cubicBezTo>
                          <a:pt x="98240" y="68986"/>
                          <a:pt x="91890" y="71405"/>
                          <a:pt x="89447" y="76802"/>
                        </a:cubicBezTo>
                        <a:cubicBezTo>
                          <a:pt x="87005" y="82198"/>
                          <a:pt x="89377" y="88665"/>
                          <a:pt x="94821" y="91154"/>
                        </a:cubicBezTo>
                        <a:cubicBezTo>
                          <a:pt x="96240" y="91806"/>
                          <a:pt x="109033" y="97272"/>
                          <a:pt x="122362" y="91177"/>
                        </a:cubicBezTo>
                        <a:cubicBezTo>
                          <a:pt x="129294" y="88014"/>
                          <a:pt x="134738" y="82408"/>
                          <a:pt x="138715" y="74662"/>
                        </a:cubicBezTo>
                        <a:lnTo>
                          <a:pt x="152323" y="78663"/>
                        </a:lnTo>
                        <a:cubicBezTo>
                          <a:pt x="158069" y="80361"/>
                          <a:pt x="164094" y="77058"/>
                          <a:pt x="165769" y="71335"/>
                        </a:cubicBezTo>
                        <a:cubicBezTo>
                          <a:pt x="167444" y="65590"/>
                          <a:pt x="164187" y="59588"/>
                          <a:pt x="158441" y="57890"/>
                        </a:cubicBezTo>
                        <a:lnTo>
                          <a:pt x="144880" y="53889"/>
                        </a:lnTo>
                        <a:cubicBezTo>
                          <a:pt x="145740" y="45771"/>
                          <a:pt x="144624" y="38583"/>
                          <a:pt x="141251" y="32581"/>
                        </a:cubicBezTo>
                        <a:cubicBezTo>
                          <a:pt x="134854" y="21090"/>
                          <a:pt x="123316" y="17926"/>
                          <a:pt x="118361" y="16577"/>
                        </a:cubicBezTo>
                        <a:cubicBezTo>
                          <a:pt x="104614" y="12530"/>
                          <a:pt x="89866" y="20532"/>
                          <a:pt x="74536" y="40397"/>
                        </a:cubicBezTo>
                        <a:cubicBezTo>
                          <a:pt x="63417" y="54796"/>
                          <a:pt x="56229" y="57355"/>
                          <a:pt x="52973" y="56401"/>
                        </a:cubicBezTo>
                        <a:cubicBezTo>
                          <a:pt x="50484" y="55727"/>
                          <a:pt x="45855" y="54447"/>
                          <a:pt x="43901" y="50911"/>
                        </a:cubicBezTo>
                        <a:cubicBezTo>
                          <a:pt x="42109" y="47678"/>
                          <a:pt x="42203" y="42374"/>
                          <a:pt x="44226" y="35582"/>
                        </a:cubicBezTo>
                        <a:cubicBezTo>
                          <a:pt x="45622" y="30860"/>
                          <a:pt x="48204" y="24789"/>
                          <a:pt x="52763" y="22625"/>
                        </a:cubicBezTo>
                        <a:cubicBezTo>
                          <a:pt x="57160" y="20555"/>
                          <a:pt x="62254" y="22532"/>
                          <a:pt x="62580" y="22648"/>
                        </a:cubicBezTo>
                        <a:cubicBezTo>
                          <a:pt x="67953" y="25044"/>
                          <a:pt x="74304" y="22625"/>
                          <a:pt x="76769" y="17228"/>
                        </a:cubicBezTo>
                        <a:close/>
                      </a:path>
                    </a:pathLst>
                  </a:custGeom>
                  <a:solidFill>
                    <a:srgbClr val="FFFFB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1180" name="Graphic 174">
                  <a:extLst>
                    <a:ext uri="{FF2B5EF4-FFF2-40B4-BE49-F238E27FC236}">
                      <a16:creationId xmlns:a16="http://schemas.microsoft.com/office/drawing/2014/main" id="{EE479618-400A-4982-8EB4-19DB76B0AD2C}"/>
                    </a:ext>
                  </a:extLst>
                </p:cNvPr>
                <p:cNvGrpSpPr/>
                <p:nvPr/>
              </p:nvGrpSpPr>
              <p:grpSpPr>
                <a:xfrm>
                  <a:off x="6806973" y="3354097"/>
                  <a:ext cx="411732" cy="521062"/>
                  <a:chOff x="6806973" y="3354097"/>
                  <a:chExt cx="411732" cy="521062"/>
                </a:xfrm>
                <a:solidFill>
                  <a:schemeClr val="accent1"/>
                </a:solidFill>
              </p:grpSpPr>
              <p:sp>
                <p:nvSpPr>
                  <p:cNvPr id="1186" name="Freeform: Shape 1185">
                    <a:extLst>
                      <a:ext uri="{FF2B5EF4-FFF2-40B4-BE49-F238E27FC236}">
                        <a16:creationId xmlns:a16="http://schemas.microsoft.com/office/drawing/2014/main" id="{5F6980B0-4368-43E4-9EF5-C08C32E1DCF9}"/>
                      </a:ext>
                    </a:extLst>
                  </p:cNvPr>
                  <p:cNvSpPr/>
                  <p:nvPr/>
                </p:nvSpPr>
                <p:spPr>
                  <a:xfrm>
                    <a:off x="6806973" y="3354097"/>
                    <a:ext cx="411732" cy="521062"/>
                  </a:xfrm>
                  <a:custGeom>
                    <a:avLst/>
                    <a:gdLst>
                      <a:gd name="connsiteX0" fmla="*/ 219376 w 411732"/>
                      <a:gd name="connsiteY0" fmla="*/ 7075 h 521062"/>
                      <a:gd name="connsiteX1" fmla="*/ 1600 w 411732"/>
                      <a:gd name="connsiteY1" fmla="*/ 413015 h 521062"/>
                      <a:gd name="connsiteX2" fmla="*/ 7090 w 411732"/>
                      <a:gd name="connsiteY2" fmla="*/ 431182 h 521062"/>
                      <a:gd name="connsiteX3" fmla="*/ 174365 w 411732"/>
                      <a:gd name="connsiteY3" fmla="*/ 520926 h 521062"/>
                      <a:gd name="connsiteX4" fmla="*/ 192532 w 411732"/>
                      <a:gd name="connsiteY4" fmla="*/ 515436 h 521062"/>
                      <a:gd name="connsiteX5" fmla="*/ 410308 w 411732"/>
                      <a:gd name="connsiteY5" fmla="*/ 109519 h 521062"/>
                      <a:gd name="connsiteX6" fmla="*/ 404818 w 411732"/>
                      <a:gd name="connsiteY6" fmla="*/ 91329 h 521062"/>
                      <a:gd name="connsiteX7" fmla="*/ 237543 w 411732"/>
                      <a:gd name="connsiteY7" fmla="*/ 1585 h 521062"/>
                      <a:gd name="connsiteX8" fmla="*/ 219376 w 411732"/>
                      <a:gd name="connsiteY8" fmla="*/ 7075 h 5210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11732" h="521062">
                        <a:moveTo>
                          <a:pt x="219376" y="7075"/>
                        </a:moveTo>
                        <a:lnTo>
                          <a:pt x="1600" y="413015"/>
                        </a:lnTo>
                        <a:cubicBezTo>
                          <a:pt x="-1913" y="419552"/>
                          <a:pt x="553" y="427693"/>
                          <a:pt x="7090" y="431182"/>
                        </a:cubicBezTo>
                        <a:lnTo>
                          <a:pt x="174365" y="520926"/>
                        </a:lnTo>
                        <a:cubicBezTo>
                          <a:pt x="180901" y="524439"/>
                          <a:pt x="189043" y="521973"/>
                          <a:pt x="192532" y="515436"/>
                        </a:cubicBezTo>
                        <a:lnTo>
                          <a:pt x="410308" y="109519"/>
                        </a:lnTo>
                        <a:cubicBezTo>
                          <a:pt x="413821" y="102983"/>
                          <a:pt x="411355" y="94841"/>
                          <a:pt x="404818" y="91329"/>
                        </a:cubicBezTo>
                        <a:lnTo>
                          <a:pt x="237543" y="1585"/>
                        </a:lnTo>
                        <a:cubicBezTo>
                          <a:pt x="231030" y="-1904"/>
                          <a:pt x="222889" y="562"/>
                          <a:pt x="219376" y="7075"/>
                        </a:cubicBezTo>
                        <a:close/>
                      </a:path>
                    </a:pathLst>
                  </a:custGeom>
                  <a:solidFill>
                    <a:srgbClr val="A0966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187" name="Freeform: Shape 1186">
                    <a:extLst>
                      <a:ext uri="{FF2B5EF4-FFF2-40B4-BE49-F238E27FC236}">
                        <a16:creationId xmlns:a16="http://schemas.microsoft.com/office/drawing/2014/main" id="{B03459E8-2FB9-4226-A314-31DCBC56AC85}"/>
                      </a:ext>
                    </a:extLst>
                  </p:cNvPr>
                  <p:cNvSpPr/>
                  <p:nvPr/>
                </p:nvSpPr>
                <p:spPr>
                  <a:xfrm>
                    <a:off x="6958556" y="3405005"/>
                    <a:ext cx="209355" cy="209355"/>
                  </a:xfrm>
                  <a:custGeom>
                    <a:avLst/>
                    <a:gdLst>
                      <a:gd name="connsiteX0" fmla="*/ 124087 w 209355"/>
                      <a:gd name="connsiteY0" fmla="*/ 3133 h 209355"/>
                      <a:gd name="connsiteX1" fmla="*/ 65025 w 209355"/>
                      <a:gd name="connsiteY1" fmla="*/ 20951 h 209355"/>
                      <a:gd name="connsiteX2" fmla="*/ 55790 w 209355"/>
                      <a:gd name="connsiteY2" fmla="*/ 24394 h 209355"/>
                      <a:gd name="connsiteX3" fmla="*/ 520 w 209355"/>
                      <a:gd name="connsiteY3" fmla="*/ 127397 h 209355"/>
                      <a:gd name="connsiteX4" fmla="*/ 986 w 209355"/>
                      <a:gd name="connsiteY4" fmla="*/ 132259 h 209355"/>
                      <a:gd name="connsiteX5" fmla="*/ 5661 w 209355"/>
                      <a:gd name="connsiteY5" fmla="*/ 133678 h 209355"/>
                      <a:gd name="connsiteX6" fmla="*/ 89589 w 209355"/>
                      <a:gd name="connsiteY6" fmla="*/ 144727 h 209355"/>
                      <a:gd name="connsiteX7" fmla="*/ 145208 w 209355"/>
                      <a:gd name="connsiteY7" fmla="*/ 208534 h 209355"/>
                      <a:gd name="connsiteX8" fmla="*/ 148953 w 209355"/>
                      <a:gd name="connsiteY8" fmla="*/ 211651 h 209355"/>
                      <a:gd name="connsiteX9" fmla="*/ 153257 w 209355"/>
                      <a:gd name="connsiteY9" fmla="*/ 209371 h 209355"/>
                      <a:gd name="connsiteX10" fmla="*/ 208527 w 209355"/>
                      <a:gd name="connsiteY10" fmla="*/ 106345 h 209355"/>
                      <a:gd name="connsiteX11" fmla="*/ 206293 w 209355"/>
                      <a:gd name="connsiteY11" fmla="*/ 96738 h 209355"/>
                      <a:gd name="connsiteX12" fmla="*/ 188475 w 209355"/>
                      <a:gd name="connsiteY12" fmla="*/ 37677 h 209355"/>
                      <a:gd name="connsiteX13" fmla="*/ 185032 w 209355"/>
                      <a:gd name="connsiteY13" fmla="*/ 28418 h 209355"/>
                      <a:gd name="connsiteX14" fmla="*/ 133717 w 209355"/>
                      <a:gd name="connsiteY14" fmla="*/ 900 h 209355"/>
                      <a:gd name="connsiteX15" fmla="*/ 124087 w 209355"/>
                      <a:gd name="connsiteY15" fmla="*/ 3133 h 20935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</a:cxnLst>
                    <a:rect l="l" t="t" r="r" b="b"/>
                    <a:pathLst>
                      <a:path w="209355" h="209355">
                        <a:moveTo>
                          <a:pt x="124087" y="3133"/>
                        </a:moveTo>
                        <a:cubicBezTo>
                          <a:pt x="110781" y="21766"/>
                          <a:pt x="86426" y="29116"/>
                          <a:pt x="65025" y="20951"/>
                        </a:cubicBezTo>
                        <a:cubicBezTo>
                          <a:pt x="61513" y="19602"/>
                          <a:pt x="57558" y="21091"/>
                          <a:pt x="55790" y="24394"/>
                        </a:cubicBezTo>
                        <a:lnTo>
                          <a:pt x="520" y="127397"/>
                        </a:lnTo>
                        <a:cubicBezTo>
                          <a:pt x="-317" y="128955"/>
                          <a:pt x="-131" y="130886"/>
                          <a:pt x="986" y="132259"/>
                        </a:cubicBezTo>
                        <a:cubicBezTo>
                          <a:pt x="2125" y="133631"/>
                          <a:pt x="3963" y="134189"/>
                          <a:pt x="5661" y="133678"/>
                        </a:cubicBezTo>
                        <a:cubicBezTo>
                          <a:pt x="30133" y="126187"/>
                          <a:pt x="61024" y="129397"/>
                          <a:pt x="89589" y="144727"/>
                        </a:cubicBezTo>
                        <a:cubicBezTo>
                          <a:pt x="118155" y="160033"/>
                          <a:pt x="137927" y="184016"/>
                          <a:pt x="145208" y="208534"/>
                        </a:cubicBezTo>
                        <a:cubicBezTo>
                          <a:pt x="145720" y="210232"/>
                          <a:pt x="147185" y="211465"/>
                          <a:pt x="148953" y="211651"/>
                        </a:cubicBezTo>
                        <a:cubicBezTo>
                          <a:pt x="150721" y="211837"/>
                          <a:pt x="152419" y="210930"/>
                          <a:pt x="153257" y="209371"/>
                        </a:cubicBezTo>
                        <a:lnTo>
                          <a:pt x="208527" y="106345"/>
                        </a:lnTo>
                        <a:cubicBezTo>
                          <a:pt x="210295" y="103042"/>
                          <a:pt x="209341" y="98925"/>
                          <a:pt x="206293" y="96738"/>
                        </a:cubicBezTo>
                        <a:cubicBezTo>
                          <a:pt x="187661" y="83432"/>
                          <a:pt x="180310" y="59077"/>
                          <a:pt x="188475" y="37677"/>
                        </a:cubicBezTo>
                        <a:cubicBezTo>
                          <a:pt x="189824" y="34164"/>
                          <a:pt x="188335" y="30209"/>
                          <a:pt x="185032" y="28418"/>
                        </a:cubicBezTo>
                        <a:lnTo>
                          <a:pt x="133717" y="900"/>
                        </a:lnTo>
                        <a:cubicBezTo>
                          <a:pt x="130414" y="-891"/>
                          <a:pt x="126273" y="62"/>
                          <a:pt x="124087" y="3133"/>
                        </a:cubicBezTo>
                        <a:close/>
                      </a:path>
                    </a:pathLst>
                  </a:custGeom>
                  <a:solidFill>
                    <a:srgbClr val="FFFFC5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188" name="Freeform: Shape 1187">
                    <a:extLst>
                      <a:ext uri="{FF2B5EF4-FFF2-40B4-BE49-F238E27FC236}">
                        <a16:creationId xmlns:a16="http://schemas.microsoft.com/office/drawing/2014/main" id="{14166A15-A2AD-408A-A05C-9189EFE81D84}"/>
                      </a:ext>
                    </a:extLst>
                  </p:cNvPr>
                  <p:cNvSpPr/>
                  <p:nvPr/>
                </p:nvSpPr>
                <p:spPr>
                  <a:xfrm>
                    <a:off x="6857887" y="3614143"/>
                    <a:ext cx="209355" cy="209355"/>
                  </a:xfrm>
                  <a:custGeom>
                    <a:avLst/>
                    <a:gdLst>
                      <a:gd name="connsiteX0" fmla="*/ 60411 w 209355"/>
                      <a:gd name="connsiteY0" fmla="*/ 24 h 209355"/>
                      <a:gd name="connsiteX1" fmla="*/ 56107 w 209355"/>
                      <a:gd name="connsiteY1" fmla="*/ 2304 h 209355"/>
                      <a:gd name="connsiteX2" fmla="*/ 884 w 209355"/>
                      <a:gd name="connsiteY2" fmla="*/ 105237 h 209355"/>
                      <a:gd name="connsiteX3" fmla="*/ 3117 w 209355"/>
                      <a:gd name="connsiteY3" fmla="*/ 114844 h 209355"/>
                      <a:gd name="connsiteX4" fmla="*/ 20936 w 209355"/>
                      <a:gd name="connsiteY4" fmla="*/ 173905 h 209355"/>
                      <a:gd name="connsiteX5" fmla="*/ 24402 w 209355"/>
                      <a:gd name="connsiteY5" fmla="*/ 183140 h 209355"/>
                      <a:gd name="connsiteX6" fmla="*/ 75717 w 209355"/>
                      <a:gd name="connsiteY6" fmla="*/ 210659 h 209355"/>
                      <a:gd name="connsiteX7" fmla="*/ 85324 w 209355"/>
                      <a:gd name="connsiteY7" fmla="*/ 208426 h 209355"/>
                      <a:gd name="connsiteX8" fmla="*/ 144386 w 209355"/>
                      <a:gd name="connsiteY8" fmla="*/ 190607 h 209355"/>
                      <a:gd name="connsiteX9" fmla="*/ 153620 w 209355"/>
                      <a:gd name="connsiteY9" fmla="*/ 187141 h 209355"/>
                      <a:gd name="connsiteX10" fmla="*/ 208844 w 209355"/>
                      <a:gd name="connsiteY10" fmla="*/ 84208 h 209355"/>
                      <a:gd name="connsiteX11" fmla="*/ 208379 w 209355"/>
                      <a:gd name="connsiteY11" fmla="*/ 79347 h 209355"/>
                      <a:gd name="connsiteX12" fmla="*/ 203703 w 209355"/>
                      <a:gd name="connsiteY12" fmla="*/ 77928 h 209355"/>
                      <a:gd name="connsiteX13" fmla="*/ 119775 w 209355"/>
                      <a:gd name="connsiteY13" fmla="*/ 66878 h 209355"/>
                      <a:gd name="connsiteX14" fmla="*/ 64156 w 209355"/>
                      <a:gd name="connsiteY14" fmla="*/ 3071 h 209355"/>
                      <a:gd name="connsiteX15" fmla="*/ 60411 w 209355"/>
                      <a:gd name="connsiteY15" fmla="*/ 24 h 20935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</a:cxnLst>
                    <a:rect l="l" t="t" r="r" b="b"/>
                    <a:pathLst>
                      <a:path w="209355" h="209355">
                        <a:moveTo>
                          <a:pt x="60411" y="24"/>
                        </a:moveTo>
                        <a:cubicBezTo>
                          <a:pt x="58643" y="-162"/>
                          <a:pt x="56945" y="745"/>
                          <a:pt x="56107" y="2304"/>
                        </a:cubicBezTo>
                        <a:lnTo>
                          <a:pt x="884" y="105237"/>
                        </a:lnTo>
                        <a:cubicBezTo>
                          <a:pt x="-884" y="108540"/>
                          <a:pt x="70" y="112657"/>
                          <a:pt x="3117" y="114844"/>
                        </a:cubicBezTo>
                        <a:cubicBezTo>
                          <a:pt x="21750" y="128150"/>
                          <a:pt x="29101" y="152505"/>
                          <a:pt x="20936" y="173905"/>
                        </a:cubicBezTo>
                        <a:cubicBezTo>
                          <a:pt x="19587" y="177418"/>
                          <a:pt x="21075" y="181372"/>
                          <a:pt x="24402" y="183140"/>
                        </a:cubicBezTo>
                        <a:lnTo>
                          <a:pt x="75717" y="210659"/>
                        </a:lnTo>
                        <a:cubicBezTo>
                          <a:pt x="79020" y="212450"/>
                          <a:pt x="83138" y="211496"/>
                          <a:pt x="85324" y="208426"/>
                        </a:cubicBezTo>
                        <a:cubicBezTo>
                          <a:pt x="98630" y="189793"/>
                          <a:pt x="122985" y="182442"/>
                          <a:pt x="144386" y="190607"/>
                        </a:cubicBezTo>
                        <a:cubicBezTo>
                          <a:pt x="147898" y="191956"/>
                          <a:pt x="151853" y="190468"/>
                          <a:pt x="153620" y="187141"/>
                        </a:cubicBezTo>
                        <a:lnTo>
                          <a:pt x="208844" y="84208"/>
                        </a:lnTo>
                        <a:cubicBezTo>
                          <a:pt x="209681" y="82650"/>
                          <a:pt x="209495" y="80719"/>
                          <a:pt x="208379" y="79347"/>
                        </a:cubicBezTo>
                        <a:cubicBezTo>
                          <a:pt x="207262" y="77974"/>
                          <a:pt x="205401" y="77416"/>
                          <a:pt x="203703" y="77928"/>
                        </a:cubicBezTo>
                        <a:cubicBezTo>
                          <a:pt x="179232" y="85418"/>
                          <a:pt x="148340" y="82184"/>
                          <a:pt x="119775" y="66878"/>
                        </a:cubicBezTo>
                        <a:cubicBezTo>
                          <a:pt x="91209" y="51549"/>
                          <a:pt x="71437" y="27589"/>
                          <a:pt x="64156" y="3071"/>
                        </a:cubicBezTo>
                        <a:cubicBezTo>
                          <a:pt x="63667" y="1443"/>
                          <a:pt x="62179" y="210"/>
                          <a:pt x="60411" y="24"/>
                        </a:cubicBezTo>
                        <a:close/>
                      </a:path>
                    </a:pathLst>
                  </a:custGeom>
                  <a:solidFill>
                    <a:srgbClr val="FFFFC5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189" name="Freeform: Shape 1188">
                    <a:extLst>
                      <a:ext uri="{FF2B5EF4-FFF2-40B4-BE49-F238E27FC236}">
                        <a16:creationId xmlns:a16="http://schemas.microsoft.com/office/drawing/2014/main" id="{DE0C418F-85B3-43BB-814A-F50A24B5ACF5}"/>
                      </a:ext>
                    </a:extLst>
                  </p:cNvPr>
                  <p:cNvSpPr/>
                  <p:nvPr/>
                </p:nvSpPr>
                <p:spPr>
                  <a:xfrm>
                    <a:off x="6935709" y="3563340"/>
                    <a:ext cx="153527" cy="102352"/>
                  </a:xfrm>
                  <a:custGeom>
                    <a:avLst/>
                    <a:gdLst>
                      <a:gd name="connsiteX0" fmla="*/ 77125 w 153527"/>
                      <a:gd name="connsiteY0" fmla="*/ 21563 h 102351"/>
                      <a:gd name="connsiteX1" fmla="*/ 74798 w 153527"/>
                      <a:gd name="connsiteY1" fmla="*/ 6420 h 102351"/>
                      <a:gd name="connsiteX2" fmla="*/ 47838 w 153527"/>
                      <a:gd name="connsiteY2" fmla="*/ 767 h 102351"/>
                      <a:gd name="connsiteX3" fmla="*/ 28438 w 153527"/>
                      <a:gd name="connsiteY3" fmla="*/ 13584 h 102351"/>
                      <a:gd name="connsiteX4" fmla="*/ 15946 w 153527"/>
                      <a:gd name="connsiteY4" fmla="*/ 6885 h 102351"/>
                      <a:gd name="connsiteX5" fmla="*/ 1291 w 153527"/>
                      <a:gd name="connsiteY5" fmla="*/ 11305 h 102351"/>
                      <a:gd name="connsiteX6" fmla="*/ 5711 w 153527"/>
                      <a:gd name="connsiteY6" fmla="*/ 25959 h 102351"/>
                      <a:gd name="connsiteX7" fmla="*/ 18156 w 153527"/>
                      <a:gd name="connsiteY7" fmla="*/ 32636 h 102351"/>
                      <a:gd name="connsiteX8" fmla="*/ 17342 w 153527"/>
                      <a:gd name="connsiteY8" fmla="*/ 54246 h 102351"/>
                      <a:gd name="connsiteX9" fmla="*/ 36486 w 153527"/>
                      <a:gd name="connsiteY9" fmla="*/ 74600 h 102351"/>
                      <a:gd name="connsiteX10" fmla="*/ 84266 w 153527"/>
                      <a:gd name="connsiteY10" fmla="*/ 60270 h 102351"/>
                      <a:gd name="connsiteX11" fmla="*/ 108644 w 153527"/>
                      <a:gd name="connsiteY11" fmla="*/ 49035 h 102351"/>
                      <a:gd name="connsiteX12" fmla="*/ 116414 w 153527"/>
                      <a:gd name="connsiteY12" fmla="*/ 56269 h 102351"/>
                      <a:gd name="connsiteX13" fmla="*/ 112971 w 153527"/>
                      <a:gd name="connsiteY13" fmla="*/ 71227 h 102351"/>
                      <a:gd name="connsiteX14" fmla="*/ 101968 w 153527"/>
                      <a:gd name="connsiteY14" fmla="*/ 82160 h 102351"/>
                      <a:gd name="connsiteX15" fmla="*/ 92384 w 153527"/>
                      <a:gd name="connsiteY15" fmla="*/ 80113 h 102351"/>
                      <a:gd name="connsiteX16" fmla="*/ 77334 w 153527"/>
                      <a:gd name="connsiteY16" fmla="*/ 82509 h 102351"/>
                      <a:gd name="connsiteX17" fmla="*/ 79660 w 153527"/>
                      <a:gd name="connsiteY17" fmla="*/ 97652 h 102351"/>
                      <a:gd name="connsiteX18" fmla="*/ 106620 w 153527"/>
                      <a:gd name="connsiteY18" fmla="*/ 103328 h 102351"/>
                      <a:gd name="connsiteX19" fmla="*/ 126021 w 153527"/>
                      <a:gd name="connsiteY19" fmla="*/ 90511 h 102351"/>
                      <a:gd name="connsiteX20" fmla="*/ 138512 w 153527"/>
                      <a:gd name="connsiteY20" fmla="*/ 97210 h 102351"/>
                      <a:gd name="connsiteX21" fmla="*/ 153167 w 153527"/>
                      <a:gd name="connsiteY21" fmla="*/ 92790 h 102351"/>
                      <a:gd name="connsiteX22" fmla="*/ 148747 w 153527"/>
                      <a:gd name="connsiteY22" fmla="*/ 78135 h 102351"/>
                      <a:gd name="connsiteX23" fmla="*/ 136279 w 153527"/>
                      <a:gd name="connsiteY23" fmla="*/ 71459 h 102351"/>
                      <a:gd name="connsiteX24" fmla="*/ 137093 w 153527"/>
                      <a:gd name="connsiteY24" fmla="*/ 49849 h 102351"/>
                      <a:gd name="connsiteX25" fmla="*/ 117972 w 153527"/>
                      <a:gd name="connsiteY25" fmla="*/ 29495 h 102351"/>
                      <a:gd name="connsiteX26" fmla="*/ 70193 w 153527"/>
                      <a:gd name="connsiteY26" fmla="*/ 43824 h 102351"/>
                      <a:gd name="connsiteX27" fmla="*/ 45814 w 153527"/>
                      <a:gd name="connsiteY27" fmla="*/ 55060 h 102351"/>
                      <a:gd name="connsiteX28" fmla="*/ 38045 w 153527"/>
                      <a:gd name="connsiteY28" fmla="*/ 47825 h 102351"/>
                      <a:gd name="connsiteX29" fmla="*/ 41488 w 153527"/>
                      <a:gd name="connsiteY29" fmla="*/ 32891 h 102351"/>
                      <a:gd name="connsiteX30" fmla="*/ 52491 w 153527"/>
                      <a:gd name="connsiteY30" fmla="*/ 21935 h 102351"/>
                      <a:gd name="connsiteX31" fmla="*/ 62074 w 153527"/>
                      <a:gd name="connsiteY31" fmla="*/ 23982 h 102351"/>
                      <a:gd name="connsiteX32" fmla="*/ 77125 w 153527"/>
                      <a:gd name="connsiteY32" fmla="*/ 21563 h 1023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</a:cxnLst>
                    <a:rect l="l" t="t" r="r" b="b"/>
                    <a:pathLst>
                      <a:path w="153527" h="102351">
                        <a:moveTo>
                          <a:pt x="77125" y="21563"/>
                        </a:moveTo>
                        <a:cubicBezTo>
                          <a:pt x="80660" y="16818"/>
                          <a:pt x="79614" y="9955"/>
                          <a:pt x="74798" y="6420"/>
                        </a:cubicBezTo>
                        <a:cubicBezTo>
                          <a:pt x="73542" y="5512"/>
                          <a:pt x="62144" y="-2466"/>
                          <a:pt x="47838" y="767"/>
                        </a:cubicBezTo>
                        <a:cubicBezTo>
                          <a:pt x="40394" y="2465"/>
                          <a:pt x="33928" y="6815"/>
                          <a:pt x="28438" y="13584"/>
                        </a:cubicBezTo>
                        <a:lnTo>
                          <a:pt x="15946" y="6885"/>
                        </a:lnTo>
                        <a:cubicBezTo>
                          <a:pt x="10666" y="4047"/>
                          <a:pt x="4106" y="6047"/>
                          <a:pt x="1291" y="11305"/>
                        </a:cubicBezTo>
                        <a:cubicBezTo>
                          <a:pt x="-1546" y="16562"/>
                          <a:pt x="454" y="23145"/>
                          <a:pt x="5711" y="25959"/>
                        </a:cubicBezTo>
                        <a:lnTo>
                          <a:pt x="18156" y="32636"/>
                        </a:lnTo>
                        <a:cubicBezTo>
                          <a:pt x="15644" y="40405"/>
                          <a:pt x="15272" y="47663"/>
                          <a:pt x="17342" y="54246"/>
                        </a:cubicBezTo>
                        <a:cubicBezTo>
                          <a:pt x="21250" y="66784"/>
                          <a:pt x="31904" y="72250"/>
                          <a:pt x="36486" y="74600"/>
                        </a:cubicBezTo>
                        <a:cubicBezTo>
                          <a:pt x="49118" y="81369"/>
                          <a:pt x="65168" y="76554"/>
                          <a:pt x="84266" y="60270"/>
                        </a:cubicBezTo>
                        <a:cubicBezTo>
                          <a:pt x="98107" y="48454"/>
                          <a:pt x="105644" y="47430"/>
                          <a:pt x="108644" y="49035"/>
                        </a:cubicBezTo>
                        <a:cubicBezTo>
                          <a:pt x="110924" y="50221"/>
                          <a:pt x="115204" y="52408"/>
                          <a:pt x="116414" y="56269"/>
                        </a:cubicBezTo>
                        <a:cubicBezTo>
                          <a:pt x="117507" y="59805"/>
                          <a:pt x="116321" y="64969"/>
                          <a:pt x="112971" y="71227"/>
                        </a:cubicBezTo>
                        <a:cubicBezTo>
                          <a:pt x="110645" y="75553"/>
                          <a:pt x="106853" y="80973"/>
                          <a:pt x="101968" y="82160"/>
                        </a:cubicBezTo>
                        <a:cubicBezTo>
                          <a:pt x="97246" y="83300"/>
                          <a:pt x="92687" y="80322"/>
                          <a:pt x="92384" y="80113"/>
                        </a:cubicBezTo>
                        <a:cubicBezTo>
                          <a:pt x="87569" y="76670"/>
                          <a:pt x="80870" y="77717"/>
                          <a:pt x="77334" y="82509"/>
                        </a:cubicBezTo>
                        <a:cubicBezTo>
                          <a:pt x="73845" y="87301"/>
                          <a:pt x="74845" y="94116"/>
                          <a:pt x="79660" y="97652"/>
                        </a:cubicBezTo>
                        <a:cubicBezTo>
                          <a:pt x="80916" y="98582"/>
                          <a:pt x="92315" y="106561"/>
                          <a:pt x="106620" y="103328"/>
                        </a:cubicBezTo>
                        <a:cubicBezTo>
                          <a:pt x="114064" y="101630"/>
                          <a:pt x="120531" y="97280"/>
                          <a:pt x="126021" y="90511"/>
                        </a:cubicBezTo>
                        <a:lnTo>
                          <a:pt x="138512" y="97210"/>
                        </a:lnTo>
                        <a:cubicBezTo>
                          <a:pt x="143793" y="100048"/>
                          <a:pt x="150353" y="98071"/>
                          <a:pt x="153167" y="92790"/>
                        </a:cubicBezTo>
                        <a:cubicBezTo>
                          <a:pt x="156005" y="87533"/>
                          <a:pt x="154028" y="80950"/>
                          <a:pt x="148747" y="78135"/>
                        </a:cubicBezTo>
                        <a:lnTo>
                          <a:pt x="136279" y="71459"/>
                        </a:lnTo>
                        <a:cubicBezTo>
                          <a:pt x="138791" y="63690"/>
                          <a:pt x="139164" y="56432"/>
                          <a:pt x="137093" y="49849"/>
                        </a:cubicBezTo>
                        <a:cubicBezTo>
                          <a:pt x="133185" y="37311"/>
                          <a:pt x="122531" y="31845"/>
                          <a:pt x="117972" y="29495"/>
                        </a:cubicBezTo>
                        <a:cubicBezTo>
                          <a:pt x="105341" y="22726"/>
                          <a:pt x="89267" y="27541"/>
                          <a:pt x="70193" y="43824"/>
                        </a:cubicBezTo>
                        <a:cubicBezTo>
                          <a:pt x="56375" y="55641"/>
                          <a:pt x="48815" y="56665"/>
                          <a:pt x="45814" y="55060"/>
                        </a:cubicBezTo>
                        <a:cubicBezTo>
                          <a:pt x="43535" y="53897"/>
                          <a:pt x="39255" y="51710"/>
                          <a:pt x="38045" y="47825"/>
                        </a:cubicBezTo>
                        <a:cubicBezTo>
                          <a:pt x="36952" y="44290"/>
                          <a:pt x="38138" y="39126"/>
                          <a:pt x="41488" y="32891"/>
                        </a:cubicBezTo>
                        <a:cubicBezTo>
                          <a:pt x="43814" y="28541"/>
                          <a:pt x="47606" y="23122"/>
                          <a:pt x="52491" y="21935"/>
                        </a:cubicBezTo>
                        <a:cubicBezTo>
                          <a:pt x="57213" y="20795"/>
                          <a:pt x="61795" y="23796"/>
                          <a:pt x="62074" y="23982"/>
                        </a:cubicBezTo>
                        <a:cubicBezTo>
                          <a:pt x="66890" y="27402"/>
                          <a:pt x="73612" y="26332"/>
                          <a:pt x="77125" y="21563"/>
                        </a:cubicBezTo>
                        <a:close/>
                      </a:path>
                    </a:pathLst>
                  </a:custGeom>
                  <a:solidFill>
                    <a:srgbClr val="FFFFC5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1181" name="Graphic 174">
                  <a:extLst>
                    <a:ext uri="{FF2B5EF4-FFF2-40B4-BE49-F238E27FC236}">
                      <a16:creationId xmlns:a16="http://schemas.microsoft.com/office/drawing/2014/main" id="{65775048-5FEE-4CDA-B1B3-BBED43B78933}"/>
                    </a:ext>
                  </a:extLst>
                </p:cNvPr>
                <p:cNvGrpSpPr/>
                <p:nvPr/>
              </p:nvGrpSpPr>
              <p:grpSpPr>
                <a:xfrm>
                  <a:off x="6823239" y="3373448"/>
                  <a:ext cx="465234" cy="502453"/>
                  <a:chOff x="6823239" y="3373448"/>
                  <a:chExt cx="465234" cy="502453"/>
                </a:xfrm>
                <a:solidFill>
                  <a:schemeClr val="accent1"/>
                </a:solidFill>
              </p:grpSpPr>
              <p:sp>
                <p:nvSpPr>
                  <p:cNvPr id="1182" name="Freeform: Shape 1181">
                    <a:extLst>
                      <a:ext uri="{FF2B5EF4-FFF2-40B4-BE49-F238E27FC236}">
                        <a16:creationId xmlns:a16="http://schemas.microsoft.com/office/drawing/2014/main" id="{A5A2D398-D1B9-4A0D-BCFE-B30C184B1AA2}"/>
                      </a:ext>
                    </a:extLst>
                  </p:cNvPr>
                  <p:cNvSpPr/>
                  <p:nvPr/>
                </p:nvSpPr>
                <p:spPr>
                  <a:xfrm>
                    <a:off x="6823239" y="3373448"/>
                    <a:ext cx="465234" cy="502453"/>
                  </a:xfrm>
                  <a:custGeom>
                    <a:avLst/>
                    <a:gdLst>
                      <a:gd name="connsiteX0" fmla="*/ 296948 w 465234"/>
                      <a:gd name="connsiteY0" fmla="*/ 4868 h 502453"/>
                      <a:gd name="connsiteX1" fmla="*/ 3083 w 465234"/>
                      <a:gd name="connsiteY1" fmla="*/ 359632 h 502453"/>
                      <a:gd name="connsiteX2" fmla="*/ 4851 w 465234"/>
                      <a:gd name="connsiteY2" fmla="*/ 378544 h 502453"/>
                      <a:gd name="connsiteX3" fmla="*/ 151050 w 465234"/>
                      <a:gd name="connsiteY3" fmla="*/ 499621 h 502453"/>
                      <a:gd name="connsiteX4" fmla="*/ 169962 w 465234"/>
                      <a:gd name="connsiteY4" fmla="*/ 497853 h 502453"/>
                      <a:gd name="connsiteX5" fmla="*/ 463804 w 465234"/>
                      <a:gd name="connsiteY5" fmla="*/ 143089 h 502453"/>
                      <a:gd name="connsiteX6" fmla="*/ 462036 w 465234"/>
                      <a:gd name="connsiteY6" fmla="*/ 124177 h 502453"/>
                      <a:gd name="connsiteX7" fmla="*/ 315836 w 465234"/>
                      <a:gd name="connsiteY7" fmla="*/ 3100 h 502453"/>
                      <a:gd name="connsiteX8" fmla="*/ 296948 w 465234"/>
                      <a:gd name="connsiteY8" fmla="*/ 4868 h 50245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34" h="502453">
                        <a:moveTo>
                          <a:pt x="296948" y="4868"/>
                        </a:moveTo>
                        <a:lnTo>
                          <a:pt x="3083" y="359632"/>
                        </a:lnTo>
                        <a:cubicBezTo>
                          <a:pt x="-1639" y="365331"/>
                          <a:pt x="-848" y="373799"/>
                          <a:pt x="4851" y="378544"/>
                        </a:cubicBezTo>
                        <a:lnTo>
                          <a:pt x="151050" y="499621"/>
                        </a:lnTo>
                        <a:cubicBezTo>
                          <a:pt x="156750" y="504367"/>
                          <a:pt x="165217" y="503553"/>
                          <a:pt x="169962" y="497853"/>
                        </a:cubicBezTo>
                        <a:lnTo>
                          <a:pt x="463804" y="143089"/>
                        </a:lnTo>
                        <a:cubicBezTo>
                          <a:pt x="468526" y="137367"/>
                          <a:pt x="467735" y="128899"/>
                          <a:pt x="462036" y="124177"/>
                        </a:cubicBezTo>
                        <a:lnTo>
                          <a:pt x="315836" y="3100"/>
                        </a:lnTo>
                        <a:cubicBezTo>
                          <a:pt x="310137" y="-1645"/>
                          <a:pt x="301670" y="-855"/>
                          <a:pt x="296948" y="4868"/>
                        </a:cubicBezTo>
                        <a:close/>
                      </a:path>
                    </a:pathLst>
                  </a:custGeom>
                  <a:solidFill>
                    <a:srgbClr val="ADA56E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183" name="Freeform: Shape 1182">
                    <a:extLst>
                      <a:ext uri="{FF2B5EF4-FFF2-40B4-BE49-F238E27FC236}">
                        <a16:creationId xmlns:a16="http://schemas.microsoft.com/office/drawing/2014/main" id="{08BC0D7E-C0C4-4503-89C1-8F38E7188C31}"/>
                      </a:ext>
                    </a:extLst>
                  </p:cNvPr>
                  <p:cNvSpPr/>
                  <p:nvPr/>
                </p:nvSpPr>
                <p:spPr>
                  <a:xfrm>
                    <a:off x="7019324" y="3433466"/>
                    <a:ext cx="209355" cy="209355"/>
                  </a:xfrm>
                  <a:custGeom>
                    <a:avLst/>
                    <a:gdLst>
                      <a:gd name="connsiteX0" fmla="*/ 146735 w 209355"/>
                      <a:gd name="connsiteY0" fmla="*/ 2004 h 209355"/>
                      <a:gd name="connsiteX1" fmla="*/ 85324 w 209355"/>
                      <a:gd name="connsiteY1" fmla="*/ 7773 h 209355"/>
                      <a:gd name="connsiteX2" fmla="*/ 75577 w 209355"/>
                      <a:gd name="connsiteY2" fmla="*/ 9331 h 209355"/>
                      <a:gd name="connsiteX3" fmla="*/ 1000 w 209355"/>
                      <a:gd name="connsiteY3" fmla="*/ 99354 h 209355"/>
                      <a:gd name="connsiteX4" fmla="*/ 512 w 209355"/>
                      <a:gd name="connsiteY4" fmla="*/ 104216 h 209355"/>
                      <a:gd name="connsiteX5" fmla="*/ 4792 w 209355"/>
                      <a:gd name="connsiteY5" fmla="*/ 106519 h 209355"/>
                      <a:gd name="connsiteX6" fmla="*/ 84859 w 209355"/>
                      <a:gd name="connsiteY6" fmla="*/ 133968 h 209355"/>
                      <a:gd name="connsiteX7" fmla="*/ 126753 w 209355"/>
                      <a:gd name="connsiteY7" fmla="*/ 207521 h 209355"/>
                      <a:gd name="connsiteX8" fmla="*/ 129824 w 209355"/>
                      <a:gd name="connsiteY8" fmla="*/ 211313 h 209355"/>
                      <a:gd name="connsiteX9" fmla="*/ 134499 w 209355"/>
                      <a:gd name="connsiteY9" fmla="*/ 209917 h 209355"/>
                      <a:gd name="connsiteX10" fmla="*/ 209076 w 209355"/>
                      <a:gd name="connsiteY10" fmla="*/ 119894 h 209355"/>
                      <a:gd name="connsiteX11" fmla="*/ 208797 w 209355"/>
                      <a:gd name="connsiteY11" fmla="*/ 110031 h 209355"/>
                      <a:gd name="connsiteX12" fmla="*/ 203028 w 209355"/>
                      <a:gd name="connsiteY12" fmla="*/ 48597 h 209355"/>
                      <a:gd name="connsiteX13" fmla="*/ 201470 w 209355"/>
                      <a:gd name="connsiteY13" fmla="*/ 38850 h 209355"/>
                      <a:gd name="connsiteX14" fmla="*/ 156621 w 209355"/>
                      <a:gd name="connsiteY14" fmla="*/ 1701 h 209355"/>
                      <a:gd name="connsiteX15" fmla="*/ 146735 w 209355"/>
                      <a:gd name="connsiteY15" fmla="*/ 2004 h 20935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</a:cxnLst>
                    <a:rect l="l" t="t" r="r" b="b"/>
                    <a:pathLst>
                      <a:path w="209355" h="209355">
                        <a:moveTo>
                          <a:pt x="146735" y="2004"/>
                        </a:moveTo>
                        <a:cubicBezTo>
                          <a:pt x="130010" y="17636"/>
                          <a:pt x="104678" y="20008"/>
                          <a:pt x="85324" y="7773"/>
                        </a:cubicBezTo>
                        <a:cubicBezTo>
                          <a:pt x="82137" y="5772"/>
                          <a:pt x="77973" y="6424"/>
                          <a:pt x="75577" y="9331"/>
                        </a:cubicBezTo>
                        <a:lnTo>
                          <a:pt x="1000" y="99354"/>
                        </a:lnTo>
                        <a:cubicBezTo>
                          <a:pt x="-116" y="100727"/>
                          <a:pt x="-326" y="102634"/>
                          <a:pt x="512" y="104216"/>
                        </a:cubicBezTo>
                        <a:cubicBezTo>
                          <a:pt x="1349" y="105774"/>
                          <a:pt x="3024" y="106705"/>
                          <a:pt x="4792" y="106519"/>
                        </a:cubicBezTo>
                        <a:cubicBezTo>
                          <a:pt x="30263" y="104030"/>
                          <a:pt x="59922" y="113311"/>
                          <a:pt x="84859" y="133968"/>
                        </a:cubicBezTo>
                        <a:cubicBezTo>
                          <a:pt x="109819" y="154647"/>
                          <a:pt x="124450" y="182026"/>
                          <a:pt x="126753" y="207521"/>
                        </a:cubicBezTo>
                        <a:cubicBezTo>
                          <a:pt x="126916" y="209289"/>
                          <a:pt x="128125" y="210778"/>
                          <a:pt x="129824" y="211313"/>
                        </a:cubicBezTo>
                        <a:cubicBezTo>
                          <a:pt x="131522" y="211848"/>
                          <a:pt x="133383" y="211290"/>
                          <a:pt x="134499" y="209917"/>
                        </a:cubicBezTo>
                        <a:lnTo>
                          <a:pt x="209076" y="119894"/>
                        </a:lnTo>
                        <a:cubicBezTo>
                          <a:pt x="211472" y="117010"/>
                          <a:pt x="211356" y="112776"/>
                          <a:pt x="208797" y="110031"/>
                        </a:cubicBezTo>
                        <a:cubicBezTo>
                          <a:pt x="193165" y="93283"/>
                          <a:pt x="190793" y="67951"/>
                          <a:pt x="203028" y="48597"/>
                        </a:cubicBezTo>
                        <a:cubicBezTo>
                          <a:pt x="205029" y="45410"/>
                          <a:pt x="204377" y="41246"/>
                          <a:pt x="201470" y="38850"/>
                        </a:cubicBezTo>
                        <a:lnTo>
                          <a:pt x="156621" y="1701"/>
                        </a:lnTo>
                        <a:cubicBezTo>
                          <a:pt x="153713" y="-671"/>
                          <a:pt x="149480" y="-555"/>
                          <a:pt x="146735" y="2004"/>
                        </a:cubicBezTo>
                        <a:close/>
                      </a:path>
                    </a:pathLst>
                  </a:custGeom>
                  <a:solidFill>
                    <a:srgbClr val="FFFFCE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184" name="Freeform: Shape 1183">
                    <a:extLst>
                      <a:ext uri="{FF2B5EF4-FFF2-40B4-BE49-F238E27FC236}">
                        <a16:creationId xmlns:a16="http://schemas.microsoft.com/office/drawing/2014/main" id="{0E88D670-E6E8-40F6-8FAD-16A7BD764396}"/>
                      </a:ext>
                    </a:extLst>
                  </p:cNvPr>
                  <p:cNvSpPr/>
                  <p:nvPr/>
                </p:nvSpPr>
                <p:spPr>
                  <a:xfrm>
                    <a:off x="6883266" y="3604684"/>
                    <a:ext cx="209355" cy="209355"/>
                  </a:xfrm>
                  <a:custGeom>
                    <a:avLst/>
                    <a:gdLst>
                      <a:gd name="connsiteX0" fmla="*/ 80904 w 209355"/>
                      <a:gd name="connsiteY0" fmla="*/ 201 h 209355"/>
                      <a:gd name="connsiteX1" fmla="*/ 76229 w 209355"/>
                      <a:gd name="connsiteY1" fmla="*/ 1596 h 209355"/>
                      <a:gd name="connsiteX2" fmla="*/ 1721 w 209355"/>
                      <a:gd name="connsiteY2" fmla="*/ 91549 h 209355"/>
                      <a:gd name="connsiteX3" fmla="*/ 2001 w 209355"/>
                      <a:gd name="connsiteY3" fmla="*/ 101412 h 209355"/>
                      <a:gd name="connsiteX4" fmla="*/ 7769 w 209355"/>
                      <a:gd name="connsiteY4" fmla="*/ 162847 h 209355"/>
                      <a:gd name="connsiteX5" fmla="*/ 9328 w 209355"/>
                      <a:gd name="connsiteY5" fmla="*/ 172593 h 209355"/>
                      <a:gd name="connsiteX6" fmla="*/ 54177 w 209355"/>
                      <a:gd name="connsiteY6" fmla="*/ 209719 h 209355"/>
                      <a:gd name="connsiteX7" fmla="*/ 64039 w 209355"/>
                      <a:gd name="connsiteY7" fmla="*/ 209440 h 209355"/>
                      <a:gd name="connsiteX8" fmla="*/ 125474 w 209355"/>
                      <a:gd name="connsiteY8" fmla="*/ 203671 h 209355"/>
                      <a:gd name="connsiteX9" fmla="*/ 135220 w 209355"/>
                      <a:gd name="connsiteY9" fmla="*/ 202112 h 209355"/>
                      <a:gd name="connsiteX10" fmla="*/ 209728 w 209355"/>
                      <a:gd name="connsiteY10" fmla="*/ 112159 h 209355"/>
                      <a:gd name="connsiteX11" fmla="*/ 210216 w 209355"/>
                      <a:gd name="connsiteY11" fmla="*/ 107298 h 209355"/>
                      <a:gd name="connsiteX12" fmla="*/ 205913 w 209355"/>
                      <a:gd name="connsiteY12" fmla="*/ 104995 h 209355"/>
                      <a:gd name="connsiteX13" fmla="*/ 125846 w 209355"/>
                      <a:gd name="connsiteY13" fmla="*/ 77546 h 209355"/>
                      <a:gd name="connsiteX14" fmla="*/ 83975 w 209355"/>
                      <a:gd name="connsiteY14" fmla="*/ 3992 h 209355"/>
                      <a:gd name="connsiteX15" fmla="*/ 80904 w 209355"/>
                      <a:gd name="connsiteY15" fmla="*/ 201 h 20935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</a:cxnLst>
                    <a:rect l="l" t="t" r="r" b="b"/>
                    <a:pathLst>
                      <a:path w="209355" h="209355">
                        <a:moveTo>
                          <a:pt x="80904" y="201"/>
                        </a:moveTo>
                        <a:cubicBezTo>
                          <a:pt x="79206" y="-334"/>
                          <a:pt x="77368" y="224"/>
                          <a:pt x="76229" y="1596"/>
                        </a:cubicBezTo>
                        <a:lnTo>
                          <a:pt x="1721" y="91549"/>
                        </a:lnTo>
                        <a:cubicBezTo>
                          <a:pt x="-675" y="94434"/>
                          <a:pt x="-558" y="98668"/>
                          <a:pt x="2001" y="101412"/>
                        </a:cubicBezTo>
                        <a:cubicBezTo>
                          <a:pt x="17632" y="118138"/>
                          <a:pt x="20005" y="143470"/>
                          <a:pt x="7769" y="162847"/>
                        </a:cubicBezTo>
                        <a:cubicBezTo>
                          <a:pt x="5769" y="166033"/>
                          <a:pt x="6420" y="170197"/>
                          <a:pt x="9328" y="172593"/>
                        </a:cubicBezTo>
                        <a:lnTo>
                          <a:pt x="54177" y="209719"/>
                        </a:lnTo>
                        <a:cubicBezTo>
                          <a:pt x="57061" y="212115"/>
                          <a:pt x="61295" y="211999"/>
                          <a:pt x="64039" y="209440"/>
                        </a:cubicBezTo>
                        <a:cubicBezTo>
                          <a:pt x="80788" y="193808"/>
                          <a:pt x="106120" y="191435"/>
                          <a:pt x="125474" y="203671"/>
                        </a:cubicBezTo>
                        <a:cubicBezTo>
                          <a:pt x="128661" y="205671"/>
                          <a:pt x="132824" y="205020"/>
                          <a:pt x="135220" y="202112"/>
                        </a:cubicBezTo>
                        <a:lnTo>
                          <a:pt x="209728" y="112159"/>
                        </a:lnTo>
                        <a:cubicBezTo>
                          <a:pt x="210867" y="110787"/>
                          <a:pt x="211053" y="108879"/>
                          <a:pt x="210216" y="107298"/>
                        </a:cubicBezTo>
                        <a:cubicBezTo>
                          <a:pt x="209379" y="105716"/>
                          <a:pt x="207681" y="104809"/>
                          <a:pt x="205913" y="104995"/>
                        </a:cubicBezTo>
                        <a:cubicBezTo>
                          <a:pt x="180441" y="107484"/>
                          <a:pt x="150806" y="98226"/>
                          <a:pt x="125846" y="77546"/>
                        </a:cubicBezTo>
                        <a:cubicBezTo>
                          <a:pt x="100886" y="56866"/>
                          <a:pt x="86254" y="29487"/>
                          <a:pt x="83975" y="3992"/>
                        </a:cubicBezTo>
                        <a:cubicBezTo>
                          <a:pt x="83812" y="2224"/>
                          <a:pt x="82602" y="736"/>
                          <a:pt x="80904" y="201"/>
                        </a:cubicBezTo>
                        <a:close/>
                      </a:path>
                    </a:pathLst>
                  </a:custGeom>
                  <a:solidFill>
                    <a:srgbClr val="FFFFCE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185" name="Freeform: Shape 1184">
                    <a:extLst>
                      <a:ext uri="{FF2B5EF4-FFF2-40B4-BE49-F238E27FC236}">
                        <a16:creationId xmlns:a16="http://schemas.microsoft.com/office/drawing/2014/main" id="{6B7C3E66-0A74-42DA-991C-86F0561B61C4}"/>
                      </a:ext>
                    </a:extLst>
                  </p:cNvPr>
                  <p:cNvSpPr/>
                  <p:nvPr/>
                </p:nvSpPr>
                <p:spPr>
                  <a:xfrm>
                    <a:off x="6987824" y="3565902"/>
                    <a:ext cx="137244" cy="116309"/>
                  </a:xfrm>
                  <a:custGeom>
                    <a:avLst/>
                    <a:gdLst>
                      <a:gd name="connsiteX0" fmla="*/ 74790 w 137244"/>
                      <a:gd name="connsiteY0" fmla="*/ 29004 h 116308"/>
                      <a:gd name="connsiteX1" fmla="*/ 75511 w 137244"/>
                      <a:gd name="connsiteY1" fmla="*/ 13697 h 116308"/>
                      <a:gd name="connsiteX2" fmla="*/ 50203 w 137244"/>
                      <a:gd name="connsiteY2" fmla="*/ 2811 h 116308"/>
                      <a:gd name="connsiteX3" fmla="*/ 28662 w 137244"/>
                      <a:gd name="connsiteY3" fmla="*/ 11534 h 116308"/>
                      <a:gd name="connsiteX4" fmla="*/ 17753 w 137244"/>
                      <a:gd name="connsiteY4" fmla="*/ 2485 h 116308"/>
                      <a:gd name="connsiteX5" fmla="*/ 2493 w 137244"/>
                      <a:gd name="connsiteY5" fmla="*/ 3928 h 116308"/>
                      <a:gd name="connsiteX6" fmla="*/ 3935 w 137244"/>
                      <a:gd name="connsiteY6" fmla="*/ 19187 h 116308"/>
                      <a:gd name="connsiteX7" fmla="*/ 14822 w 137244"/>
                      <a:gd name="connsiteY7" fmla="*/ 28213 h 116308"/>
                      <a:gd name="connsiteX8" fmla="*/ 9751 w 137244"/>
                      <a:gd name="connsiteY8" fmla="*/ 49241 h 116308"/>
                      <a:gd name="connsiteX9" fmla="*/ 24475 w 137244"/>
                      <a:gd name="connsiteY9" fmla="*/ 72992 h 116308"/>
                      <a:gd name="connsiteX10" fmla="*/ 74139 w 137244"/>
                      <a:gd name="connsiteY10" fmla="*/ 68386 h 116308"/>
                      <a:gd name="connsiteX11" fmla="*/ 100262 w 137244"/>
                      <a:gd name="connsiteY11" fmla="*/ 62198 h 116308"/>
                      <a:gd name="connsiteX12" fmla="*/ 106449 w 137244"/>
                      <a:gd name="connsiteY12" fmla="*/ 70828 h 116308"/>
                      <a:gd name="connsiteX13" fmla="*/ 100122 w 137244"/>
                      <a:gd name="connsiteY13" fmla="*/ 84809 h 116308"/>
                      <a:gd name="connsiteX14" fmla="*/ 87165 w 137244"/>
                      <a:gd name="connsiteY14" fmla="*/ 93346 h 116308"/>
                      <a:gd name="connsiteX15" fmla="*/ 78163 w 137244"/>
                      <a:gd name="connsiteY15" fmla="*/ 89438 h 116308"/>
                      <a:gd name="connsiteX16" fmla="*/ 62950 w 137244"/>
                      <a:gd name="connsiteY16" fmla="*/ 88810 h 116308"/>
                      <a:gd name="connsiteX17" fmla="*/ 62229 w 137244"/>
                      <a:gd name="connsiteY17" fmla="*/ 104116 h 116308"/>
                      <a:gd name="connsiteX18" fmla="*/ 87538 w 137244"/>
                      <a:gd name="connsiteY18" fmla="*/ 115002 h 116308"/>
                      <a:gd name="connsiteX19" fmla="*/ 109101 w 137244"/>
                      <a:gd name="connsiteY19" fmla="*/ 106279 h 116308"/>
                      <a:gd name="connsiteX20" fmla="*/ 120011 w 137244"/>
                      <a:gd name="connsiteY20" fmla="*/ 115328 h 116308"/>
                      <a:gd name="connsiteX21" fmla="*/ 135271 w 137244"/>
                      <a:gd name="connsiteY21" fmla="*/ 113886 h 116308"/>
                      <a:gd name="connsiteX22" fmla="*/ 133828 w 137244"/>
                      <a:gd name="connsiteY22" fmla="*/ 98626 h 116308"/>
                      <a:gd name="connsiteX23" fmla="*/ 122942 w 137244"/>
                      <a:gd name="connsiteY23" fmla="*/ 89600 h 116308"/>
                      <a:gd name="connsiteX24" fmla="*/ 128036 w 137244"/>
                      <a:gd name="connsiteY24" fmla="*/ 68572 h 116308"/>
                      <a:gd name="connsiteX25" fmla="*/ 113312 w 137244"/>
                      <a:gd name="connsiteY25" fmla="*/ 44822 h 116308"/>
                      <a:gd name="connsiteX26" fmla="*/ 63648 w 137244"/>
                      <a:gd name="connsiteY26" fmla="*/ 49427 h 116308"/>
                      <a:gd name="connsiteX27" fmla="*/ 37525 w 137244"/>
                      <a:gd name="connsiteY27" fmla="*/ 55615 h 116308"/>
                      <a:gd name="connsiteX28" fmla="*/ 31361 w 137244"/>
                      <a:gd name="connsiteY28" fmla="*/ 47008 h 116308"/>
                      <a:gd name="connsiteX29" fmla="*/ 37688 w 137244"/>
                      <a:gd name="connsiteY29" fmla="*/ 33028 h 116308"/>
                      <a:gd name="connsiteX30" fmla="*/ 50645 w 137244"/>
                      <a:gd name="connsiteY30" fmla="*/ 24491 h 116308"/>
                      <a:gd name="connsiteX31" fmla="*/ 59647 w 137244"/>
                      <a:gd name="connsiteY31" fmla="*/ 28399 h 116308"/>
                      <a:gd name="connsiteX32" fmla="*/ 74790 w 137244"/>
                      <a:gd name="connsiteY32" fmla="*/ 29004 h 11630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</a:cxnLst>
                    <a:rect l="l" t="t" r="r" b="b"/>
                    <a:pathLst>
                      <a:path w="137244" h="116308">
                        <a:moveTo>
                          <a:pt x="74790" y="29004"/>
                        </a:moveTo>
                        <a:cubicBezTo>
                          <a:pt x="79210" y="25049"/>
                          <a:pt x="79536" y="18117"/>
                          <a:pt x="75511" y="13697"/>
                        </a:cubicBezTo>
                        <a:cubicBezTo>
                          <a:pt x="74465" y="12534"/>
                          <a:pt x="64858" y="2462"/>
                          <a:pt x="50203" y="2811"/>
                        </a:cubicBezTo>
                        <a:cubicBezTo>
                          <a:pt x="42596" y="2997"/>
                          <a:pt x="35385" y="5998"/>
                          <a:pt x="28662" y="11534"/>
                        </a:cubicBezTo>
                        <a:lnTo>
                          <a:pt x="17753" y="2485"/>
                        </a:lnTo>
                        <a:cubicBezTo>
                          <a:pt x="13147" y="-1330"/>
                          <a:pt x="6308" y="-678"/>
                          <a:pt x="2493" y="3928"/>
                        </a:cubicBezTo>
                        <a:cubicBezTo>
                          <a:pt x="-1322" y="8533"/>
                          <a:pt x="-694" y="15372"/>
                          <a:pt x="3935" y="19187"/>
                        </a:cubicBezTo>
                        <a:lnTo>
                          <a:pt x="14822" y="28213"/>
                        </a:lnTo>
                        <a:cubicBezTo>
                          <a:pt x="10821" y="35331"/>
                          <a:pt x="9029" y="42379"/>
                          <a:pt x="9751" y="49241"/>
                        </a:cubicBezTo>
                        <a:cubicBezTo>
                          <a:pt x="11100" y="62314"/>
                          <a:pt x="20451" y="69781"/>
                          <a:pt x="24475" y="72992"/>
                        </a:cubicBezTo>
                        <a:cubicBezTo>
                          <a:pt x="35501" y="82133"/>
                          <a:pt x="52203" y="80575"/>
                          <a:pt x="74139" y="68386"/>
                        </a:cubicBezTo>
                        <a:cubicBezTo>
                          <a:pt x="90027" y="59546"/>
                          <a:pt x="97657" y="60035"/>
                          <a:pt x="100262" y="62198"/>
                        </a:cubicBezTo>
                        <a:cubicBezTo>
                          <a:pt x="102262" y="63803"/>
                          <a:pt x="106031" y="66804"/>
                          <a:pt x="106449" y="70828"/>
                        </a:cubicBezTo>
                        <a:cubicBezTo>
                          <a:pt x="106822" y="74504"/>
                          <a:pt x="104635" y="79342"/>
                          <a:pt x="100122" y="84809"/>
                        </a:cubicBezTo>
                        <a:cubicBezTo>
                          <a:pt x="96982" y="88600"/>
                          <a:pt x="92190" y="93160"/>
                          <a:pt x="87165" y="93346"/>
                        </a:cubicBezTo>
                        <a:cubicBezTo>
                          <a:pt x="82327" y="93532"/>
                          <a:pt x="78419" y="89693"/>
                          <a:pt x="78163" y="89438"/>
                        </a:cubicBezTo>
                        <a:cubicBezTo>
                          <a:pt x="74139" y="85111"/>
                          <a:pt x="67347" y="84809"/>
                          <a:pt x="62950" y="88810"/>
                        </a:cubicBezTo>
                        <a:cubicBezTo>
                          <a:pt x="58577" y="92811"/>
                          <a:pt x="58205" y="99696"/>
                          <a:pt x="62229" y="104116"/>
                        </a:cubicBezTo>
                        <a:cubicBezTo>
                          <a:pt x="63276" y="105279"/>
                          <a:pt x="72883" y="115351"/>
                          <a:pt x="87538" y="115002"/>
                        </a:cubicBezTo>
                        <a:cubicBezTo>
                          <a:pt x="95168" y="114816"/>
                          <a:pt x="102355" y="111815"/>
                          <a:pt x="109101" y="106279"/>
                        </a:cubicBezTo>
                        <a:lnTo>
                          <a:pt x="120011" y="115328"/>
                        </a:lnTo>
                        <a:cubicBezTo>
                          <a:pt x="124617" y="119143"/>
                          <a:pt x="131456" y="118515"/>
                          <a:pt x="135271" y="113886"/>
                        </a:cubicBezTo>
                        <a:cubicBezTo>
                          <a:pt x="139086" y="109280"/>
                          <a:pt x="138458" y="102464"/>
                          <a:pt x="133828" y="98626"/>
                        </a:cubicBezTo>
                        <a:lnTo>
                          <a:pt x="122942" y="89600"/>
                        </a:lnTo>
                        <a:cubicBezTo>
                          <a:pt x="126943" y="82482"/>
                          <a:pt x="128734" y="75434"/>
                          <a:pt x="128036" y="68572"/>
                        </a:cubicBezTo>
                        <a:cubicBezTo>
                          <a:pt x="126664" y="55499"/>
                          <a:pt x="117336" y="48032"/>
                          <a:pt x="113312" y="44822"/>
                        </a:cubicBezTo>
                        <a:cubicBezTo>
                          <a:pt x="102286" y="35680"/>
                          <a:pt x="85560" y="37238"/>
                          <a:pt x="63648" y="49427"/>
                        </a:cubicBezTo>
                        <a:cubicBezTo>
                          <a:pt x="47760" y="58267"/>
                          <a:pt x="40130" y="57778"/>
                          <a:pt x="37525" y="55615"/>
                        </a:cubicBezTo>
                        <a:cubicBezTo>
                          <a:pt x="35524" y="54010"/>
                          <a:pt x="31779" y="51033"/>
                          <a:pt x="31361" y="47008"/>
                        </a:cubicBezTo>
                        <a:cubicBezTo>
                          <a:pt x="30988" y="43333"/>
                          <a:pt x="33175" y="38494"/>
                          <a:pt x="37688" y="33028"/>
                        </a:cubicBezTo>
                        <a:cubicBezTo>
                          <a:pt x="40828" y="29236"/>
                          <a:pt x="45620" y="24677"/>
                          <a:pt x="50645" y="24491"/>
                        </a:cubicBezTo>
                        <a:cubicBezTo>
                          <a:pt x="55483" y="24305"/>
                          <a:pt x="59391" y="28143"/>
                          <a:pt x="59647" y="28399"/>
                        </a:cubicBezTo>
                        <a:cubicBezTo>
                          <a:pt x="63625" y="32726"/>
                          <a:pt x="70394" y="33005"/>
                          <a:pt x="74790" y="29004"/>
                        </a:cubicBezTo>
                        <a:close/>
                      </a:path>
                    </a:pathLst>
                  </a:custGeom>
                  <a:solidFill>
                    <a:srgbClr val="FFFFCE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54" name="Graphic 174">
                <a:extLst>
                  <a:ext uri="{FF2B5EF4-FFF2-40B4-BE49-F238E27FC236}">
                    <a16:creationId xmlns:a16="http://schemas.microsoft.com/office/drawing/2014/main" id="{22F1EC40-7380-4D16-B4BA-EBB4906C706D}"/>
                  </a:ext>
                </a:extLst>
              </p:cNvPr>
              <p:cNvGrpSpPr/>
              <p:nvPr/>
            </p:nvGrpSpPr>
            <p:grpSpPr>
              <a:xfrm>
                <a:off x="6902547" y="3403639"/>
                <a:ext cx="553706" cy="504779"/>
                <a:chOff x="6902547" y="3403639"/>
                <a:chExt cx="553706" cy="504779"/>
              </a:xfrm>
              <a:solidFill>
                <a:schemeClr val="accent1"/>
              </a:solidFill>
            </p:grpSpPr>
            <p:grpSp>
              <p:nvGrpSpPr>
                <p:cNvPr id="1164" name="Graphic 174">
                  <a:extLst>
                    <a:ext uri="{FF2B5EF4-FFF2-40B4-BE49-F238E27FC236}">
                      <a16:creationId xmlns:a16="http://schemas.microsoft.com/office/drawing/2014/main" id="{B4E068E9-20A1-4429-B8BA-7148035D3CBC}"/>
                    </a:ext>
                  </a:extLst>
                </p:cNvPr>
                <p:cNvGrpSpPr/>
                <p:nvPr/>
              </p:nvGrpSpPr>
              <p:grpSpPr>
                <a:xfrm>
                  <a:off x="6902547" y="3403639"/>
                  <a:ext cx="460582" cy="504779"/>
                  <a:chOff x="6902547" y="3403639"/>
                  <a:chExt cx="460582" cy="504779"/>
                </a:xfrm>
                <a:solidFill>
                  <a:schemeClr val="accent1"/>
                </a:solidFill>
              </p:grpSpPr>
              <p:sp>
                <p:nvSpPr>
                  <p:cNvPr id="1175" name="Freeform: Shape 1174">
                    <a:extLst>
                      <a:ext uri="{FF2B5EF4-FFF2-40B4-BE49-F238E27FC236}">
                        <a16:creationId xmlns:a16="http://schemas.microsoft.com/office/drawing/2014/main" id="{DA89A764-325E-4EE3-8604-A728E960F357}"/>
                      </a:ext>
                    </a:extLst>
                  </p:cNvPr>
                  <p:cNvSpPr/>
                  <p:nvPr/>
                </p:nvSpPr>
                <p:spPr>
                  <a:xfrm>
                    <a:off x="6902547" y="3403639"/>
                    <a:ext cx="460582" cy="504779"/>
                  </a:xfrm>
                  <a:custGeom>
                    <a:avLst/>
                    <a:gdLst>
                      <a:gd name="connsiteX0" fmla="*/ 290426 w 460581"/>
                      <a:gd name="connsiteY0" fmla="*/ 5034 h 504779"/>
                      <a:gd name="connsiteX1" fmla="*/ 2934 w 460581"/>
                      <a:gd name="connsiteY1" fmla="*/ 364986 h 504779"/>
                      <a:gd name="connsiteX2" fmla="*/ 5051 w 460581"/>
                      <a:gd name="connsiteY2" fmla="*/ 383851 h 504779"/>
                      <a:gd name="connsiteX3" fmla="*/ 153368 w 460581"/>
                      <a:gd name="connsiteY3" fmla="*/ 502323 h 504779"/>
                      <a:gd name="connsiteX4" fmla="*/ 172233 w 460581"/>
                      <a:gd name="connsiteY4" fmla="*/ 500206 h 504779"/>
                      <a:gd name="connsiteX5" fmla="*/ 459724 w 460581"/>
                      <a:gd name="connsiteY5" fmla="*/ 140254 h 504779"/>
                      <a:gd name="connsiteX6" fmla="*/ 457607 w 460581"/>
                      <a:gd name="connsiteY6" fmla="*/ 121389 h 504779"/>
                      <a:gd name="connsiteX7" fmla="*/ 309291 w 460581"/>
                      <a:gd name="connsiteY7" fmla="*/ 2917 h 504779"/>
                      <a:gd name="connsiteX8" fmla="*/ 290426 w 460581"/>
                      <a:gd name="connsiteY8" fmla="*/ 5034 h 5047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0581" h="504779">
                        <a:moveTo>
                          <a:pt x="290426" y="5034"/>
                        </a:moveTo>
                        <a:lnTo>
                          <a:pt x="2934" y="364986"/>
                        </a:lnTo>
                        <a:cubicBezTo>
                          <a:pt x="-1695" y="370778"/>
                          <a:pt x="-741" y="379222"/>
                          <a:pt x="5051" y="383851"/>
                        </a:cubicBezTo>
                        <a:lnTo>
                          <a:pt x="153368" y="502323"/>
                        </a:lnTo>
                        <a:cubicBezTo>
                          <a:pt x="159160" y="506952"/>
                          <a:pt x="167604" y="505998"/>
                          <a:pt x="172233" y="500206"/>
                        </a:cubicBezTo>
                        <a:lnTo>
                          <a:pt x="459724" y="140254"/>
                        </a:lnTo>
                        <a:cubicBezTo>
                          <a:pt x="464353" y="134462"/>
                          <a:pt x="463400" y="126018"/>
                          <a:pt x="457607" y="121389"/>
                        </a:cubicBezTo>
                        <a:lnTo>
                          <a:pt x="309291" y="2917"/>
                        </a:lnTo>
                        <a:cubicBezTo>
                          <a:pt x="303499" y="-1689"/>
                          <a:pt x="295055" y="-735"/>
                          <a:pt x="290426" y="5034"/>
                        </a:cubicBezTo>
                        <a:close/>
                      </a:path>
                    </a:pathLst>
                  </a:custGeom>
                  <a:solidFill>
                    <a:srgbClr val="90855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176" name="Freeform: Shape 1175">
                    <a:extLst>
                      <a:ext uri="{FF2B5EF4-FFF2-40B4-BE49-F238E27FC236}">
                        <a16:creationId xmlns:a16="http://schemas.microsoft.com/office/drawing/2014/main" id="{4FA2390A-3CCC-4458-8C2F-9A62A817831C}"/>
                      </a:ext>
                    </a:extLst>
                  </p:cNvPr>
                  <p:cNvSpPr/>
                  <p:nvPr/>
                </p:nvSpPr>
                <p:spPr>
                  <a:xfrm>
                    <a:off x="7094933" y="3462928"/>
                    <a:ext cx="209355" cy="211682"/>
                  </a:xfrm>
                  <a:custGeom>
                    <a:avLst/>
                    <a:gdLst>
                      <a:gd name="connsiteX0" fmla="*/ 144935 w 209355"/>
                      <a:gd name="connsiteY0" fmla="*/ 2107 h 211681"/>
                      <a:gd name="connsiteX1" fmla="*/ 83617 w 209355"/>
                      <a:gd name="connsiteY1" fmla="*/ 8970 h 211681"/>
                      <a:gd name="connsiteX2" fmla="*/ 73894 w 209355"/>
                      <a:gd name="connsiteY2" fmla="*/ 10691 h 211681"/>
                      <a:gd name="connsiteX3" fmla="*/ 945 w 209355"/>
                      <a:gd name="connsiteY3" fmla="*/ 102016 h 211681"/>
                      <a:gd name="connsiteX4" fmla="*/ 550 w 209355"/>
                      <a:gd name="connsiteY4" fmla="*/ 106878 h 211681"/>
                      <a:gd name="connsiteX5" fmla="*/ 4877 w 209355"/>
                      <a:gd name="connsiteY5" fmla="*/ 109111 h 211681"/>
                      <a:gd name="connsiteX6" fmla="*/ 85432 w 209355"/>
                      <a:gd name="connsiteY6" fmla="*/ 135141 h 211681"/>
                      <a:gd name="connsiteX7" fmla="*/ 128606 w 209355"/>
                      <a:gd name="connsiteY7" fmla="*/ 207950 h 211681"/>
                      <a:gd name="connsiteX8" fmla="*/ 131746 w 209355"/>
                      <a:gd name="connsiteY8" fmla="*/ 211695 h 211681"/>
                      <a:gd name="connsiteX9" fmla="*/ 136398 w 209355"/>
                      <a:gd name="connsiteY9" fmla="*/ 210230 h 211681"/>
                      <a:gd name="connsiteX10" fmla="*/ 209347 w 209355"/>
                      <a:gd name="connsiteY10" fmla="*/ 118881 h 211681"/>
                      <a:gd name="connsiteX11" fmla="*/ 208882 w 209355"/>
                      <a:gd name="connsiteY11" fmla="*/ 109018 h 211681"/>
                      <a:gd name="connsiteX12" fmla="*/ 202020 w 209355"/>
                      <a:gd name="connsiteY12" fmla="*/ 47700 h 211681"/>
                      <a:gd name="connsiteX13" fmla="*/ 200298 w 209355"/>
                      <a:gd name="connsiteY13" fmla="*/ 37977 h 211681"/>
                      <a:gd name="connsiteX14" fmla="*/ 154798 w 209355"/>
                      <a:gd name="connsiteY14" fmla="*/ 1642 h 211681"/>
                      <a:gd name="connsiteX15" fmla="*/ 144935 w 209355"/>
                      <a:gd name="connsiteY15" fmla="*/ 2107 h 21168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</a:cxnLst>
                    <a:rect l="l" t="t" r="r" b="b"/>
                    <a:pathLst>
                      <a:path w="209355" h="211681">
                        <a:moveTo>
                          <a:pt x="144935" y="2107"/>
                        </a:moveTo>
                        <a:cubicBezTo>
                          <a:pt x="128489" y="18018"/>
                          <a:pt x="103181" y="20856"/>
                          <a:pt x="83617" y="8970"/>
                        </a:cubicBezTo>
                        <a:cubicBezTo>
                          <a:pt x="80407" y="7016"/>
                          <a:pt x="76244" y="7760"/>
                          <a:pt x="73894" y="10691"/>
                        </a:cubicBezTo>
                        <a:lnTo>
                          <a:pt x="945" y="102016"/>
                        </a:lnTo>
                        <a:cubicBezTo>
                          <a:pt x="-148" y="103412"/>
                          <a:pt x="-311" y="105320"/>
                          <a:pt x="550" y="106878"/>
                        </a:cubicBezTo>
                        <a:cubicBezTo>
                          <a:pt x="1411" y="108437"/>
                          <a:pt x="3132" y="109321"/>
                          <a:pt x="4877" y="109111"/>
                        </a:cubicBezTo>
                        <a:cubicBezTo>
                          <a:pt x="30302" y="106157"/>
                          <a:pt x="60100" y="114903"/>
                          <a:pt x="85432" y="135141"/>
                        </a:cubicBezTo>
                        <a:cubicBezTo>
                          <a:pt x="110764" y="155379"/>
                          <a:pt x="125884" y="182502"/>
                          <a:pt x="128606" y="207950"/>
                        </a:cubicBezTo>
                        <a:cubicBezTo>
                          <a:pt x="128792" y="209718"/>
                          <a:pt x="130025" y="211184"/>
                          <a:pt x="131746" y="211695"/>
                        </a:cubicBezTo>
                        <a:cubicBezTo>
                          <a:pt x="133444" y="212184"/>
                          <a:pt x="135282" y="211602"/>
                          <a:pt x="136398" y="210230"/>
                        </a:cubicBezTo>
                        <a:lnTo>
                          <a:pt x="209347" y="118881"/>
                        </a:lnTo>
                        <a:cubicBezTo>
                          <a:pt x="211696" y="115950"/>
                          <a:pt x="211487" y="111717"/>
                          <a:pt x="208882" y="109018"/>
                        </a:cubicBezTo>
                        <a:cubicBezTo>
                          <a:pt x="192971" y="92549"/>
                          <a:pt x="190133" y="67263"/>
                          <a:pt x="202020" y="47700"/>
                        </a:cubicBezTo>
                        <a:cubicBezTo>
                          <a:pt x="203973" y="44490"/>
                          <a:pt x="203229" y="40326"/>
                          <a:pt x="200298" y="37977"/>
                        </a:cubicBezTo>
                        <a:lnTo>
                          <a:pt x="154798" y="1642"/>
                        </a:lnTo>
                        <a:cubicBezTo>
                          <a:pt x="151867" y="-707"/>
                          <a:pt x="147657" y="-521"/>
                          <a:pt x="144935" y="2107"/>
                        </a:cubicBezTo>
                        <a:close/>
                      </a:path>
                    </a:pathLst>
                  </a:custGeom>
                  <a:solidFill>
                    <a:srgbClr val="FFFFB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177" name="Freeform: Shape 1176">
                    <a:extLst>
                      <a:ext uri="{FF2B5EF4-FFF2-40B4-BE49-F238E27FC236}">
                        <a16:creationId xmlns:a16="http://schemas.microsoft.com/office/drawing/2014/main" id="{CBE88BCC-5760-4CB2-AB42-BF98E6A37417}"/>
                      </a:ext>
                    </a:extLst>
                  </p:cNvPr>
                  <p:cNvSpPr/>
                  <p:nvPr/>
                </p:nvSpPr>
                <p:spPr>
                  <a:xfrm>
                    <a:off x="6961838" y="3637816"/>
                    <a:ext cx="209355" cy="211682"/>
                  </a:xfrm>
                  <a:custGeom>
                    <a:avLst/>
                    <a:gdLst>
                      <a:gd name="connsiteX0" fmla="*/ 79189 w 209355"/>
                      <a:gd name="connsiteY0" fmla="*/ 171 h 211681"/>
                      <a:gd name="connsiteX1" fmla="*/ 74536 w 209355"/>
                      <a:gd name="connsiteY1" fmla="*/ 1636 h 211681"/>
                      <a:gd name="connsiteX2" fmla="*/ 1634 w 209355"/>
                      <a:gd name="connsiteY2" fmla="*/ 92915 h 211681"/>
                      <a:gd name="connsiteX3" fmla="*/ 2099 w 209355"/>
                      <a:gd name="connsiteY3" fmla="*/ 102778 h 211681"/>
                      <a:gd name="connsiteX4" fmla="*/ 8961 w 209355"/>
                      <a:gd name="connsiteY4" fmla="*/ 164096 h 211681"/>
                      <a:gd name="connsiteX5" fmla="*/ 10683 w 209355"/>
                      <a:gd name="connsiteY5" fmla="*/ 173819 h 211681"/>
                      <a:gd name="connsiteX6" fmla="*/ 56159 w 209355"/>
                      <a:gd name="connsiteY6" fmla="*/ 210154 h 211681"/>
                      <a:gd name="connsiteX7" fmla="*/ 66022 w 209355"/>
                      <a:gd name="connsiteY7" fmla="*/ 209689 h 211681"/>
                      <a:gd name="connsiteX8" fmla="*/ 127340 w 209355"/>
                      <a:gd name="connsiteY8" fmla="*/ 202827 h 211681"/>
                      <a:gd name="connsiteX9" fmla="*/ 137064 w 209355"/>
                      <a:gd name="connsiteY9" fmla="*/ 201105 h 211681"/>
                      <a:gd name="connsiteX10" fmla="*/ 209966 w 209355"/>
                      <a:gd name="connsiteY10" fmla="*/ 109826 h 211681"/>
                      <a:gd name="connsiteX11" fmla="*/ 210385 w 209355"/>
                      <a:gd name="connsiteY11" fmla="*/ 104965 h 211681"/>
                      <a:gd name="connsiteX12" fmla="*/ 206058 w 209355"/>
                      <a:gd name="connsiteY12" fmla="*/ 102732 h 211681"/>
                      <a:gd name="connsiteX13" fmla="*/ 125503 w 209355"/>
                      <a:gd name="connsiteY13" fmla="*/ 76702 h 211681"/>
                      <a:gd name="connsiteX14" fmla="*/ 82306 w 209355"/>
                      <a:gd name="connsiteY14" fmla="*/ 3893 h 211681"/>
                      <a:gd name="connsiteX15" fmla="*/ 79189 w 209355"/>
                      <a:gd name="connsiteY15" fmla="*/ 171 h 21168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</a:cxnLst>
                    <a:rect l="l" t="t" r="r" b="b"/>
                    <a:pathLst>
                      <a:path w="209355" h="211681">
                        <a:moveTo>
                          <a:pt x="79189" y="171"/>
                        </a:moveTo>
                        <a:cubicBezTo>
                          <a:pt x="77490" y="-318"/>
                          <a:pt x="75653" y="264"/>
                          <a:pt x="74536" y="1636"/>
                        </a:cubicBezTo>
                        <a:lnTo>
                          <a:pt x="1634" y="92915"/>
                        </a:lnTo>
                        <a:cubicBezTo>
                          <a:pt x="-715" y="95846"/>
                          <a:pt x="-506" y="100080"/>
                          <a:pt x="2099" y="102778"/>
                        </a:cubicBezTo>
                        <a:cubicBezTo>
                          <a:pt x="18010" y="119224"/>
                          <a:pt x="20848" y="144510"/>
                          <a:pt x="8961" y="164096"/>
                        </a:cubicBezTo>
                        <a:cubicBezTo>
                          <a:pt x="7007" y="167306"/>
                          <a:pt x="7752" y="171470"/>
                          <a:pt x="10683" y="173819"/>
                        </a:cubicBezTo>
                        <a:lnTo>
                          <a:pt x="56159" y="210154"/>
                        </a:lnTo>
                        <a:cubicBezTo>
                          <a:pt x="59090" y="212504"/>
                          <a:pt x="63324" y="212294"/>
                          <a:pt x="66022" y="209689"/>
                        </a:cubicBezTo>
                        <a:cubicBezTo>
                          <a:pt x="82468" y="193778"/>
                          <a:pt x="107777" y="190940"/>
                          <a:pt x="127340" y="202827"/>
                        </a:cubicBezTo>
                        <a:cubicBezTo>
                          <a:pt x="130550" y="204781"/>
                          <a:pt x="134714" y="204036"/>
                          <a:pt x="137064" y="201105"/>
                        </a:cubicBezTo>
                        <a:lnTo>
                          <a:pt x="209966" y="109826"/>
                        </a:lnTo>
                        <a:cubicBezTo>
                          <a:pt x="211082" y="108454"/>
                          <a:pt x="211245" y="106523"/>
                          <a:pt x="210385" y="104965"/>
                        </a:cubicBezTo>
                        <a:cubicBezTo>
                          <a:pt x="209524" y="103406"/>
                          <a:pt x="207802" y="102522"/>
                          <a:pt x="206058" y="102732"/>
                        </a:cubicBezTo>
                        <a:cubicBezTo>
                          <a:pt x="180633" y="105686"/>
                          <a:pt x="150835" y="96939"/>
                          <a:pt x="125503" y="76702"/>
                        </a:cubicBezTo>
                        <a:cubicBezTo>
                          <a:pt x="100171" y="56464"/>
                          <a:pt x="85051" y="29341"/>
                          <a:pt x="82306" y="3893"/>
                        </a:cubicBezTo>
                        <a:cubicBezTo>
                          <a:pt x="82120" y="2148"/>
                          <a:pt x="80887" y="683"/>
                          <a:pt x="79189" y="171"/>
                        </a:cubicBezTo>
                        <a:close/>
                      </a:path>
                    </a:pathLst>
                  </a:custGeom>
                  <a:solidFill>
                    <a:srgbClr val="FFFFB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178" name="Freeform: Shape 1177">
                    <a:extLst>
                      <a:ext uri="{FF2B5EF4-FFF2-40B4-BE49-F238E27FC236}">
                        <a16:creationId xmlns:a16="http://schemas.microsoft.com/office/drawing/2014/main" id="{4F2F7A5B-55A3-4CB2-99AD-16A09C93C681}"/>
                      </a:ext>
                    </a:extLst>
                  </p:cNvPr>
                  <p:cNvSpPr/>
                  <p:nvPr/>
                </p:nvSpPr>
                <p:spPr>
                  <a:xfrm>
                    <a:off x="7064169" y="3598415"/>
                    <a:ext cx="137244" cy="113982"/>
                  </a:xfrm>
                  <a:custGeom>
                    <a:avLst/>
                    <a:gdLst>
                      <a:gd name="connsiteX0" fmla="*/ 75115 w 137244"/>
                      <a:gd name="connsiteY0" fmla="*/ 27871 h 113982"/>
                      <a:gd name="connsiteX1" fmla="*/ 75557 w 137244"/>
                      <a:gd name="connsiteY1" fmla="*/ 12565 h 113982"/>
                      <a:gd name="connsiteX2" fmla="*/ 50063 w 137244"/>
                      <a:gd name="connsiteY2" fmla="*/ 2120 h 113982"/>
                      <a:gd name="connsiteX3" fmla="*/ 28662 w 137244"/>
                      <a:gd name="connsiteY3" fmla="*/ 11216 h 113982"/>
                      <a:gd name="connsiteX4" fmla="*/ 17589 w 137244"/>
                      <a:gd name="connsiteY4" fmla="*/ 2376 h 113982"/>
                      <a:gd name="connsiteX5" fmla="*/ 2376 w 137244"/>
                      <a:gd name="connsiteY5" fmla="*/ 4074 h 113982"/>
                      <a:gd name="connsiteX6" fmla="*/ 4074 w 137244"/>
                      <a:gd name="connsiteY6" fmla="*/ 19311 h 113982"/>
                      <a:gd name="connsiteX7" fmla="*/ 15124 w 137244"/>
                      <a:gd name="connsiteY7" fmla="*/ 28127 h 113982"/>
                      <a:gd name="connsiteX8" fmla="*/ 10401 w 137244"/>
                      <a:gd name="connsiteY8" fmla="*/ 49225 h 113982"/>
                      <a:gd name="connsiteX9" fmla="*/ 25545 w 137244"/>
                      <a:gd name="connsiteY9" fmla="*/ 72696 h 113982"/>
                      <a:gd name="connsiteX10" fmla="*/ 75115 w 137244"/>
                      <a:gd name="connsiteY10" fmla="*/ 67207 h 113982"/>
                      <a:gd name="connsiteX11" fmla="*/ 101145 w 137244"/>
                      <a:gd name="connsiteY11" fmla="*/ 60554 h 113982"/>
                      <a:gd name="connsiteX12" fmla="*/ 107473 w 137244"/>
                      <a:gd name="connsiteY12" fmla="*/ 69068 h 113982"/>
                      <a:gd name="connsiteX13" fmla="*/ 101378 w 137244"/>
                      <a:gd name="connsiteY13" fmla="*/ 83141 h 113982"/>
                      <a:gd name="connsiteX14" fmla="*/ 88584 w 137244"/>
                      <a:gd name="connsiteY14" fmla="*/ 91911 h 113982"/>
                      <a:gd name="connsiteX15" fmla="*/ 79512 w 137244"/>
                      <a:gd name="connsiteY15" fmla="*/ 88165 h 113982"/>
                      <a:gd name="connsiteX16" fmla="*/ 64299 w 137244"/>
                      <a:gd name="connsiteY16" fmla="*/ 87816 h 113982"/>
                      <a:gd name="connsiteX17" fmla="*/ 63834 w 137244"/>
                      <a:gd name="connsiteY17" fmla="*/ 103123 h 113982"/>
                      <a:gd name="connsiteX18" fmla="*/ 89328 w 137244"/>
                      <a:gd name="connsiteY18" fmla="*/ 113567 h 113982"/>
                      <a:gd name="connsiteX19" fmla="*/ 110729 w 137244"/>
                      <a:gd name="connsiteY19" fmla="*/ 104449 h 113982"/>
                      <a:gd name="connsiteX20" fmla="*/ 121802 w 137244"/>
                      <a:gd name="connsiteY20" fmla="*/ 113311 h 113982"/>
                      <a:gd name="connsiteX21" fmla="*/ 137038 w 137244"/>
                      <a:gd name="connsiteY21" fmla="*/ 111613 h 113982"/>
                      <a:gd name="connsiteX22" fmla="*/ 135340 w 137244"/>
                      <a:gd name="connsiteY22" fmla="*/ 96377 h 113982"/>
                      <a:gd name="connsiteX23" fmla="*/ 124291 w 137244"/>
                      <a:gd name="connsiteY23" fmla="*/ 87584 h 113982"/>
                      <a:gd name="connsiteX24" fmla="*/ 128990 w 137244"/>
                      <a:gd name="connsiteY24" fmla="*/ 66485 h 113982"/>
                      <a:gd name="connsiteX25" fmla="*/ 113846 w 137244"/>
                      <a:gd name="connsiteY25" fmla="*/ 43014 h 113982"/>
                      <a:gd name="connsiteX26" fmla="*/ 64276 w 137244"/>
                      <a:gd name="connsiteY26" fmla="*/ 48481 h 113982"/>
                      <a:gd name="connsiteX27" fmla="*/ 38269 w 137244"/>
                      <a:gd name="connsiteY27" fmla="*/ 55134 h 113982"/>
                      <a:gd name="connsiteX28" fmla="*/ 31942 w 137244"/>
                      <a:gd name="connsiteY28" fmla="*/ 46620 h 113982"/>
                      <a:gd name="connsiteX29" fmla="*/ 38036 w 137244"/>
                      <a:gd name="connsiteY29" fmla="*/ 32547 h 113982"/>
                      <a:gd name="connsiteX30" fmla="*/ 50830 w 137244"/>
                      <a:gd name="connsiteY30" fmla="*/ 23777 h 113982"/>
                      <a:gd name="connsiteX31" fmla="*/ 59902 w 137244"/>
                      <a:gd name="connsiteY31" fmla="*/ 27522 h 113982"/>
                      <a:gd name="connsiteX32" fmla="*/ 75115 w 137244"/>
                      <a:gd name="connsiteY32" fmla="*/ 27871 h 11398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</a:cxnLst>
                    <a:rect l="l" t="t" r="r" b="b"/>
                    <a:pathLst>
                      <a:path w="137244" h="113982">
                        <a:moveTo>
                          <a:pt x="75115" y="27871"/>
                        </a:moveTo>
                        <a:cubicBezTo>
                          <a:pt x="79442" y="23823"/>
                          <a:pt x="79675" y="16915"/>
                          <a:pt x="75557" y="12565"/>
                        </a:cubicBezTo>
                        <a:cubicBezTo>
                          <a:pt x="74488" y="11425"/>
                          <a:pt x="64718" y="1539"/>
                          <a:pt x="50063" y="2120"/>
                        </a:cubicBezTo>
                        <a:cubicBezTo>
                          <a:pt x="42433" y="2446"/>
                          <a:pt x="35291" y="5563"/>
                          <a:pt x="28662" y="11216"/>
                        </a:cubicBezTo>
                        <a:lnTo>
                          <a:pt x="17589" y="2376"/>
                        </a:lnTo>
                        <a:cubicBezTo>
                          <a:pt x="12914" y="-1369"/>
                          <a:pt x="6098" y="-601"/>
                          <a:pt x="2376" y="4074"/>
                        </a:cubicBezTo>
                        <a:cubicBezTo>
                          <a:pt x="-1369" y="8750"/>
                          <a:pt x="-601" y="15566"/>
                          <a:pt x="4074" y="19311"/>
                        </a:cubicBezTo>
                        <a:lnTo>
                          <a:pt x="15124" y="28127"/>
                        </a:lnTo>
                        <a:cubicBezTo>
                          <a:pt x="11262" y="35315"/>
                          <a:pt x="9587" y="42386"/>
                          <a:pt x="10401" y="49225"/>
                        </a:cubicBezTo>
                        <a:cubicBezTo>
                          <a:pt x="11983" y="62275"/>
                          <a:pt x="21474" y="69556"/>
                          <a:pt x="25545" y="72696"/>
                        </a:cubicBezTo>
                        <a:cubicBezTo>
                          <a:pt x="36734" y="81629"/>
                          <a:pt x="53412" y="79791"/>
                          <a:pt x="75115" y="67207"/>
                        </a:cubicBezTo>
                        <a:cubicBezTo>
                          <a:pt x="90840" y="58088"/>
                          <a:pt x="98470" y="58437"/>
                          <a:pt x="101145" y="60554"/>
                        </a:cubicBezTo>
                        <a:cubicBezTo>
                          <a:pt x="103169" y="62112"/>
                          <a:pt x="106984" y="65043"/>
                          <a:pt x="107473" y="69068"/>
                        </a:cubicBezTo>
                        <a:cubicBezTo>
                          <a:pt x="107915" y="72743"/>
                          <a:pt x="105821" y="77605"/>
                          <a:pt x="101378" y="83141"/>
                        </a:cubicBezTo>
                        <a:cubicBezTo>
                          <a:pt x="98307" y="86979"/>
                          <a:pt x="93585" y="91631"/>
                          <a:pt x="88584" y="91911"/>
                        </a:cubicBezTo>
                        <a:cubicBezTo>
                          <a:pt x="83746" y="92166"/>
                          <a:pt x="79768" y="88421"/>
                          <a:pt x="79512" y="88165"/>
                        </a:cubicBezTo>
                        <a:cubicBezTo>
                          <a:pt x="75395" y="83909"/>
                          <a:pt x="68602" y="83746"/>
                          <a:pt x="64299" y="87816"/>
                        </a:cubicBezTo>
                        <a:cubicBezTo>
                          <a:pt x="59995" y="91887"/>
                          <a:pt x="59740" y="98773"/>
                          <a:pt x="63834" y="103123"/>
                        </a:cubicBezTo>
                        <a:cubicBezTo>
                          <a:pt x="64904" y="104263"/>
                          <a:pt x="74674" y="114149"/>
                          <a:pt x="89328" y="113567"/>
                        </a:cubicBezTo>
                        <a:cubicBezTo>
                          <a:pt x="96935" y="113242"/>
                          <a:pt x="104100" y="110124"/>
                          <a:pt x="110729" y="104449"/>
                        </a:cubicBezTo>
                        <a:lnTo>
                          <a:pt x="121802" y="113311"/>
                        </a:lnTo>
                        <a:cubicBezTo>
                          <a:pt x="126477" y="117056"/>
                          <a:pt x="133293" y="116289"/>
                          <a:pt x="137038" y="111613"/>
                        </a:cubicBezTo>
                        <a:cubicBezTo>
                          <a:pt x="140760" y="106938"/>
                          <a:pt x="140016" y="100122"/>
                          <a:pt x="135340" y="96377"/>
                        </a:cubicBezTo>
                        <a:lnTo>
                          <a:pt x="124291" y="87584"/>
                        </a:lnTo>
                        <a:cubicBezTo>
                          <a:pt x="128175" y="80396"/>
                          <a:pt x="129827" y="73324"/>
                          <a:pt x="128990" y="66485"/>
                        </a:cubicBezTo>
                        <a:cubicBezTo>
                          <a:pt x="127408" y="53436"/>
                          <a:pt x="117917" y="46131"/>
                          <a:pt x="113846" y="43014"/>
                        </a:cubicBezTo>
                        <a:cubicBezTo>
                          <a:pt x="102657" y="34082"/>
                          <a:pt x="85979" y="35920"/>
                          <a:pt x="64276" y="48481"/>
                        </a:cubicBezTo>
                        <a:cubicBezTo>
                          <a:pt x="48551" y="57600"/>
                          <a:pt x="40921" y="57251"/>
                          <a:pt x="38269" y="55134"/>
                        </a:cubicBezTo>
                        <a:cubicBezTo>
                          <a:pt x="36222" y="53575"/>
                          <a:pt x="32430" y="50644"/>
                          <a:pt x="31942" y="46620"/>
                        </a:cubicBezTo>
                        <a:cubicBezTo>
                          <a:pt x="31500" y="42945"/>
                          <a:pt x="33617" y="38083"/>
                          <a:pt x="38036" y="32547"/>
                        </a:cubicBezTo>
                        <a:cubicBezTo>
                          <a:pt x="41107" y="28685"/>
                          <a:pt x="45806" y="24056"/>
                          <a:pt x="50830" y="23777"/>
                        </a:cubicBezTo>
                        <a:cubicBezTo>
                          <a:pt x="55669" y="23521"/>
                          <a:pt x="59646" y="27266"/>
                          <a:pt x="59902" y="27522"/>
                        </a:cubicBezTo>
                        <a:cubicBezTo>
                          <a:pt x="63996" y="31779"/>
                          <a:pt x="70789" y="31942"/>
                          <a:pt x="75115" y="27871"/>
                        </a:cubicBezTo>
                        <a:close/>
                      </a:path>
                    </a:pathLst>
                  </a:custGeom>
                  <a:solidFill>
                    <a:srgbClr val="FFFFB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1165" name="Graphic 174">
                  <a:extLst>
                    <a:ext uri="{FF2B5EF4-FFF2-40B4-BE49-F238E27FC236}">
                      <a16:creationId xmlns:a16="http://schemas.microsoft.com/office/drawing/2014/main" id="{59F75298-D38F-45DD-91B0-9D1AFE9BF2D6}"/>
                    </a:ext>
                  </a:extLst>
                </p:cNvPr>
                <p:cNvGrpSpPr/>
                <p:nvPr/>
              </p:nvGrpSpPr>
              <p:grpSpPr>
                <a:xfrm>
                  <a:off x="6908099" y="3439445"/>
                  <a:ext cx="502453" cy="465234"/>
                  <a:chOff x="6908099" y="3439445"/>
                  <a:chExt cx="502453" cy="465234"/>
                </a:xfrm>
                <a:solidFill>
                  <a:schemeClr val="accent1"/>
                </a:solidFill>
              </p:grpSpPr>
              <p:sp>
                <p:nvSpPr>
                  <p:cNvPr id="1171" name="Freeform: Shape 1170">
                    <a:extLst>
                      <a:ext uri="{FF2B5EF4-FFF2-40B4-BE49-F238E27FC236}">
                        <a16:creationId xmlns:a16="http://schemas.microsoft.com/office/drawing/2014/main" id="{61D9E16C-F170-4386-BD78-48AE903ED5F2}"/>
                      </a:ext>
                    </a:extLst>
                  </p:cNvPr>
                  <p:cNvSpPr/>
                  <p:nvPr/>
                </p:nvSpPr>
                <p:spPr>
                  <a:xfrm>
                    <a:off x="6908099" y="3439445"/>
                    <a:ext cx="502453" cy="465234"/>
                  </a:xfrm>
                  <a:custGeom>
                    <a:avLst/>
                    <a:gdLst>
                      <a:gd name="connsiteX0" fmla="*/ 359962 w 502452"/>
                      <a:gd name="connsiteY0" fmla="*/ 3073 h 465234"/>
                      <a:gd name="connsiteX1" fmla="*/ 4872 w 502452"/>
                      <a:gd name="connsiteY1" fmla="*/ 296566 h 465234"/>
                      <a:gd name="connsiteX2" fmla="*/ 3081 w 502452"/>
                      <a:gd name="connsiteY2" fmla="*/ 315478 h 465234"/>
                      <a:gd name="connsiteX3" fmla="*/ 124018 w 502452"/>
                      <a:gd name="connsiteY3" fmla="*/ 461794 h 465234"/>
                      <a:gd name="connsiteX4" fmla="*/ 142930 w 502452"/>
                      <a:gd name="connsiteY4" fmla="*/ 463585 h 465234"/>
                      <a:gd name="connsiteX5" fmla="*/ 498020 w 502452"/>
                      <a:gd name="connsiteY5" fmla="*/ 170092 h 465234"/>
                      <a:gd name="connsiteX6" fmla="*/ 499811 w 502452"/>
                      <a:gd name="connsiteY6" fmla="*/ 151181 h 465234"/>
                      <a:gd name="connsiteX7" fmla="*/ 378874 w 502452"/>
                      <a:gd name="connsiteY7" fmla="*/ 4864 h 465234"/>
                      <a:gd name="connsiteX8" fmla="*/ 359962 w 502452"/>
                      <a:gd name="connsiteY8" fmla="*/ 3073 h 4652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502452" h="465234">
                        <a:moveTo>
                          <a:pt x="359962" y="3073"/>
                        </a:moveTo>
                        <a:lnTo>
                          <a:pt x="4872" y="296566"/>
                        </a:lnTo>
                        <a:cubicBezTo>
                          <a:pt x="-850" y="301289"/>
                          <a:pt x="-1641" y="309756"/>
                          <a:pt x="3081" y="315478"/>
                        </a:cubicBezTo>
                        <a:lnTo>
                          <a:pt x="124018" y="461794"/>
                        </a:lnTo>
                        <a:cubicBezTo>
                          <a:pt x="128741" y="467517"/>
                          <a:pt x="137208" y="468308"/>
                          <a:pt x="142930" y="463585"/>
                        </a:cubicBezTo>
                        <a:lnTo>
                          <a:pt x="498020" y="170092"/>
                        </a:lnTo>
                        <a:cubicBezTo>
                          <a:pt x="503743" y="165370"/>
                          <a:pt x="504557" y="156903"/>
                          <a:pt x="499811" y="151181"/>
                        </a:cubicBezTo>
                        <a:lnTo>
                          <a:pt x="378874" y="4864"/>
                        </a:lnTo>
                        <a:cubicBezTo>
                          <a:pt x="374152" y="-835"/>
                          <a:pt x="365684" y="-1649"/>
                          <a:pt x="359962" y="3073"/>
                        </a:cubicBezTo>
                        <a:close/>
                      </a:path>
                    </a:pathLst>
                  </a:custGeom>
                  <a:solidFill>
                    <a:srgbClr val="A0966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172" name="Freeform: Shape 1171">
                    <a:extLst>
                      <a:ext uri="{FF2B5EF4-FFF2-40B4-BE49-F238E27FC236}">
                        <a16:creationId xmlns:a16="http://schemas.microsoft.com/office/drawing/2014/main" id="{5824B507-384B-4428-91F1-987B2041B5D1}"/>
                      </a:ext>
                    </a:extLst>
                  </p:cNvPr>
                  <p:cNvSpPr/>
                  <p:nvPr/>
                </p:nvSpPr>
                <p:spPr>
                  <a:xfrm>
                    <a:off x="7139433" y="3499419"/>
                    <a:ext cx="209355" cy="209355"/>
                  </a:xfrm>
                  <a:custGeom>
                    <a:avLst/>
                    <a:gdLst>
                      <a:gd name="connsiteX0" fmla="*/ 163009 w 209355"/>
                      <a:gd name="connsiteY0" fmla="*/ 7860 h 209355"/>
                      <a:gd name="connsiteX1" fmla="*/ 101575 w 209355"/>
                      <a:gd name="connsiteY1" fmla="*/ 2021 h 209355"/>
                      <a:gd name="connsiteX2" fmla="*/ 91712 w 209355"/>
                      <a:gd name="connsiteY2" fmla="*/ 1719 h 209355"/>
                      <a:gd name="connsiteX3" fmla="*/ 1596 w 209355"/>
                      <a:gd name="connsiteY3" fmla="*/ 76203 h 209355"/>
                      <a:gd name="connsiteX4" fmla="*/ 201 w 209355"/>
                      <a:gd name="connsiteY4" fmla="*/ 80878 h 209355"/>
                      <a:gd name="connsiteX5" fmla="*/ 3992 w 209355"/>
                      <a:gd name="connsiteY5" fmla="*/ 83949 h 209355"/>
                      <a:gd name="connsiteX6" fmla="*/ 77499 w 209355"/>
                      <a:gd name="connsiteY6" fmla="*/ 125913 h 209355"/>
                      <a:gd name="connsiteX7" fmla="*/ 104878 w 209355"/>
                      <a:gd name="connsiteY7" fmla="*/ 206003 h 209355"/>
                      <a:gd name="connsiteX8" fmla="*/ 107181 w 209355"/>
                      <a:gd name="connsiteY8" fmla="*/ 210307 h 209355"/>
                      <a:gd name="connsiteX9" fmla="*/ 112043 w 209355"/>
                      <a:gd name="connsiteY9" fmla="*/ 209818 h 209355"/>
                      <a:gd name="connsiteX10" fmla="*/ 202159 w 209355"/>
                      <a:gd name="connsiteY10" fmla="*/ 135334 h 209355"/>
                      <a:gd name="connsiteX11" fmla="*/ 203717 w 209355"/>
                      <a:gd name="connsiteY11" fmla="*/ 125587 h 209355"/>
                      <a:gd name="connsiteX12" fmla="*/ 209556 w 209355"/>
                      <a:gd name="connsiteY12" fmla="*/ 64153 h 209355"/>
                      <a:gd name="connsiteX13" fmla="*/ 209858 w 209355"/>
                      <a:gd name="connsiteY13" fmla="*/ 54290 h 209355"/>
                      <a:gd name="connsiteX14" fmla="*/ 172756 w 209355"/>
                      <a:gd name="connsiteY14" fmla="*/ 9418 h 209355"/>
                      <a:gd name="connsiteX15" fmla="*/ 163009 w 209355"/>
                      <a:gd name="connsiteY15" fmla="*/ 7860 h 20935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</a:cxnLst>
                    <a:rect l="l" t="t" r="r" b="b"/>
                    <a:pathLst>
                      <a:path w="209355" h="209355">
                        <a:moveTo>
                          <a:pt x="163009" y="7860"/>
                        </a:moveTo>
                        <a:cubicBezTo>
                          <a:pt x="143632" y="20072"/>
                          <a:pt x="118300" y="17676"/>
                          <a:pt x="101575" y="2021"/>
                        </a:cubicBezTo>
                        <a:cubicBezTo>
                          <a:pt x="98830" y="-561"/>
                          <a:pt x="94620" y="-677"/>
                          <a:pt x="91712" y="1719"/>
                        </a:cubicBezTo>
                        <a:lnTo>
                          <a:pt x="1596" y="76203"/>
                        </a:lnTo>
                        <a:cubicBezTo>
                          <a:pt x="224" y="77343"/>
                          <a:pt x="-334" y="79180"/>
                          <a:pt x="201" y="80878"/>
                        </a:cubicBezTo>
                        <a:cubicBezTo>
                          <a:pt x="736" y="82577"/>
                          <a:pt x="2224" y="83786"/>
                          <a:pt x="3992" y="83949"/>
                        </a:cubicBezTo>
                        <a:cubicBezTo>
                          <a:pt x="29487" y="86252"/>
                          <a:pt x="56866" y="100930"/>
                          <a:pt x="77499" y="125913"/>
                        </a:cubicBezTo>
                        <a:cubicBezTo>
                          <a:pt x="98156" y="150896"/>
                          <a:pt x="107391" y="180555"/>
                          <a:pt x="104878" y="206003"/>
                        </a:cubicBezTo>
                        <a:cubicBezTo>
                          <a:pt x="104692" y="207771"/>
                          <a:pt x="105599" y="209469"/>
                          <a:pt x="107181" y="210307"/>
                        </a:cubicBezTo>
                        <a:cubicBezTo>
                          <a:pt x="108763" y="211144"/>
                          <a:pt x="110670" y="210958"/>
                          <a:pt x="112043" y="209818"/>
                        </a:cubicBezTo>
                        <a:lnTo>
                          <a:pt x="202159" y="135334"/>
                        </a:lnTo>
                        <a:cubicBezTo>
                          <a:pt x="205043" y="132938"/>
                          <a:pt x="205718" y="128774"/>
                          <a:pt x="203717" y="125587"/>
                        </a:cubicBezTo>
                        <a:cubicBezTo>
                          <a:pt x="191505" y="106210"/>
                          <a:pt x="193901" y="80878"/>
                          <a:pt x="209556" y="64153"/>
                        </a:cubicBezTo>
                        <a:cubicBezTo>
                          <a:pt x="212138" y="61408"/>
                          <a:pt x="212254" y="57198"/>
                          <a:pt x="209858" y="54290"/>
                        </a:cubicBezTo>
                        <a:lnTo>
                          <a:pt x="172756" y="9418"/>
                        </a:lnTo>
                        <a:cubicBezTo>
                          <a:pt x="170360" y="6534"/>
                          <a:pt x="166196" y="5859"/>
                          <a:pt x="163009" y="7860"/>
                        </a:cubicBezTo>
                        <a:close/>
                      </a:path>
                    </a:pathLst>
                  </a:custGeom>
                  <a:solidFill>
                    <a:srgbClr val="FFFFC5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173" name="Freeform: Shape 1172">
                    <a:extLst>
                      <a:ext uri="{FF2B5EF4-FFF2-40B4-BE49-F238E27FC236}">
                        <a16:creationId xmlns:a16="http://schemas.microsoft.com/office/drawing/2014/main" id="{20C0B10E-E465-4D83-B2ED-CC27656181AC}"/>
                      </a:ext>
                    </a:extLst>
                  </p:cNvPr>
                  <p:cNvSpPr/>
                  <p:nvPr/>
                </p:nvSpPr>
                <p:spPr>
                  <a:xfrm>
                    <a:off x="6968066" y="3635374"/>
                    <a:ext cx="209355" cy="209355"/>
                  </a:xfrm>
                  <a:custGeom>
                    <a:avLst/>
                    <a:gdLst>
                      <a:gd name="connsiteX0" fmla="*/ 104318 w 209355"/>
                      <a:gd name="connsiteY0" fmla="*/ 519 h 209355"/>
                      <a:gd name="connsiteX1" fmla="*/ 99456 w 209355"/>
                      <a:gd name="connsiteY1" fmla="*/ 1007 h 209355"/>
                      <a:gd name="connsiteX2" fmla="*/ 9410 w 209355"/>
                      <a:gd name="connsiteY2" fmla="*/ 75421 h 209355"/>
                      <a:gd name="connsiteX3" fmla="*/ 7852 w 209355"/>
                      <a:gd name="connsiteY3" fmla="*/ 85168 h 209355"/>
                      <a:gd name="connsiteX4" fmla="*/ 2013 w 209355"/>
                      <a:gd name="connsiteY4" fmla="*/ 146579 h 209355"/>
                      <a:gd name="connsiteX5" fmla="*/ 1711 w 209355"/>
                      <a:gd name="connsiteY5" fmla="*/ 156442 h 209355"/>
                      <a:gd name="connsiteX6" fmla="*/ 38813 w 209355"/>
                      <a:gd name="connsiteY6" fmla="*/ 201314 h 209355"/>
                      <a:gd name="connsiteX7" fmla="*/ 48560 w 209355"/>
                      <a:gd name="connsiteY7" fmla="*/ 202872 h 209355"/>
                      <a:gd name="connsiteX8" fmla="*/ 109994 w 209355"/>
                      <a:gd name="connsiteY8" fmla="*/ 208711 h 209355"/>
                      <a:gd name="connsiteX9" fmla="*/ 119857 w 209355"/>
                      <a:gd name="connsiteY9" fmla="*/ 209014 h 209355"/>
                      <a:gd name="connsiteX10" fmla="*/ 209880 w 209355"/>
                      <a:gd name="connsiteY10" fmla="*/ 134599 h 209355"/>
                      <a:gd name="connsiteX11" fmla="*/ 211275 w 209355"/>
                      <a:gd name="connsiteY11" fmla="*/ 129924 h 209355"/>
                      <a:gd name="connsiteX12" fmla="*/ 207484 w 209355"/>
                      <a:gd name="connsiteY12" fmla="*/ 126853 h 209355"/>
                      <a:gd name="connsiteX13" fmla="*/ 133977 w 209355"/>
                      <a:gd name="connsiteY13" fmla="*/ 84889 h 209355"/>
                      <a:gd name="connsiteX14" fmla="*/ 106598 w 209355"/>
                      <a:gd name="connsiteY14" fmla="*/ 4776 h 209355"/>
                      <a:gd name="connsiteX15" fmla="*/ 104318 w 209355"/>
                      <a:gd name="connsiteY15" fmla="*/ 519 h 20935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</a:cxnLst>
                    <a:rect l="l" t="t" r="r" b="b"/>
                    <a:pathLst>
                      <a:path w="209355" h="209355">
                        <a:moveTo>
                          <a:pt x="104318" y="519"/>
                        </a:moveTo>
                        <a:cubicBezTo>
                          <a:pt x="102759" y="-319"/>
                          <a:pt x="100829" y="-133"/>
                          <a:pt x="99456" y="1007"/>
                        </a:cubicBezTo>
                        <a:lnTo>
                          <a:pt x="9410" y="75421"/>
                        </a:lnTo>
                        <a:cubicBezTo>
                          <a:pt x="6526" y="77817"/>
                          <a:pt x="5851" y="81981"/>
                          <a:pt x="7852" y="85168"/>
                        </a:cubicBezTo>
                        <a:cubicBezTo>
                          <a:pt x="20064" y="104545"/>
                          <a:pt x="17668" y="129877"/>
                          <a:pt x="2013" y="146579"/>
                        </a:cubicBezTo>
                        <a:cubicBezTo>
                          <a:pt x="-546" y="149324"/>
                          <a:pt x="-685" y="153558"/>
                          <a:pt x="1711" y="156442"/>
                        </a:cubicBezTo>
                        <a:lnTo>
                          <a:pt x="38813" y="201314"/>
                        </a:lnTo>
                        <a:cubicBezTo>
                          <a:pt x="41209" y="204222"/>
                          <a:pt x="45373" y="204896"/>
                          <a:pt x="48560" y="202872"/>
                        </a:cubicBezTo>
                        <a:cubicBezTo>
                          <a:pt x="67937" y="190660"/>
                          <a:pt x="93269" y="193056"/>
                          <a:pt x="109994" y="208711"/>
                        </a:cubicBezTo>
                        <a:cubicBezTo>
                          <a:pt x="112739" y="211293"/>
                          <a:pt x="116949" y="211409"/>
                          <a:pt x="119857" y="209014"/>
                        </a:cubicBezTo>
                        <a:lnTo>
                          <a:pt x="209880" y="134599"/>
                        </a:lnTo>
                        <a:cubicBezTo>
                          <a:pt x="211252" y="133459"/>
                          <a:pt x="211810" y="131622"/>
                          <a:pt x="211275" y="129924"/>
                        </a:cubicBezTo>
                        <a:cubicBezTo>
                          <a:pt x="210740" y="128226"/>
                          <a:pt x="209252" y="127016"/>
                          <a:pt x="207484" y="126853"/>
                        </a:cubicBezTo>
                        <a:cubicBezTo>
                          <a:pt x="181989" y="124527"/>
                          <a:pt x="154610" y="109872"/>
                          <a:pt x="133977" y="84889"/>
                        </a:cubicBezTo>
                        <a:cubicBezTo>
                          <a:pt x="113320" y="59906"/>
                          <a:pt x="104085" y="30247"/>
                          <a:pt x="106598" y="4776"/>
                        </a:cubicBezTo>
                        <a:cubicBezTo>
                          <a:pt x="106807" y="3054"/>
                          <a:pt x="105900" y="1356"/>
                          <a:pt x="104318" y="519"/>
                        </a:cubicBezTo>
                        <a:close/>
                      </a:path>
                    </a:pathLst>
                  </a:custGeom>
                  <a:solidFill>
                    <a:srgbClr val="FFFFC5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174" name="Freeform: Shape 1173">
                    <a:extLst>
                      <a:ext uri="{FF2B5EF4-FFF2-40B4-BE49-F238E27FC236}">
                        <a16:creationId xmlns:a16="http://schemas.microsoft.com/office/drawing/2014/main" id="{2DC2B41B-A281-4C4E-A78C-573C07FCB238}"/>
                      </a:ext>
                    </a:extLst>
                  </p:cNvPr>
                  <p:cNvSpPr/>
                  <p:nvPr/>
                </p:nvSpPr>
                <p:spPr>
                  <a:xfrm>
                    <a:off x="7100720" y="3603889"/>
                    <a:ext cx="116309" cy="137244"/>
                  </a:xfrm>
                  <a:custGeom>
                    <a:avLst/>
                    <a:gdLst>
                      <a:gd name="connsiteX0" fmla="*/ 70247 w 116308"/>
                      <a:gd name="connsiteY0" fmla="*/ 40635 h 137244"/>
                      <a:gd name="connsiteX1" fmla="*/ 73829 w 116308"/>
                      <a:gd name="connsiteY1" fmla="*/ 25747 h 137244"/>
                      <a:gd name="connsiteX2" fmla="*/ 51009 w 116308"/>
                      <a:gd name="connsiteY2" fmla="*/ 10325 h 137244"/>
                      <a:gd name="connsiteX3" fmla="*/ 28213 w 116308"/>
                      <a:gd name="connsiteY3" fmla="*/ 14861 h 137244"/>
                      <a:gd name="connsiteX4" fmla="*/ 19187 w 116308"/>
                      <a:gd name="connsiteY4" fmla="*/ 3928 h 137244"/>
                      <a:gd name="connsiteX5" fmla="*/ 3928 w 116308"/>
                      <a:gd name="connsiteY5" fmla="*/ 2485 h 137244"/>
                      <a:gd name="connsiteX6" fmla="*/ 2485 w 116308"/>
                      <a:gd name="connsiteY6" fmla="*/ 17745 h 137244"/>
                      <a:gd name="connsiteX7" fmla="*/ 11488 w 116308"/>
                      <a:gd name="connsiteY7" fmla="*/ 28631 h 137244"/>
                      <a:gd name="connsiteX8" fmla="*/ 2555 w 116308"/>
                      <a:gd name="connsiteY8" fmla="*/ 48334 h 137244"/>
                      <a:gd name="connsiteX9" fmla="*/ 12581 w 116308"/>
                      <a:gd name="connsiteY9" fmla="*/ 74411 h 137244"/>
                      <a:gd name="connsiteX10" fmla="*/ 62221 w 116308"/>
                      <a:gd name="connsiteY10" fmla="*/ 79202 h 137244"/>
                      <a:gd name="connsiteX11" fmla="*/ 89042 w 116308"/>
                      <a:gd name="connsiteY11" fmla="*/ 78016 h 137244"/>
                      <a:gd name="connsiteX12" fmla="*/ 93485 w 116308"/>
                      <a:gd name="connsiteY12" fmla="*/ 87646 h 137244"/>
                      <a:gd name="connsiteX13" fmla="*/ 84646 w 116308"/>
                      <a:gd name="connsiteY13" fmla="*/ 100185 h 137244"/>
                      <a:gd name="connsiteX14" fmla="*/ 70317 w 116308"/>
                      <a:gd name="connsiteY14" fmla="*/ 106140 h 137244"/>
                      <a:gd name="connsiteX15" fmla="*/ 62221 w 116308"/>
                      <a:gd name="connsiteY15" fmla="*/ 100627 h 137244"/>
                      <a:gd name="connsiteX16" fmla="*/ 47381 w 116308"/>
                      <a:gd name="connsiteY16" fmla="*/ 97161 h 137244"/>
                      <a:gd name="connsiteX17" fmla="*/ 43821 w 116308"/>
                      <a:gd name="connsiteY17" fmla="*/ 112071 h 137244"/>
                      <a:gd name="connsiteX18" fmla="*/ 66641 w 116308"/>
                      <a:gd name="connsiteY18" fmla="*/ 127517 h 137244"/>
                      <a:gd name="connsiteX19" fmla="*/ 89438 w 116308"/>
                      <a:gd name="connsiteY19" fmla="*/ 122981 h 137244"/>
                      <a:gd name="connsiteX20" fmla="*/ 98463 w 116308"/>
                      <a:gd name="connsiteY20" fmla="*/ 133914 h 137244"/>
                      <a:gd name="connsiteX21" fmla="*/ 113723 w 116308"/>
                      <a:gd name="connsiteY21" fmla="*/ 135356 h 137244"/>
                      <a:gd name="connsiteX22" fmla="*/ 115165 w 116308"/>
                      <a:gd name="connsiteY22" fmla="*/ 120097 h 137244"/>
                      <a:gd name="connsiteX23" fmla="*/ 106163 w 116308"/>
                      <a:gd name="connsiteY23" fmla="*/ 109210 h 137244"/>
                      <a:gd name="connsiteX24" fmla="*/ 115095 w 116308"/>
                      <a:gd name="connsiteY24" fmla="*/ 89507 h 137244"/>
                      <a:gd name="connsiteX25" fmla="*/ 105070 w 116308"/>
                      <a:gd name="connsiteY25" fmla="*/ 63431 h 137244"/>
                      <a:gd name="connsiteX26" fmla="*/ 55406 w 116308"/>
                      <a:gd name="connsiteY26" fmla="*/ 58639 h 137244"/>
                      <a:gd name="connsiteX27" fmla="*/ 28585 w 116308"/>
                      <a:gd name="connsiteY27" fmla="*/ 59825 h 137244"/>
                      <a:gd name="connsiteX28" fmla="*/ 24142 w 116308"/>
                      <a:gd name="connsiteY28" fmla="*/ 50195 h 137244"/>
                      <a:gd name="connsiteX29" fmla="*/ 32981 w 116308"/>
                      <a:gd name="connsiteY29" fmla="*/ 37657 h 137244"/>
                      <a:gd name="connsiteX30" fmla="*/ 47311 w 116308"/>
                      <a:gd name="connsiteY30" fmla="*/ 31679 h 137244"/>
                      <a:gd name="connsiteX31" fmla="*/ 55406 w 116308"/>
                      <a:gd name="connsiteY31" fmla="*/ 37192 h 137244"/>
                      <a:gd name="connsiteX32" fmla="*/ 70247 w 116308"/>
                      <a:gd name="connsiteY32" fmla="*/ 40635 h 13724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</a:cxnLst>
                    <a:rect l="l" t="t" r="r" b="b"/>
                    <a:pathLst>
                      <a:path w="116308" h="137244">
                        <a:moveTo>
                          <a:pt x="70247" y="40635"/>
                        </a:moveTo>
                        <a:cubicBezTo>
                          <a:pt x="75318" y="37564"/>
                          <a:pt x="76946" y="30841"/>
                          <a:pt x="73829" y="25747"/>
                        </a:cubicBezTo>
                        <a:cubicBezTo>
                          <a:pt x="72992" y="24421"/>
                          <a:pt x="65478" y="12720"/>
                          <a:pt x="51009" y="10325"/>
                        </a:cubicBezTo>
                        <a:cubicBezTo>
                          <a:pt x="43496" y="9068"/>
                          <a:pt x="35843" y="10673"/>
                          <a:pt x="28213" y="14861"/>
                        </a:cubicBezTo>
                        <a:lnTo>
                          <a:pt x="19187" y="3928"/>
                        </a:lnTo>
                        <a:cubicBezTo>
                          <a:pt x="15372" y="-678"/>
                          <a:pt x="8557" y="-1330"/>
                          <a:pt x="3928" y="2485"/>
                        </a:cubicBezTo>
                        <a:cubicBezTo>
                          <a:pt x="-678" y="6300"/>
                          <a:pt x="-1330" y="13116"/>
                          <a:pt x="2485" y="17745"/>
                        </a:cubicBezTo>
                        <a:lnTo>
                          <a:pt x="11488" y="28631"/>
                        </a:lnTo>
                        <a:cubicBezTo>
                          <a:pt x="6230" y="34889"/>
                          <a:pt x="3137" y="41449"/>
                          <a:pt x="2555" y="48334"/>
                        </a:cubicBezTo>
                        <a:cubicBezTo>
                          <a:pt x="1439" y="61431"/>
                          <a:pt x="9231" y="70503"/>
                          <a:pt x="12581" y="74411"/>
                        </a:cubicBezTo>
                        <a:cubicBezTo>
                          <a:pt x="21699" y="85460"/>
                          <a:pt x="38401" y="87065"/>
                          <a:pt x="62221" y="79202"/>
                        </a:cubicBezTo>
                        <a:cubicBezTo>
                          <a:pt x="79482" y="73503"/>
                          <a:pt x="86879" y="75411"/>
                          <a:pt x="89042" y="78016"/>
                        </a:cubicBezTo>
                        <a:cubicBezTo>
                          <a:pt x="90717" y="79970"/>
                          <a:pt x="93834" y="83599"/>
                          <a:pt x="93485" y="87646"/>
                        </a:cubicBezTo>
                        <a:cubicBezTo>
                          <a:pt x="93160" y="91322"/>
                          <a:pt x="90112" y="95672"/>
                          <a:pt x="84646" y="100185"/>
                        </a:cubicBezTo>
                        <a:cubicBezTo>
                          <a:pt x="80854" y="103325"/>
                          <a:pt x="75295" y="106907"/>
                          <a:pt x="70317" y="106140"/>
                        </a:cubicBezTo>
                        <a:cubicBezTo>
                          <a:pt x="65525" y="105418"/>
                          <a:pt x="62407" y="100929"/>
                          <a:pt x="62221" y="100627"/>
                        </a:cubicBezTo>
                        <a:cubicBezTo>
                          <a:pt x="59058" y="95625"/>
                          <a:pt x="52452" y="94067"/>
                          <a:pt x="47381" y="97161"/>
                        </a:cubicBezTo>
                        <a:cubicBezTo>
                          <a:pt x="42333" y="100278"/>
                          <a:pt x="40681" y="106954"/>
                          <a:pt x="43821" y="112071"/>
                        </a:cubicBezTo>
                        <a:cubicBezTo>
                          <a:pt x="44635" y="113397"/>
                          <a:pt x="52172" y="125098"/>
                          <a:pt x="66641" y="127517"/>
                        </a:cubicBezTo>
                        <a:cubicBezTo>
                          <a:pt x="74155" y="128750"/>
                          <a:pt x="81808" y="127168"/>
                          <a:pt x="89438" y="122981"/>
                        </a:cubicBezTo>
                        <a:lnTo>
                          <a:pt x="98463" y="133914"/>
                        </a:lnTo>
                        <a:cubicBezTo>
                          <a:pt x="102278" y="138520"/>
                          <a:pt x="109094" y="139171"/>
                          <a:pt x="113723" y="135356"/>
                        </a:cubicBezTo>
                        <a:cubicBezTo>
                          <a:pt x="118329" y="131541"/>
                          <a:pt x="118980" y="124726"/>
                          <a:pt x="115165" y="120097"/>
                        </a:cubicBezTo>
                        <a:lnTo>
                          <a:pt x="106163" y="109210"/>
                        </a:lnTo>
                        <a:cubicBezTo>
                          <a:pt x="111420" y="102953"/>
                          <a:pt x="114514" y="96370"/>
                          <a:pt x="115095" y="89507"/>
                        </a:cubicBezTo>
                        <a:cubicBezTo>
                          <a:pt x="116212" y="76411"/>
                          <a:pt x="108419" y="67339"/>
                          <a:pt x="105070" y="63431"/>
                        </a:cubicBezTo>
                        <a:cubicBezTo>
                          <a:pt x="95951" y="52382"/>
                          <a:pt x="79249" y="50777"/>
                          <a:pt x="55406" y="58639"/>
                        </a:cubicBezTo>
                        <a:cubicBezTo>
                          <a:pt x="38146" y="64338"/>
                          <a:pt x="30748" y="62431"/>
                          <a:pt x="28585" y="59825"/>
                        </a:cubicBezTo>
                        <a:cubicBezTo>
                          <a:pt x="26910" y="57871"/>
                          <a:pt x="23793" y="54243"/>
                          <a:pt x="24142" y="50195"/>
                        </a:cubicBezTo>
                        <a:cubicBezTo>
                          <a:pt x="24468" y="46520"/>
                          <a:pt x="27515" y="42170"/>
                          <a:pt x="32981" y="37657"/>
                        </a:cubicBezTo>
                        <a:cubicBezTo>
                          <a:pt x="36773" y="34517"/>
                          <a:pt x="42333" y="30934"/>
                          <a:pt x="47311" y="31679"/>
                        </a:cubicBezTo>
                        <a:cubicBezTo>
                          <a:pt x="52103" y="32423"/>
                          <a:pt x="55220" y="36913"/>
                          <a:pt x="55406" y="37192"/>
                        </a:cubicBezTo>
                        <a:cubicBezTo>
                          <a:pt x="58569" y="42193"/>
                          <a:pt x="65199" y="43728"/>
                          <a:pt x="70247" y="40635"/>
                        </a:cubicBezTo>
                        <a:close/>
                      </a:path>
                    </a:pathLst>
                  </a:custGeom>
                  <a:solidFill>
                    <a:srgbClr val="FFFFC5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1166" name="Graphic 174">
                  <a:extLst>
                    <a:ext uri="{FF2B5EF4-FFF2-40B4-BE49-F238E27FC236}">
                      <a16:creationId xmlns:a16="http://schemas.microsoft.com/office/drawing/2014/main" id="{6930E913-B932-4D51-B4F1-A804BBE77A5B}"/>
                    </a:ext>
                  </a:extLst>
                </p:cNvPr>
                <p:cNvGrpSpPr/>
                <p:nvPr/>
              </p:nvGrpSpPr>
              <p:grpSpPr>
                <a:xfrm>
                  <a:off x="6935191" y="3492257"/>
                  <a:ext cx="521062" cy="409406"/>
                  <a:chOff x="6935191" y="3492257"/>
                  <a:chExt cx="521062" cy="409406"/>
                </a:xfrm>
                <a:solidFill>
                  <a:schemeClr val="accent1"/>
                </a:solidFill>
              </p:grpSpPr>
              <p:sp>
                <p:nvSpPr>
                  <p:cNvPr id="1167" name="Freeform: Shape 1166">
                    <a:extLst>
                      <a:ext uri="{FF2B5EF4-FFF2-40B4-BE49-F238E27FC236}">
                        <a16:creationId xmlns:a16="http://schemas.microsoft.com/office/drawing/2014/main" id="{C8CF62BF-E209-495B-BDA9-4ACBCAD455B8}"/>
                      </a:ext>
                    </a:extLst>
                  </p:cNvPr>
                  <p:cNvSpPr/>
                  <p:nvPr/>
                </p:nvSpPr>
                <p:spPr>
                  <a:xfrm>
                    <a:off x="6935191" y="3492257"/>
                    <a:ext cx="521062" cy="409406"/>
                  </a:xfrm>
                  <a:custGeom>
                    <a:avLst/>
                    <a:gdLst>
                      <a:gd name="connsiteX0" fmla="*/ 413262 w 521062"/>
                      <a:gd name="connsiteY0" fmla="*/ 1600 h 409406"/>
                      <a:gd name="connsiteX1" fmla="*/ 7090 w 521062"/>
                      <a:gd name="connsiteY1" fmla="*/ 218957 h 409406"/>
                      <a:gd name="connsiteX2" fmla="*/ 1600 w 521062"/>
                      <a:gd name="connsiteY2" fmla="*/ 237125 h 409406"/>
                      <a:gd name="connsiteX3" fmla="*/ 91158 w 521062"/>
                      <a:gd name="connsiteY3" fmla="*/ 404493 h 409406"/>
                      <a:gd name="connsiteX4" fmla="*/ 109325 w 521062"/>
                      <a:gd name="connsiteY4" fmla="*/ 409983 h 409406"/>
                      <a:gd name="connsiteX5" fmla="*/ 515498 w 521062"/>
                      <a:gd name="connsiteY5" fmla="*/ 192648 h 409406"/>
                      <a:gd name="connsiteX6" fmla="*/ 521011 w 521062"/>
                      <a:gd name="connsiteY6" fmla="*/ 174458 h 409406"/>
                      <a:gd name="connsiteX7" fmla="*/ 431453 w 521062"/>
                      <a:gd name="connsiteY7" fmla="*/ 7090 h 409406"/>
                      <a:gd name="connsiteX8" fmla="*/ 413262 w 521062"/>
                      <a:gd name="connsiteY8" fmla="*/ 1600 h 40940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521062" h="409406">
                        <a:moveTo>
                          <a:pt x="413262" y="1600"/>
                        </a:moveTo>
                        <a:lnTo>
                          <a:pt x="7090" y="218957"/>
                        </a:lnTo>
                        <a:cubicBezTo>
                          <a:pt x="553" y="222447"/>
                          <a:pt x="-1913" y="230588"/>
                          <a:pt x="1600" y="237125"/>
                        </a:cubicBezTo>
                        <a:lnTo>
                          <a:pt x="91158" y="404493"/>
                        </a:lnTo>
                        <a:cubicBezTo>
                          <a:pt x="94647" y="411029"/>
                          <a:pt x="102788" y="413495"/>
                          <a:pt x="109325" y="409983"/>
                        </a:cubicBezTo>
                        <a:lnTo>
                          <a:pt x="515498" y="192648"/>
                        </a:lnTo>
                        <a:cubicBezTo>
                          <a:pt x="522034" y="189136"/>
                          <a:pt x="524500" y="180994"/>
                          <a:pt x="521011" y="174458"/>
                        </a:cubicBezTo>
                        <a:lnTo>
                          <a:pt x="431453" y="7090"/>
                        </a:lnTo>
                        <a:cubicBezTo>
                          <a:pt x="427941" y="553"/>
                          <a:pt x="419799" y="-1913"/>
                          <a:pt x="413262" y="1600"/>
                        </a:cubicBezTo>
                        <a:close/>
                      </a:path>
                    </a:pathLst>
                  </a:custGeom>
                  <a:solidFill>
                    <a:srgbClr val="ADA56E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168" name="Freeform: Shape 1167">
                    <a:extLst>
                      <a:ext uri="{FF2B5EF4-FFF2-40B4-BE49-F238E27FC236}">
                        <a16:creationId xmlns:a16="http://schemas.microsoft.com/office/drawing/2014/main" id="{C46ABD04-DEEC-420A-8ABB-1A05389AD545}"/>
                      </a:ext>
                    </a:extLst>
                  </p:cNvPr>
                  <p:cNvSpPr/>
                  <p:nvPr/>
                </p:nvSpPr>
                <p:spPr>
                  <a:xfrm>
                    <a:off x="7195298" y="3543103"/>
                    <a:ext cx="209355" cy="209355"/>
                  </a:xfrm>
                  <a:custGeom>
                    <a:avLst/>
                    <a:gdLst>
                      <a:gd name="connsiteX0" fmla="*/ 174022 w 209355"/>
                      <a:gd name="connsiteY0" fmla="*/ 21028 h 209355"/>
                      <a:gd name="connsiteX1" fmla="*/ 114983 w 209355"/>
                      <a:gd name="connsiteY1" fmla="*/ 3140 h 209355"/>
                      <a:gd name="connsiteX2" fmla="*/ 105376 w 209355"/>
                      <a:gd name="connsiteY2" fmla="*/ 883 h 209355"/>
                      <a:gd name="connsiteX3" fmla="*/ 2304 w 209355"/>
                      <a:gd name="connsiteY3" fmla="*/ 56037 h 209355"/>
                      <a:gd name="connsiteX4" fmla="*/ 24 w 209355"/>
                      <a:gd name="connsiteY4" fmla="*/ 60340 h 209355"/>
                      <a:gd name="connsiteX5" fmla="*/ 3118 w 209355"/>
                      <a:gd name="connsiteY5" fmla="*/ 64085 h 209355"/>
                      <a:gd name="connsiteX6" fmla="*/ 66855 w 209355"/>
                      <a:gd name="connsiteY6" fmla="*/ 119774 h 209355"/>
                      <a:gd name="connsiteX7" fmla="*/ 77834 w 209355"/>
                      <a:gd name="connsiteY7" fmla="*/ 203702 h 209355"/>
                      <a:gd name="connsiteX8" fmla="*/ 79230 w 209355"/>
                      <a:gd name="connsiteY8" fmla="*/ 208378 h 209355"/>
                      <a:gd name="connsiteX9" fmla="*/ 84092 w 209355"/>
                      <a:gd name="connsiteY9" fmla="*/ 208866 h 209355"/>
                      <a:gd name="connsiteX10" fmla="*/ 187164 w 209355"/>
                      <a:gd name="connsiteY10" fmla="*/ 153713 h 209355"/>
                      <a:gd name="connsiteX11" fmla="*/ 190630 w 209355"/>
                      <a:gd name="connsiteY11" fmla="*/ 144478 h 209355"/>
                      <a:gd name="connsiteX12" fmla="*/ 208519 w 209355"/>
                      <a:gd name="connsiteY12" fmla="*/ 85416 h 209355"/>
                      <a:gd name="connsiteX13" fmla="*/ 210752 w 209355"/>
                      <a:gd name="connsiteY13" fmla="*/ 75809 h 209355"/>
                      <a:gd name="connsiteX14" fmla="*/ 183280 w 209355"/>
                      <a:gd name="connsiteY14" fmla="*/ 24471 h 209355"/>
                      <a:gd name="connsiteX15" fmla="*/ 174022 w 209355"/>
                      <a:gd name="connsiteY15" fmla="*/ 21028 h 20935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</a:cxnLst>
                    <a:rect l="l" t="t" r="r" b="b"/>
                    <a:pathLst>
                      <a:path w="209355" h="209355">
                        <a:moveTo>
                          <a:pt x="174022" y="21028"/>
                        </a:moveTo>
                        <a:cubicBezTo>
                          <a:pt x="152621" y="29169"/>
                          <a:pt x="128266" y="21796"/>
                          <a:pt x="114983" y="3140"/>
                        </a:cubicBezTo>
                        <a:cubicBezTo>
                          <a:pt x="112797" y="69"/>
                          <a:pt x="108679" y="-885"/>
                          <a:pt x="105376" y="883"/>
                        </a:cubicBezTo>
                        <a:lnTo>
                          <a:pt x="2304" y="56037"/>
                        </a:lnTo>
                        <a:cubicBezTo>
                          <a:pt x="745" y="56874"/>
                          <a:pt x="-162" y="58572"/>
                          <a:pt x="24" y="60340"/>
                        </a:cubicBezTo>
                        <a:cubicBezTo>
                          <a:pt x="210" y="62108"/>
                          <a:pt x="1420" y="63597"/>
                          <a:pt x="3118" y="64085"/>
                        </a:cubicBezTo>
                        <a:cubicBezTo>
                          <a:pt x="27636" y="71413"/>
                          <a:pt x="51595" y="91208"/>
                          <a:pt x="66855" y="119774"/>
                        </a:cubicBezTo>
                        <a:cubicBezTo>
                          <a:pt x="82138" y="148339"/>
                          <a:pt x="85348" y="179231"/>
                          <a:pt x="77834" y="203702"/>
                        </a:cubicBezTo>
                        <a:cubicBezTo>
                          <a:pt x="77323" y="205400"/>
                          <a:pt x="77858" y="207238"/>
                          <a:pt x="79230" y="208378"/>
                        </a:cubicBezTo>
                        <a:cubicBezTo>
                          <a:pt x="80603" y="209518"/>
                          <a:pt x="82533" y="209704"/>
                          <a:pt x="84092" y="208866"/>
                        </a:cubicBezTo>
                        <a:lnTo>
                          <a:pt x="187164" y="153713"/>
                        </a:lnTo>
                        <a:cubicBezTo>
                          <a:pt x="190468" y="151945"/>
                          <a:pt x="191956" y="147990"/>
                          <a:pt x="190630" y="144478"/>
                        </a:cubicBezTo>
                        <a:cubicBezTo>
                          <a:pt x="182489" y="123077"/>
                          <a:pt x="189863" y="98722"/>
                          <a:pt x="208519" y="85416"/>
                        </a:cubicBezTo>
                        <a:cubicBezTo>
                          <a:pt x="211589" y="83230"/>
                          <a:pt x="212543" y="79136"/>
                          <a:pt x="210752" y="75809"/>
                        </a:cubicBezTo>
                        <a:lnTo>
                          <a:pt x="183280" y="24471"/>
                        </a:lnTo>
                        <a:cubicBezTo>
                          <a:pt x="181489" y="21191"/>
                          <a:pt x="177534" y="19702"/>
                          <a:pt x="174022" y="21028"/>
                        </a:cubicBezTo>
                        <a:close/>
                      </a:path>
                    </a:pathLst>
                  </a:custGeom>
                  <a:solidFill>
                    <a:srgbClr val="FFFFCE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169" name="Freeform: Shape 1168">
                    <a:extLst>
                      <a:ext uri="{FF2B5EF4-FFF2-40B4-BE49-F238E27FC236}">
                        <a16:creationId xmlns:a16="http://schemas.microsoft.com/office/drawing/2014/main" id="{785634A6-01DC-4AAE-A090-2E0A02E5077A}"/>
                      </a:ext>
                    </a:extLst>
                  </p:cNvPr>
                  <p:cNvSpPr/>
                  <p:nvPr/>
                </p:nvSpPr>
                <p:spPr>
                  <a:xfrm>
                    <a:off x="6986044" y="3643632"/>
                    <a:ext cx="209355" cy="207029"/>
                  </a:xfrm>
                  <a:custGeom>
                    <a:avLst/>
                    <a:gdLst>
                      <a:gd name="connsiteX0" fmla="*/ 132305 w 209355"/>
                      <a:gd name="connsiteY0" fmla="*/ 1007 h 207029"/>
                      <a:gd name="connsiteX1" fmla="*/ 127467 w 209355"/>
                      <a:gd name="connsiteY1" fmla="*/ 519 h 207029"/>
                      <a:gd name="connsiteX2" fmla="*/ 24487 w 209355"/>
                      <a:gd name="connsiteY2" fmla="*/ 55626 h 207029"/>
                      <a:gd name="connsiteX3" fmla="*/ 21021 w 209355"/>
                      <a:gd name="connsiteY3" fmla="*/ 64884 h 207029"/>
                      <a:gd name="connsiteX4" fmla="*/ 3133 w 209355"/>
                      <a:gd name="connsiteY4" fmla="*/ 123922 h 207029"/>
                      <a:gd name="connsiteX5" fmla="*/ 900 w 209355"/>
                      <a:gd name="connsiteY5" fmla="*/ 133529 h 207029"/>
                      <a:gd name="connsiteX6" fmla="*/ 28372 w 209355"/>
                      <a:gd name="connsiteY6" fmla="*/ 184868 h 207029"/>
                      <a:gd name="connsiteX7" fmla="*/ 37607 w 209355"/>
                      <a:gd name="connsiteY7" fmla="*/ 188334 h 207029"/>
                      <a:gd name="connsiteX8" fmla="*/ 96668 w 209355"/>
                      <a:gd name="connsiteY8" fmla="*/ 206222 h 207029"/>
                      <a:gd name="connsiteX9" fmla="*/ 106275 w 209355"/>
                      <a:gd name="connsiteY9" fmla="*/ 208455 h 207029"/>
                      <a:gd name="connsiteX10" fmla="*/ 209255 w 209355"/>
                      <a:gd name="connsiteY10" fmla="*/ 153348 h 207029"/>
                      <a:gd name="connsiteX11" fmla="*/ 211558 w 209355"/>
                      <a:gd name="connsiteY11" fmla="*/ 149045 h 207029"/>
                      <a:gd name="connsiteX12" fmla="*/ 208441 w 209355"/>
                      <a:gd name="connsiteY12" fmla="*/ 145276 h 207029"/>
                      <a:gd name="connsiteX13" fmla="*/ 144704 w 209355"/>
                      <a:gd name="connsiteY13" fmla="*/ 89588 h 207029"/>
                      <a:gd name="connsiteX14" fmla="*/ 133747 w 209355"/>
                      <a:gd name="connsiteY14" fmla="*/ 5660 h 207029"/>
                      <a:gd name="connsiteX15" fmla="*/ 132305 w 209355"/>
                      <a:gd name="connsiteY15" fmla="*/ 1007 h 2070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</a:cxnLst>
                    <a:rect l="l" t="t" r="r" b="b"/>
                    <a:pathLst>
                      <a:path w="209355" h="207029">
                        <a:moveTo>
                          <a:pt x="132305" y="1007"/>
                        </a:moveTo>
                        <a:cubicBezTo>
                          <a:pt x="130933" y="-133"/>
                          <a:pt x="129025" y="-319"/>
                          <a:pt x="127467" y="519"/>
                        </a:cubicBezTo>
                        <a:lnTo>
                          <a:pt x="24487" y="55626"/>
                        </a:lnTo>
                        <a:cubicBezTo>
                          <a:pt x="21161" y="57394"/>
                          <a:pt x="19695" y="61348"/>
                          <a:pt x="21021" y="64884"/>
                        </a:cubicBezTo>
                        <a:cubicBezTo>
                          <a:pt x="29163" y="86285"/>
                          <a:pt x="21789" y="110640"/>
                          <a:pt x="3133" y="123922"/>
                        </a:cubicBezTo>
                        <a:cubicBezTo>
                          <a:pt x="62" y="126109"/>
                          <a:pt x="-891" y="130203"/>
                          <a:pt x="900" y="133529"/>
                        </a:cubicBezTo>
                        <a:lnTo>
                          <a:pt x="28372" y="184868"/>
                        </a:lnTo>
                        <a:cubicBezTo>
                          <a:pt x="30140" y="188171"/>
                          <a:pt x="34094" y="189683"/>
                          <a:pt x="37607" y="188334"/>
                        </a:cubicBezTo>
                        <a:cubicBezTo>
                          <a:pt x="59007" y="180192"/>
                          <a:pt x="83362" y="187566"/>
                          <a:pt x="96668" y="206222"/>
                        </a:cubicBezTo>
                        <a:cubicBezTo>
                          <a:pt x="98855" y="209293"/>
                          <a:pt x="102949" y="210246"/>
                          <a:pt x="106275" y="208455"/>
                        </a:cubicBezTo>
                        <a:lnTo>
                          <a:pt x="209255" y="153348"/>
                        </a:lnTo>
                        <a:cubicBezTo>
                          <a:pt x="210813" y="152511"/>
                          <a:pt x="211721" y="150813"/>
                          <a:pt x="211558" y="149045"/>
                        </a:cubicBezTo>
                        <a:cubicBezTo>
                          <a:pt x="211372" y="147277"/>
                          <a:pt x="210162" y="145788"/>
                          <a:pt x="208441" y="145276"/>
                        </a:cubicBezTo>
                        <a:cubicBezTo>
                          <a:pt x="183923" y="137949"/>
                          <a:pt x="159987" y="118153"/>
                          <a:pt x="144704" y="89588"/>
                        </a:cubicBezTo>
                        <a:cubicBezTo>
                          <a:pt x="129421" y="61022"/>
                          <a:pt x="126211" y="30131"/>
                          <a:pt x="133747" y="5660"/>
                        </a:cubicBezTo>
                        <a:cubicBezTo>
                          <a:pt x="134236" y="3985"/>
                          <a:pt x="133701" y="2124"/>
                          <a:pt x="132305" y="1007"/>
                        </a:cubicBezTo>
                        <a:close/>
                      </a:path>
                    </a:pathLst>
                  </a:custGeom>
                  <a:solidFill>
                    <a:srgbClr val="FFFFCE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170" name="Freeform: Shape 1169">
                    <a:extLst>
                      <a:ext uri="{FF2B5EF4-FFF2-40B4-BE49-F238E27FC236}">
                        <a16:creationId xmlns:a16="http://schemas.microsoft.com/office/drawing/2014/main" id="{CBB290BB-490E-4ECE-A075-BCB4C6A31592}"/>
                      </a:ext>
                    </a:extLst>
                  </p:cNvPr>
                  <p:cNvSpPr/>
                  <p:nvPr/>
                </p:nvSpPr>
                <p:spPr>
                  <a:xfrm>
                    <a:off x="7144231" y="3620818"/>
                    <a:ext cx="102352" cy="153527"/>
                  </a:xfrm>
                  <a:custGeom>
                    <a:avLst/>
                    <a:gdLst>
                      <a:gd name="connsiteX0" fmla="*/ 69049 w 102351"/>
                      <a:gd name="connsiteY0" fmla="*/ 51805 h 153527"/>
                      <a:gd name="connsiteX1" fmla="*/ 75516 w 102351"/>
                      <a:gd name="connsiteY1" fmla="*/ 37918 h 153527"/>
                      <a:gd name="connsiteX2" fmla="*/ 56209 w 102351"/>
                      <a:gd name="connsiteY2" fmla="*/ 18285 h 153527"/>
                      <a:gd name="connsiteX3" fmla="*/ 32970 w 102351"/>
                      <a:gd name="connsiteY3" fmla="*/ 18215 h 153527"/>
                      <a:gd name="connsiteX4" fmla="*/ 26294 w 102351"/>
                      <a:gd name="connsiteY4" fmla="*/ 5724 h 153527"/>
                      <a:gd name="connsiteX5" fmla="*/ 11616 w 102351"/>
                      <a:gd name="connsiteY5" fmla="*/ 1281 h 153527"/>
                      <a:gd name="connsiteX6" fmla="*/ 7173 w 102351"/>
                      <a:gd name="connsiteY6" fmla="*/ 15959 h 153527"/>
                      <a:gd name="connsiteX7" fmla="*/ 13849 w 102351"/>
                      <a:gd name="connsiteY7" fmla="*/ 28427 h 153527"/>
                      <a:gd name="connsiteX8" fmla="*/ 1195 w 102351"/>
                      <a:gd name="connsiteY8" fmla="*/ 45966 h 153527"/>
                      <a:gd name="connsiteX9" fmla="*/ 5847 w 102351"/>
                      <a:gd name="connsiteY9" fmla="*/ 73508 h 153527"/>
                      <a:gd name="connsiteX10" fmla="*/ 53557 w 102351"/>
                      <a:gd name="connsiteY10" fmla="*/ 88023 h 153527"/>
                      <a:gd name="connsiteX11" fmla="*/ 80099 w 102351"/>
                      <a:gd name="connsiteY11" fmla="*/ 92164 h 153527"/>
                      <a:gd name="connsiteX12" fmla="*/ 82564 w 102351"/>
                      <a:gd name="connsiteY12" fmla="*/ 102492 h 153527"/>
                      <a:gd name="connsiteX13" fmla="*/ 71422 w 102351"/>
                      <a:gd name="connsiteY13" fmla="*/ 113030 h 153527"/>
                      <a:gd name="connsiteX14" fmla="*/ 56186 w 102351"/>
                      <a:gd name="connsiteY14" fmla="*/ 116031 h 153527"/>
                      <a:gd name="connsiteX15" fmla="*/ 49347 w 102351"/>
                      <a:gd name="connsiteY15" fmla="*/ 109006 h 153527"/>
                      <a:gd name="connsiteX16" fmla="*/ 35506 w 102351"/>
                      <a:gd name="connsiteY16" fmla="*/ 102678 h 153527"/>
                      <a:gd name="connsiteX17" fmla="*/ 29039 w 102351"/>
                      <a:gd name="connsiteY17" fmla="*/ 116566 h 153527"/>
                      <a:gd name="connsiteX18" fmla="*/ 48347 w 102351"/>
                      <a:gd name="connsiteY18" fmla="*/ 136198 h 153527"/>
                      <a:gd name="connsiteX19" fmla="*/ 71585 w 102351"/>
                      <a:gd name="connsiteY19" fmla="*/ 136268 h 153527"/>
                      <a:gd name="connsiteX20" fmla="*/ 78261 w 102351"/>
                      <a:gd name="connsiteY20" fmla="*/ 148783 h 153527"/>
                      <a:gd name="connsiteX21" fmla="*/ 92916 w 102351"/>
                      <a:gd name="connsiteY21" fmla="*/ 153226 h 153527"/>
                      <a:gd name="connsiteX22" fmla="*/ 97359 w 102351"/>
                      <a:gd name="connsiteY22" fmla="*/ 138571 h 153527"/>
                      <a:gd name="connsiteX23" fmla="*/ 90683 w 102351"/>
                      <a:gd name="connsiteY23" fmla="*/ 126103 h 153527"/>
                      <a:gd name="connsiteX24" fmla="*/ 103337 w 102351"/>
                      <a:gd name="connsiteY24" fmla="*/ 108564 h 153527"/>
                      <a:gd name="connsiteX25" fmla="*/ 98685 w 102351"/>
                      <a:gd name="connsiteY25" fmla="*/ 81022 h 153527"/>
                      <a:gd name="connsiteX26" fmla="*/ 50975 w 102351"/>
                      <a:gd name="connsiteY26" fmla="*/ 66506 h 153527"/>
                      <a:gd name="connsiteX27" fmla="*/ 24433 w 102351"/>
                      <a:gd name="connsiteY27" fmla="*/ 62343 h 153527"/>
                      <a:gd name="connsiteX28" fmla="*/ 21968 w 102351"/>
                      <a:gd name="connsiteY28" fmla="*/ 52038 h 153527"/>
                      <a:gd name="connsiteX29" fmla="*/ 33110 w 102351"/>
                      <a:gd name="connsiteY29" fmla="*/ 41500 h 153527"/>
                      <a:gd name="connsiteX30" fmla="*/ 48323 w 102351"/>
                      <a:gd name="connsiteY30" fmla="*/ 38499 h 153527"/>
                      <a:gd name="connsiteX31" fmla="*/ 55185 w 102351"/>
                      <a:gd name="connsiteY31" fmla="*/ 45501 h 153527"/>
                      <a:gd name="connsiteX32" fmla="*/ 69049 w 102351"/>
                      <a:gd name="connsiteY32" fmla="*/ 51805 h 15352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</a:cxnLst>
                    <a:rect l="l" t="t" r="r" b="b"/>
                    <a:pathLst>
                      <a:path w="102351" h="153527">
                        <a:moveTo>
                          <a:pt x="69049" y="51805"/>
                        </a:moveTo>
                        <a:cubicBezTo>
                          <a:pt x="74632" y="49804"/>
                          <a:pt x="77563" y="43524"/>
                          <a:pt x="75516" y="37918"/>
                        </a:cubicBezTo>
                        <a:cubicBezTo>
                          <a:pt x="74981" y="36452"/>
                          <a:pt x="69910" y="23495"/>
                          <a:pt x="56209" y="18285"/>
                        </a:cubicBezTo>
                        <a:cubicBezTo>
                          <a:pt x="49091" y="15563"/>
                          <a:pt x="41275" y="15633"/>
                          <a:pt x="32970" y="18215"/>
                        </a:cubicBezTo>
                        <a:lnTo>
                          <a:pt x="26294" y="5724"/>
                        </a:lnTo>
                        <a:cubicBezTo>
                          <a:pt x="23456" y="443"/>
                          <a:pt x="16897" y="-1534"/>
                          <a:pt x="11616" y="1281"/>
                        </a:cubicBezTo>
                        <a:cubicBezTo>
                          <a:pt x="6336" y="4118"/>
                          <a:pt x="4359" y="10678"/>
                          <a:pt x="7173" y="15959"/>
                        </a:cubicBezTo>
                        <a:lnTo>
                          <a:pt x="13849" y="28427"/>
                        </a:lnTo>
                        <a:cubicBezTo>
                          <a:pt x="7452" y="33521"/>
                          <a:pt x="3126" y="39360"/>
                          <a:pt x="1195" y="45966"/>
                        </a:cubicBezTo>
                        <a:cubicBezTo>
                          <a:pt x="-2504" y="58574"/>
                          <a:pt x="3335" y="69019"/>
                          <a:pt x="5847" y="73508"/>
                        </a:cubicBezTo>
                        <a:cubicBezTo>
                          <a:pt x="12593" y="86139"/>
                          <a:pt x="28667" y="91024"/>
                          <a:pt x="53557" y="88023"/>
                        </a:cubicBezTo>
                        <a:cubicBezTo>
                          <a:pt x="71608" y="85837"/>
                          <a:pt x="78470" y="89187"/>
                          <a:pt x="80099" y="92164"/>
                        </a:cubicBezTo>
                        <a:cubicBezTo>
                          <a:pt x="81355" y="94420"/>
                          <a:pt x="83704" y="98608"/>
                          <a:pt x="82564" y="102492"/>
                        </a:cubicBezTo>
                        <a:cubicBezTo>
                          <a:pt x="81518" y="106028"/>
                          <a:pt x="77680" y="109680"/>
                          <a:pt x="71422" y="113030"/>
                        </a:cubicBezTo>
                        <a:cubicBezTo>
                          <a:pt x="67072" y="115356"/>
                          <a:pt x="60931" y="117752"/>
                          <a:pt x="56186" y="116031"/>
                        </a:cubicBezTo>
                        <a:cubicBezTo>
                          <a:pt x="51626" y="114356"/>
                          <a:pt x="49463" y="109331"/>
                          <a:pt x="49347" y="109006"/>
                        </a:cubicBezTo>
                        <a:cubicBezTo>
                          <a:pt x="47253" y="103469"/>
                          <a:pt x="41089" y="100631"/>
                          <a:pt x="35506" y="102678"/>
                        </a:cubicBezTo>
                        <a:cubicBezTo>
                          <a:pt x="29946" y="104725"/>
                          <a:pt x="26992" y="110959"/>
                          <a:pt x="29039" y="116566"/>
                        </a:cubicBezTo>
                        <a:cubicBezTo>
                          <a:pt x="29574" y="118031"/>
                          <a:pt x="34669" y="130988"/>
                          <a:pt x="48347" y="136198"/>
                        </a:cubicBezTo>
                        <a:cubicBezTo>
                          <a:pt x="55465" y="138920"/>
                          <a:pt x="63281" y="138874"/>
                          <a:pt x="71585" y="136268"/>
                        </a:cubicBezTo>
                        <a:lnTo>
                          <a:pt x="78261" y="148783"/>
                        </a:lnTo>
                        <a:cubicBezTo>
                          <a:pt x="81099" y="154063"/>
                          <a:pt x="87659" y="156041"/>
                          <a:pt x="92916" y="153226"/>
                        </a:cubicBezTo>
                        <a:cubicBezTo>
                          <a:pt x="98196" y="150411"/>
                          <a:pt x="100197" y="143852"/>
                          <a:pt x="97359" y="138571"/>
                        </a:cubicBezTo>
                        <a:lnTo>
                          <a:pt x="90683" y="126103"/>
                        </a:lnTo>
                        <a:cubicBezTo>
                          <a:pt x="97080" y="121032"/>
                          <a:pt x="101406" y="115193"/>
                          <a:pt x="103337" y="108564"/>
                        </a:cubicBezTo>
                        <a:cubicBezTo>
                          <a:pt x="107013" y="95956"/>
                          <a:pt x="101197" y="85511"/>
                          <a:pt x="98685" y="81022"/>
                        </a:cubicBezTo>
                        <a:cubicBezTo>
                          <a:pt x="91916" y="68391"/>
                          <a:pt x="75865" y="63506"/>
                          <a:pt x="50975" y="66506"/>
                        </a:cubicBezTo>
                        <a:cubicBezTo>
                          <a:pt x="32924" y="68670"/>
                          <a:pt x="26062" y="65343"/>
                          <a:pt x="24433" y="62343"/>
                        </a:cubicBezTo>
                        <a:cubicBezTo>
                          <a:pt x="23177" y="60109"/>
                          <a:pt x="20851" y="55922"/>
                          <a:pt x="21968" y="52038"/>
                        </a:cubicBezTo>
                        <a:cubicBezTo>
                          <a:pt x="23015" y="48502"/>
                          <a:pt x="26853" y="44850"/>
                          <a:pt x="33110" y="41500"/>
                        </a:cubicBezTo>
                        <a:cubicBezTo>
                          <a:pt x="37437" y="39174"/>
                          <a:pt x="43601" y="36778"/>
                          <a:pt x="48323" y="38499"/>
                        </a:cubicBezTo>
                        <a:cubicBezTo>
                          <a:pt x="52882" y="40151"/>
                          <a:pt x="55046" y="45175"/>
                          <a:pt x="55185" y="45501"/>
                        </a:cubicBezTo>
                        <a:cubicBezTo>
                          <a:pt x="57302" y="51014"/>
                          <a:pt x="63467" y="53852"/>
                          <a:pt x="69049" y="51805"/>
                        </a:cubicBezTo>
                        <a:close/>
                      </a:path>
                    </a:pathLst>
                  </a:custGeom>
                  <a:solidFill>
                    <a:srgbClr val="FFFFCE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55" name="Graphic 174">
                <a:extLst>
                  <a:ext uri="{FF2B5EF4-FFF2-40B4-BE49-F238E27FC236}">
                    <a16:creationId xmlns:a16="http://schemas.microsoft.com/office/drawing/2014/main" id="{AEACB660-8491-47E5-A8D8-E8FD737977FD}"/>
                  </a:ext>
                </a:extLst>
              </p:cNvPr>
              <p:cNvGrpSpPr/>
              <p:nvPr/>
            </p:nvGrpSpPr>
            <p:grpSpPr>
              <a:xfrm>
                <a:off x="7152453" y="3725215"/>
                <a:ext cx="597826" cy="493148"/>
                <a:chOff x="7152453" y="3725215"/>
                <a:chExt cx="597826" cy="493148"/>
              </a:xfrm>
              <a:solidFill>
                <a:schemeClr val="accent1"/>
              </a:solidFill>
            </p:grpSpPr>
            <p:sp>
              <p:nvSpPr>
                <p:cNvPr id="1161" name="Freeform: Shape 1160">
                  <a:extLst>
                    <a:ext uri="{FF2B5EF4-FFF2-40B4-BE49-F238E27FC236}">
                      <a16:creationId xmlns:a16="http://schemas.microsoft.com/office/drawing/2014/main" id="{AFEEA1A6-25B5-4BE7-BE16-D04C306AFAFE}"/>
                    </a:ext>
                  </a:extLst>
                </p:cNvPr>
                <p:cNvSpPr/>
                <p:nvPr/>
              </p:nvSpPr>
              <p:spPr>
                <a:xfrm>
                  <a:off x="7152453" y="3725215"/>
                  <a:ext cx="597826" cy="493148"/>
                </a:xfrm>
                <a:custGeom>
                  <a:avLst/>
                  <a:gdLst>
                    <a:gd name="connsiteX0" fmla="*/ 597544 w 597825"/>
                    <a:gd name="connsiteY0" fmla="*/ 290542 h 493148"/>
                    <a:gd name="connsiteX1" fmla="*/ 591217 w 597825"/>
                    <a:gd name="connsiteY1" fmla="*/ 266233 h 493148"/>
                    <a:gd name="connsiteX2" fmla="*/ 141800 w 597825"/>
                    <a:gd name="connsiteY2" fmla="*/ 2399 h 493148"/>
                    <a:gd name="connsiteX3" fmla="*/ 117515 w 597825"/>
                    <a:gd name="connsiteY3" fmla="*/ 8819 h 493148"/>
                    <a:gd name="connsiteX4" fmla="*/ 2393 w 597825"/>
                    <a:gd name="connsiteY4" fmla="*/ 204892 h 493148"/>
                    <a:gd name="connsiteX5" fmla="*/ 8697 w 597825"/>
                    <a:gd name="connsiteY5" fmla="*/ 229107 h 493148"/>
                    <a:gd name="connsiteX6" fmla="*/ 458183 w 597825"/>
                    <a:gd name="connsiteY6" fmla="*/ 492988 h 493148"/>
                    <a:gd name="connsiteX7" fmla="*/ 482398 w 597825"/>
                    <a:gd name="connsiteY7" fmla="*/ 486684 h 493148"/>
                    <a:gd name="connsiteX8" fmla="*/ 597544 w 597825"/>
                    <a:gd name="connsiteY8" fmla="*/ 290542 h 4931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597825" h="493148">
                      <a:moveTo>
                        <a:pt x="597544" y="290542"/>
                      </a:moveTo>
                      <a:cubicBezTo>
                        <a:pt x="602499" y="282074"/>
                        <a:pt x="599684" y="271211"/>
                        <a:pt x="591217" y="266233"/>
                      </a:cubicBezTo>
                      <a:lnTo>
                        <a:pt x="141800" y="2399"/>
                      </a:lnTo>
                      <a:cubicBezTo>
                        <a:pt x="133450" y="-2510"/>
                        <a:pt x="122493" y="352"/>
                        <a:pt x="117515" y="8819"/>
                      </a:cubicBezTo>
                      <a:cubicBezTo>
                        <a:pt x="50080" y="123662"/>
                        <a:pt x="69364" y="90840"/>
                        <a:pt x="2393" y="204892"/>
                      </a:cubicBezTo>
                      <a:cubicBezTo>
                        <a:pt x="-2352" y="212987"/>
                        <a:pt x="67" y="224036"/>
                        <a:pt x="8697" y="229107"/>
                      </a:cubicBezTo>
                      <a:lnTo>
                        <a:pt x="458183" y="492988"/>
                      </a:lnTo>
                      <a:cubicBezTo>
                        <a:pt x="466813" y="498059"/>
                        <a:pt x="477467" y="495082"/>
                        <a:pt x="482398" y="486684"/>
                      </a:cubicBezTo>
                      <a:cubicBezTo>
                        <a:pt x="533481" y="399639"/>
                        <a:pt x="578888" y="322294"/>
                        <a:pt x="597544" y="290542"/>
                      </a:cubicBezTo>
                      <a:close/>
                    </a:path>
                  </a:pathLst>
                </a:custGeom>
                <a:solidFill>
                  <a:srgbClr val="F0ECEF"/>
                </a:solidFill>
                <a:ln w="232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162" name="Freeform: Shape 1161">
                  <a:extLst>
                    <a:ext uri="{FF2B5EF4-FFF2-40B4-BE49-F238E27FC236}">
                      <a16:creationId xmlns:a16="http://schemas.microsoft.com/office/drawing/2014/main" id="{B6D1E1D0-94CC-4CFB-A562-EC4049369C21}"/>
                    </a:ext>
                  </a:extLst>
                </p:cNvPr>
                <p:cNvSpPr/>
                <p:nvPr/>
              </p:nvSpPr>
              <p:spPr>
                <a:xfrm>
                  <a:off x="7248452" y="3725215"/>
                  <a:ext cx="502453" cy="325664"/>
                </a:xfrm>
                <a:custGeom>
                  <a:avLst/>
                  <a:gdLst>
                    <a:gd name="connsiteX0" fmla="*/ 495218 w 502452"/>
                    <a:gd name="connsiteY0" fmla="*/ 266233 h 325664"/>
                    <a:gd name="connsiteX1" fmla="*/ 45802 w 502452"/>
                    <a:gd name="connsiteY1" fmla="*/ 2399 h 325664"/>
                    <a:gd name="connsiteX2" fmla="*/ 21517 w 502452"/>
                    <a:gd name="connsiteY2" fmla="*/ 8819 h 325664"/>
                    <a:gd name="connsiteX3" fmla="*/ 0 w 502452"/>
                    <a:gd name="connsiteY3" fmla="*/ 45479 h 325664"/>
                    <a:gd name="connsiteX4" fmla="*/ 3280 w 502452"/>
                    <a:gd name="connsiteY4" fmla="*/ 51295 h 325664"/>
                    <a:gd name="connsiteX5" fmla="*/ 164158 w 502452"/>
                    <a:gd name="connsiteY5" fmla="*/ 257673 h 325664"/>
                    <a:gd name="connsiteX6" fmla="*/ 186605 w 502452"/>
                    <a:gd name="connsiteY6" fmla="*/ 277352 h 325664"/>
                    <a:gd name="connsiteX7" fmla="*/ 186605 w 502452"/>
                    <a:gd name="connsiteY7" fmla="*/ 277352 h 325664"/>
                    <a:gd name="connsiteX8" fmla="*/ 214775 w 502452"/>
                    <a:gd name="connsiteY8" fmla="*/ 287378 h 325664"/>
                    <a:gd name="connsiteX9" fmla="*/ 473283 w 502452"/>
                    <a:gd name="connsiteY9" fmla="*/ 327202 h 325664"/>
                    <a:gd name="connsiteX10" fmla="*/ 479959 w 502452"/>
                    <a:gd name="connsiteY10" fmla="*/ 327225 h 325664"/>
                    <a:gd name="connsiteX11" fmla="*/ 501522 w 502452"/>
                    <a:gd name="connsiteY11" fmla="*/ 290495 h 325664"/>
                    <a:gd name="connsiteX12" fmla="*/ 495218 w 502452"/>
                    <a:gd name="connsiteY12" fmla="*/ 266233 h 3256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502452" h="325664">
                      <a:moveTo>
                        <a:pt x="495218" y="266233"/>
                      </a:moveTo>
                      <a:lnTo>
                        <a:pt x="45802" y="2399"/>
                      </a:lnTo>
                      <a:cubicBezTo>
                        <a:pt x="37428" y="-2510"/>
                        <a:pt x="26472" y="352"/>
                        <a:pt x="21517" y="8819"/>
                      </a:cubicBezTo>
                      <a:cubicBezTo>
                        <a:pt x="13096" y="23148"/>
                        <a:pt x="6048" y="35174"/>
                        <a:pt x="0" y="45479"/>
                      </a:cubicBezTo>
                      <a:cubicBezTo>
                        <a:pt x="954" y="47457"/>
                        <a:pt x="1884" y="49480"/>
                        <a:pt x="3280" y="51295"/>
                      </a:cubicBezTo>
                      <a:lnTo>
                        <a:pt x="164158" y="257673"/>
                      </a:lnTo>
                      <a:cubicBezTo>
                        <a:pt x="170369" y="265628"/>
                        <a:pt x="177929" y="272258"/>
                        <a:pt x="186605" y="277352"/>
                      </a:cubicBezTo>
                      <a:cubicBezTo>
                        <a:pt x="186605" y="277352"/>
                        <a:pt x="186605" y="277352"/>
                        <a:pt x="186605" y="277352"/>
                      </a:cubicBezTo>
                      <a:cubicBezTo>
                        <a:pt x="195305" y="282470"/>
                        <a:pt x="204796" y="285843"/>
                        <a:pt x="214775" y="287378"/>
                      </a:cubicBezTo>
                      <a:lnTo>
                        <a:pt x="473283" y="327202"/>
                      </a:lnTo>
                      <a:cubicBezTo>
                        <a:pt x="475539" y="327551"/>
                        <a:pt x="477772" y="327365"/>
                        <a:pt x="479959" y="327225"/>
                      </a:cubicBezTo>
                      <a:cubicBezTo>
                        <a:pt x="488938" y="311942"/>
                        <a:pt x="496289" y="299381"/>
                        <a:pt x="501522" y="290495"/>
                      </a:cubicBezTo>
                      <a:cubicBezTo>
                        <a:pt x="506501" y="282098"/>
                        <a:pt x="503663" y="271211"/>
                        <a:pt x="495218" y="266233"/>
                      </a:cubicBezTo>
                      <a:close/>
                    </a:path>
                  </a:pathLst>
                </a:custGeom>
                <a:solidFill>
                  <a:srgbClr val="DFD5DC"/>
                </a:solidFill>
                <a:ln w="232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163" name="Freeform: Shape 1162">
                  <a:extLst>
                    <a:ext uri="{FF2B5EF4-FFF2-40B4-BE49-F238E27FC236}">
                      <a16:creationId xmlns:a16="http://schemas.microsoft.com/office/drawing/2014/main" id="{27167905-F493-42B7-9D38-EC93C92698AE}"/>
                    </a:ext>
                  </a:extLst>
                </p:cNvPr>
                <p:cNvSpPr/>
                <p:nvPr/>
              </p:nvSpPr>
              <p:spPr>
                <a:xfrm>
                  <a:off x="7258511" y="3725215"/>
                  <a:ext cx="493148" cy="314033"/>
                </a:xfrm>
                <a:custGeom>
                  <a:avLst/>
                  <a:gdLst>
                    <a:gd name="connsiteX0" fmla="*/ 491439 w 493148"/>
                    <a:gd name="connsiteY0" fmla="*/ 290611 h 314033"/>
                    <a:gd name="connsiteX1" fmla="*/ 485229 w 493148"/>
                    <a:gd name="connsiteY1" fmla="*/ 266280 h 314033"/>
                    <a:gd name="connsiteX2" fmla="*/ 35743 w 493148"/>
                    <a:gd name="connsiteY2" fmla="*/ 2399 h 314033"/>
                    <a:gd name="connsiteX3" fmla="*/ 11457 w 493148"/>
                    <a:gd name="connsiteY3" fmla="*/ 8819 h 314033"/>
                    <a:gd name="connsiteX4" fmla="*/ 2316 w 493148"/>
                    <a:gd name="connsiteY4" fmla="*/ 24381 h 314033"/>
                    <a:gd name="connsiteX5" fmla="*/ 3548 w 493148"/>
                    <a:gd name="connsiteY5" fmla="*/ 43223 h 314033"/>
                    <a:gd name="connsiteX6" fmla="*/ 164426 w 493148"/>
                    <a:gd name="connsiteY6" fmla="*/ 249624 h 314033"/>
                    <a:gd name="connsiteX7" fmla="*/ 206716 w 493148"/>
                    <a:gd name="connsiteY7" fmla="*/ 274444 h 314033"/>
                    <a:gd name="connsiteX8" fmla="*/ 465224 w 493148"/>
                    <a:gd name="connsiteY8" fmla="*/ 314268 h 314033"/>
                    <a:gd name="connsiteX9" fmla="*/ 482274 w 493148"/>
                    <a:gd name="connsiteY9" fmla="*/ 306173 h 314033"/>
                    <a:gd name="connsiteX10" fmla="*/ 491439 w 493148"/>
                    <a:gd name="connsiteY10" fmla="*/ 290611 h 3140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493148" h="314033">
                      <a:moveTo>
                        <a:pt x="491439" y="290611"/>
                      </a:moveTo>
                      <a:cubicBezTo>
                        <a:pt x="496418" y="282144"/>
                        <a:pt x="493696" y="271258"/>
                        <a:pt x="485229" y="266280"/>
                      </a:cubicBezTo>
                      <a:lnTo>
                        <a:pt x="35743" y="2399"/>
                      </a:lnTo>
                      <a:cubicBezTo>
                        <a:pt x="27392" y="-2510"/>
                        <a:pt x="16435" y="352"/>
                        <a:pt x="11457" y="8819"/>
                      </a:cubicBezTo>
                      <a:lnTo>
                        <a:pt x="2316" y="24381"/>
                      </a:lnTo>
                      <a:cubicBezTo>
                        <a:pt x="-1174" y="30336"/>
                        <a:pt x="-685" y="37803"/>
                        <a:pt x="3548" y="43223"/>
                      </a:cubicBezTo>
                      <a:lnTo>
                        <a:pt x="164426" y="249624"/>
                      </a:lnTo>
                      <a:cubicBezTo>
                        <a:pt x="174848" y="262976"/>
                        <a:pt x="189968" y="271862"/>
                        <a:pt x="206716" y="274444"/>
                      </a:cubicBezTo>
                      <a:lnTo>
                        <a:pt x="465224" y="314268"/>
                      </a:lnTo>
                      <a:cubicBezTo>
                        <a:pt x="472039" y="315315"/>
                        <a:pt x="478785" y="312105"/>
                        <a:pt x="482274" y="306173"/>
                      </a:cubicBezTo>
                      <a:lnTo>
                        <a:pt x="491439" y="290611"/>
                      </a:lnTo>
                      <a:close/>
                    </a:path>
                  </a:pathLst>
                </a:custGeom>
                <a:solidFill>
                  <a:srgbClr val="F0ECEF"/>
                </a:solidFill>
                <a:ln w="232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88" name="Graphic 174">
                <a:extLst>
                  <a:ext uri="{FF2B5EF4-FFF2-40B4-BE49-F238E27FC236}">
                    <a16:creationId xmlns:a16="http://schemas.microsoft.com/office/drawing/2014/main" id="{32D441FC-04F0-494B-846B-0B5B533677E3}"/>
                  </a:ext>
                </a:extLst>
              </p:cNvPr>
              <p:cNvGrpSpPr/>
              <p:nvPr/>
            </p:nvGrpSpPr>
            <p:grpSpPr>
              <a:xfrm>
                <a:off x="6573560" y="3806820"/>
                <a:ext cx="197189" cy="371396"/>
                <a:chOff x="6573560" y="3806820"/>
                <a:chExt cx="197189" cy="371396"/>
              </a:xfrm>
              <a:solidFill>
                <a:schemeClr val="accent1"/>
              </a:solidFill>
            </p:grpSpPr>
            <p:grpSp>
              <p:nvGrpSpPr>
                <p:cNvPr id="631" name="Graphic 174">
                  <a:extLst>
                    <a:ext uri="{FF2B5EF4-FFF2-40B4-BE49-F238E27FC236}">
                      <a16:creationId xmlns:a16="http://schemas.microsoft.com/office/drawing/2014/main" id="{41CA0F8A-9B5A-4FA0-9A17-7227D373011C}"/>
                    </a:ext>
                  </a:extLst>
                </p:cNvPr>
                <p:cNvGrpSpPr/>
                <p:nvPr/>
              </p:nvGrpSpPr>
              <p:grpSpPr>
                <a:xfrm>
                  <a:off x="6573560" y="3992821"/>
                  <a:ext cx="178650" cy="185395"/>
                  <a:chOff x="6573560" y="3992821"/>
                  <a:chExt cx="178650" cy="185395"/>
                </a:xfrm>
                <a:solidFill>
                  <a:schemeClr val="accent1"/>
                </a:solidFill>
              </p:grpSpPr>
              <p:grpSp>
                <p:nvGrpSpPr>
                  <p:cNvPr id="897" name="Graphic 174">
                    <a:extLst>
                      <a:ext uri="{FF2B5EF4-FFF2-40B4-BE49-F238E27FC236}">
                        <a16:creationId xmlns:a16="http://schemas.microsoft.com/office/drawing/2014/main" id="{86B7ABDD-F7BF-49CC-8FE1-DD5FF7139686}"/>
                      </a:ext>
                    </a:extLst>
                  </p:cNvPr>
                  <p:cNvGrpSpPr/>
                  <p:nvPr/>
                </p:nvGrpSpPr>
                <p:grpSpPr>
                  <a:xfrm>
                    <a:off x="6576770" y="4161933"/>
                    <a:ext cx="165158" cy="16283"/>
                    <a:chOff x="6576770" y="4161933"/>
                    <a:chExt cx="165158" cy="16283"/>
                  </a:xfrm>
                  <a:solidFill>
                    <a:schemeClr val="accent1"/>
                  </a:solidFill>
                </p:grpSpPr>
                <p:sp>
                  <p:nvSpPr>
                    <p:cNvPr id="1138" name="Freeform: Shape 1137">
                      <a:extLst>
                        <a:ext uri="{FF2B5EF4-FFF2-40B4-BE49-F238E27FC236}">
                          <a16:creationId xmlns:a16="http://schemas.microsoft.com/office/drawing/2014/main" id="{9E5707C4-D52E-4DC4-AEF6-33D695CE875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76770" y="4161933"/>
                      <a:ext cx="165158" cy="16283"/>
                    </a:xfrm>
                    <a:custGeom>
                      <a:avLst/>
                      <a:gdLst>
                        <a:gd name="connsiteX0" fmla="*/ 164553 w 165158"/>
                        <a:gd name="connsiteY0" fmla="*/ 16911 h 16283"/>
                        <a:gd name="connsiteX1" fmla="*/ 1465 w 165158"/>
                        <a:gd name="connsiteY1" fmla="*/ 16911 h 16283"/>
                        <a:gd name="connsiteX2" fmla="*/ 0 w 165158"/>
                        <a:gd name="connsiteY2" fmla="*/ 15446 h 16283"/>
                        <a:gd name="connsiteX3" fmla="*/ 0 w 165158"/>
                        <a:gd name="connsiteY3" fmla="*/ 1465 h 16283"/>
                        <a:gd name="connsiteX4" fmla="*/ 1465 w 165158"/>
                        <a:gd name="connsiteY4" fmla="*/ 0 h 16283"/>
                        <a:gd name="connsiteX5" fmla="*/ 164553 w 165158"/>
                        <a:gd name="connsiteY5" fmla="*/ 0 h 16283"/>
                        <a:gd name="connsiteX6" fmla="*/ 166019 w 165158"/>
                        <a:gd name="connsiteY6" fmla="*/ 1465 h 16283"/>
                        <a:gd name="connsiteX7" fmla="*/ 166019 w 165158"/>
                        <a:gd name="connsiteY7" fmla="*/ 15446 h 16283"/>
                        <a:gd name="connsiteX8" fmla="*/ 164553 w 165158"/>
                        <a:gd name="connsiteY8" fmla="*/ 1691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165158" h="16283">
                          <a:moveTo>
                            <a:pt x="164553" y="16911"/>
                          </a:moveTo>
                          <a:lnTo>
                            <a:pt x="1465" y="16911"/>
                          </a:lnTo>
                          <a:cubicBezTo>
                            <a:pt x="651" y="16911"/>
                            <a:pt x="0" y="16260"/>
                            <a:pt x="0" y="15446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164553" y="0"/>
                          </a:lnTo>
                          <a:cubicBezTo>
                            <a:pt x="165367" y="0"/>
                            <a:pt x="166019" y="651"/>
                            <a:pt x="166019" y="1465"/>
                          </a:cubicBezTo>
                          <a:lnTo>
                            <a:pt x="166019" y="15446"/>
                          </a:lnTo>
                          <a:cubicBezTo>
                            <a:pt x="165996" y="16260"/>
                            <a:pt x="165344" y="16911"/>
                            <a:pt x="164553" y="16911"/>
                          </a:cubicBezTo>
                          <a:close/>
                        </a:path>
                      </a:pathLst>
                    </a:custGeom>
                    <a:solidFill>
                      <a:srgbClr val="F19439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39" name="Freeform: Shape 1138">
                      <a:extLst>
                        <a:ext uri="{FF2B5EF4-FFF2-40B4-BE49-F238E27FC236}">
                          <a16:creationId xmlns:a16="http://schemas.microsoft.com/office/drawing/2014/main" id="{480F9412-C095-4CE3-B402-9CE77627063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56558" y="4162631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40" name="Freeform: Shape 1139">
                      <a:extLst>
                        <a:ext uri="{FF2B5EF4-FFF2-40B4-BE49-F238E27FC236}">
                          <a16:creationId xmlns:a16="http://schemas.microsoft.com/office/drawing/2014/main" id="{C8BCF1A6-0E41-4087-AA91-AD366907A80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64443" y="4162631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41" name="Freeform: Shape 1140">
                      <a:extLst>
                        <a:ext uri="{FF2B5EF4-FFF2-40B4-BE49-F238E27FC236}">
                          <a16:creationId xmlns:a16="http://schemas.microsoft.com/office/drawing/2014/main" id="{105A4EFD-5E6A-4CAC-BA94-1AEC6707BD9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72329" y="4162631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42" name="Freeform: Shape 1141">
                      <a:extLst>
                        <a:ext uri="{FF2B5EF4-FFF2-40B4-BE49-F238E27FC236}">
                          <a16:creationId xmlns:a16="http://schemas.microsoft.com/office/drawing/2014/main" id="{B0FCA2F6-3A4A-40AB-A85B-243EA448919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80191" y="4162631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43" name="Freeform: Shape 1142">
                      <a:extLst>
                        <a:ext uri="{FF2B5EF4-FFF2-40B4-BE49-F238E27FC236}">
                          <a16:creationId xmlns:a16="http://schemas.microsoft.com/office/drawing/2014/main" id="{30B5FB26-CD4D-40F4-925D-53B834C543E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88077" y="4162631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44" name="Freeform: Shape 1143">
                      <a:extLst>
                        <a:ext uri="{FF2B5EF4-FFF2-40B4-BE49-F238E27FC236}">
                          <a16:creationId xmlns:a16="http://schemas.microsoft.com/office/drawing/2014/main" id="{25017438-B637-4709-9C1C-3499537D039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95940" y="4162631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45" name="Freeform: Shape 1144">
                      <a:extLst>
                        <a:ext uri="{FF2B5EF4-FFF2-40B4-BE49-F238E27FC236}">
                          <a16:creationId xmlns:a16="http://schemas.microsoft.com/office/drawing/2014/main" id="{4F69ECBE-4072-4B5D-B30A-728DFB5DF50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03825" y="4162631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46" name="Freeform: Shape 1145">
                      <a:extLst>
                        <a:ext uri="{FF2B5EF4-FFF2-40B4-BE49-F238E27FC236}">
                          <a16:creationId xmlns:a16="http://schemas.microsoft.com/office/drawing/2014/main" id="{7B0243FD-F806-4BE6-90B1-668D4C9778B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11688" y="4162631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47" name="Freeform: Shape 1146">
                      <a:extLst>
                        <a:ext uri="{FF2B5EF4-FFF2-40B4-BE49-F238E27FC236}">
                          <a16:creationId xmlns:a16="http://schemas.microsoft.com/office/drawing/2014/main" id="{02D9B9DA-578D-41BF-821D-D3861DCADC5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19574" y="4162631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48" name="Freeform: Shape 1147">
                      <a:extLst>
                        <a:ext uri="{FF2B5EF4-FFF2-40B4-BE49-F238E27FC236}">
                          <a16:creationId xmlns:a16="http://schemas.microsoft.com/office/drawing/2014/main" id="{BC7BF4B4-4326-4C56-94FD-86E0F6B21D5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27459" y="4162631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49" name="Freeform: Shape 1148">
                      <a:extLst>
                        <a:ext uri="{FF2B5EF4-FFF2-40B4-BE49-F238E27FC236}">
                          <a16:creationId xmlns:a16="http://schemas.microsoft.com/office/drawing/2014/main" id="{F0175F1E-8DC5-436B-98EE-D2B263279CA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35322" y="4162631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50" name="Freeform: Shape 1149">
                      <a:extLst>
                        <a:ext uri="{FF2B5EF4-FFF2-40B4-BE49-F238E27FC236}">
                          <a16:creationId xmlns:a16="http://schemas.microsoft.com/office/drawing/2014/main" id="{B93476EB-97FE-4815-AADF-E93F42D4225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93565" y="4162631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51" name="Freeform: Shape 1150">
                      <a:extLst>
                        <a:ext uri="{FF2B5EF4-FFF2-40B4-BE49-F238E27FC236}">
                          <a16:creationId xmlns:a16="http://schemas.microsoft.com/office/drawing/2014/main" id="{B9E67DC0-8EEA-4C03-AC20-3D2DCFA7513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01427" y="4162631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52" name="Freeform: Shape 1151">
                      <a:extLst>
                        <a:ext uri="{FF2B5EF4-FFF2-40B4-BE49-F238E27FC236}">
                          <a16:creationId xmlns:a16="http://schemas.microsoft.com/office/drawing/2014/main" id="{26A1DAFC-59CA-463F-B1D7-03AC71701B5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09313" y="4162631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53" name="Freeform: Shape 1152">
                      <a:extLst>
                        <a:ext uri="{FF2B5EF4-FFF2-40B4-BE49-F238E27FC236}">
                          <a16:creationId xmlns:a16="http://schemas.microsoft.com/office/drawing/2014/main" id="{4886A380-3E81-4F38-A47E-5CA6EE06687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77817" y="4162631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54" name="Freeform: Shape 1153">
                      <a:extLst>
                        <a:ext uri="{FF2B5EF4-FFF2-40B4-BE49-F238E27FC236}">
                          <a16:creationId xmlns:a16="http://schemas.microsoft.com/office/drawing/2014/main" id="{95156385-498A-4CAE-AC63-8164F53505D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85679" y="4162631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55" name="Freeform: Shape 1154">
                      <a:extLst>
                        <a:ext uri="{FF2B5EF4-FFF2-40B4-BE49-F238E27FC236}">
                          <a16:creationId xmlns:a16="http://schemas.microsoft.com/office/drawing/2014/main" id="{721BD5A9-07C3-4187-902A-A1EFDD3CBE9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93565" y="4162631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56" name="Freeform: Shape 1155">
                      <a:extLst>
                        <a:ext uri="{FF2B5EF4-FFF2-40B4-BE49-F238E27FC236}">
                          <a16:creationId xmlns:a16="http://schemas.microsoft.com/office/drawing/2014/main" id="{0D851FED-702F-4469-A1F4-E4FBC96F40D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17176" y="4162631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57" name="Freeform: Shape 1156">
                      <a:extLst>
                        <a:ext uri="{FF2B5EF4-FFF2-40B4-BE49-F238E27FC236}">
                          <a16:creationId xmlns:a16="http://schemas.microsoft.com/office/drawing/2014/main" id="{8BD73A5B-7A4C-4AC2-B3A2-DC64C36136E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25061" y="4162631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58" name="Freeform: Shape 1157">
                      <a:extLst>
                        <a:ext uri="{FF2B5EF4-FFF2-40B4-BE49-F238E27FC236}">
                          <a16:creationId xmlns:a16="http://schemas.microsoft.com/office/drawing/2014/main" id="{3E591CBA-0238-4FD1-A655-72DD3B35C1C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32947" y="4162631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59" name="Freeform: Shape 1158">
                      <a:extLst>
                        <a:ext uri="{FF2B5EF4-FFF2-40B4-BE49-F238E27FC236}">
                          <a16:creationId xmlns:a16="http://schemas.microsoft.com/office/drawing/2014/main" id="{560E771A-E9BA-49B9-AFB7-B048C0935CA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40809" y="4162631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60" name="Freeform: Shape 1159">
                      <a:extLst>
                        <a:ext uri="{FF2B5EF4-FFF2-40B4-BE49-F238E27FC236}">
                          <a16:creationId xmlns:a16="http://schemas.microsoft.com/office/drawing/2014/main" id="{A57D102F-747F-499A-AF01-570FF382750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48695" y="4162631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898" name="Graphic 174">
                    <a:extLst>
                      <a:ext uri="{FF2B5EF4-FFF2-40B4-BE49-F238E27FC236}">
                        <a16:creationId xmlns:a16="http://schemas.microsoft.com/office/drawing/2014/main" id="{C45B26A2-06E7-4044-97DA-DC367C818E19}"/>
                      </a:ext>
                    </a:extLst>
                  </p:cNvPr>
                  <p:cNvGrpSpPr/>
                  <p:nvPr/>
                </p:nvGrpSpPr>
                <p:grpSpPr>
                  <a:xfrm>
                    <a:off x="6581446" y="4145045"/>
                    <a:ext cx="165158" cy="16283"/>
                    <a:chOff x="6581446" y="4145045"/>
                    <a:chExt cx="165158" cy="16283"/>
                  </a:xfrm>
                  <a:solidFill>
                    <a:schemeClr val="accent1"/>
                  </a:solidFill>
                </p:grpSpPr>
                <p:sp>
                  <p:nvSpPr>
                    <p:cNvPr id="1115" name="Freeform: Shape 1114">
                      <a:extLst>
                        <a:ext uri="{FF2B5EF4-FFF2-40B4-BE49-F238E27FC236}">
                          <a16:creationId xmlns:a16="http://schemas.microsoft.com/office/drawing/2014/main" id="{028B52E9-09C5-44A3-840E-973A72F966A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81446" y="4145045"/>
                      <a:ext cx="165158" cy="16283"/>
                    </a:xfrm>
                    <a:custGeom>
                      <a:avLst/>
                      <a:gdLst>
                        <a:gd name="connsiteX0" fmla="*/ 164553 w 165158"/>
                        <a:gd name="connsiteY0" fmla="*/ 16911 h 16283"/>
                        <a:gd name="connsiteX1" fmla="*/ 1465 w 165158"/>
                        <a:gd name="connsiteY1" fmla="*/ 16911 h 16283"/>
                        <a:gd name="connsiteX2" fmla="*/ 0 w 165158"/>
                        <a:gd name="connsiteY2" fmla="*/ 15446 h 16283"/>
                        <a:gd name="connsiteX3" fmla="*/ 0 w 165158"/>
                        <a:gd name="connsiteY3" fmla="*/ 1465 h 16283"/>
                        <a:gd name="connsiteX4" fmla="*/ 1465 w 165158"/>
                        <a:gd name="connsiteY4" fmla="*/ 0 h 16283"/>
                        <a:gd name="connsiteX5" fmla="*/ 164553 w 165158"/>
                        <a:gd name="connsiteY5" fmla="*/ 0 h 16283"/>
                        <a:gd name="connsiteX6" fmla="*/ 166019 w 165158"/>
                        <a:gd name="connsiteY6" fmla="*/ 1465 h 16283"/>
                        <a:gd name="connsiteX7" fmla="*/ 166019 w 165158"/>
                        <a:gd name="connsiteY7" fmla="*/ 15446 h 16283"/>
                        <a:gd name="connsiteX8" fmla="*/ 164553 w 165158"/>
                        <a:gd name="connsiteY8" fmla="*/ 1691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165158" h="16283">
                          <a:moveTo>
                            <a:pt x="164553" y="16911"/>
                          </a:moveTo>
                          <a:lnTo>
                            <a:pt x="1465" y="16911"/>
                          </a:lnTo>
                          <a:cubicBezTo>
                            <a:pt x="651" y="16911"/>
                            <a:pt x="0" y="16260"/>
                            <a:pt x="0" y="15446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164553" y="0"/>
                          </a:lnTo>
                          <a:cubicBezTo>
                            <a:pt x="165368" y="0"/>
                            <a:pt x="166019" y="651"/>
                            <a:pt x="166019" y="1465"/>
                          </a:cubicBezTo>
                          <a:lnTo>
                            <a:pt x="166019" y="15446"/>
                          </a:lnTo>
                          <a:cubicBezTo>
                            <a:pt x="165996" y="16260"/>
                            <a:pt x="165344" y="16911"/>
                            <a:pt x="164553" y="16911"/>
                          </a:cubicBezTo>
                          <a:close/>
                        </a:path>
                      </a:pathLst>
                    </a:custGeom>
                    <a:solidFill>
                      <a:srgbClr val="F19439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16" name="Freeform: Shape 1115">
                      <a:extLst>
                        <a:ext uri="{FF2B5EF4-FFF2-40B4-BE49-F238E27FC236}">
                          <a16:creationId xmlns:a16="http://schemas.microsoft.com/office/drawing/2014/main" id="{E83D89C9-6141-43CD-BA42-E9169D3E4A5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61233" y="4145743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17" name="Freeform: Shape 1116">
                      <a:extLst>
                        <a:ext uri="{FF2B5EF4-FFF2-40B4-BE49-F238E27FC236}">
                          <a16:creationId xmlns:a16="http://schemas.microsoft.com/office/drawing/2014/main" id="{7450C700-FC99-4B62-9F34-C09BF5D5F84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69119" y="4145743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18" name="Freeform: Shape 1117">
                      <a:extLst>
                        <a:ext uri="{FF2B5EF4-FFF2-40B4-BE49-F238E27FC236}">
                          <a16:creationId xmlns:a16="http://schemas.microsoft.com/office/drawing/2014/main" id="{EBFD2D2C-89D4-4536-8A77-0C801E5EA7D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76981" y="4145743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19" name="Freeform: Shape 1118">
                      <a:extLst>
                        <a:ext uri="{FF2B5EF4-FFF2-40B4-BE49-F238E27FC236}">
                          <a16:creationId xmlns:a16="http://schemas.microsoft.com/office/drawing/2014/main" id="{97179F40-6487-4FE8-BF09-3C8519440B6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84867" y="4145743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20" name="Freeform: Shape 1119">
                      <a:extLst>
                        <a:ext uri="{FF2B5EF4-FFF2-40B4-BE49-F238E27FC236}">
                          <a16:creationId xmlns:a16="http://schemas.microsoft.com/office/drawing/2014/main" id="{8FCA9F30-D589-45E6-8F0D-B159B4FA75A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92753" y="4145743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21" name="Freeform: Shape 1120">
                      <a:extLst>
                        <a:ext uri="{FF2B5EF4-FFF2-40B4-BE49-F238E27FC236}">
                          <a16:creationId xmlns:a16="http://schemas.microsoft.com/office/drawing/2014/main" id="{A7D0161D-9938-450C-B2EF-F636083DFF8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00615" y="4145743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22" name="Freeform: Shape 1121">
                      <a:extLst>
                        <a:ext uri="{FF2B5EF4-FFF2-40B4-BE49-F238E27FC236}">
                          <a16:creationId xmlns:a16="http://schemas.microsoft.com/office/drawing/2014/main" id="{B26494F5-DB96-443D-9FE2-53CE90FF44E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08501" y="4145743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23" name="Freeform: Shape 1122">
                      <a:extLst>
                        <a:ext uri="{FF2B5EF4-FFF2-40B4-BE49-F238E27FC236}">
                          <a16:creationId xmlns:a16="http://schemas.microsoft.com/office/drawing/2014/main" id="{527E0FF1-628D-420D-83E4-25F74EBAA47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16363" y="4145743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24" name="Freeform: Shape 1123">
                      <a:extLst>
                        <a:ext uri="{FF2B5EF4-FFF2-40B4-BE49-F238E27FC236}">
                          <a16:creationId xmlns:a16="http://schemas.microsoft.com/office/drawing/2014/main" id="{9FC0EEBA-4564-4580-90B3-34C62F0C360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24249" y="4145743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25" name="Freeform: Shape 1124">
                      <a:extLst>
                        <a:ext uri="{FF2B5EF4-FFF2-40B4-BE49-F238E27FC236}">
                          <a16:creationId xmlns:a16="http://schemas.microsoft.com/office/drawing/2014/main" id="{FE70DD52-ED15-44C5-86AE-E5CF4497CC1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32135" y="4145743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26" name="Freeform: Shape 1125">
                      <a:extLst>
                        <a:ext uri="{FF2B5EF4-FFF2-40B4-BE49-F238E27FC236}">
                          <a16:creationId xmlns:a16="http://schemas.microsoft.com/office/drawing/2014/main" id="{BA9E5A06-2EE3-4C81-9E57-0B10EF6599F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39997" y="4145743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27" name="Freeform: Shape 1126">
                      <a:extLst>
                        <a:ext uri="{FF2B5EF4-FFF2-40B4-BE49-F238E27FC236}">
                          <a16:creationId xmlns:a16="http://schemas.microsoft.com/office/drawing/2014/main" id="{EB9D4FA1-432B-4F38-8E06-655B28CDA96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98240" y="4145743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28" name="Freeform: Shape 1127">
                      <a:extLst>
                        <a:ext uri="{FF2B5EF4-FFF2-40B4-BE49-F238E27FC236}">
                          <a16:creationId xmlns:a16="http://schemas.microsoft.com/office/drawing/2014/main" id="{AE00A7D9-ACE6-46C3-80E4-666AB26AE23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06103" y="4145743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29" name="Freeform: Shape 1128">
                      <a:extLst>
                        <a:ext uri="{FF2B5EF4-FFF2-40B4-BE49-F238E27FC236}">
                          <a16:creationId xmlns:a16="http://schemas.microsoft.com/office/drawing/2014/main" id="{F2EF6E92-45BB-461C-BA06-95C11FC1089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13989" y="4145743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30" name="Freeform: Shape 1129">
                      <a:extLst>
                        <a:ext uri="{FF2B5EF4-FFF2-40B4-BE49-F238E27FC236}">
                          <a16:creationId xmlns:a16="http://schemas.microsoft.com/office/drawing/2014/main" id="{30E2E322-AEA4-4032-A4FE-D6080CEA57D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82469" y="4145743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31" name="Freeform: Shape 1130">
                      <a:extLst>
                        <a:ext uri="{FF2B5EF4-FFF2-40B4-BE49-F238E27FC236}">
                          <a16:creationId xmlns:a16="http://schemas.microsoft.com/office/drawing/2014/main" id="{8C423AF6-5411-4982-BAD9-A0D75029CB8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90355" y="4145743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32" name="Freeform: Shape 1131">
                      <a:extLst>
                        <a:ext uri="{FF2B5EF4-FFF2-40B4-BE49-F238E27FC236}">
                          <a16:creationId xmlns:a16="http://schemas.microsoft.com/office/drawing/2014/main" id="{113CD5B9-95F4-4ABD-B7AA-3B522E20049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98240" y="4145743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33" name="Freeform: Shape 1132">
                      <a:extLst>
                        <a:ext uri="{FF2B5EF4-FFF2-40B4-BE49-F238E27FC236}">
                          <a16:creationId xmlns:a16="http://schemas.microsoft.com/office/drawing/2014/main" id="{8DB6709B-07C4-473A-9E28-0E7C14EA219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21851" y="4145743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34" name="Freeform: Shape 1133">
                      <a:extLst>
                        <a:ext uri="{FF2B5EF4-FFF2-40B4-BE49-F238E27FC236}">
                          <a16:creationId xmlns:a16="http://schemas.microsoft.com/office/drawing/2014/main" id="{B0133211-24B3-4885-A3CE-6AD9097445F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29737" y="4145743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35" name="Freeform: Shape 1134">
                      <a:extLst>
                        <a:ext uri="{FF2B5EF4-FFF2-40B4-BE49-F238E27FC236}">
                          <a16:creationId xmlns:a16="http://schemas.microsoft.com/office/drawing/2014/main" id="{8D21BC5D-ADC7-410C-A939-6938CE011F7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37623" y="4145743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36" name="Freeform: Shape 1135">
                      <a:extLst>
                        <a:ext uri="{FF2B5EF4-FFF2-40B4-BE49-F238E27FC236}">
                          <a16:creationId xmlns:a16="http://schemas.microsoft.com/office/drawing/2014/main" id="{B699221C-186F-437C-82AC-38BCB7981AD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45485" y="4145743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37" name="Freeform: Shape 1136">
                      <a:extLst>
                        <a:ext uri="{FF2B5EF4-FFF2-40B4-BE49-F238E27FC236}">
                          <a16:creationId xmlns:a16="http://schemas.microsoft.com/office/drawing/2014/main" id="{C95F9AD6-EECA-483F-9CFC-3887B703F11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53371" y="4145743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899" name="Graphic 174">
                    <a:extLst>
                      <a:ext uri="{FF2B5EF4-FFF2-40B4-BE49-F238E27FC236}">
                        <a16:creationId xmlns:a16="http://schemas.microsoft.com/office/drawing/2014/main" id="{356CE7C0-D3DD-4A01-8B98-61201F4D7BFA}"/>
                      </a:ext>
                    </a:extLst>
                  </p:cNvPr>
                  <p:cNvGrpSpPr/>
                  <p:nvPr/>
                </p:nvGrpSpPr>
                <p:grpSpPr>
                  <a:xfrm>
                    <a:off x="6581446" y="4111246"/>
                    <a:ext cx="165158" cy="16283"/>
                    <a:chOff x="6581446" y="4111246"/>
                    <a:chExt cx="165158" cy="16283"/>
                  </a:xfrm>
                  <a:solidFill>
                    <a:schemeClr val="accent1"/>
                  </a:solidFill>
                </p:grpSpPr>
                <p:sp>
                  <p:nvSpPr>
                    <p:cNvPr id="1092" name="Freeform: Shape 1091">
                      <a:extLst>
                        <a:ext uri="{FF2B5EF4-FFF2-40B4-BE49-F238E27FC236}">
                          <a16:creationId xmlns:a16="http://schemas.microsoft.com/office/drawing/2014/main" id="{65E83474-2C32-4908-9D1D-3C84F8B2F58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81446" y="4111246"/>
                      <a:ext cx="165158" cy="16283"/>
                    </a:xfrm>
                    <a:custGeom>
                      <a:avLst/>
                      <a:gdLst>
                        <a:gd name="connsiteX0" fmla="*/ 164553 w 165158"/>
                        <a:gd name="connsiteY0" fmla="*/ 16911 h 16283"/>
                        <a:gd name="connsiteX1" fmla="*/ 1465 w 165158"/>
                        <a:gd name="connsiteY1" fmla="*/ 16911 h 16283"/>
                        <a:gd name="connsiteX2" fmla="*/ 0 w 165158"/>
                        <a:gd name="connsiteY2" fmla="*/ 15446 h 16283"/>
                        <a:gd name="connsiteX3" fmla="*/ 0 w 165158"/>
                        <a:gd name="connsiteY3" fmla="*/ 1465 h 16283"/>
                        <a:gd name="connsiteX4" fmla="*/ 1465 w 165158"/>
                        <a:gd name="connsiteY4" fmla="*/ 0 h 16283"/>
                        <a:gd name="connsiteX5" fmla="*/ 164553 w 165158"/>
                        <a:gd name="connsiteY5" fmla="*/ 0 h 16283"/>
                        <a:gd name="connsiteX6" fmla="*/ 166019 w 165158"/>
                        <a:gd name="connsiteY6" fmla="*/ 1465 h 16283"/>
                        <a:gd name="connsiteX7" fmla="*/ 166019 w 165158"/>
                        <a:gd name="connsiteY7" fmla="*/ 15446 h 16283"/>
                        <a:gd name="connsiteX8" fmla="*/ 164553 w 165158"/>
                        <a:gd name="connsiteY8" fmla="*/ 1691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165158" h="16283">
                          <a:moveTo>
                            <a:pt x="164553" y="16911"/>
                          </a:moveTo>
                          <a:lnTo>
                            <a:pt x="1465" y="16911"/>
                          </a:lnTo>
                          <a:cubicBezTo>
                            <a:pt x="651" y="16911"/>
                            <a:pt x="0" y="16260"/>
                            <a:pt x="0" y="15446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164553" y="0"/>
                          </a:lnTo>
                          <a:cubicBezTo>
                            <a:pt x="165368" y="0"/>
                            <a:pt x="166019" y="651"/>
                            <a:pt x="166019" y="1465"/>
                          </a:cubicBezTo>
                          <a:lnTo>
                            <a:pt x="166019" y="15446"/>
                          </a:lnTo>
                          <a:cubicBezTo>
                            <a:pt x="165996" y="16260"/>
                            <a:pt x="165344" y="16911"/>
                            <a:pt x="164553" y="16911"/>
                          </a:cubicBezTo>
                          <a:close/>
                        </a:path>
                      </a:pathLst>
                    </a:custGeom>
                    <a:solidFill>
                      <a:srgbClr val="F19439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93" name="Freeform: Shape 1092">
                      <a:extLst>
                        <a:ext uri="{FF2B5EF4-FFF2-40B4-BE49-F238E27FC236}">
                          <a16:creationId xmlns:a16="http://schemas.microsoft.com/office/drawing/2014/main" id="{37606BEB-7468-4499-9F7F-BFB531277A6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61233" y="4111944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94" name="Freeform: Shape 1093">
                      <a:extLst>
                        <a:ext uri="{FF2B5EF4-FFF2-40B4-BE49-F238E27FC236}">
                          <a16:creationId xmlns:a16="http://schemas.microsoft.com/office/drawing/2014/main" id="{380F595C-2648-472E-8139-B24A4A2B894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69119" y="4111944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95" name="Freeform: Shape 1094">
                      <a:extLst>
                        <a:ext uri="{FF2B5EF4-FFF2-40B4-BE49-F238E27FC236}">
                          <a16:creationId xmlns:a16="http://schemas.microsoft.com/office/drawing/2014/main" id="{82E5B325-4923-4561-B4C6-5B622E2F0FE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76981" y="4111944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96" name="Freeform: Shape 1095">
                      <a:extLst>
                        <a:ext uri="{FF2B5EF4-FFF2-40B4-BE49-F238E27FC236}">
                          <a16:creationId xmlns:a16="http://schemas.microsoft.com/office/drawing/2014/main" id="{6EC9F629-C0E4-4E63-A2A2-7D222E288F9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84867" y="4111944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97" name="Freeform: Shape 1096">
                      <a:extLst>
                        <a:ext uri="{FF2B5EF4-FFF2-40B4-BE49-F238E27FC236}">
                          <a16:creationId xmlns:a16="http://schemas.microsoft.com/office/drawing/2014/main" id="{161B3CF6-A5B9-424E-9E9D-EB5BB414EAA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92753" y="4111944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98" name="Freeform: Shape 1097">
                      <a:extLst>
                        <a:ext uri="{FF2B5EF4-FFF2-40B4-BE49-F238E27FC236}">
                          <a16:creationId xmlns:a16="http://schemas.microsoft.com/office/drawing/2014/main" id="{091CA4AD-C78A-4BC3-8C24-B704CE2B30E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00615" y="4111944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99" name="Freeform: Shape 1098">
                      <a:extLst>
                        <a:ext uri="{FF2B5EF4-FFF2-40B4-BE49-F238E27FC236}">
                          <a16:creationId xmlns:a16="http://schemas.microsoft.com/office/drawing/2014/main" id="{0BCAA74E-9C39-42A1-AD29-1D6592D5A6E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08501" y="4111944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00" name="Freeform: Shape 1099">
                      <a:extLst>
                        <a:ext uri="{FF2B5EF4-FFF2-40B4-BE49-F238E27FC236}">
                          <a16:creationId xmlns:a16="http://schemas.microsoft.com/office/drawing/2014/main" id="{ACC1F603-A773-4B3B-B23D-229A6BD6102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16363" y="4111944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01" name="Freeform: Shape 1100">
                      <a:extLst>
                        <a:ext uri="{FF2B5EF4-FFF2-40B4-BE49-F238E27FC236}">
                          <a16:creationId xmlns:a16="http://schemas.microsoft.com/office/drawing/2014/main" id="{7B5701A2-53ED-416E-8348-1E58F0176A4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24249" y="4111944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02" name="Freeform: Shape 1101">
                      <a:extLst>
                        <a:ext uri="{FF2B5EF4-FFF2-40B4-BE49-F238E27FC236}">
                          <a16:creationId xmlns:a16="http://schemas.microsoft.com/office/drawing/2014/main" id="{CCAC4D65-BDD0-4FED-9A95-94283DA9372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32135" y="4111944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03" name="Freeform: Shape 1102">
                      <a:extLst>
                        <a:ext uri="{FF2B5EF4-FFF2-40B4-BE49-F238E27FC236}">
                          <a16:creationId xmlns:a16="http://schemas.microsoft.com/office/drawing/2014/main" id="{D2496D47-4EB5-46D6-A334-ED167D237A9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39997" y="4111944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04" name="Freeform: Shape 1103">
                      <a:extLst>
                        <a:ext uri="{FF2B5EF4-FFF2-40B4-BE49-F238E27FC236}">
                          <a16:creationId xmlns:a16="http://schemas.microsoft.com/office/drawing/2014/main" id="{5647E999-C9F7-4C28-B5F9-1C98687F6A3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98240" y="4111944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05" name="Freeform: Shape 1104">
                      <a:extLst>
                        <a:ext uri="{FF2B5EF4-FFF2-40B4-BE49-F238E27FC236}">
                          <a16:creationId xmlns:a16="http://schemas.microsoft.com/office/drawing/2014/main" id="{2315170B-B1E3-4155-A4FD-7CEA1E899ED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06103" y="4111944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06" name="Freeform: Shape 1105">
                      <a:extLst>
                        <a:ext uri="{FF2B5EF4-FFF2-40B4-BE49-F238E27FC236}">
                          <a16:creationId xmlns:a16="http://schemas.microsoft.com/office/drawing/2014/main" id="{F86CA921-73CE-4793-A202-CD6BF939000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13989" y="4111944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07" name="Freeform: Shape 1106">
                      <a:extLst>
                        <a:ext uri="{FF2B5EF4-FFF2-40B4-BE49-F238E27FC236}">
                          <a16:creationId xmlns:a16="http://schemas.microsoft.com/office/drawing/2014/main" id="{C69CF798-3610-4276-A87C-C2BE1415C82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82469" y="4111944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08" name="Freeform: Shape 1107">
                      <a:extLst>
                        <a:ext uri="{FF2B5EF4-FFF2-40B4-BE49-F238E27FC236}">
                          <a16:creationId xmlns:a16="http://schemas.microsoft.com/office/drawing/2014/main" id="{5A80D319-ACAC-4EBE-B42F-E1B84E6835A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90355" y="4111944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09" name="Freeform: Shape 1108">
                      <a:extLst>
                        <a:ext uri="{FF2B5EF4-FFF2-40B4-BE49-F238E27FC236}">
                          <a16:creationId xmlns:a16="http://schemas.microsoft.com/office/drawing/2014/main" id="{2F6DF6C6-4DC6-4863-A816-58ADF110CB8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98240" y="4111944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10" name="Freeform: Shape 1109">
                      <a:extLst>
                        <a:ext uri="{FF2B5EF4-FFF2-40B4-BE49-F238E27FC236}">
                          <a16:creationId xmlns:a16="http://schemas.microsoft.com/office/drawing/2014/main" id="{639F9E29-21DF-44EA-97EC-DC21B11BF2E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21851" y="4111944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11" name="Freeform: Shape 1110">
                      <a:extLst>
                        <a:ext uri="{FF2B5EF4-FFF2-40B4-BE49-F238E27FC236}">
                          <a16:creationId xmlns:a16="http://schemas.microsoft.com/office/drawing/2014/main" id="{EAAF2446-F53D-47CA-B7F6-533DCE7C001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29737" y="4111944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12" name="Freeform: Shape 1111">
                      <a:extLst>
                        <a:ext uri="{FF2B5EF4-FFF2-40B4-BE49-F238E27FC236}">
                          <a16:creationId xmlns:a16="http://schemas.microsoft.com/office/drawing/2014/main" id="{9E5428F1-A234-450C-95F3-F493386B273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37623" y="4111944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13" name="Freeform: Shape 1112">
                      <a:extLst>
                        <a:ext uri="{FF2B5EF4-FFF2-40B4-BE49-F238E27FC236}">
                          <a16:creationId xmlns:a16="http://schemas.microsoft.com/office/drawing/2014/main" id="{937E3E28-1A7F-4FBC-83A5-7396B10C56F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45485" y="4111944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114" name="Freeform: Shape 1113">
                      <a:extLst>
                        <a:ext uri="{FF2B5EF4-FFF2-40B4-BE49-F238E27FC236}">
                          <a16:creationId xmlns:a16="http://schemas.microsoft.com/office/drawing/2014/main" id="{82B4683E-F7DC-40AF-B7EE-6775EC35668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53371" y="4111944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900" name="Graphic 174">
                    <a:extLst>
                      <a:ext uri="{FF2B5EF4-FFF2-40B4-BE49-F238E27FC236}">
                        <a16:creationId xmlns:a16="http://schemas.microsoft.com/office/drawing/2014/main" id="{04A4677B-72E4-45B0-8E99-792BE29D0B41}"/>
                      </a:ext>
                    </a:extLst>
                  </p:cNvPr>
                  <p:cNvGrpSpPr/>
                  <p:nvPr/>
                </p:nvGrpSpPr>
                <p:grpSpPr>
                  <a:xfrm>
                    <a:off x="6573560" y="4128134"/>
                    <a:ext cx="165158" cy="16283"/>
                    <a:chOff x="6573560" y="4128134"/>
                    <a:chExt cx="165158" cy="16283"/>
                  </a:xfrm>
                  <a:solidFill>
                    <a:schemeClr val="accent1"/>
                  </a:solidFill>
                </p:grpSpPr>
                <p:sp>
                  <p:nvSpPr>
                    <p:cNvPr id="1069" name="Freeform: Shape 1068">
                      <a:extLst>
                        <a:ext uri="{FF2B5EF4-FFF2-40B4-BE49-F238E27FC236}">
                          <a16:creationId xmlns:a16="http://schemas.microsoft.com/office/drawing/2014/main" id="{BF1AAEFB-41B5-4521-AA44-6C456ACCAEE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73560" y="4128134"/>
                      <a:ext cx="165158" cy="16283"/>
                    </a:xfrm>
                    <a:custGeom>
                      <a:avLst/>
                      <a:gdLst>
                        <a:gd name="connsiteX0" fmla="*/ 164553 w 165158"/>
                        <a:gd name="connsiteY0" fmla="*/ 16911 h 16283"/>
                        <a:gd name="connsiteX1" fmla="*/ 1465 w 165158"/>
                        <a:gd name="connsiteY1" fmla="*/ 16911 h 16283"/>
                        <a:gd name="connsiteX2" fmla="*/ 0 w 165158"/>
                        <a:gd name="connsiteY2" fmla="*/ 15446 h 16283"/>
                        <a:gd name="connsiteX3" fmla="*/ 0 w 165158"/>
                        <a:gd name="connsiteY3" fmla="*/ 1465 h 16283"/>
                        <a:gd name="connsiteX4" fmla="*/ 1465 w 165158"/>
                        <a:gd name="connsiteY4" fmla="*/ 0 h 16283"/>
                        <a:gd name="connsiteX5" fmla="*/ 164553 w 165158"/>
                        <a:gd name="connsiteY5" fmla="*/ 0 h 16283"/>
                        <a:gd name="connsiteX6" fmla="*/ 166019 w 165158"/>
                        <a:gd name="connsiteY6" fmla="*/ 1465 h 16283"/>
                        <a:gd name="connsiteX7" fmla="*/ 166019 w 165158"/>
                        <a:gd name="connsiteY7" fmla="*/ 15446 h 16283"/>
                        <a:gd name="connsiteX8" fmla="*/ 164553 w 165158"/>
                        <a:gd name="connsiteY8" fmla="*/ 1691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165158" h="16283">
                          <a:moveTo>
                            <a:pt x="164553" y="16911"/>
                          </a:moveTo>
                          <a:lnTo>
                            <a:pt x="1465" y="16911"/>
                          </a:lnTo>
                          <a:cubicBezTo>
                            <a:pt x="651" y="16911"/>
                            <a:pt x="0" y="16260"/>
                            <a:pt x="0" y="15446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164553" y="0"/>
                          </a:lnTo>
                          <a:cubicBezTo>
                            <a:pt x="165367" y="0"/>
                            <a:pt x="166019" y="651"/>
                            <a:pt x="166019" y="1465"/>
                          </a:cubicBezTo>
                          <a:lnTo>
                            <a:pt x="166019" y="15446"/>
                          </a:lnTo>
                          <a:cubicBezTo>
                            <a:pt x="166019" y="16260"/>
                            <a:pt x="165367" y="16911"/>
                            <a:pt x="164553" y="16911"/>
                          </a:cubicBezTo>
                          <a:close/>
                        </a:path>
                      </a:pathLst>
                    </a:custGeom>
                    <a:solidFill>
                      <a:srgbClr val="F19439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70" name="Freeform: Shape 1069">
                      <a:extLst>
                        <a:ext uri="{FF2B5EF4-FFF2-40B4-BE49-F238E27FC236}">
                          <a16:creationId xmlns:a16="http://schemas.microsoft.com/office/drawing/2014/main" id="{799B096C-2318-41AD-BD25-E7F657930CE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53371" y="4128832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71" name="Freeform: Shape 1070">
                      <a:extLst>
                        <a:ext uri="{FF2B5EF4-FFF2-40B4-BE49-F238E27FC236}">
                          <a16:creationId xmlns:a16="http://schemas.microsoft.com/office/drawing/2014/main" id="{72D2B090-9E9F-42BF-A729-56B57ABDD75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61233" y="4128832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72" name="Freeform: Shape 1071">
                      <a:extLst>
                        <a:ext uri="{FF2B5EF4-FFF2-40B4-BE49-F238E27FC236}">
                          <a16:creationId xmlns:a16="http://schemas.microsoft.com/office/drawing/2014/main" id="{567ABD44-69D3-43D5-A93E-CD7BF76F267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69119" y="4128832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73" name="Freeform: Shape 1072">
                      <a:extLst>
                        <a:ext uri="{FF2B5EF4-FFF2-40B4-BE49-F238E27FC236}">
                          <a16:creationId xmlns:a16="http://schemas.microsoft.com/office/drawing/2014/main" id="{46D56924-7CB5-4463-A935-85F045998E9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76981" y="4128832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74" name="Freeform: Shape 1073">
                      <a:extLst>
                        <a:ext uri="{FF2B5EF4-FFF2-40B4-BE49-F238E27FC236}">
                          <a16:creationId xmlns:a16="http://schemas.microsoft.com/office/drawing/2014/main" id="{FA807F9C-B683-4E03-9B5F-D35EF178379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84867" y="4128832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75" name="Freeform: Shape 1074">
                      <a:extLst>
                        <a:ext uri="{FF2B5EF4-FFF2-40B4-BE49-F238E27FC236}">
                          <a16:creationId xmlns:a16="http://schemas.microsoft.com/office/drawing/2014/main" id="{EA42CBB7-EF5F-4ECC-894D-70030B681F3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92753" y="4128832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76" name="Freeform: Shape 1075">
                      <a:extLst>
                        <a:ext uri="{FF2B5EF4-FFF2-40B4-BE49-F238E27FC236}">
                          <a16:creationId xmlns:a16="http://schemas.microsoft.com/office/drawing/2014/main" id="{AF8D6AD0-8D53-42DC-B1E7-1AF68EA7B2E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00615" y="4128832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77" name="Freeform: Shape 1076">
                      <a:extLst>
                        <a:ext uri="{FF2B5EF4-FFF2-40B4-BE49-F238E27FC236}">
                          <a16:creationId xmlns:a16="http://schemas.microsoft.com/office/drawing/2014/main" id="{6C6DCCD1-CA87-4C11-921B-EAD1009E76E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08501" y="4128832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78" name="Freeform: Shape 1077">
                      <a:extLst>
                        <a:ext uri="{FF2B5EF4-FFF2-40B4-BE49-F238E27FC236}">
                          <a16:creationId xmlns:a16="http://schemas.microsoft.com/office/drawing/2014/main" id="{0BD607CC-4CBE-4A10-948C-0D496167459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16363" y="4128832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79" name="Freeform: Shape 1078">
                      <a:extLst>
                        <a:ext uri="{FF2B5EF4-FFF2-40B4-BE49-F238E27FC236}">
                          <a16:creationId xmlns:a16="http://schemas.microsoft.com/office/drawing/2014/main" id="{2EEA077A-52BB-45C9-B654-F2252E32A51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24249" y="4128832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80" name="Freeform: Shape 1079">
                      <a:extLst>
                        <a:ext uri="{FF2B5EF4-FFF2-40B4-BE49-F238E27FC236}">
                          <a16:creationId xmlns:a16="http://schemas.microsoft.com/office/drawing/2014/main" id="{F682D128-B3D0-4828-8EDC-27020A9DE78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32135" y="4128832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81" name="Freeform: Shape 1080">
                      <a:extLst>
                        <a:ext uri="{FF2B5EF4-FFF2-40B4-BE49-F238E27FC236}">
                          <a16:creationId xmlns:a16="http://schemas.microsoft.com/office/drawing/2014/main" id="{7A2A6894-E05B-44EC-BFA2-8B416AF86C9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90355" y="4128832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82" name="Freeform: Shape 1081">
                      <a:extLst>
                        <a:ext uri="{FF2B5EF4-FFF2-40B4-BE49-F238E27FC236}">
                          <a16:creationId xmlns:a16="http://schemas.microsoft.com/office/drawing/2014/main" id="{E3C8EBFF-3E51-455E-B5B8-AF2B3915FD8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98240" y="4128832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83" name="Freeform: Shape 1082">
                      <a:extLst>
                        <a:ext uri="{FF2B5EF4-FFF2-40B4-BE49-F238E27FC236}">
                          <a16:creationId xmlns:a16="http://schemas.microsoft.com/office/drawing/2014/main" id="{7FCAB42F-538D-4D55-821A-8A7604D7D64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06103" y="4128832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84" name="Freeform: Shape 1083">
                      <a:extLst>
                        <a:ext uri="{FF2B5EF4-FFF2-40B4-BE49-F238E27FC236}">
                          <a16:creationId xmlns:a16="http://schemas.microsoft.com/office/drawing/2014/main" id="{C2C54A31-EADB-4643-8577-4596151808B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74607" y="4128832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85" name="Freeform: Shape 1084">
                      <a:extLst>
                        <a:ext uri="{FF2B5EF4-FFF2-40B4-BE49-F238E27FC236}">
                          <a16:creationId xmlns:a16="http://schemas.microsoft.com/office/drawing/2014/main" id="{7C243D6B-BE0D-4988-9953-4FA18B5A1B2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82469" y="4128832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86" name="Freeform: Shape 1085">
                      <a:extLst>
                        <a:ext uri="{FF2B5EF4-FFF2-40B4-BE49-F238E27FC236}">
                          <a16:creationId xmlns:a16="http://schemas.microsoft.com/office/drawing/2014/main" id="{595CAA05-0DDD-4E15-BBDA-350B310782D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90355" y="4128832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87" name="Freeform: Shape 1086">
                      <a:extLst>
                        <a:ext uri="{FF2B5EF4-FFF2-40B4-BE49-F238E27FC236}">
                          <a16:creationId xmlns:a16="http://schemas.microsoft.com/office/drawing/2014/main" id="{42EA097F-6617-497E-8896-EF2617A7DF7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13989" y="4128832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88" name="Freeform: Shape 1087">
                      <a:extLst>
                        <a:ext uri="{FF2B5EF4-FFF2-40B4-BE49-F238E27FC236}">
                          <a16:creationId xmlns:a16="http://schemas.microsoft.com/office/drawing/2014/main" id="{134DCA76-54D5-49A3-B35D-DEF2F5458DB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21851" y="4128832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89" name="Freeform: Shape 1088">
                      <a:extLst>
                        <a:ext uri="{FF2B5EF4-FFF2-40B4-BE49-F238E27FC236}">
                          <a16:creationId xmlns:a16="http://schemas.microsoft.com/office/drawing/2014/main" id="{24EF9C65-5D7B-482D-A1C9-FBDFF1DCE9B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29737" y="4128832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90" name="Freeform: Shape 1089">
                      <a:extLst>
                        <a:ext uri="{FF2B5EF4-FFF2-40B4-BE49-F238E27FC236}">
                          <a16:creationId xmlns:a16="http://schemas.microsoft.com/office/drawing/2014/main" id="{BE257032-5E18-4697-BF6B-FAE254761B4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37623" y="4128832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91" name="Freeform: Shape 1090">
                      <a:extLst>
                        <a:ext uri="{FF2B5EF4-FFF2-40B4-BE49-F238E27FC236}">
                          <a16:creationId xmlns:a16="http://schemas.microsoft.com/office/drawing/2014/main" id="{84B358E5-5F00-4590-B1DF-E0BE948921B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45485" y="4128832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901" name="Graphic 174">
                    <a:extLst>
                      <a:ext uri="{FF2B5EF4-FFF2-40B4-BE49-F238E27FC236}">
                        <a16:creationId xmlns:a16="http://schemas.microsoft.com/office/drawing/2014/main" id="{BA6DB53A-35D6-41EA-A8BA-B7A524FBE30A}"/>
                      </a:ext>
                    </a:extLst>
                  </p:cNvPr>
                  <p:cNvGrpSpPr/>
                  <p:nvPr/>
                </p:nvGrpSpPr>
                <p:grpSpPr>
                  <a:xfrm>
                    <a:off x="6576770" y="4094335"/>
                    <a:ext cx="165158" cy="16283"/>
                    <a:chOff x="6576770" y="4094335"/>
                    <a:chExt cx="165158" cy="16283"/>
                  </a:xfrm>
                  <a:solidFill>
                    <a:schemeClr val="accent1"/>
                  </a:solidFill>
                </p:grpSpPr>
                <p:sp>
                  <p:nvSpPr>
                    <p:cNvPr id="1046" name="Freeform: Shape 1045">
                      <a:extLst>
                        <a:ext uri="{FF2B5EF4-FFF2-40B4-BE49-F238E27FC236}">
                          <a16:creationId xmlns:a16="http://schemas.microsoft.com/office/drawing/2014/main" id="{69FD5C58-A287-472E-B6EF-FD9982A16DA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76770" y="4094335"/>
                      <a:ext cx="165158" cy="16283"/>
                    </a:xfrm>
                    <a:custGeom>
                      <a:avLst/>
                      <a:gdLst>
                        <a:gd name="connsiteX0" fmla="*/ 164553 w 165158"/>
                        <a:gd name="connsiteY0" fmla="*/ 16911 h 16283"/>
                        <a:gd name="connsiteX1" fmla="*/ 1465 w 165158"/>
                        <a:gd name="connsiteY1" fmla="*/ 16911 h 16283"/>
                        <a:gd name="connsiteX2" fmla="*/ 0 w 165158"/>
                        <a:gd name="connsiteY2" fmla="*/ 15446 h 16283"/>
                        <a:gd name="connsiteX3" fmla="*/ 0 w 165158"/>
                        <a:gd name="connsiteY3" fmla="*/ 1465 h 16283"/>
                        <a:gd name="connsiteX4" fmla="*/ 1465 w 165158"/>
                        <a:gd name="connsiteY4" fmla="*/ 0 h 16283"/>
                        <a:gd name="connsiteX5" fmla="*/ 164553 w 165158"/>
                        <a:gd name="connsiteY5" fmla="*/ 0 h 16283"/>
                        <a:gd name="connsiteX6" fmla="*/ 166019 w 165158"/>
                        <a:gd name="connsiteY6" fmla="*/ 1465 h 16283"/>
                        <a:gd name="connsiteX7" fmla="*/ 166019 w 165158"/>
                        <a:gd name="connsiteY7" fmla="*/ 15446 h 16283"/>
                        <a:gd name="connsiteX8" fmla="*/ 164553 w 165158"/>
                        <a:gd name="connsiteY8" fmla="*/ 1691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165158" h="16283">
                          <a:moveTo>
                            <a:pt x="164553" y="16911"/>
                          </a:moveTo>
                          <a:lnTo>
                            <a:pt x="1465" y="16911"/>
                          </a:lnTo>
                          <a:cubicBezTo>
                            <a:pt x="651" y="16911"/>
                            <a:pt x="0" y="16260"/>
                            <a:pt x="0" y="15446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164553" y="0"/>
                          </a:lnTo>
                          <a:cubicBezTo>
                            <a:pt x="165367" y="0"/>
                            <a:pt x="166019" y="651"/>
                            <a:pt x="166019" y="1465"/>
                          </a:cubicBezTo>
                          <a:lnTo>
                            <a:pt x="166019" y="15446"/>
                          </a:lnTo>
                          <a:cubicBezTo>
                            <a:pt x="165996" y="16260"/>
                            <a:pt x="165344" y="16911"/>
                            <a:pt x="164553" y="16911"/>
                          </a:cubicBezTo>
                          <a:close/>
                        </a:path>
                      </a:pathLst>
                    </a:custGeom>
                    <a:solidFill>
                      <a:srgbClr val="F19439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47" name="Freeform: Shape 1046">
                      <a:extLst>
                        <a:ext uri="{FF2B5EF4-FFF2-40B4-BE49-F238E27FC236}">
                          <a16:creationId xmlns:a16="http://schemas.microsoft.com/office/drawing/2014/main" id="{46A51E08-5CB3-496C-9B46-4B6AC3C0D51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56558" y="4095056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48" name="Freeform: Shape 1047">
                      <a:extLst>
                        <a:ext uri="{FF2B5EF4-FFF2-40B4-BE49-F238E27FC236}">
                          <a16:creationId xmlns:a16="http://schemas.microsoft.com/office/drawing/2014/main" id="{05A5C642-0A46-4C7B-A78A-0E345DC4156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64443" y="4095056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49" name="Freeform: Shape 1048">
                      <a:extLst>
                        <a:ext uri="{FF2B5EF4-FFF2-40B4-BE49-F238E27FC236}">
                          <a16:creationId xmlns:a16="http://schemas.microsoft.com/office/drawing/2014/main" id="{F4CB6E91-E5C0-421B-A533-DD853563831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72329" y="4095056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50" name="Freeform: Shape 1049">
                      <a:extLst>
                        <a:ext uri="{FF2B5EF4-FFF2-40B4-BE49-F238E27FC236}">
                          <a16:creationId xmlns:a16="http://schemas.microsoft.com/office/drawing/2014/main" id="{C4F2F31D-5608-4F00-BFC8-A683DDA5BB6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80191" y="4095056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51" name="Freeform: Shape 1050">
                      <a:extLst>
                        <a:ext uri="{FF2B5EF4-FFF2-40B4-BE49-F238E27FC236}">
                          <a16:creationId xmlns:a16="http://schemas.microsoft.com/office/drawing/2014/main" id="{1943EDFD-937D-4305-AD54-F5AD0B9DEC0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88077" y="4095056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52" name="Freeform: Shape 1051">
                      <a:extLst>
                        <a:ext uri="{FF2B5EF4-FFF2-40B4-BE49-F238E27FC236}">
                          <a16:creationId xmlns:a16="http://schemas.microsoft.com/office/drawing/2014/main" id="{AC73B9FA-FDE4-4BA6-9922-F76EDCA45EF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95940" y="4095056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53" name="Freeform: Shape 1052">
                      <a:extLst>
                        <a:ext uri="{FF2B5EF4-FFF2-40B4-BE49-F238E27FC236}">
                          <a16:creationId xmlns:a16="http://schemas.microsoft.com/office/drawing/2014/main" id="{E97B1AAB-CE2A-411B-990D-601F09A04E2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03825" y="4095056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54" name="Freeform: Shape 1053">
                      <a:extLst>
                        <a:ext uri="{FF2B5EF4-FFF2-40B4-BE49-F238E27FC236}">
                          <a16:creationId xmlns:a16="http://schemas.microsoft.com/office/drawing/2014/main" id="{2A85731A-1982-4777-BA82-9F3C8A6D62A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11688" y="4095056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55" name="Freeform: Shape 1054">
                      <a:extLst>
                        <a:ext uri="{FF2B5EF4-FFF2-40B4-BE49-F238E27FC236}">
                          <a16:creationId xmlns:a16="http://schemas.microsoft.com/office/drawing/2014/main" id="{8DE11B42-7385-450B-876C-AE0ED1C5F56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19574" y="4095056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56" name="Freeform: Shape 1055">
                      <a:extLst>
                        <a:ext uri="{FF2B5EF4-FFF2-40B4-BE49-F238E27FC236}">
                          <a16:creationId xmlns:a16="http://schemas.microsoft.com/office/drawing/2014/main" id="{C13B95FC-0E54-4F67-9F37-4DD13C68AFF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27459" y="4095056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57" name="Freeform: Shape 1056">
                      <a:extLst>
                        <a:ext uri="{FF2B5EF4-FFF2-40B4-BE49-F238E27FC236}">
                          <a16:creationId xmlns:a16="http://schemas.microsoft.com/office/drawing/2014/main" id="{37ACEDDC-CEF3-4754-9A4C-E4939370186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35322" y="4095056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58" name="Freeform: Shape 1057">
                      <a:extLst>
                        <a:ext uri="{FF2B5EF4-FFF2-40B4-BE49-F238E27FC236}">
                          <a16:creationId xmlns:a16="http://schemas.microsoft.com/office/drawing/2014/main" id="{ED725718-EC16-49EB-A12E-8999142F9BE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93565" y="4095056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59" name="Freeform: Shape 1058">
                      <a:extLst>
                        <a:ext uri="{FF2B5EF4-FFF2-40B4-BE49-F238E27FC236}">
                          <a16:creationId xmlns:a16="http://schemas.microsoft.com/office/drawing/2014/main" id="{796A94FD-22EC-4BEC-AE6A-C65CE19C102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01427" y="4095056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60" name="Freeform: Shape 1059">
                      <a:extLst>
                        <a:ext uri="{FF2B5EF4-FFF2-40B4-BE49-F238E27FC236}">
                          <a16:creationId xmlns:a16="http://schemas.microsoft.com/office/drawing/2014/main" id="{18704FA4-CF84-475E-ADFE-2BB54A9E282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09313" y="4095056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61" name="Freeform: Shape 1060">
                      <a:extLst>
                        <a:ext uri="{FF2B5EF4-FFF2-40B4-BE49-F238E27FC236}">
                          <a16:creationId xmlns:a16="http://schemas.microsoft.com/office/drawing/2014/main" id="{4DD721C7-32B3-49E1-9793-81DAAC8DD29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77817" y="4095056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62" name="Freeform: Shape 1061">
                      <a:extLst>
                        <a:ext uri="{FF2B5EF4-FFF2-40B4-BE49-F238E27FC236}">
                          <a16:creationId xmlns:a16="http://schemas.microsoft.com/office/drawing/2014/main" id="{70A1794E-14A3-49A6-8C0E-56D0106FDA2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85679" y="4095056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63" name="Freeform: Shape 1062">
                      <a:extLst>
                        <a:ext uri="{FF2B5EF4-FFF2-40B4-BE49-F238E27FC236}">
                          <a16:creationId xmlns:a16="http://schemas.microsoft.com/office/drawing/2014/main" id="{6D87C95A-3810-4865-9FF6-E671567ED03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93565" y="4095056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64" name="Freeform: Shape 1063">
                      <a:extLst>
                        <a:ext uri="{FF2B5EF4-FFF2-40B4-BE49-F238E27FC236}">
                          <a16:creationId xmlns:a16="http://schemas.microsoft.com/office/drawing/2014/main" id="{C234186D-A0AB-4E22-B636-46CF5E6D3A2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17176" y="4095056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65" name="Freeform: Shape 1064">
                      <a:extLst>
                        <a:ext uri="{FF2B5EF4-FFF2-40B4-BE49-F238E27FC236}">
                          <a16:creationId xmlns:a16="http://schemas.microsoft.com/office/drawing/2014/main" id="{5F0B4CB8-9FC5-431D-97EC-E7BA3DCDAC6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25061" y="4095056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66" name="Freeform: Shape 1065">
                      <a:extLst>
                        <a:ext uri="{FF2B5EF4-FFF2-40B4-BE49-F238E27FC236}">
                          <a16:creationId xmlns:a16="http://schemas.microsoft.com/office/drawing/2014/main" id="{AB01CB01-E389-4FAD-A2CB-D49F3BB9D12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32947" y="4095056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67" name="Freeform: Shape 1066">
                      <a:extLst>
                        <a:ext uri="{FF2B5EF4-FFF2-40B4-BE49-F238E27FC236}">
                          <a16:creationId xmlns:a16="http://schemas.microsoft.com/office/drawing/2014/main" id="{7A54FB72-AEF7-46EB-832C-05741F1FE83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40809" y="4095056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68" name="Freeform: Shape 1067">
                      <a:extLst>
                        <a:ext uri="{FF2B5EF4-FFF2-40B4-BE49-F238E27FC236}">
                          <a16:creationId xmlns:a16="http://schemas.microsoft.com/office/drawing/2014/main" id="{246C3335-70E7-40D2-9BD1-C2C3AFA53EC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48695" y="4095056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902" name="Graphic 174">
                    <a:extLst>
                      <a:ext uri="{FF2B5EF4-FFF2-40B4-BE49-F238E27FC236}">
                        <a16:creationId xmlns:a16="http://schemas.microsoft.com/office/drawing/2014/main" id="{E92A45CE-608F-4B30-9237-FFE46F013721}"/>
                      </a:ext>
                    </a:extLst>
                  </p:cNvPr>
                  <p:cNvGrpSpPr/>
                  <p:nvPr/>
                </p:nvGrpSpPr>
                <p:grpSpPr>
                  <a:xfrm>
                    <a:off x="6581446" y="4077447"/>
                    <a:ext cx="165158" cy="16283"/>
                    <a:chOff x="6581446" y="4077447"/>
                    <a:chExt cx="165158" cy="16283"/>
                  </a:xfrm>
                  <a:solidFill>
                    <a:schemeClr val="accent1"/>
                  </a:solidFill>
                </p:grpSpPr>
                <p:sp>
                  <p:nvSpPr>
                    <p:cNvPr id="1023" name="Freeform: Shape 1022">
                      <a:extLst>
                        <a:ext uri="{FF2B5EF4-FFF2-40B4-BE49-F238E27FC236}">
                          <a16:creationId xmlns:a16="http://schemas.microsoft.com/office/drawing/2014/main" id="{207616DB-D74D-4E90-A9DF-921103B552E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81446" y="4077447"/>
                      <a:ext cx="165158" cy="16283"/>
                    </a:xfrm>
                    <a:custGeom>
                      <a:avLst/>
                      <a:gdLst>
                        <a:gd name="connsiteX0" fmla="*/ 164553 w 165158"/>
                        <a:gd name="connsiteY0" fmla="*/ 16911 h 16283"/>
                        <a:gd name="connsiteX1" fmla="*/ 1465 w 165158"/>
                        <a:gd name="connsiteY1" fmla="*/ 16911 h 16283"/>
                        <a:gd name="connsiteX2" fmla="*/ 0 w 165158"/>
                        <a:gd name="connsiteY2" fmla="*/ 15446 h 16283"/>
                        <a:gd name="connsiteX3" fmla="*/ 0 w 165158"/>
                        <a:gd name="connsiteY3" fmla="*/ 1465 h 16283"/>
                        <a:gd name="connsiteX4" fmla="*/ 1465 w 165158"/>
                        <a:gd name="connsiteY4" fmla="*/ 0 h 16283"/>
                        <a:gd name="connsiteX5" fmla="*/ 164553 w 165158"/>
                        <a:gd name="connsiteY5" fmla="*/ 0 h 16283"/>
                        <a:gd name="connsiteX6" fmla="*/ 166019 w 165158"/>
                        <a:gd name="connsiteY6" fmla="*/ 1465 h 16283"/>
                        <a:gd name="connsiteX7" fmla="*/ 166019 w 165158"/>
                        <a:gd name="connsiteY7" fmla="*/ 15446 h 16283"/>
                        <a:gd name="connsiteX8" fmla="*/ 164553 w 165158"/>
                        <a:gd name="connsiteY8" fmla="*/ 1691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165158" h="16283">
                          <a:moveTo>
                            <a:pt x="164553" y="16911"/>
                          </a:moveTo>
                          <a:lnTo>
                            <a:pt x="1465" y="16911"/>
                          </a:lnTo>
                          <a:cubicBezTo>
                            <a:pt x="651" y="16911"/>
                            <a:pt x="0" y="16260"/>
                            <a:pt x="0" y="15446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164553" y="0"/>
                          </a:lnTo>
                          <a:cubicBezTo>
                            <a:pt x="165368" y="0"/>
                            <a:pt x="166019" y="651"/>
                            <a:pt x="166019" y="1465"/>
                          </a:cubicBezTo>
                          <a:lnTo>
                            <a:pt x="166019" y="15446"/>
                          </a:lnTo>
                          <a:cubicBezTo>
                            <a:pt x="165996" y="16260"/>
                            <a:pt x="165344" y="16911"/>
                            <a:pt x="164553" y="16911"/>
                          </a:cubicBezTo>
                          <a:close/>
                        </a:path>
                      </a:pathLst>
                    </a:custGeom>
                    <a:solidFill>
                      <a:srgbClr val="F19439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24" name="Freeform: Shape 1023">
                      <a:extLst>
                        <a:ext uri="{FF2B5EF4-FFF2-40B4-BE49-F238E27FC236}">
                          <a16:creationId xmlns:a16="http://schemas.microsoft.com/office/drawing/2014/main" id="{39DEEA87-14D6-4022-AAA0-42B1324AAEA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61233" y="4078145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25" name="Freeform: Shape 1024">
                      <a:extLst>
                        <a:ext uri="{FF2B5EF4-FFF2-40B4-BE49-F238E27FC236}">
                          <a16:creationId xmlns:a16="http://schemas.microsoft.com/office/drawing/2014/main" id="{855481BB-FDB0-4D5D-A981-E8B07AF3F19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69119" y="4078145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26" name="Freeform: Shape 1025">
                      <a:extLst>
                        <a:ext uri="{FF2B5EF4-FFF2-40B4-BE49-F238E27FC236}">
                          <a16:creationId xmlns:a16="http://schemas.microsoft.com/office/drawing/2014/main" id="{10B90899-80F5-450B-B3B1-6A63DA2A832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76981" y="4078145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27" name="Freeform: Shape 1026">
                      <a:extLst>
                        <a:ext uri="{FF2B5EF4-FFF2-40B4-BE49-F238E27FC236}">
                          <a16:creationId xmlns:a16="http://schemas.microsoft.com/office/drawing/2014/main" id="{6A33CCC7-49DA-4CE0-BB40-91D60C3A89C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84867" y="4078145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28" name="Freeform: Shape 1027">
                      <a:extLst>
                        <a:ext uri="{FF2B5EF4-FFF2-40B4-BE49-F238E27FC236}">
                          <a16:creationId xmlns:a16="http://schemas.microsoft.com/office/drawing/2014/main" id="{45FD0B14-3D26-4149-A82F-8353C6A41D4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92753" y="4078145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29" name="Freeform: Shape 1028">
                      <a:extLst>
                        <a:ext uri="{FF2B5EF4-FFF2-40B4-BE49-F238E27FC236}">
                          <a16:creationId xmlns:a16="http://schemas.microsoft.com/office/drawing/2014/main" id="{1A7CEC53-8FC4-4B85-8D4C-6937B897AE5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00615" y="4078145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30" name="Freeform: Shape 1029">
                      <a:extLst>
                        <a:ext uri="{FF2B5EF4-FFF2-40B4-BE49-F238E27FC236}">
                          <a16:creationId xmlns:a16="http://schemas.microsoft.com/office/drawing/2014/main" id="{986ACEB2-D447-4C04-A263-25A7DE926CB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08501" y="4078145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31" name="Freeform: Shape 1030">
                      <a:extLst>
                        <a:ext uri="{FF2B5EF4-FFF2-40B4-BE49-F238E27FC236}">
                          <a16:creationId xmlns:a16="http://schemas.microsoft.com/office/drawing/2014/main" id="{CB61C0BE-818D-4D14-95DC-9F9A45B9617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16363" y="4078145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32" name="Freeform: Shape 1031">
                      <a:extLst>
                        <a:ext uri="{FF2B5EF4-FFF2-40B4-BE49-F238E27FC236}">
                          <a16:creationId xmlns:a16="http://schemas.microsoft.com/office/drawing/2014/main" id="{1702466B-5D1F-486E-86B3-4DBF81BE1A4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24249" y="4078145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33" name="Freeform: Shape 1032">
                      <a:extLst>
                        <a:ext uri="{FF2B5EF4-FFF2-40B4-BE49-F238E27FC236}">
                          <a16:creationId xmlns:a16="http://schemas.microsoft.com/office/drawing/2014/main" id="{6AA21772-9E63-4CE6-8F98-963B32FB817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32135" y="4078145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34" name="Freeform: Shape 1033">
                      <a:extLst>
                        <a:ext uri="{FF2B5EF4-FFF2-40B4-BE49-F238E27FC236}">
                          <a16:creationId xmlns:a16="http://schemas.microsoft.com/office/drawing/2014/main" id="{2E26DB81-76E9-43A8-81EA-044D7976093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39997" y="4078145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35" name="Freeform: Shape 1034">
                      <a:extLst>
                        <a:ext uri="{FF2B5EF4-FFF2-40B4-BE49-F238E27FC236}">
                          <a16:creationId xmlns:a16="http://schemas.microsoft.com/office/drawing/2014/main" id="{6741FECA-CAF2-4D58-9A9A-4149126453F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98240" y="4078145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36" name="Freeform: Shape 1035">
                      <a:extLst>
                        <a:ext uri="{FF2B5EF4-FFF2-40B4-BE49-F238E27FC236}">
                          <a16:creationId xmlns:a16="http://schemas.microsoft.com/office/drawing/2014/main" id="{F64763BD-7B4A-4682-9A28-C935014CD92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06103" y="4078145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37" name="Freeform: Shape 1036">
                      <a:extLst>
                        <a:ext uri="{FF2B5EF4-FFF2-40B4-BE49-F238E27FC236}">
                          <a16:creationId xmlns:a16="http://schemas.microsoft.com/office/drawing/2014/main" id="{9B951281-A62F-4317-9ABE-C62BBE67D2A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13989" y="4078145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38" name="Freeform: Shape 1037">
                      <a:extLst>
                        <a:ext uri="{FF2B5EF4-FFF2-40B4-BE49-F238E27FC236}">
                          <a16:creationId xmlns:a16="http://schemas.microsoft.com/office/drawing/2014/main" id="{DEFD7A47-D48A-4170-B617-78E7EC1D340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82469" y="4078145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39" name="Freeform: Shape 1038">
                      <a:extLst>
                        <a:ext uri="{FF2B5EF4-FFF2-40B4-BE49-F238E27FC236}">
                          <a16:creationId xmlns:a16="http://schemas.microsoft.com/office/drawing/2014/main" id="{87960310-CF04-4700-B4F5-4E0C34220F7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90355" y="4078145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40" name="Freeform: Shape 1039">
                      <a:extLst>
                        <a:ext uri="{FF2B5EF4-FFF2-40B4-BE49-F238E27FC236}">
                          <a16:creationId xmlns:a16="http://schemas.microsoft.com/office/drawing/2014/main" id="{C7E4B1BE-AF54-49B1-BC0F-B356B4E681E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98240" y="4078145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41" name="Freeform: Shape 1040">
                      <a:extLst>
                        <a:ext uri="{FF2B5EF4-FFF2-40B4-BE49-F238E27FC236}">
                          <a16:creationId xmlns:a16="http://schemas.microsoft.com/office/drawing/2014/main" id="{CAF718DD-AD76-4602-B6F2-051C0F38CE1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21851" y="4078145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42" name="Freeform: Shape 1041">
                      <a:extLst>
                        <a:ext uri="{FF2B5EF4-FFF2-40B4-BE49-F238E27FC236}">
                          <a16:creationId xmlns:a16="http://schemas.microsoft.com/office/drawing/2014/main" id="{253F8E32-1F1D-4A10-A74A-CCA6B00E699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29737" y="4078145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43" name="Freeform: Shape 1042">
                      <a:extLst>
                        <a:ext uri="{FF2B5EF4-FFF2-40B4-BE49-F238E27FC236}">
                          <a16:creationId xmlns:a16="http://schemas.microsoft.com/office/drawing/2014/main" id="{B0A5D433-A175-4138-9DA7-2D90D792B54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37623" y="4078145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44" name="Freeform: Shape 1043">
                      <a:extLst>
                        <a:ext uri="{FF2B5EF4-FFF2-40B4-BE49-F238E27FC236}">
                          <a16:creationId xmlns:a16="http://schemas.microsoft.com/office/drawing/2014/main" id="{8E1D6C9C-4F4C-42B6-9498-36FEDE68CF9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45485" y="4078145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45" name="Freeform: Shape 1044">
                      <a:extLst>
                        <a:ext uri="{FF2B5EF4-FFF2-40B4-BE49-F238E27FC236}">
                          <a16:creationId xmlns:a16="http://schemas.microsoft.com/office/drawing/2014/main" id="{B64FC539-6A70-4B2E-ADC9-BAEE1A5157F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53371" y="4078145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903" name="Graphic 174">
                    <a:extLst>
                      <a:ext uri="{FF2B5EF4-FFF2-40B4-BE49-F238E27FC236}">
                        <a16:creationId xmlns:a16="http://schemas.microsoft.com/office/drawing/2014/main" id="{806E2D99-37D8-48BF-8C04-9CBDBF655145}"/>
                      </a:ext>
                    </a:extLst>
                  </p:cNvPr>
                  <p:cNvGrpSpPr/>
                  <p:nvPr/>
                </p:nvGrpSpPr>
                <p:grpSpPr>
                  <a:xfrm>
                    <a:off x="6573560" y="4060559"/>
                    <a:ext cx="165158" cy="16283"/>
                    <a:chOff x="6573560" y="4060559"/>
                    <a:chExt cx="165158" cy="16283"/>
                  </a:xfrm>
                  <a:solidFill>
                    <a:schemeClr val="accent1"/>
                  </a:solidFill>
                </p:grpSpPr>
                <p:sp>
                  <p:nvSpPr>
                    <p:cNvPr id="1000" name="Freeform: Shape 999">
                      <a:extLst>
                        <a:ext uri="{FF2B5EF4-FFF2-40B4-BE49-F238E27FC236}">
                          <a16:creationId xmlns:a16="http://schemas.microsoft.com/office/drawing/2014/main" id="{DAC345DB-A7A0-4206-8990-FCD5FBCF038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73560" y="4060559"/>
                      <a:ext cx="165158" cy="16283"/>
                    </a:xfrm>
                    <a:custGeom>
                      <a:avLst/>
                      <a:gdLst>
                        <a:gd name="connsiteX0" fmla="*/ 164553 w 165158"/>
                        <a:gd name="connsiteY0" fmla="*/ 16911 h 16283"/>
                        <a:gd name="connsiteX1" fmla="*/ 1465 w 165158"/>
                        <a:gd name="connsiteY1" fmla="*/ 16911 h 16283"/>
                        <a:gd name="connsiteX2" fmla="*/ 0 w 165158"/>
                        <a:gd name="connsiteY2" fmla="*/ 15446 h 16283"/>
                        <a:gd name="connsiteX3" fmla="*/ 0 w 165158"/>
                        <a:gd name="connsiteY3" fmla="*/ 1465 h 16283"/>
                        <a:gd name="connsiteX4" fmla="*/ 1465 w 165158"/>
                        <a:gd name="connsiteY4" fmla="*/ 0 h 16283"/>
                        <a:gd name="connsiteX5" fmla="*/ 164553 w 165158"/>
                        <a:gd name="connsiteY5" fmla="*/ 0 h 16283"/>
                        <a:gd name="connsiteX6" fmla="*/ 166019 w 165158"/>
                        <a:gd name="connsiteY6" fmla="*/ 1465 h 16283"/>
                        <a:gd name="connsiteX7" fmla="*/ 166019 w 165158"/>
                        <a:gd name="connsiteY7" fmla="*/ 15446 h 16283"/>
                        <a:gd name="connsiteX8" fmla="*/ 164553 w 165158"/>
                        <a:gd name="connsiteY8" fmla="*/ 1691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165158" h="16283">
                          <a:moveTo>
                            <a:pt x="164553" y="16911"/>
                          </a:moveTo>
                          <a:lnTo>
                            <a:pt x="1465" y="16911"/>
                          </a:lnTo>
                          <a:cubicBezTo>
                            <a:pt x="651" y="16911"/>
                            <a:pt x="0" y="16260"/>
                            <a:pt x="0" y="15446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164553" y="0"/>
                          </a:lnTo>
                          <a:cubicBezTo>
                            <a:pt x="165367" y="0"/>
                            <a:pt x="166019" y="651"/>
                            <a:pt x="166019" y="1465"/>
                          </a:cubicBezTo>
                          <a:lnTo>
                            <a:pt x="166019" y="15446"/>
                          </a:lnTo>
                          <a:cubicBezTo>
                            <a:pt x="166019" y="16260"/>
                            <a:pt x="165367" y="16911"/>
                            <a:pt x="164553" y="16911"/>
                          </a:cubicBezTo>
                          <a:close/>
                        </a:path>
                      </a:pathLst>
                    </a:custGeom>
                    <a:solidFill>
                      <a:srgbClr val="F19439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01" name="Freeform: Shape 1000">
                      <a:extLst>
                        <a:ext uri="{FF2B5EF4-FFF2-40B4-BE49-F238E27FC236}">
                          <a16:creationId xmlns:a16="http://schemas.microsoft.com/office/drawing/2014/main" id="{93B653D0-F74B-4C05-BCF5-2DF39B552B1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53371" y="4061257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02" name="Freeform: Shape 1001">
                      <a:extLst>
                        <a:ext uri="{FF2B5EF4-FFF2-40B4-BE49-F238E27FC236}">
                          <a16:creationId xmlns:a16="http://schemas.microsoft.com/office/drawing/2014/main" id="{B93E915D-61B8-41F1-916F-167BF1299ED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61233" y="4061257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03" name="Freeform: Shape 1002">
                      <a:extLst>
                        <a:ext uri="{FF2B5EF4-FFF2-40B4-BE49-F238E27FC236}">
                          <a16:creationId xmlns:a16="http://schemas.microsoft.com/office/drawing/2014/main" id="{A642057C-F28B-4D00-B2FA-316AD0C74DD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69119" y="4061257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04" name="Freeform: Shape 1003">
                      <a:extLst>
                        <a:ext uri="{FF2B5EF4-FFF2-40B4-BE49-F238E27FC236}">
                          <a16:creationId xmlns:a16="http://schemas.microsoft.com/office/drawing/2014/main" id="{4E084E1A-1B15-44CE-96CB-E45AE138E9B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76981" y="4061257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05" name="Freeform: Shape 1004">
                      <a:extLst>
                        <a:ext uri="{FF2B5EF4-FFF2-40B4-BE49-F238E27FC236}">
                          <a16:creationId xmlns:a16="http://schemas.microsoft.com/office/drawing/2014/main" id="{21A715DF-58DA-4539-BDDE-35B8A7EFF6B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84867" y="4061257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06" name="Freeform: Shape 1005">
                      <a:extLst>
                        <a:ext uri="{FF2B5EF4-FFF2-40B4-BE49-F238E27FC236}">
                          <a16:creationId xmlns:a16="http://schemas.microsoft.com/office/drawing/2014/main" id="{C83462B1-0C22-42E6-B13B-A1BF5DA0310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92753" y="4061257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07" name="Freeform: Shape 1006">
                      <a:extLst>
                        <a:ext uri="{FF2B5EF4-FFF2-40B4-BE49-F238E27FC236}">
                          <a16:creationId xmlns:a16="http://schemas.microsoft.com/office/drawing/2014/main" id="{FF11825D-ACDE-4F45-9C53-4ABBBBCB9F3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00615" y="4061257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08" name="Freeform: Shape 1007">
                      <a:extLst>
                        <a:ext uri="{FF2B5EF4-FFF2-40B4-BE49-F238E27FC236}">
                          <a16:creationId xmlns:a16="http://schemas.microsoft.com/office/drawing/2014/main" id="{31080A14-33B3-49BF-B481-D95075A9B7C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08501" y="4061257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09" name="Freeform: Shape 1008">
                      <a:extLst>
                        <a:ext uri="{FF2B5EF4-FFF2-40B4-BE49-F238E27FC236}">
                          <a16:creationId xmlns:a16="http://schemas.microsoft.com/office/drawing/2014/main" id="{797A3152-6BE5-4856-AA52-4C6D2D8DBC1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16363" y="4061257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10" name="Freeform: Shape 1009">
                      <a:extLst>
                        <a:ext uri="{FF2B5EF4-FFF2-40B4-BE49-F238E27FC236}">
                          <a16:creationId xmlns:a16="http://schemas.microsoft.com/office/drawing/2014/main" id="{0C98E391-79D0-4089-8540-54FF48C4E68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24249" y="4061257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11" name="Freeform: Shape 1010">
                      <a:extLst>
                        <a:ext uri="{FF2B5EF4-FFF2-40B4-BE49-F238E27FC236}">
                          <a16:creationId xmlns:a16="http://schemas.microsoft.com/office/drawing/2014/main" id="{1F286EFA-BCA5-439E-9398-B8B634F14CA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32135" y="4061257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12" name="Freeform: Shape 1011">
                      <a:extLst>
                        <a:ext uri="{FF2B5EF4-FFF2-40B4-BE49-F238E27FC236}">
                          <a16:creationId xmlns:a16="http://schemas.microsoft.com/office/drawing/2014/main" id="{DBF99CC1-803E-42CC-895B-78C9ABAE12F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90355" y="4061257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13" name="Freeform: Shape 1012">
                      <a:extLst>
                        <a:ext uri="{FF2B5EF4-FFF2-40B4-BE49-F238E27FC236}">
                          <a16:creationId xmlns:a16="http://schemas.microsoft.com/office/drawing/2014/main" id="{51AF1241-82AB-41A2-924C-24EF9D5F7EE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98240" y="4061257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14" name="Freeform: Shape 1013">
                      <a:extLst>
                        <a:ext uri="{FF2B5EF4-FFF2-40B4-BE49-F238E27FC236}">
                          <a16:creationId xmlns:a16="http://schemas.microsoft.com/office/drawing/2014/main" id="{E2ECABF6-524E-46FE-836D-DEDCFE80BA2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06103" y="4061257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15" name="Freeform: Shape 1014">
                      <a:extLst>
                        <a:ext uri="{FF2B5EF4-FFF2-40B4-BE49-F238E27FC236}">
                          <a16:creationId xmlns:a16="http://schemas.microsoft.com/office/drawing/2014/main" id="{B63E6DBA-1FEF-45BF-91CE-66E514AFDBD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74607" y="4061257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16" name="Freeform: Shape 1015">
                      <a:extLst>
                        <a:ext uri="{FF2B5EF4-FFF2-40B4-BE49-F238E27FC236}">
                          <a16:creationId xmlns:a16="http://schemas.microsoft.com/office/drawing/2014/main" id="{8D221BC3-3E3A-4D56-B509-03E094144B9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82469" y="4061257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17" name="Freeform: Shape 1016">
                      <a:extLst>
                        <a:ext uri="{FF2B5EF4-FFF2-40B4-BE49-F238E27FC236}">
                          <a16:creationId xmlns:a16="http://schemas.microsoft.com/office/drawing/2014/main" id="{AAC86B04-AED9-45BE-A5D3-D6BC7F2CB21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90355" y="4061257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18" name="Freeform: Shape 1017">
                      <a:extLst>
                        <a:ext uri="{FF2B5EF4-FFF2-40B4-BE49-F238E27FC236}">
                          <a16:creationId xmlns:a16="http://schemas.microsoft.com/office/drawing/2014/main" id="{4C2DC13B-A87D-48AD-85B8-EA48A72F82A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13989" y="4061257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19" name="Freeform: Shape 1018">
                      <a:extLst>
                        <a:ext uri="{FF2B5EF4-FFF2-40B4-BE49-F238E27FC236}">
                          <a16:creationId xmlns:a16="http://schemas.microsoft.com/office/drawing/2014/main" id="{AE4E4330-8F14-46EB-9C02-69D09F9696E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21851" y="4061257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20" name="Freeform: Shape 1019">
                      <a:extLst>
                        <a:ext uri="{FF2B5EF4-FFF2-40B4-BE49-F238E27FC236}">
                          <a16:creationId xmlns:a16="http://schemas.microsoft.com/office/drawing/2014/main" id="{F3BEECC1-4B0A-4227-9863-CD6011D22E0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29737" y="4061257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21" name="Freeform: Shape 1020">
                      <a:extLst>
                        <a:ext uri="{FF2B5EF4-FFF2-40B4-BE49-F238E27FC236}">
                          <a16:creationId xmlns:a16="http://schemas.microsoft.com/office/drawing/2014/main" id="{456EB61B-7212-4392-A0B4-38EAF88E782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37623" y="4061257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1022" name="Freeform: Shape 1021">
                      <a:extLst>
                        <a:ext uri="{FF2B5EF4-FFF2-40B4-BE49-F238E27FC236}">
                          <a16:creationId xmlns:a16="http://schemas.microsoft.com/office/drawing/2014/main" id="{82D8BA00-B8B6-466D-AEC3-4D97C346042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45485" y="4061257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904" name="Graphic 174">
                    <a:extLst>
                      <a:ext uri="{FF2B5EF4-FFF2-40B4-BE49-F238E27FC236}">
                        <a16:creationId xmlns:a16="http://schemas.microsoft.com/office/drawing/2014/main" id="{139F8774-925E-4A04-A96A-6F88E3324A6A}"/>
                      </a:ext>
                    </a:extLst>
                  </p:cNvPr>
                  <p:cNvGrpSpPr/>
                  <p:nvPr/>
                </p:nvGrpSpPr>
                <p:grpSpPr>
                  <a:xfrm>
                    <a:off x="6581446" y="4043648"/>
                    <a:ext cx="165158" cy="16283"/>
                    <a:chOff x="6581446" y="4043648"/>
                    <a:chExt cx="165158" cy="16283"/>
                  </a:xfrm>
                  <a:solidFill>
                    <a:schemeClr val="accent1"/>
                  </a:solidFill>
                </p:grpSpPr>
                <p:sp>
                  <p:nvSpPr>
                    <p:cNvPr id="977" name="Freeform: Shape 976">
                      <a:extLst>
                        <a:ext uri="{FF2B5EF4-FFF2-40B4-BE49-F238E27FC236}">
                          <a16:creationId xmlns:a16="http://schemas.microsoft.com/office/drawing/2014/main" id="{B5DF263A-CB33-4366-A7CF-0DB829A719F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81446" y="4043648"/>
                      <a:ext cx="165158" cy="16283"/>
                    </a:xfrm>
                    <a:custGeom>
                      <a:avLst/>
                      <a:gdLst>
                        <a:gd name="connsiteX0" fmla="*/ 164553 w 165158"/>
                        <a:gd name="connsiteY0" fmla="*/ 16911 h 16283"/>
                        <a:gd name="connsiteX1" fmla="*/ 1465 w 165158"/>
                        <a:gd name="connsiteY1" fmla="*/ 16911 h 16283"/>
                        <a:gd name="connsiteX2" fmla="*/ 0 w 165158"/>
                        <a:gd name="connsiteY2" fmla="*/ 15446 h 16283"/>
                        <a:gd name="connsiteX3" fmla="*/ 0 w 165158"/>
                        <a:gd name="connsiteY3" fmla="*/ 1465 h 16283"/>
                        <a:gd name="connsiteX4" fmla="*/ 1465 w 165158"/>
                        <a:gd name="connsiteY4" fmla="*/ 0 h 16283"/>
                        <a:gd name="connsiteX5" fmla="*/ 164553 w 165158"/>
                        <a:gd name="connsiteY5" fmla="*/ 0 h 16283"/>
                        <a:gd name="connsiteX6" fmla="*/ 166019 w 165158"/>
                        <a:gd name="connsiteY6" fmla="*/ 1465 h 16283"/>
                        <a:gd name="connsiteX7" fmla="*/ 166019 w 165158"/>
                        <a:gd name="connsiteY7" fmla="*/ 15446 h 16283"/>
                        <a:gd name="connsiteX8" fmla="*/ 164553 w 165158"/>
                        <a:gd name="connsiteY8" fmla="*/ 1691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165158" h="16283">
                          <a:moveTo>
                            <a:pt x="164553" y="16911"/>
                          </a:moveTo>
                          <a:lnTo>
                            <a:pt x="1465" y="16911"/>
                          </a:lnTo>
                          <a:cubicBezTo>
                            <a:pt x="651" y="16911"/>
                            <a:pt x="0" y="16260"/>
                            <a:pt x="0" y="15446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164553" y="0"/>
                          </a:lnTo>
                          <a:cubicBezTo>
                            <a:pt x="165368" y="0"/>
                            <a:pt x="166019" y="651"/>
                            <a:pt x="166019" y="1465"/>
                          </a:cubicBezTo>
                          <a:lnTo>
                            <a:pt x="166019" y="15446"/>
                          </a:lnTo>
                          <a:cubicBezTo>
                            <a:pt x="165996" y="16260"/>
                            <a:pt x="165344" y="16911"/>
                            <a:pt x="164553" y="16911"/>
                          </a:cubicBezTo>
                          <a:close/>
                        </a:path>
                      </a:pathLst>
                    </a:custGeom>
                    <a:solidFill>
                      <a:srgbClr val="F19439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78" name="Freeform: Shape 977">
                      <a:extLst>
                        <a:ext uri="{FF2B5EF4-FFF2-40B4-BE49-F238E27FC236}">
                          <a16:creationId xmlns:a16="http://schemas.microsoft.com/office/drawing/2014/main" id="{808C97E7-EC06-4EC9-8E7F-3B5E25EDD74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61233" y="4044345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79" name="Freeform: Shape 978">
                      <a:extLst>
                        <a:ext uri="{FF2B5EF4-FFF2-40B4-BE49-F238E27FC236}">
                          <a16:creationId xmlns:a16="http://schemas.microsoft.com/office/drawing/2014/main" id="{48DAB8D4-9B66-47C1-AF16-19403032B83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69119" y="4044345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80" name="Freeform: Shape 979">
                      <a:extLst>
                        <a:ext uri="{FF2B5EF4-FFF2-40B4-BE49-F238E27FC236}">
                          <a16:creationId xmlns:a16="http://schemas.microsoft.com/office/drawing/2014/main" id="{A23B768F-9761-4F70-9AA9-75EDE9CB435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76981" y="4044345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81" name="Freeform: Shape 980">
                      <a:extLst>
                        <a:ext uri="{FF2B5EF4-FFF2-40B4-BE49-F238E27FC236}">
                          <a16:creationId xmlns:a16="http://schemas.microsoft.com/office/drawing/2014/main" id="{2563AD99-7F38-4454-BC9C-A51E0547A2B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84867" y="4044345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82" name="Freeform: Shape 981">
                      <a:extLst>
                        <a:ext uri="{FF2B5EF4-FFF2-40B4-BE49-F238E27FC236}">
                          <a16:creationId xmlns:a16="http://schemas.microsoft.com/office/drawing/2014/main" id="{93F5882E-6A0F-47C0-83D8-223D9ED7891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92753" y="4044345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83" name="Freeform: Shape 982">
                      <a:extLst>
                        <a:ext uri="{FF2B5EF4-FFF2-40B4-BE49-F238E27FC236}">
                          <a16:creationId xmlns:a16="http://schemas.microsoft.com/office/drawing/2014/main" id="{5CD2CBE2-842C-4360-9624-E4AC0203FF5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00615" y="4044345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84" name="Freeform: Shape 983">
                      <a:extLst>
                        <a:ext uri="{FF2B5EF4-FFF2-40B4-BE49-F238E27FC236}">
                          <a16:creationId xmlns:a16="http://schemas.microsoft.com/office/drawing/2014/main" id="{74D36FCA-0E23-4585-9D65-6DCD2F5AAAF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08501" y="4044345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85" name="Freeform: Shape 984">
                      <a:extLst>
                        <a:ext uri="{FF2B5EF4-FFF2-40B4-BE49-F238E27FC236}">
                          <a16:creationId xmlns:a16="http://schemas.microsoft.com/office/drawing/2014/main" id="{D1AE1C57-2BF2-402B-BF23-78FA6410F58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16363" y="4044345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86" name="Freeform: Shape 985">
                      <a:extLst>
                        <a:ext uri="{FF2B5EF4-FFF2-40B4-BE49-F238E27FC236}">
                          <a16:creationId xmlns:a16="http://schemas.microsoft.com/office/drawing/2014/main" id="{884C7612-7127-4745-890C-51B7F8F2B1F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24249" y="4044345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87" name="Freeform: Shape 986">
                      <a:extLst>
                        <a:ext uri="{FF2B5EF4-FFF2-40B4-BE49-F238E27FC236}">
                          <a16:creationId xmlns:a16="http://schemas.microsoft.com/office/drawing/2014/main" id="{D1374177-6E6D-4656-AAE9-C79ED64C964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32135" y="4044345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88" name="Freeform: Shape 987">
                      <a:extLst>
                        <a:ext uri="{FF2B5EF4-FFF2-40B4-BE49-F238E27FC236}">
                          <a16:creationId xmlns:a16="http://schemas.microsoft.com/office/drawing/2014/main" id="{D4ABB016-9C77-4895-A8C7-C4F92F416E0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39997" y="4044345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89" name="Freeform: Shape 988">
                      <a:extLst>
                        <a:ext uri="{FF2B5EF4-FFF2-40B4-BE49-F238E27FC236}">
                          <a16:creationId xmlns:a16="http://schemas.microsoft.com/office/drawing/2014/main" id="{60BD8043-7A36-4D10-A0EB-95E66A271D4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98240" y="4044345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90" name="Freeform: Shape 989">
                      <a:extLst>
                        <a:ext uri="{FF2B5EF4-FFF2-40B4-BE49-F238E27FC236}">
                          <a16:creationId xmlns:a16="http://schemas.microsoft.com/office/drawing/2014/main" id="{9267054E-5A66-4806-A002-CD7F9520B3F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06103" y="4044345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91" name="Freeform: Shape 990">
                      <a:extLst>
                        <a:ext uri="{FF2B5EF4-FFF2-40B4-BE49-F238E27FC236}">
                          <a16:creationId xmlns:a16="http://schemas.microsoft.com/office/drawing/2014/main" id="{14D00FE1-274E-4082-9609-43783FA04D8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13989" y="4044345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92" name="Freeform: Shape 991">
                      <a:extLst>
                        <a:ext uri="{FF2B5EF4-FFF2-40B4-BE49-F238E27FC236}">
                          <a16:creationId xmlns:a16="http://schemas.microsoft.com/office/drawing/2014/main" id="{BFE18108-A7ED-4A6F-9EEC-A56C011A613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82469" y="4044345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93" name="Freeform: Shape 992">
                      <a:extLst>
                        <a:ext uri="{FF2B5EF4-FFF2-40B4-BE49-F238E27FC236}">
                          <a16:creationId xmlns:a16="http://schemas.microsoft.com/office/drawing/2014/main" id="{D5F9D5AA-C49E-4572-927A-60C1295A6DF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90355" y="4044345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94" name="Freeform: Shape 993">
                      <a:extLst>
                        <a:ext uri="{FF2B5EF4-FFF2-40B4-BE49-F238E27FC236}">
                          <a16:creationId xmlns:a16="http://schemas.microsoft.com/office/drawing/2014/main" id="{153F02AB-5E17-4E90-BA74-73F9AF5E7AC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98240" y="4044345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95" name="Freeform: Shape 994">
                      <a:extLst>
                        <a:ext uri="{FF2B5EF4-FFF2-40B4-BE49-F238E27FC236}">
                          <a16:creationId xmlns:a16="http://schemas.microsoft.com/office/drawing/2014/main" id="{881B2917-BD8D-498D-99D6-6F5B4963CD9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21851" y="4044345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96" name="Freeform: Shape 995">
                      <a:extLst>
                        <a:ext uri="{FF2B5EF4-FFF2-40B4-BE49-F238E27FC236}">
                          <a16:creationId xmlns:a16="http://schemas.microsoft.com/office/drawing/2014/main" id="{9A63F459-7248-40C3-A047-FAF1BD577AA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29737" y="4044345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97" name="Freeform: Shape 996">
                      <a:extLst>
                        <a:ext uri="{FF2B5EF4-FFF2-40B4-BE49-F238E27FC236}">
                          <a16:creationId xmlns:a16="http://schemas.microsoft.com/office/drawing/2014/main" id="{F9C0D2E7-F391-4658-A6FD-B765FC80043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37623" y="4044345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98" name="Freeform: Shape 997">
                      <a:extLst>
                        <a:ext uri="{FF2B5EF4-FFF2-40B4-BE49-F238E27FC236}">
                          <a16:creationId xmlns:a16="http://schemas.microsoft.com/office/drawing/2014/main" id="{BBA34DC1-3343-45DD-A563-3B403B6D85D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45485" y="4044345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99" name="Freeform: Shape 998">
                      <a:extLst>
                        <a:ext uri="{FF2B5EF4-FFF2-40B4-BE49-F238E27FC236}">
                          <a16:creationId xmlns:a16="http://schemas.microsoft.com/office/drawing/2014/main" id="{8C836913-059A-4B9F-9444-C1BE3A4FFB2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53371" y="4044345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905" name="Graphic 174">
                    <a:extLst>
                      <a:ext uri="{FF2B5EF4-FFF2-40B4-BE49-F238E27FC236}">
                        <a16:creationId xmlns:a16="http://schemas.microsoft.com/office/drawing/2014/main" id="{4279F1A0-84F6-427E-9F9F-19CCCDA2E0A3}"/>
                      </a:ext>
                    </a:extLst>
                  </p:cNvPr>
                  <p:cNvGrpSpPr/>
                  <p:nvPr/>
                </p:nvGrpSpPr>
                <p:grpSpPr>
                  <a:xfrm>
                    <a:off x="6573560" y="4026760"/>
                    <a:ext cx="165158" cy="16283"/>
                    <a:chOff x="6573560" y="4026760"/>
                    <a:chExt cx="165158" cy="16283"/>
                  </a:xfrm>
                  <a:solidFill>
                    <a:schemeClr val="accent1"/>
                  </a:solidFill>
                </p:grpSpPr>
                <p:sp>
                  <p:nvSpPr>
                    <p:cNvPr id="954" name="Freeform: Shape 953">
                      <a:extLst>
                        <a:ext uri="{FF2B5EF4-FFF2-40B4-BE49-F238E27FC236}">
                          <a16:creationId xmlns:a16="http://schemas.microsoft.com/office/drawing/2014/main" id="{6B6A6727-168C-4EDE-8D6D-D7B853647E4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73560" y="4026760"/>
                      <a:ext cx="165158" cy="16283"/>
                    </a:xfrm>
                    <a:custGeom>
                      <a:avLst/>
                      <a:gdLst>
                        <a:gd name="connsiteX0" fmla="*/ 164553 w 165158"/>
                        <a:gd name="connsiteY0" fmla="*/ 16911 h 16283"/>
                        <a:gd name="connsiteX1" fmla="*/ 1465 w 165158"/>
                        <a:gd name="connsiteY1" fmla="*/ 16911 h 16283"/>
                        <a:gd name="connsiteX2" fmla="*/ 0 w 165158"/>
                        <a:gd name="connsiteY2" fmla="*/ 15446 h 16283"/>
                        <a:gd name="connsiteX3" fmla="*/ 0 w 165158"/>
                        <a:gd name="connsiteY3" fmla="*/ 1465 h 16283"/>
                        <a:gd name="connsiteX4" fmla="*/ 1465 w 165158"/>
                        <a:gd name="connsiteY4" fmla="*/ 0 h 16283"/>
                        <a:gd name="connsiteX5" fmla="*/ 164553 w 165158"/>
                        <a:gd name="connsiteY5" fmla="*/ 0 h 16283"/>
                        <a:gd name="connsiteX6" fmla="*/ 166019 w 165158"/>
                        <a:gd name="connsiteY6" fmla="*/ 1465 h 16283"/>
                        <a:gd name="connsiteX7" fmla="*/ 166019 w 165158"/>
                        <a:gd name="connsiteY7" fmla="*/ 15446 h 16283"/>
                        <a:gd name="connsiteX8" fmla="*/ 164553 w 165158"/>
                        <a:gd name="connsiteY8" fmla="*/ 1691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165158" h="16283">
                          <a:moveTo>
                            <a:pt x="164553" y="16911"/>
                          </a:moveTo>
                          <a:lnTo>
                            <a:pt x="1465" y="16911"/>
                          </a:lnTo>
                          <a:cubicBezTo>
                            <a:pt x="651" y="16911"/>
                            <a:pt x="0" y="16260"/>
                            <a:pt x="0" y="15446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164553" y="0"/>
                          </a:lnTo>
                          <a:cubicBezTo>
                            <a:pt x="165367" y="0"/>
                            <a:pt x="166019" y="651"/>
                            <a:pt x="166019" y="1465"/>
                          </a:cubicBezTo>
                          <a:lnTo>
                            <a:pt x="166019" y="15446"/>
                          </a:lnTo>
                          <a:cubicBezTo>
                            <a:pt x="166019" y="16260"/>
                            <a:pt x="165367" y="16911"/>
                            <a:pt x="164553" y="16911"/>
                          </a:cubicBezTo>
                          <a:close/>
                        </a:path>
                      </a:pathLst>
                    </a:custGeom>
                    <a:solidFill>
                      <a:srgbClr val="F19439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55" name="Freeform: Shape 954">
                      <a:extLst>
                        <a:ext uri="{FF2B5EF4-FFF2-40B4-BE49-F238E27FC236}">
                          <a16:creationId xmlns:a16="http://schemas.microsoft.com/office/drawing/2014/main" id="{E5F0449C-760F-462F-80B2-0DF165D0199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53371" y="4027457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56" name="Freeform: Shape 955">
                      <a:extLst>
                        <a:ext uri="{FF2B5EF4-FFF2-40B4-BE49-F238E27FC236}">
                          <a16:creationId xmlns:a16="http://schemas.microsoft.com/office/drawing/2014/main" id="{C775E8BC-BA83-49EF-B118-BDC1AFD462B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61233" y="4027457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57" name="Freeform: Shape 956">
                      <a:extLst>
                        <a:ext uri="{FF2B5EF4-FFF2-40B4-BE49-F238E27FC236}">
                          <a16:creationId xmlns:a16="http://schemas.microsoft.com/office/drawing/2014/main" id="{28697F71-D782-4327-A9FA-963F8F67096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69119" y="4027457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58" name="Freeform: Shape 957">
                      <a:extLst>
                        <a:ext uri="{FF2B5EF4-FFF2-40B4-BE49-F238E27FC236}">
                          <a16:creationId xmlns:a16="http://schemas.microsoft.com/office/drawing/2014/main" id="{A2C2A64C-CF65-4BD1-9407-F67AE8F4AA9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76981" y="4027457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59" name="Freeform: Shape 958">
                      <a:extLst>
                        <a:ext uri="{FF2B5EF4-FFF2-40B4-BE49-F238E27FC236}">
                          <a16:creationId xmlns:a16="http://schemas.microsoft.com/office/drawing/2014/main" id="{78E63142-CDC0-48AD-811A-50F54DC7103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84867" y="4027457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60" name="Freeform: Shape 959">
                      <a:extLst>
                        <a:ext uri="{FF2B5EF4-FFF2-40B4-BE49-F238E27FC236}">
                          <a16:creationId xmlns:a16="http://schemas.microsoft.com/office/drawing/2014/main" id="{0153ED15-8FA9-493B-8296-8565F1DE474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92753" y="4027457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61" name="Freeform: Shape 960">
                      <a:extLst>
                        <a:ext uri="{FF2B5EF4-FFF2-40B4-BE49-F238E27FC236}">
                          <a16:creationId xmlns:a16="http://schemas.microsoft.com/office/drawing/2014/main" id="{47D05E2D-7A5E-411F-9F78-B1AA368630C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00615" y="4027457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62" name="Freeform: Shape 961">
                      <a:extLst>
                        <a:ext uri="{FF2B5EF4-FFF2-40B4-BE49-F238E27FC236}">
                          <a16:creationId xmlns:a16="http://schemas.microsoft.com/office/drawing/2014/main" id="{21F8B1B2-4368-4334-96F8-273F94D0601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08501" y="4027457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63" name="Freeform: Shape 962">
                      <a:extLst>
                        <a:ext uri="{FF2B5EF4-FFF2-40B4-BE49-F238E27FC236}">
                          <a16:creationId xmlns:a16="http://schemas.microsoft.com/office/drawing/2014/main" id="{9029C5C0-D49F-406E-AEF4-1EF52078A0D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16363" y="4027457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64" name="Freeform: Shape 963">
                      <a:extLst>
                        <a:ext uri="{FF2B5EF4-FFF2-40B4-BE49-F238E27FC236}">
                          <a16:creationId xmlns:a16="http://schemas.microsoft.com/office/drawing/2014/main" id="{CFDCBE4E-DF85-4998-9266-ECFE8DB524F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24249" y="4027457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65" name="Freeform: Shape 964">
                      <a:extLst>
                        <a:ext uri="{FF2B5EF4-FFF2-40B4-BE49-F238E27FC236}">
                          <a16:creationId xmlns:a16="http://schemas.microsoft.com/office/drawing/2014/main" id="{BC5823E1-BD2F-47DA-BCAC-A426897D98A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32135" y="4027457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66" name="Freeform: Shape 965">
                      <a:extLst>
                        <a:ext uri="{FF2B5EF4-FFF2-40B4-BE49-F238E27FC236}">
                          <a16:creationId xmlns:a16="http://schemas.microsoft.com/office/drawing/2014/main" id="{506347C0-FCAB-4E95-BF15-7CA07E3A304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90355" y="4027457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67" name="Freeform: Shape 966">
                      <a:extLst>
                        <a:ext uri="{FF2B5EF4-FFF2-40B4-BE49-F238E27FC236}">
                          <a16:creationId xmlns:a16="http://schemas.microsoft.com/office/drawing/2014/main" id="{A189ED09-B9F5-48C4-A475-F1B5F850341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98240" y="4027457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68" name="Freeform: Shape 967">
                      <a:extLst>
                        <a:ext uri="{FF2B5EF4-FFF2-40B4-BE49-F238E27FC236}">
                          <a16:creationId xmlns:a16="http://schemas.microsoft.com/office/drawing/2014/main" id="{80ACE54D-30A0-40CE-A6A0-B756322FF9D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06103" y="4027457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69" name="Freeform: Shape 968">
                      <a:extLst>
                        <a:ext uri="{FF2B5EF4-FFF2-40B4-BE49-F238E27FC236}">
                          <a16:creationId xmlns:a16="http://schemas.microsoft.com/office/drawing/2014/main" id="{B27AB345-E1BC-4373-A266-7BAD5485E23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74607" y="4027457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70" name="Freeform: Shape 969">
                      <a:extLst>
                        <a:ext uri="{FF2B5EF4-FFF2-40B4-BE49-F238E27FC236}">
                          <a16:creationId xmlns:a16="http://schemas.microsoft.com/office/drawing/2014/main" id="{7DCE0C29-336A-4591-99A5-BD267A186EB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82469" y="4027457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71" name="Freeform: Shape 970">
                      <a:extLst>
                        <a:ext uri="{FF2B5EF4-FFF2-40B4-BE49-F238E27FC236}">
                          <a16:creationId xmlns:a16="http://schemas.microsoft.com/office/drawing/2014/main" id="{3C58818A-59ED-4655-92B2-9EB78E2203A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90355" y="4027457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72" name="Freeform: Shape 971">
                      <a:extLst>
                        <a:ext uri="{FF2B5EF4-FFF2-40B4-BE49-F238E27FC236}">
                          <a16:creationId xmlns:a16="http://schemas.microsoft.com/office/drawing/2014/main" id="{AE1187BC-D128-4362-9FCF-9211B7E8557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13989" y="4027457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73" name="Freeform: Shape 972">
                      <a:extLst>
                        <a:ext uri="{FF2B5EF4-FFF2-40B4-BE49-F238E27FC236}">
                          <a16:creationId xmlns:a16="http://schemas.microsoft.com/office/drawing/2014/main" id="{98775889-0995-4266-AC5F-FC4A3676ACA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21851" y="4027457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74" name="Freeform: Shape 973">
                      <a:extLst>
                        <a:ext uri="{FF2B5EF4-FFF2-40B4-BE49-F238E27FC236}">
                          <a16:creationId xmlns:a16="http://schemas.microsoft.com/office/drawing/2014/main" id="{A1E8662C-46BF-42A7-A399-DB7A08949E1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29737" y="4027457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75" name="Freeform: Shape 974">
                      <a:extLst>
                        <a:ext uri="{FF2B5EF4-FFF2-40B4-BE49-F238E27FC236}">
                          <a16:creationId xmlns:a16="http://schemas.microsoft.com/office/drawing/2014/main" id="{B62C2C3F-95CB-422F-A823-FA1C5234860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37623" y="4027457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76" name="Freeform: Shape 975">
                      <a:extLst>
                        <a:ext uri="{FF2B5EF4-FFF2-40B4-BE49-F238E27FC236}">
                          <a16:creationId xmlns:a16="http://schemas.microsoft.com/office/drawing/2014/main" id="{C6D6C312-8013-4C5F-BF6F-4279BD9975E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45485" y="4027457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906" name="Graphic 174">
                    <a:extLst>
                      <a:ext uri="{FF2B5EF4-FFF2-40B4-BE49-F238E27FC236}">
                        <a16:creationId xmlns:a16="http://schemas.microsoft.com/office/drawing/2014/main" id="{43A3E39D-E1A3-4EEB-A2AF-68D4FF3E4CED}"/>
                      </a:ext>
                    </a:extLst>
                  </p:cNvPr>
                  <p:cNvGrpSpPr/>
                  <p:nvPr/>
                </p:nvGrpSpPr>
                <p:grpSpPr>
                  <a:xfrm>
                    <a:off x="6579166" y="4009732"/>
                    <a:ext cx="165158" cy="16283"/>
                    <a:chOff x="6579166" y="4009732"/>
                    <a:chExt cx="165158" cy="16283"/>
                  </a:xfrm>
                  <a:solidFill>
                    <a:schemeClr val="accent1"/>
                  </a:solidFill>
                </p:grpSpPr>
                <p:sp>
                  <p:nvSpPr>
                    <p:cNvPr id="931" name="Freeform: Shape 930">
                      <a:extLst>
                        <a:ext uri="{FF2B5EF4-FFF2-40B4-BE49-F238E27FC236}">
                          <a16:creationId xmlns:a16="http://schemas.microsoft.com/office/drawing/2014/main" id="{BB46F5E7-3433-4707-A507-718208ED6A7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79166" y="4009732"/>
                      <a:ext cx="165158" cy="16283"/>
                    </a:xfrm>
                    <a:custGeom>
                      <a:avLst/>
                      <a:gdLst>
                        <a:gd name="connsiteX0" fmla="*/ 164577 w 165158"/>
                        <a:gd name="connsiteY0" fmla="*/ 16911 h 16283"/>
                        <a:gd name="connsiteX1" fmla="*/ 1465 w 165158"/>
                        <a:gd name="connsiteY1" fmla="*/ 16911 h 16283"/>
                        <a:gd name="connsiteX2" fmla="*/ 0 w 165158"/>
                        <a:gd name="connsiteY2" fmla="*/ 15446 h 16283"/>
                        <a:gd name="connsiteX3" fmla="*/ 0 w 165158"/>
                        <a:gd name="connsiteY3" fmla="*/ 1465 h 16283"/>
                        <a:gd name="connsiteX4" fmla="*/ 1465 w 165158"/>
                        <a:gd name="connsiteY4" fmla="*/ 0 h 16283"/>
                        <a:gd name="connsiteX5" fmla="*/ 164553 w 165158"/>
                        <a:gd name="connsiteY5" fmla="*/ 0 h 16283"/>
                        <a:gd name="connsiteX6" fmla="*/ 166019 w 165158"/>
                        <a:gd name="connsiteY6" fmla="*/ 1465 h 16283"/>
                        <a:gd name="connsiteX7" fmla="*/ 166019 w 165158"/>
                        <a:gd name="connsiteY7" fmla="*/ 15446 h 16283"/>
                        <a:gd name="connsiteX8" fmla="*/ 164577 w 165158"/>
                        <a:gd name="connsiteY8" fmla="*/ 1691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165158" h="16283">
                          <a:moveTo>
                            <a:pt x="164577" y="16911"/>
                          </a:moveTo>
                          <a:lnTo>
                            <a:pt x="1465" y="16911"/>
                          </a:lnTo>
                          <a:cubicBezTo>
                            <a:pt x="651" y="16911"/>
                            <a:pt x="0" y="16260"/>
                            <a:pt x="0" y="15446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164553" y="0"/>
                          </a:lnTo>
                          <a:cubicBezTo>
                            <a:pt x="165367" y="0"/>
                            <a:pt x="166019" y="651"/>
                            <a:pt x="166019" y="1465"/>
                          </a:cubicBezTo>
                          <a:lnTo>
                            <a:pt x="166019" y="15446"/>
                          </a:lnTo>
                          <a:cubicBezTo>
                            <a:pt x="166019" y="16260"/>
                            <a:pt x="165367" y="16911"/>
                            <a:pt x="164577" y="16911"/>
                          </a:cubicBezTo>
                          <a:close/>
                        </a:path>
                      </a:pathLst>
                    </a:custGeom>
                    <a:solidFill>
                      <a:srgbClr val="F19439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32" name="Freeform: Shape 931">
                      <a:extLst>
                        <a:ext uri="{FF2B5EF4-FFF2-40B4-BE49-F238E27FC236}">
                          <a16:creationId xmlns:a16="http://schemas.microsoft.com/office/drawing/2014/main" id="{7263D3BF-7882-42CA-B45D-0065C32ED76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58977" y="4010430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33" name="Freeform: Shape 932">
                      <a:extLst>
                        <a:ext uri="{FF2B5EF4-FFF2-40B4-BE49-F238E27FC236}">
                          <a16:creationId xmlns:a16="http://schemas.microsoft.com/office/drawing/2014/main" id="{23805024-713F-44FD-8D98-D3616D68CB1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66862" y="4010430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34" name="Freeform: Shape 933">
                      <a:extLst>
                        <a:ext uri="{FF2B5EF4-FFF2-40B4-BE49-F238E27FC236}">
                          <a16:creationId xmlns:a16="http://schemas.microsoft.com/office/drawing/2014/main" id="{82E5E81A-AB3E-4342-821B-811B6DFCC0B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74725" y="4010430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35" name="Freeform: Shape 934">
                      <a:extLst>
                        <a:ext uri="{FF2B5EF4-FFF2-40B4-BE49-F238E27FC236}">
                          <a16:creationId xmlns:a16="http://schemas.microsoft.com/office/drawing/2014/main" id="{B379FBBC-CAC2-4E00-8C6F-D77102A97E4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82611" y="4010430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36" name="Freeform: Shape 935">
                      <a:extLst>
                        <a:ext uri="{FF2B5EF4-FFF2-40B4-BE49-F238E27FC236}">
                          <a16:creationId xmlns:a16="http://schemas.microsoft.com/office/drawing/2014/main" id="{4B6D0BD2-023E-4B52-B834-5A7531DADB4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90496" y="4010430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37" name="Freeform: Shape 936">
                      <a:extLst>
                        <a:ext uri="{FF2B5EF4-FFF2-40B4-BE49-F238E27FC236}">
                          <a16:creationId xmlns:a16="http://schemas.microsoft.com/office/drawing/2014/main" id="{9DABABDB-FB94-49FD-B46B-4E5044B9F3D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98359" y="4010430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38" name="Freeform: Shape 937">
                      <a:extLst>
                        <a:ext uri="{FF2B5EF4-FFF2-40B4-BE49-F238E27FC236}">
                          <a16:creationId xmlns:a16="http://schemas.microsoft.com/office/drawing/2014/main" id="{30D61B3E-AFE6-4B77-9CF0-FE364521A3F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06245" y="4010430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39" name="Freeform: Shape 938">
                      <a:extLst>
                        <a:ext uri="{FF2B5EF4-FFF2-40B4-BE49-F238E27FC236}">
                          <a16:creationId xmlns:a16="http://schemas.microsoft.com/office/drawing/2014/main" id="{9E41811B-A571-4E1E-9B67-0799D9BED12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14107" y="4010430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40" name="Freeform: Shape 939">
                      <a:extLst>
                        <a:ext uri="{FF2B5EF4-FFF2-40B4-BE49-F238E27FC236}">
                          <a16:creationId xmlns:a16="http://schemas.microsoft.com/office/drawing/2014/main" id="{1D96BA34-06DB-41FD-99F5-76256DC8AF8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21993" y="4010430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41" name="Freeform: Shape 940">
                      <a:extLst>
                        <a:ext uri="{FF2B5EF4-FFF2-40B4-BE49-F238E27FC236}">
                          <a16:creationId xmlns:a16="http://schemas.microsoft.com/office/drawing/2014/main" id="{F1345430-3E2E-4757-9570-219C0BA7F8F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29855" y="4010430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42" name="Freeform: Shape 941">
                      <a:extLst>
                        <a:ext uri="{FF2B5EF4-FFF2-40B4-BE49-F238E27FC236}">
                          <a16:creationId xmlns:a16="http://schemas.microsoft.com/office/drawing/2014/main" id="{EDC1C5FE-1B8B-4F69-BB16-848BF8FF5EE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37741" y="4010430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43" name="Freeform: Shape 942">
                      <a:extLst>
                        <a:ext uri="{FF2B5EF4-FFF2-40B4-BE49-F238E27FC236}">
                          <a16:creationId xmlns:a16="http://schemas.microsoft.com/office/drawing/2014/main" id="{5A7AC9D4-7A53-4E04-B044-01BE5AAE381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95984" y="4010430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44" name="Freeform: Shape 943">
                      <a:extLst>
                        <a:ext uri="{FF2B5EF4-FFF2-40B4-BE49-F238E27FC236}">
                          <a16:creationId xmlns:a16="http://schemas.microsoft.com/office/drawing/2014/main" id="{2F385E0B-705A-4EA3-956E-AF27E11E55D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03847" y="4010430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45" name="Freeform: Shape 944">
                      <a:extLst>
                        <a:ext uri="{FF2B5EF4-FFF2-40B4-BE49-F238E27FC236}">
                          <a16:creationId xmlns:a16="http://schemas.microsoft.com/office/drawing/2014/main" id="{69F523BD-234C-40AE-BC09-AD4752561EF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11732" y="4010430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46" name="Freeform: Shape 945">
                      <a:extLst>
                        <a:ext uri="{FF2B5EF4-FFF2-40B4-BE49-F238E27FC236}">
                          <a16:creationId xmlns:a16="http://schemas.microsoft.com/office/drawing/2014/main" id="{37FC59B6-28D8-4B46-86A1-122F7ED80AD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80213" y="4010430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47" name="Freeform: Shape 946">
                      <a:extLst>
                        <a:ext uri="{FF2B5EF4-FFF2-40B4-BE49-F238E27FC236}">
                          <a16:creationId xmlns:a16="http://schemas.microsoft.com/office/drawing/2014/main" id="{A6708C72-DC70-49DE-B779-5D756D48C03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88098" y="4010430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48" name="Freeform: Shape 947">
                      <a:extLst>
                        <a:ext uri="{FF2B5EF4-FFF2-40B4-BE49-F238E27FC236}">
                          <a16:creationId xmlns:a16="http://schemas.microsoft.com/office/drawing/2014/main" id="{55D27F5D-3EE4-4128-8624-29D1BC5AA63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95984" y="4010430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49" name="Freeform: Shape 948">
                      <a:extLst>
                        <a:ext uri="{FF2B5EF4-FFF2-40B4-BE49-F238E27FC236}">
                          <a16:creationId xmlns:a16="http://schemas.microsoft.com/office/drawing/2014/main" id="{2C1CAB77-7AA1-4D5B-B931-CAD34BA2FA8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19595" y="4010430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50" name="Freeform: Shape 949">
                      <a:extLst>
                        <a:ext uri="{FF2B5EF4-FFF2-40B4-BE49-F238E27FC236}">
                          <a16:creationId xmlns:a16="http://schemas.microsoft.com/office/drawing/2014/main" id="{229AF942-1EF9-44D7-B219-CDBED73B528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27480" y="4010430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51" name="Freeform: Shape 950">
                      <a:extLst>
                        <a:ext uri="{FF2B5EF4-FFF2-40B4-BE49-F238E27FC236}">
                          <a16:creationId xmlns:a16="http://schemas.microsoft.com/office/drawing/2014/main" id="{01F01AB5-F8CF-4E5A-97A2-CC5A825A9C3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35343" y="4010430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52" name="Freeform: Shape 951">
                      <a:extLst>
                        <a:ext uri="{FF2B5EF4-FFF2-40B4-BE49-F238E27FC236}">
                          <a16:creationId xmlns:a16="http://schemas.microsoft.com/office/drawing/2014/main" id="{61160B9B-CF8D-41CC-AB63-38ADA21B346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43229" y="4010430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53" name="Freeform: Shape 952">
                      <a:extLst>
                        <a:ext uri="{FF2B5EF4-FFF2-40B4-BE49-F238E27FC236}">
                          <a16:creationId xmlns:a16="http://schemas.microsoft.com/office/drawing/2014/main" id="{6D851088-C10B-41ED-8E43-55C83D121A9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51114" y="4010430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907" name="Graphic 174">
                    <a:extLst>
                      <a:ext uri="{FF2B5EF4-FFF2-40B4-BE49-F238E27FC236}">
                        <a16:creationId xmlns:a16="http://schemas.microsoft.com/office/drawing/2014/main" id="{1860474B-6B50-4916-94D4-B8B3732DD2AD}"/>
                      </a:ext>
                    </a:extLst>
                  </p:cNvPr>
                  <p:cNvGrpSpPr/>
                  <p:nvPr/>
                </p:nvGrpSpPr>
                <p:grpSpPr>
                  <a:xfrm>
                    <a:off x="6587052" y="3992821"/>
                    <a:ext cx="165158" cy="16283"/>
                    <a:chOff x="6587052" y="3992821"/>
                    <a:chExt cx="165158" cy="16283"/>
                  </a:xfrm>
                  <a:solidFill>
                    <a:schemeClr val="accent1"/>
                  </a:solidFill>
                </p:grpSpPr>
                <p:sp>
                  <p:nvSpPr>
                    <p:cNvPr id="908" name="Freeform: Shape 907">
                      <a:extLst>
                        <a:ext uri="{FF2B5EF4-FFF2-40B4-BE49-F238E27FC236}">
                          <a16:creationId xmlns:a16="http://schemas.microsoft.com/office/drawing/2014/main" id="{43F57474-051E-4F0C-8E31-23046B17E0A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87052" y="3992821"/>
                      <a:ext cx="165158" cy="16283"/>
                    </a:xfrm>
                    <a:custGeom>
                      <a:avLst/>
                      <a:gdLst>
                        <a:gd name="connsiteX0" fmla="*/ 164553 w 165158"/>
                        <a:gd name="connsiteY0" fmla="*/ 16911 h 16283"/>
                        <a:gd name="connsiteX1" fmla="*/ 1465 w 165158"/>
                        <a:gd name="connsiteY1" fmla="*/ 16911 h 16283"/>
                        <a:gd name="connsiteX2" fmla="*/ 0 w 165158"/>
                        <a:gd name="connsiteY2" fmla="*/ 15446 h 16283"/>
                        <a:gd name="connsiteX3" fmla="*/ 0 w 165158"/>
                        <a:gd name="connsiteY3" fmla="*/ 1465 h 16283"/>
                        <a:gd name="connsiteX4" fmla="*/ 1465 w 165158"/>
                        <a:gd name="connsiteY4" fmla="*/ 0 h 16283"/>
                        <a:gd name="connsiteX5" fmla="*/ 164553 w 165158"/>
                        <a:gd name="connsiteY5" fmla="*/ 0 h 16283"/>
                        <a:gd name="connsiteX6" fmla="*/ 166019 w 165158"/>
                        <a:gd name="connsiteY6" fmla="*/ 1465 h 16283"/>
                        <a:gd name="connsiteX7" fmla="*/ 166019 w 165158"/>
                        <a:gd name="connsiteY7" fmla="*/ 15446 h 16283"/>
                        <a:gd name="connsiteX8" fmla="*/ 164553 w 165158"/>
                        <a:gd name="connsiteY8" fmla="*/ 1691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165158" h="16283">
                          <a:moveTo>
                            <a:pt x="164553" y="16911"/>
                          </a:moveTo>
                          <a:lnTo>
                            <a:pt x="1465" y="16911"/>
                          </a:lnTo>
                          <a:cubicBezTo>
                            <a:pt x="651" y="16911"/>
                            <a:pt x="0" y="16260"/>
                            <a:pt x="0" y="15446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164553" y="0"/>
                          </a:lnTo>
                          <a:cubicBezTo>
                            <a:pt x="165367" y="0"/>
                            <a:pt x="166019" y="651"/>
                            <a:pt x="166019" y="1465"/>
                          </a:cubicBezTo>
                          <a:lnTo>
                            <a:pt x="166019" y="15446"/>
                          </a:lnTo>
                          <a:cubicBezTo>
                            <a:pt x="166019" y="16260"/>
                            <a:pt x="165367" y="16911"/>
                            <a:pt x="164553" y="16911"/>
                          </a:cubicBezTo>
                          <a:close/>
                        </a:path>
                      </a:pathLst>
                    </a:custGeom>
                    <a:solidFill>
                      <a:srgbClr val="F19439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09" name="Freeform: Shape 908">
                      <a:extLst>
                        <a:ext uri="{FF2B5EF4-FFF2-40B4-BE49-F238E27FC236}">
                          <a16:creationId xmlns:a16="http://schemas.microsoft.com/office/drawing/2014/main" id="{475DC109-BB7F-42A0-9CB7-9B669BEA2C7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66862" y="3993519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10" name="Freeform: Shape 909">
                      <a:extLst>
                        <a:ext uri="{FF2B5EF4-FFF2-40B4-BE49-F238E27FC236}">
                          <a16:creationId xmlns:a16="http://schemas.microsoft.com/office/drawing/2014/main" id="{41DE5124-3F7D-4966-82E7-39C3128AA9B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74725" y="3993519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11" name="Freeform: Shape 910">
                      <a:extLst>
                        <a:ext uri="{FF2B5EF4-FFF2-40B4-BE49-F238E27FC236}">
                          <a16:creationId xmlns:a16="http://schemas.microsoft.com/office/drawing/2014/main" id="{949D66FD-482A-4FA5-8EAA-2B423247571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82611" y="3993519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12" name="Freeform: Shape 911">
                      <a:extLst>
                        <a:ext uri="{FF2B5EF4-FFF2-40B4-BE49-F238E27FC236}">
                          <a16:creationId xmlns:a16="http://schemas.microsoft.com/office/drawing/2014/main" id="{2DE3BEB3-E885-4DCF-AA75-92AF24E35E0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90496" y="3993519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13" name="Freeform: Shape 912">
                      <a:extLst>
                        <a:ext uri="{FF2B5EF4-FFF2-40B4-BE49-F238E27FC236}">
                          <a16:creationId xmlns:a16="http://schemas.microsoft.com/office/drawing/2014/main" id="{57AE825C-FEB1-4192-9024-CF77F423C68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98359" y="3993519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14" name="Freeform: Shape 913">
                      <a:extLst>
                        <a:ext uri="{FF2B5EF4-FFF2-40B4-BE49-F238E27FC236}">
                          <a16:creationId xmlns:a16="http://schemas.microsoft.com/office/drawing/2014/main" id="{5ECC09D9-12E6-4C1F-8E39-99B0F2A9A18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06245" y="3993519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15" name="Freeform: Shape 914">
                      <a:extLst>
                        <a:ext uri="{FF2B5EF4-FFF2-40B4-BE49-F238E27FC236}">
                          <a16:creationId xmlns:a16="http://schemas.microsoft.com/office/drawing/2014/main" id="{0C0A1CBC-64EC-4593-97A0-F4BB3D2C4EC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14107" y="3993519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16" name="Freeform: Shape 915">
                      <a:extLst>
                        <a:ext uri="{FF2B5EF4-FFF2-40B4-BE49-F238E27FC236}">
                          <a16:creationId xmlns:a16="http://schemas.microsoft.com/office/drawing/2014/main" id="{D4CC9A01-7C18-46D9-A3C0-B9F53FADF98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21993" y="3993519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17" name="Freeform: Shape 916">
                      <a:extLst>
                        <a:ext uri="{FF2B5EF4-FFF2-40B4-BE49-F238E27FC236}">
                          <a16:creationId xmlns:a16="http://schemas.microsoft.com/office/drawing/2014/main" id="{6041A6AF-93AC-48D5-B949-3404D29BEE6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29855" y="3993519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18" name="Freeform: Shape 917">
                      <a:extLst>
                        <a:ext uri="{FF2B5EF4-FFF2-40B4-BE49-F238E27FC236}">
                          <a16:creationId xmlns:a16="http://schemas.microsoft.com/office/drawing/2014/main" id="{0BE00661-7B9F-458D-ACB5-FE814917A45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37741" y="3993519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19" name="Freeform: Shape 918">
                      <a:extLst>
                        <a:ext uri="{FF2B5EF4-FFF2-40B4-BE49-F238E27FC236}">
                          <a16:creationId xmlns:a16="http://schemas.microsoft.com/office/drawing/2014/main" id="{3A2D136A-4E67-4444-B180-6C621043174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45627" y="3993519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20" name="Freeform: Shape 919">
                      <a:extLst>
                        <a:ext uri="{FF2B5EF4-FFF2-40B4-BE49-F238E27FC236}">
                          <a16:creationId xmlns:a16="http://schemas.microsoft.com/office/drawing/2014/main" id="{8BFD52F1-00D5-45E7-9987-9642BE1D2B4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03847" y="3993519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21" name="Freeform: Shape 920">
                      <a:extLst>
                        <a:ext uri="{FF2B5EF4-FFF2-40B4-BE49-F238E27FC236}">
                          <a16:creationId xmlns:a16="http://schemas.microsoft.com/office/drawing/2014/main" id="{46B49F40-6BFE-4699-BD4B-3F6999E6305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11732" y="3993519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22" name="Freeform: Shape 921">
                      <a:extLst>
                        <a:ext uri="{FF2B5EF4-FFF2-40B4-BE49-F238E27FC236}">
                          <a16:creationId xmlns:a16="http://schemas.microsoft.com/office/drawing/2014/main" id="{064EB725-22BF-4529-A774-4F8131D9E1E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19595" y="3993519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23" name="Freeform: Shape 922">
                      <a:extLst>
                        <a:ext uri="{FF2B5EF4-FFF2-40B4-BE49-F238E27FC236}">
                          <a16:creationId xmlns:a16="http://schemas.microsoft.com/office/drawing/2014/main" id="{15E736B5-0132-453B-9312-D4804947407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88098" y="3993519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24" name="Freeform: Shape 923">
                      <a:extLst>
                        <a:ext uri="{FF2B5EF4-FFF2-40B4-BE49-F238E27FC236}">
                          <a16:creationId xmlns:a16="http://schemas.microsoft.com/office/drawing/2014/main" id="{21754010-F717-465F-9B7D-A544439C13A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95984" y="3993519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25" name="Freeform: Shape 924">
                      <a:extLst>
                        <a:ext uri="{FF2B5EF4-FFF2-40B4-BE49-F238E27FC236}">
                          <a16:creationId xmlns:a16="http://schemas.microsoft.com/office/drawing/2014/main" id="{BEC05F1E-6C5D-4C6C-9C70-EB17F26D2CF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03847" y="3993519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26" name="Freeform: Shape 925">
                      <a:extLst>
                        <a:ext uri="{FF2B5EF4-FFF2-40B4-BE49-F238E27FC236}">
                          <a16:creationId xmlns:a16="http://schemas.microsoft.com/office/drawing/2014/main" id="{08BB4F85-C1F1-4F89-B316-30D15FCB57C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27480" y="3993519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27" name="Freeform: Shape 926">
                      <a:extLst>
                        <a:ext uri="{FF2B5EF4-FFF2-40B4-BE49-F238E27FC236}">
                          <a16:creationId xmlns:a16="http://schemas.microsoft.com/office/drawing/2014/main" id="{8C3C82E5-BA82-4E82-8A8D-59B971D368B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35343" y="3993519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28" name="Freeform: Shape 927">
                      <a:extLst>
                        <a:ext uri="{FF2B5EF4-FFF2-40B4-BE49-F238E27FC236}">
                          <a16:creationId xmlns:a16="http://schemas.microsoft.com/office/drawing/2014/main" id="{FD9C4F04-98C0-4158-85EF-8A60C34A7BD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43229" y="3993519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29" name="Freeform: Shape 928">
                      <a:extLst>
                        <a:ext uri="{FF2B5EF4-FFF2-40B4-BE49-F238E27FC236}">
                          <a16:creationId xmlns:a16="http://schemas.microsoft.com/office/drawing/2014/main" id="{DE3E15F6-C3DD-4C5E-826F-C15ED4F3208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51114" y="3993519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930" name="Freeform: Shape 929">
                      <a:extLst>
                        <a:ext uri="{FF2B5EF4-FFF2-40B4-BE49-F238E27FC236}">
                          <a16:creationId xmlns:a16="http://schemas.microsoft.com/office/drawing/2014/main" id="{33C72B60-101A-4719-BE3E-9A37C11A4CF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58977" y="3993519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</p:grpSp>
            <p:grpSp>
              <p:nvGrpSpPr>
                <p:cNvPr id="632" name="Graphic 174">
                  <a:extLst>
                    <a:ext uri="{FF2B5EF4-FFF2-40B4-BE49-F238E27FC236}">
                      <a16:creationId xmlns:a16="http://schemas.microsoft.com/office/drawing/2014/main" id="{26FACD5C-7A02-423D-8D75-EC376422FD42}"/>
                    </a:ext>
                  </a:extLst>
                </p:cNvPr>
                <p:cNvGrpSpPr/>
                <p:nvPr/>
              </p:nvGrpSpPr>
              <p:grpSpPr>
                <a:xfrm>
                  <a:off x="6592076" y="3806820"/>
                  <a:ext cx="178673" cy="185396"/>
                  <a:chOff x="6592076" y="3806820"/>
                  <a:chExt cx="178673" cy="185396"/>
                </a:xfrm>
                <a:solidFill>
                  <a:schemeClr val="accent1"/>
                </a:solidFill>
              </p:grpSpPr>
              <p:grpSp>
                <p:nvGrpSpPr>
                  <p:cNvPr id="633" name="Graphic 174">
                    <a:extLst>
                      <a:ext uri="{FF2B5EF4-FFF2-40B4-BE49-F238E27FC236}">
                        <a16:creationId xmlns:a16="http://schemas.microsoft.com/office/drawing/2014/main" id="{46E5C91C-56C4-4106-8FA0-D5EC816E9D1A}"/>
                      </a:ext>
                    </a:extLst>
                  </p:cNvPr>
                  <p:cNvGrpSpPr/>
                  <p:nvPr/>
                </p:nvGrpSpPr>
                <p:grpSpPr>
                  <a:xfrm>
                    <a:off x="6595286" y="3975933"/>
                    <a:ext cx="165158" cy="16283"/>
                    <a:chOff x="6595286" y="3975933"/>
                    <a:chExt cx="165158" cy="16283"/>
                  </a:xfrm>
                  <a:solidFill>
                    <a:schemeClr val="accent1"/>
                  </a:solidFill>
                </p:grpSpPr>
                <p:sp>
                  <p:nvSpPr>
                    <p:cNvPr id="874" name="Freeform: Shape 873">
                      <a:extLst>
                        <a:ext uri="{FF2B5EF4-FFF2-40B4-BE49-F238E27FC236}">
                          <a16:creationId xmlns:a16="http://schemas.microsoft.com/office/drawing/2014/main" id="{F9BC04C2-24E8-4B79-AAC5-B883DB4B352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95286" y="3975933"/>
                      <a:ext cx="165158" cy="16283"/>
                    </a:xfrm>
                    <a:custGeom>
                      <a:avLst/>
                      <a:gdLst>
                        <a:gd name="connsiteX0" fmla="*/ 164553 w 165158"/>
                        <a:gd name="connsiteY0" fmla="*/ 16911 h 16283"/>
                        <a:gd name="connsiteX1" fmla="*/ 1465 w 165158"/>
                        <a:gd name="connsiteY1" fmla="*/ 16911 h 16283"/>
                        <a:gd name="connsiteX2" fmla="*/ 0 w 165158"/>
                        <a:gd name="connsiteY2" fmla="*/ 15446 h 16283"/>
                        <a:gd name="connsiteX3" fmla="*/ 0 w 165158"/>
                        <a:gd name="connsiteY3" fmla="*/ 1465 h 16283"/>
                        <a:gd name="connsiteX4" fmla="*/ 1465 w 165158"/>
                        <a:gd name="connsiteY4" fmla="*/ 0 h 16283"/>
                        <a:gd name="connsiteX5" fmla="*/ 164553 w 165158"/>
                        <a:gd name="connsiteY5" fmla="*/ 0 h 16283"/>
                        <a:gd name="connsiteX6" fmla="*/ 166019 w 165158"/>
                        <a:gd name="connsiteY6" fmla="*/ 1465 h 16283"/>
                        <a:gd name="connsiteX7" fmla="*/ 166019 w 165158"/>
                        <a:gd name="connsiteY7" fmla="*/ 15446 h 16283"/>
                        <a:gd name="connsiteX8" fmla="*/ 164553 w 165158"/>
                        <a:gd name="connsiteY8" fmla="*/ 1691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165158" h="16283">
                          <a:moveTo>
                            <a:pt x="164553" y="16911"/>
                          </a:moveTo>
                          <a:lnTo>
                            <a:pt x="1465" y="16911"/>
                          </a:lnTo>
                          <a:cubicBezTo>
                            <a:pt x="651" y="16911"/>
                            <a:pt x="0" y="16260"/>
                            <a:pt x="0" y="15446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164553" y="0"/>
                          </a:lnTo>
                          <a:cubicBezTo>
                            <a:pt x="165367" y="0"/>
                            <a:pt x="166019" y="651"/>
                            <a:pt x="166019" y="1465"/>
                          </a:cubicBezTo>
                          <a:lnTo>
                            <a:pt x="166019" y="15446"/>
                          </a:lnTo>
                          <a:cubicBezTo>
                            <a:pt x="166019" y="16260"/>
                            <a:pt x="165367" y="16911"/>
                            <a:pt x="164553" y="16911"/>
                          </a:cubicBezTo>
                          <a:close/>
                        </a:path>
                      </a:pathLst>
                    </a:custGeom>
                    <a:solidFill>
                      <a:srgbClr val="F19439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75" name="Freeform: Shape 874">
                      <a:extLst>
                        <a:ext uri="{FF2B5EF4-FFF2-40B4-BE49-F238E27FC236}">
                          <a16:creationId xmlns:a16="http://schemas.microsoft.com/office/drawing/2014/main" id="{DB9BCA7A-C82D-4999-A320-951A53CE044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75097" y="3976631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76" name="Freeform: Shape 875">
                      <a:extLst>
                        <a:ext uri="{FF2B5EF4-FFF2-40B4-BE49-F238E27FC236}">
                          <a16:creationId xmlns:a16="http://schemas.microsoft.com/office/drawing/2014/main" id="{4CCD1C2C-DAF0-4703-B2D2-9EF93DF64E8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82960" y="3976631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77" name="Freeform: Shape 876">
                      <a:extLst>
                        <a:ext uri="{FF2B5EF4-FFF2-40B4-BE49-F238E27FC236}">
                          <a16:creationId xmlns:a16="http://schemas.microsoft.com/office/drawing/2014/main" id="{C5F8F583-3DD9-4B9E-9579-47C70E37DC4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90845" y="3976631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78" name="Freeform: Shape 877">
                      <a:extLst>
                        <a:ext uri="{FF2B5EF4-FFF2-40B4-BE49-F238E27FC236}">
                          <a16:creationId xmlns:a16="http://schemas.microsoft.com/office/drawing/2014/main" id="{7C5834EF-31DD-44D1-9B8F-E78D768BE34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98708" y="3976631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79" name="Freeform: Shape 878">
                      <a:extLst>
                        <a:ext uri="{FF2B5EF4-FFF2-40B4-BE49-F238E27FC236}">
                          <a16:creationId xmlns:a16="http://schemas.microsoft.com/office/drawing/2014/main" id="{8ADD7626-C4D3-4001-A146-CDD92B02EC2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06594" y="3976631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80" name="Freeform: Shape 879">
                      <a:extLst>
                        <a:ext uri="{FF2B5EF4-FFF2-40B4-BE49-F238E27FC236}">
                          <a16:creationId xmlns:a16="http://schemas.microsoft.com/office/drawing/2014/main" id="{F0FB210F-F636-4151-AAAD-E661B85178A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14479" y="3976631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81" name="Freeform: Shape 880">
                      <a:extLst>
                        <a:ext uri="{FF2B5EF4-FFF2-40B4-BE49-F238E27FC236}">
                          <a16:creationId xmlns:a16="http://schemas.microsoft.com/office/drawing/2014/main" id="{0E6588BA-0E8B-44B1-8F75-C54446A3A1D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22342" y="3976631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82" name="Freeform: Shape 881">
                      <a:extLst>
                        <a:ext uri="{FF2B5EF4-FFF2-40B4-BE49-F238E27FC236}">
                          <a16:creationId xmlns:a16="http://schemas.microsoft.com/office/drawing/2014/main" id="{82F36E0E-96D3-45AB-A90E-F5289FCA049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30227" y="3976631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83" name="Freeform: Shape 882">
                      <a:extLst>
                        <a:ext uri="{FF2B5EF4-FFF2-40B4-BE49-F238E27FC236}">
                          <a16:creationId xmlns:a16="http://schemas.microsoft.com/office/drawing/2014/main" id="{725BB4B4-8641-4DE5-8F7C-DA85299A59B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38090" y="3976631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84" name="Freeform: Shape 883">
                      <a:extLst>
                        <a:ext uri="{FF2B5EF4-FFF2-40B4-BE49-F238E27FC236}">
                          <a16:creationId xmlns:a16="http://schemas.microsoft.com/office/drawing/2014/main" id="{26D37952-0B67-4159-A173-E9AF0229676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45976" y="3976631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85" name="Freeform: Shape 884">
                      <a:extLst>
                        <a:ext uri="{FF2B5EF4-FFF2-40B4-BE49-F238E27FC236}">
                          <a16:creationId xmlns:a16="http://schemas.microsoft.com/office/drawing/2014/main" id="{5DBCD966-ECC2-429C-93A9-FE321CD66D5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53838" y="3976631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86" name="Freeform: Shape 885">
                      <a:extLst>
                        <a:ext uri="{FF2B5EF4-FFF2-40B4-BE49-F238E27FC236}">
                          <a16:creationId xmlns:a16="http://schemas.microsoft.com/office/drawing/2014/main" id="{B878ADFA-A5AB-4DB6-B34A-D5F883FCB29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12081" y="3976631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87" name="Freeform: Shape 886">
                      <a:extLst>
                        <a:ext uri="{FF2B5EF4-FFF2-40B4-BE49-F238E27FC236}">
                          <a16:creationId xmlns:a16="http://schemas.microsoft.com/office/drawing/2014/main" id="{8A2004FF-7E93-4B8F-BE77-41A340418C2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19967" y="3976631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88" name="Freeform: Shape 887">
                      <a:extLst>
                        <a:ext uri="{FF2B5EF4-FFF2-40B4-BE49-F238E27FC236}">
                          <a16:creationId xmlns:a16="http://schemas.microsoft.com/office/drawing/2014/main" id="{77EEF536-2E86-4D98-B01B-906CCEEA5C1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27829" y="3976631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89" name="Freeform: Shape 888">
                      <a:extLst>
                        <a:ext uri="{FF2B5EF4-FFF2-40B4-BE49-F238E27FC236}">
                          <a16:creationId xmlns:a16="http://schemas.microsoft.com/office/drawing/2014/main" id="{3964CAB4-91BC-4615-8871-99939D8E630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96333" y="3976631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90" name="Freeform: Shape 889">
                      <a:extLst>
                        <a:ext uri="{FF2B5EF4-FFF2-40B4-BE49-F238E27FC236}">
                          <a16:creationId xmlns:a16="http://schemas.microsoft.com/office/drawing/2014/main" id="{BE320A25-AB26-4A2D-843D-AA2F678EDFD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04195" y="3976631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91" name="Freeform: Shape 890">
                      <a:extLst>
                        <a:ext uri="{FF2B5EF4-FFF2-40B4-BE49-F238E27FC236}">
                          <a16:creationId xmlns:a16="http://schemas.microsoft.com/office/drawing/2014/main" id="{0130FE14-ECE2-497B-9BE8-00D8EBBCC9F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12081" y="3976631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92" name="Freeform: Shape 891">
                      <a:extLst>
                        <a:ext uri="{FF2B5EF4-FFF2-40B4-BE49-F238E27FC236}">
                          <a16:creationId xmlns:a16="http://schemas.microsoft.com/office/drawing/2014/main" id="{EDC133DC-45AA-46B5-9E0F-4E727BE0746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35692" y="3976631"/>
                      <a:ext cx="4652" cy="13957"/>
                    </a:xfrm>
                    <a:custGeom>
                      <a:avLst/>
                      <a:gdLst>
                        <a:gd name="connsiteX0" fmla="*/ 4978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78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78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78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93" name="Freeform: Shape 892">
                      <a:extLst>
                        <a:ext uri="{FF2B5EF4-FFF2-40B4-BE49-F238E27FC236}">
                          <a16:creationId xmlns:a16="http://schemas.microsoft.com/office/drawing/2014/main" id="{786A4F73-7BBD-4E8A-8DE6-F1657D36A5E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43578" y="3976631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94" name="Freeform: Shape 893">
                      <a:extLst>
                        <a:ext uri="{FF2B5EF4-FFF2-40B4-BE49-F238E27FC236}">
                          <a16:creationId xmlns:a16="http://schemas.microsoft.com/office/drawing/2014/main" id="{0224BD6B-F238-4F60-ADA2-9BC7833CD5D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51463" y="3976631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95" name="Freeform: Shape 894">
                      <a:extLst>
                        <a:ext uri="{FF2B5EF4-FFF2-40B4-BE49-F238E27FC236}">
                          <a16:creationId xmlns:a16="http://schemas.microsoft.com/office/drawing/2014/main" id="{CA3868BF-B1C1-4956-A6F4-1EDAFE4C546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59326" y="3976631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96" name="Freeform: Shape 895">
                      <a:extLst>
                        <a:ext uri="{FF2B5EF4-FFF2-40B4-BE49-F238E27FC236}">
                          <a16:creationId xmlns:a16="http://schemas.microsoft.com/office/drawing/2014/main" id="{6FB7CCAE-4689-4FAD-8C3D-AB6DEFA67A7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67211" y="3976631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634" name="Graphic 174">
                    <a:extLst>
                      <a:ext uri="{FF2B5EF4-FFF2-40B4-BE49-F238E27FC236}">
                        <a16:creationId xmlns:a16="http://schemas.microsoft.com/office/drawing/2014/main" id="{657AFEC2-ABB6-4402-98B8-EF63864699F8}"/>
                      </a:ext>
                    </a:extLst>
                  </p:cNvPr>
                  <p:cNvGrpSpPr/>
                  <p:nvPr/>
                </p:nvGrpSpPr>
                <p:grpSpPr>
                  <a:xfrm>
                    <a:off x="6599962" y="3959021"/>
                    <a:ext cx="165158" cy="16283"/>
                    <a:chOff x="6599962" y="3959021"/>
                    <a:chExt cx="165158" cy="16283"/>
                  </a:xfrm>
                  <a:solidFill>
                    <a:schemeClr val="accent1"/>
                  </a:solidFill>
                </p:grpSpPr>
                <p:sp>
                  <p:nvSpPr>
                    <p:cNvPr id="851" name="Freeform: Shape 850">
                      <a:extLst>
                        <a:ext uri="{FF2B5EF4-FFF2-40B4-BE49-F238E27FC236}">
                          <a16:creationId xmlns:a16="http://schemas.microsoft.com/office/drawing/2014/main" id="{A4B0572C-D12C-45AA-ABDA-2F4BDFE5C5C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99962" y="3959021"/>
                      <a:ext cx="165158" cy="16283"/>
                    </a:xfrm>
                    <a:custGeom>
                      <a:avLst/>
                      <a:gdLst>
                        <a:gd name="connsiteX0" fmla="*/ 164553 w 165158"/>
                        <a:gd name="connsiteY0" fmla="*/ 16911 h 16283"/>
                        <a:gd name="connsiteX1" fmla="*/ 1465 w 165158"/>
                        <a:gd name="connsiteY1" fmla="*/ 16911 h 16283"/>
                        <a:gd name="connsiteX2" fmla="*/ 0 w 165158"/>
                        <a:gd name="connsiteY2" fmla="*/ 15446 h 16283"/>
                        <a:gd name="connsiteX3" fmla="*/ 0 w 165158"/>
                        <a:gd name="connsiteY3" fmla="*/ 1465 h 16283"/>
                        <a:gd name="connsiteX4" fmla="*/ 1465 w 165158"/>
                        <a:gd name="connsiteY4" fmla="*/ 0 h 16283"/>
                        <a:gd name="connsiteX5" fmla="*/ 164553 w 165158"/>
                        <a:gd name="connsiteY5" fmla="*/ 0 h 16283"/>
                        <a:gd name="connsiteX6" fmla="*/ 166019 w 165158"/>
                        <a:gd name="connsiteY6" fmla="*/ 1465 h 16283"/>
                        <a:gd name="connsiteX7" fmla="*/ 166019 w 165158"/>
                        <a:gd name="connsiteY7" fmla="*/ 15446 h 16283"/>
                        <a:gd name="connsiteX8" fmla="*/ 164553 w 165158"/>
                        <a:gd name="connsiteY8" fmla="*/ 1691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165158" h="16283">
                          <a:moveTo>
                            <a:pt x="164553" y="16911"/>
                          </a:moveTo>
                          <a:lnTo>
                            <a:pt x="1465" y="16911"/>
                          </a:lnTo>
                          <a:cubicBezTo>
                            <a:pt x="651" y="16911"/>
                            <a:pt x="0" y="16260"/>
                            <a:pt x="0" y="15446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164553" y="0"/>
                          </a:lnTo>
                          <a:cubicBezTo>
                            <a:pt x="165367" y="0"/>
                            <a:pt x="166019" y="651"/>
                            <a:pt x="166019" y="1465"/>
                          </a:cubicBezTo>
                          <a:lnTo>
                            <a:pt x="166019" y="15446"/>
                          </a:lnTo>
                          <a:cubicBezTo>
                            <a:pt x="166019" y="16260"/>
                            <a:pt x="165367" y="16911"/>
                            <a:pt x="164553" y="16911"/>
                          </a:cubicBezTo>
                          <a:close/>
                        </a:path>
                      </a:pathLst>
                    </a:custGeom>
                    <a:solidFill>
                      <a:srgbClr val="F19439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52" name="Freeform: Shape 851">
                      <a:extLst>
                        <a:ext uri="{FF2B5EF4-FFF2-40B4-BE49-F238E27FC236}">
                          <a16:creationId xmlns:a16="http://schemas.microsoft.com/office/drawing/2014/main" id="{9ECFF5FD-EFB7-4244-8C1D-345450F5615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79773" y="3959719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53" name="Freeform: Shape 852">
                      <a:extLst>
                        <a:ext uri="{FF2B5EF4-FFF2-40B4-BE49-F238E27FC236}">
                          <a16:creationId xmlns:a16="http://schemas.microsoft.com/office/drawing/2014/main" id="{07276B9E-C675-409F-A40B-B2BE3DC256F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87635" y="3959719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54" name="Freeform: Shape 853">
                      <a:extLst>
                        <a:ext uri="{FF2B5EF4-FFF2-40B4-BE49-F238E27FC236}">
                          <a16:creationId xmlns:a16="http://schemas.microsoft.com/office/drawing/2014/main" id="{5ED2F82E-5257-43AF-A92B-1065266295D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95521" y="3959719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55" name="Freeform: Shape 854">
                      <a:extLst>
                        <a:ext uri="{FF2B5EF4-FFF2-40B4-BE49-F238E27FC236}">
                          <a16:creationId xmlns:a16="http://schemas.microsoft.com/office/drawing/2014/main" id="{50087BBC-ECDA-4B47-B839-E616408B474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03383" y="3959719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56" name="Freeform: Shape 855">
                      <a:extLst>
                        <a:ext uri="{FF2B5EF4-FFF2-40B4-BE49-F238E27FC236}">
                          <a16:creationId xmlns:a16="http://schemas.microsoft.com/office/drawing/2014/main" id="{4DACB96F-E66E-4841-B66D-1CF138618C6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11269" y="3959719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57" name="Freeform: Shape 856">
                      <a:extLst>
                        <a:ext uri="{FF2B5EF4-FFF2-40B4-BE49-F238E27FC236}">
                          <a16:creationId xmlns:a16="http://schemas.microsoft.com/office/drawing/2014/main" id="{410C5972-2C80-4586-AA41-DD2D3DA9552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19132" y="3959719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58" name="Freeform: Shape 857">
                      <a:extLst>
                        <a:ext uri="{FF2B5EF4-FFF2-40B4-BE49-F238E27FC236}">
                          <a16:creationId xmlns:a16="http://schemas.microsoft.com/office/drawing/2014/main" id="{3D81845D-E826-4585-A9F5-A1DCDA6F995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27017" y="3959719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59" name="Freeform: Shape 858">
                      <a:extLst>
                        <a:ext uri="{FF2B5EF4-FFF2-40B4-BE49-F238E27FC236}">
                          <a16:creationId xmlns:a16="http://schemas.microsoft.com/office/drawing/2014/main" id="{BF56627F-852C-45A5-8098-1AF83E2CEFC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34903" y="3959719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60" name="Freeform: Shape 859">
                      <a:extLst>
                        <a:ext uri="{FF2B5EF4-FFF2-40B4-BE49-F238E27FC236}">
                          <a16:creationId xmlns:a16="http://schemas.microsoft.com/office/drawing/2014/main" id="{ED5BBAE7-78E8-4AC3-80C0-D2A18726174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42765" y="3959719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61" name="Freeform: Shape 860">
                      <a:extLst>
                        <a:ext uri="{FF2B5EF4-FFF2-40B4-BE49-F238E27FC236}">
                          <a16:creationId xmlns:a16="http://schemas.microsoft.com/office/drawing/2014/main" id="{214E69F4-2569-4035-9303-0ECEE3358C4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50651" y="3959719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62" name="Freeform: Shape 861">
                      <a:extLst>
                        <a:ext uri="{FF2B5EF4-FFF2-40B4-BE49-F238E27FC236}">
                          <a16:creationId xmlns:a16="http://schemas.microsoft.com/office/drawing/2014/main" id="{BE8BBA2E-A377-41B9-9C92-6474EBBB63E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58514" y="3959719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63" name="Freeform: Shape 862">
                      <a:extLst>
                        <a:ext uri="{FF2B5EF4-FFF2-40B4-BE49-F238E27FC236}">
                          <a16:creationId xmlns:a16="http://schemas.microsoft.com/office/drawing/2014/main" id="{9C26FBDD-4D68-459E-A913-FF7EDE6ACB5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16757" y="3959719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64" name="Freeform: Shape 863">
                      <a:extLst>
                        <a:ext uri="{FF2B5EF4-FFF2-40B4-BE49-F238E27FC236}">
                          <a16:creationId xmlns:a16="http://schemas.microsoft.com/office/drawing/2014/main" id="{F7729B9B-A5BE-4753-95C4-332407B28A7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24619" y="3959719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65" name="Freeform: Shape 864">
                      <a:extLst>
                        <a:ext uri="{FF2B5EF4-FFF2-40B4-BE49-F238E27FC236}">
                          <a16:creationId xmlns:a16="http://schemas.microsoft.com/office/drawing/2014/main" id="{F0479726-F4FA-4A41-B921-BA7B700B272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32505" y="3959719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66" name="Freeform: Shape 865">
                      <a:extLst>
                        <a:ext uri="{FF2B5EF4-FFF2-40B4-BE49-F238E27FC236}">
                          <a16:creationId xmlns:a16="http://schemas.microsoft.com/office/drawing/2014/main" id="{41F5F234-E3CA-4BA1-BF13-709E2A90495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01009" y="3959719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67" name="Freeform: Shape 866">
                      <a:extLst>
                        <a:ext uri="{FF2B5EF4-FFF2-40B4-BE49-F238E27FC236}">
                          <a16:creationId xmlns:a16="http://schemas.microsoft.com/office/drawing/2014/main" id="{96F452F4-B411-43B2-B496-82636564704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08871" y="3959719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68" name="Freeform: Shape 867">
                      <a:extLst>
                        <a:ext uri="{FF2B5EF4-FFF2-40B4-BE49-F238E27FC236}">
                          <a16:creationId xmlns:a16="http://schemas.microsoft.com/office/drawing/2014/main" id="{BB6A5217-F048-4069-9D74-4DC187D0518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16757" y="3959719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69" name="Freeform: Shape 868">
                      <a:extLst>
                        <a:ext uri="{FF2B5EF4-FFF2-40B4-BE49-F238E27FC236}">
                          <a16:creationId xmlns:a16="http://schemas.microsoft.com/office/drawing/2014/main" id="{003B384E-064B-4B63-9BF5-76489405F16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40391" y="3959719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70" name="Freeform: Shape 869">
                      <a:extLst>
                        <a:ext uri="{FF2B5EF4-FFF2-40B4-BE49-F238E27FC236}">
                          <a16:creationId xmlns:a16="http://schemas.microsoft.com/office/drawing/2014/main" id="{1687199D-0104-4125-95C3-B087DAE7B1D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48253" y="3959719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71" name="Freeform: Shape 870">
                      <a:extLst>
                        <a:ext uri="{FF2B5EF4-FFF2-40B4-BE49-F238E27FC236}">
                          <a16:creationId xmlns:a16="http://schemas.microsoft.com/office/drawing/2014/main" id="{2C182BFC-BDB4-4648-A4D5-32809EACC45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56139" y="3959719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72" name="Freeform: Shape 871">
                      <a:extLst>
                        <a:ext uri="{FF2B5EF4-FFF2-40B4-BE49-F238E27FC236}">
                          <a16:creationId xmlns:a16="http://schemas.microsoft.com/office/drawing/2014/main" id="{698BF4CA-6984-430E-AE7D-12F2C8D03B2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64001" y="3959719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73" name="Freeform: Shape 872">
                      <a:extLst>
                        <a:ext uri="{FF2B5EF4-FFF2-40B4-BE49-F238E27FC236}">
                          <a16:creationId xmlns:a16="http://schemas.microsoft.com/office/drawing/2014/main" id="{C1F00FF4-02C6-4BEE-BD42-24246A69E70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71887" y="3959719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635" name="Graphic 174">
                    <a:extLst>
                      <a:ext uri="{FF2B5EF4-FFF2-40B4-BE49-F238E27FC236}">
                        <a16:creationId xmlns:a16="http://schemas.microsoft.com/office/drawing/2014/main" id="{D42830D9-A286-4A80-B8E0-9FF2C2B3FDCA}"/>
                      </a:ext>
                    </a:extLst>
                  </p:cNvPr>
                  <p:cNvGrpSpPr/>
                  <p:nvPr/>
                </p:nvGrpSpPr>
                <p:grpSpPr>
                  <a:xfrm>
                    <a:off x="6599962" y="3925245"/>
                    <a:ext cx="165158" cy="16283"/>
                    <a:chOff x="6599962" y="3925245"/>
                    <a:chExt cx="165158" cy="16283"/>
                  </a:xfrm>
                  <a:solidFill>
                    <a:schemeClr val="accent1"/>
                  </a:solidFill>
                </p:grpSpPr>
                <p:sp>
                  <p:nvSpPr>
                    <p:cNvPr id="828" name="Freeform: Shape 827">
                      <a:extLst>
                        <a:ext uri="{FF2B5EF4-FFF2-40B4-BE49-F238E27FC236}">
                          <a16:creationId xmlns:a16="http://schemas.microsoft.com/office/drawing/2014/main" id="{62218098-7423-4E2B-A4A4-1BFECF6CE12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99962" y="3925245"/>
                      <a:ext cx="165158" cy="16283"/>
                    </a:xfrm>
                    <a:custGeom>
                      <a:avLst/>
                      <a:gdLst>
                        <a:gd name="connsiteX0" fmla="*/ 164553 w 165158"/>
                        <a:gd name="connsiteY0" fmla="*/ 16911 h 16283"/>
                        <a:gd name="connsiteX1" fmla="*/ 1465 w 165158"/>
                        <a:gd name="connsiteY1" fmla="*/ 16911 h 16283"/>
                        <a:gd name="connsiteX2" fmla="*/ 0 w 165158"/>
                        <a:gd name="connsiteY2" fmla="*/ 15446 h 16283"/>
                        <a:gd name="connsiteX3" fmla="*/ 0 w 165158"/>
                        <a:gd name="connsiteY3" fmla="*/ 1465 h 16283"/>
                        <a:gd name="connsiteX4" fmla="*/ 1465 w 165158"/>
                        <a:gd name="connsiteY4" fmla="*/ 0 h 16283"/>
                        <a:gd name="connsiteX5" fmla="*/ 164553 w 165158"/>
                        <a:gd name="connsiteY5" fmla="*/ 0 h 16283"/>
                        <a:gd name="connsiteX6" fmla="*/ 166019 w 165158"/>
                        <a:gd name="connsiteY6" fmla="*/ 1465 h 16283"/>
                        <a:gd name="connsiteX7" fmla="*/ 166019 w 165158"/>
                        <a:gd name="connsiteY7" fmla="*/ 15446 h 16283"/>
                        <a:gd name="connsiteX8" fmla="*/ 164553 w 165158"/>
                        <a:gd name="connsiteY8" fmla="*/ 1691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165158" h="16283">
                          <a:moveTo>
                            <a:pt x="164553" y="16911"/>
                          </a:moveTo>
                          <a:lnTo>
                            <a:pt x="1465" y="16911"/>
                          </a:lnTo>
                          <a:cubicBezTo>
                            <a:pt x="651" y="16911"/>
                            <a:pt x="0" y="16260"/>
                            <a:pt x="0" y="15446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164553" y="0"/>
                          </a:lnTo>
                          <a:cubicBezTo>
                            <a:pt x="165367" y="0"/>
                            <a:pt x="166019" y="651"/>
                            <a:pt x="166019" y="1465"/>
                          </a:cubicBezTo>
                          <a:lnTo>
                            <a:pt x="166019" y="15446"/>
                          </a:lnTo>
                          <a:cubicBezTo>
                            <a:pt x="166019" y="16260"/>
                            <a:pt x="165367" y="16911"/>
                            <a:pt x="164553" y="16911"/>
                          </a:cubicBezTo>
                          <a:close/>
                        </a:path>
                      </a:pathLst>
                    </a:custGeom>
                    <a:solidFill>
                      <a:srgbClr val="F19439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29" name="Freeform: Shape 828">
                      <a:extLst>
                        <a:ext uri="{FF2B5EF4-FFF2-40B4-BE49-F238E27FC236}">
                          <a16:creationId xmlns:a16="http://schemas.microsoft.com/office/drawing/2014/main" id="{70D7BE42-0C03-4A88-97F6-4D5189C0D7A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79773" y="3925943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30" name="Freeform: Shape 829">
                      <a:extLst>
                        <a:ext uri="{FF2B5EF4-FFF2-40B4-BE49-F238E27FC236}">
                          <a16:creationId xmlns:a16="http://schemas.microsoft.com/office/drawing/2014/main" id="{5D75AC7E-41D5-4015-B4DF-8F86736FDF5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87635" y="3925943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31" name="Freeform: Shape 830">
                      <a:extLst>
                        <a:ext uri="{FF2B5EF4-FFF2-40B4-BE49-F238E27FC236}">
                          <a16:creationId xmlns:a16="http://schemas.microsoft.com/office/drawing/2014/main" id="{12625C46-6E54-49C3-8FCD-2754A16FAD9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95521" y="3925943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32" name="Freeform: Shape 831">
                      <a:extLst>
                        <a:ext uri="{FF2B5EF4-FFF2-40B4-BE49-F238E27FC236}">
                          <a16:creationId xmlns:a16="http://schemas.microsoft.com/office/drawing/2014/main" id="{0192A497-641E-4048-9211-6199C29D9A4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03383" y="3925943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33" name="Freeform: Shape 832">
                      <a:extLst>
                        <a:ext uri="{FF2B5EF4-FFF2-40B4-BE49-F238E27FC236}">
                          <a16:creationId xmlns:a16="http://schemas.microsoft.com/office/drawing/2014/main" id="{70E44B38-60F7-47B8-8A7C-E02496D012D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11269" y="3925943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34" name="Freeform: Shape 833">
                      <a:extLst>
                        <a:ext uri="{FF2B5EF4-FFF2-40B4-BE49-F238E27FC236}">
                          <a16:creationId xmlns:a16="http://schemas.microsoft.com/office/drawing/2014/main" id="{7D151B3A-7558-4EF6-AD6E-0F9A5BA84A2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19132" y="3925943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35" name="Freeform: Shape 834">
                      <a:extLst>
                        <a:ext uri="{FF2B5EF4-FFF2-40B4-BE49-F238E27FC236}">
                          <a16:creationId xmlns:a16="http://schemas.microsoft.com/office/drawing/2014/main" id="{0B97E7A6-521D-4323-9F67-5AC226EC224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27017" y="3925943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36" name="Freeform: Shape 835">
                      <a:extLst>
                        <a:ext uri="{FF2B5EF4-FFF2-40B4-BE49-F238E27FC236}">
                          <a16:creationId xmlns:a16="http://schemas.microsoft.com/office/drawing/2014/main" id="{BA7241EF-9A35-4FDE-AF74-0FEBE524958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34903" y="3925943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37" name="Freeform: Shape 836">
                      <a:extLst>
                        <a:ext uri="{FF2B5EF4-FFF2-40B4-BE49-F238E27FC236}">
                          <a16:creationId xmlns:a16="http://schemas.microsoft.com/office/drawing/2014/main" id="{1B97A2EE-126A-4F40-A3C0-63722A08A5A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42765" y="3925943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38" name="Freeform: Shape 837">
                      <a:extLst>
                        <a:ext uri="{FF2B5EF4-FFF2-40B4-BE49-F238E27FC236}">
                          <a16:creationId xmlns:a16="http://schemas.microsoft.com/office/drawing/2014/main" id="{B2960FEA-DBBD-4727-94B4-5FC0E864018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50651" y="3925943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39" name="Freeform: Shape 838">
                      <a:extLst>
                        <a:ext uri="{FF2B5EF4-FFF2-40B4-BE49-F238E27FC236}">
                          <a16:creationId xmlns:a16="http://schemas.microsoft.com/office/drawing/2014/main" id="{C05F601B-E5E0-4D4F-BD0C-5B6C047A57D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58514" y="3925943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40" name="Freeform: Shape 839">
                      <a:extLst>
                        <a:ext uri="{FF2B5EF4-FFF2-40B4-BE49-F238E27FC236}">
                          <a16:creationId xmlns:a16="http://schemas.microsoft.com/office/drawing/2014/main" id="{E3B92685-D1B9-411A-957B-8FA9CB5321F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16757" y="3925943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41" name="Freeform: Shape 840">
                      <a:extLst>
                        <a:ext uri="{FF2B5EF4-FFF2-40B4-BE49-F238E27FC236}">
                          <a16:creationId xmlns:a16="http://schemas.microsoft.com/office/drawing/2014/main" id="{E6DB7810-E02A-437C-B9F9-00629694571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24619" y="3925943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42" name="Freeform: Shape 841">
                      <a:extLst>
                        <a:ext uri="{FF2B5EF4-FFF2-40B4-BE49-F238E27FC236}">
                          <a16:creationId xmlns:a16="http://schemas.microsoft.com/office/drawing/2014/main" id="{73216AED-2B70-44A3-B3AA-B8E4B6FCA11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32505" y="3925943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43" name="Freeform: Shape 842">
                      <a:extLst>
                        <a:ext uri="{FF2B5EF4-FFF2-40B4-BE49-F238E27FC236}">
                          <a16:creationId xmlns:a16="http://schemas.microsoft.com/office/drawing/2014/main" id="{8B8DE21F-95C2-4885-8B97-33077F1286E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01009" y="3925943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44" name="Freeform: Shape 843">
                      <a:extLst>
                        <a:ext uri="{FF2B5EF4-FFF2-40B4-BE49-F238E27FC236}">
                          <a16:creationId xmlns:a16="http://schemas.microsoft.com/office/drawing/2014/main" id="{759A3ABE-076F-436D-9567-F01F5C30E78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08871" y="3925943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45" name="Freeform: Shape 844">
                      <a:extLst>
                        <a:ext uri="{FF2B5EF4-FFF2-40B4-BE49-F238E27FC236}">
                          <a16:creationId xmlns:a16="http://schemas.microsoft.com/office/drawing/2014/main" id="{0CEAA094-D5A5-410B-B8C2-6C832D12470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16757" y="3925943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46" name="Freeform: Shape 845">
                      <a:extLst>
                        <a:ext uri="{FF2B5EF4-FFF2-40B4-BE49-F238E27FC236}">
                          <a16:creationId xmlns:a16="http://schemas.microsoft.com/office/drawing/2014/main" id="{68691D68-1DB7-4F2F-824A-DDD5737B606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40391" y="3925943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47" name="Freeform: Shape 846">
                      <a:extLst>
                        <a:ext uri="{FF2B5EF4-FFF2-40B4-BE49-F238E27FC236}">
                          <a16:creationId xmlns:a16="http://schemas.microsoft.com/office/drawing/2014/main" id="{0FA693B8-8E58-4D49-8A6B-00A72E1EE21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48253" y="3925943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48" name="Freeform: Shape 847">
                      <a:extLst>
                        <a:ext uri="{FF2B5EF4-FFF2-40B4-BE49-F238E27FC236}">
                          <a16:creationId xmlns:a16="http://schemas.microsoft.com/office/drawing/2014/main" id="{02BA4889-7F6B-48FC-88DD-0B47445E2A0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56139" y="3925943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49" name="Freeform: Shape 848">
                      <a:extLst>
                        <a:ext uri="{FF2B5EF4-FFF2-40B4-BE49-F238E27FC236}">
                          <a16:creationId xmlns:a16="http://schemas.microsoft.com/office/drawing/2014/main" id="{AF586E39-1F64-4838-99E0-5B493B18EE2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64001" y="3925943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50" name="Freeform: Shape 849">
                      <a:extLst>
                        <a:ext uri="{FF2B5EF4-FFF2-40B4-BE49-F238E27FC236}">
                          <a16:creationId xmlns:a16="http://schemas.microsoft.com/office/drawing/2014/main" id="{61D93CAE-488C-476F-AD10-EFF4E41AEA5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71887" y="3925943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636" name="Graphic 174">
                    <a:extLst>
                      <a:ext uri="{FF2B5EF4-FFF2-40B4-BE49-F238E27FC236}">
                        <a16:creationId xmlns:a16="http://schemas.microsoft.com/office/drawing/2014/main" id="{AC4BD26F-B864-4A55-8030-E58661D53525}"/>
                      </a:ext>
                    </a:extLst>
                  </p:cNvPr>
                  <p:cNvGrpSpPr/>
                  <p:nvPr/>
                </p:nvGrpSpPr>
                <p:grpSpPr>
                  <a:xfrm>
                    <a:off x="6592076" y="3942133"/>
                    <a:ext cx="165158" cy="16283"/>
                    <a:chOff x="6592076" y="3942133"/>
                    <a:chExt cx="165158" cy="16283"/>
                  </a:xfrm>
                  <a:solidFill>
                    <a:schemeClr val="accent1"/>
                  </a:solidFill>
                </p:grpSpPr>
                <p:sp>
                  <p:nvSpPr>
                    <p:cNvPr id="805" name="Freeform: Shape 804">
                      <a:extLst>
                        <a:ext uri="{FF2B5EF4-FFF2-40B4-BE49-F238E27FC236}">
                          <a16:creationId xmlns:a16="http://schemas.microsoft.com/office/drawing/2014/main" id="{BC5C178B-5A49-453A-A2AE-DFB4A7839BE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92076" y="3942133"/>
                      <a:ext cx="165158" cy="16283"/>
                    </a:xfrm>
                    <a:custGeom>
                      <a:avLst/>
                      <a:gdLst>
                        <a:gd name="connsiteX0" fmla="*/ 164553 w 165158"/>
                        <a:gd name="connsiteY0" fmla="*/ 16911 h 16283"/>
                        <a:gd name="connsiteX1" fmla="*/ 1465 w 165158"/>
                        <a:gd name="connsiteY1" fmla="*/ 16911 h 16283"/>
                        <a:gd name="connsiteX2" fmla="*/ 0 w 165158"/>
                        <a:gd name="connsiteY2" fmla="*/ 15446 h 16283"/>
                        <a:gd name="connsiteX3" fmla="*/ 0 w 165158"/>
                        <a:gd name="connsiteY3" fmla="*/ 1465 h 16283"/>
                        <a:gd name="connsiteX4" fmla="*/ 1465 w 165158"/>
                        <a:gd name="connsiteY4" fmla="*/ 0 h 16283"/>
                        <a:gd name="connsiteX5" fmla="*/ 164553 w 165158"/>
                        <a:gd name="connsiteY5" fmla="*/ 0 h 16283"/>
                        <a:gd name="connsiteX6" fmla="*/ 166019 w 165158"/>
                        <a:gd name="connsiteY6" fmla="*/ 1465 h 16283"/>
                        <a:gd name="connsiteX7" fmla="*/ 166019 w 165158"/>
                        <a:gd name="connsiteY7" fmla="*/ 15446 h 16283"/>
                        <a:gd name="connsiteX8" fmla="*/ 164553 w 165158"/>
                        <a:gd name="connsiteY8" fmla="*/ 1691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165158" h="16283">
                          <a:moveTo>
                            <a:pt x="164553" y="16911"/>
                          </a:moveTo>
                          <a:lnTo>
                            <a:pt x="1465" y="16911"/>
                          </a:lnTo>
                          <a:cubicBezTo>
                            <a:pt x="651" y="16911"/>
                            <a:pt x="0" y="16260"/>
                            <a:pt x="0" y="15446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164553" y="0"/>
                          </a:lnTo>
                          <a:cubicBezTo>
                            <a:pt x="165367" y="0"/>
                            <a:pt x="166019" y="651"/>
                            <a:pt x="166019" y="1465"/>
                          </a:cubicBezTo>
                          <a:lnTo>
                            <a:pt x="166019" y="15446"/>
                          </a:lnTo>
                          <a:cubicBezTo>
                            <a:pt x="166019" y="16260"/>
                            <a:pt x="165367" y="16911"/>
                            <a:pt x="164553" y="16911"/>
                          </a:cubicBezTo>
                          <a:close/>
                        </a:path>
                      </a:pathLst>
                    </a:custGeom>
                    <a:solidFill>
                      <a:srgbClr val="F19439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06" name="Freeform: Shape 805">
                      <a:extLst>
                        <a:ext uri="{FF2B5EF4-FFF2-40B4-BE49-F238E27FC236}">
                          <a16:creationId xmlns:a16="http://schemas.microsoft.com/office/drawing/2014/main" id="{26631E45-B3FD-4EB6-A5BA-CEF1189A737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71887" y="3942831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07" name="Freeform: Shape 806">
                      <a:extLst>
                        <a:ext uri="{FF2B5EF4-FFF2-40B4-BE49-F238E27FC236}">
                          <a16:creationId xmlns:a16="http://schemas.microsoft.com/office/drawing/2014/main" id="{47C8D86C-76CA-498F-AE72-83E8E95E3A4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79773" y="3942831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08" name="Freeform: Shape 807">
                      <a:extLst>
                        <a:ext uri="{FF2B5EF4-FFF2-40B4-BE49-F238E27FC236}">
                          <a16:creationId xmlns:a16="http://schemas.microsoft.com/office/drawing/2014/main" id="{691A3418-3977-4720-9718-7A32A7B4418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87635" y="3942831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09" name="Freeform: Shape 808">
                      <a:extLst>
                        <a:ext uri="{FF2B5EF4-FFF2-40B4-BE49-F238E27FC236}">
                          <a16:creationId xmlns:a16="http://schemas.microsoft.com/office/drawing/2014/main" id="{CE92DECC-1FA2-45ED-B4A0-EDE59D39C6B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95521" y="3942831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10" name="Freeform: Shape 809">
                      <a:extLst>
                        <a:ext uri="{FF2B5EF4-FFF2-40B4-BE49-F238E27FC236}">
                          <a16:creationId xmlns:a16="http://schemas.microsoft.com/office/drawing/2014/main" id="{AA23DBDD-71AB-455C-86EE-BE7267EF164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03383" y="3942831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11" name="Freeform: Shape 810">
                      <a:extLst>
                        <a:ext uri="{FF2B5EF4-FFF2-40B4-BE49-F238E27FC236}">
                          <a16:creationId xmlns:a16="http://schemas.microsoft.com/office/drawing/2014/main" id="{5D26A79A-F270-4AB7-90CD-8148BD06C40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11269" y="3942831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12" name="Freeform: Shape 811">
                      <a:extLst>
                        <a:ext uri="{FF2B5EF4-FFF2-40B4-BE49-F238E27FC236}">
                          <a16:creationId xmlns:a16="http://schemas.microsoft.com/office/drawing/2014/main" id="{D511D797-19AC-487A-9FF7-1584AC9C8CE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19132" y="3942831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13" name="Freeform: Shape 812">
                      <a:extLst>
                        <a:ext uri="{FF2B5EF4-FFF2-40B4-BE49-F238E27FC236}">
                          <a16:creationId xmlns:a16="http://schemas.microsoft.com/office/drawing/2014/main" id="{E4BE628A-44AE-4AF1-9B08-D2F0EB6DC99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27017" y="3942831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14" name="Freeform: Shape 813">
                      <a:extLst>
                        <a:ext uri="{FF2B5EF4-FFF2-40B4-BE49-F238E27FC236}">
                          <a16:creationId xmlns:a16="http://schemas.microsoft.com/office/drawing/2014/main" id="{D176D4B5-AC02-4436-9CEC-F747839F65E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34903" y="3942831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15" name="Freeform: Shape 814">
                      <a:extLst>
                        <a:ext uri="{FF2B5EF4-FFF2-40B4-BE49-F238E27FC236}">
                          <a16:creationId xmlns:a16="http://schemas.microsoft.com/office/drawing/2014/main" id="{46C12EB5-42AA-41CA-AE81-83CF98DB3E3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42765" y="3942831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16" name="Freeform: Shape 815">
                      <a:extLst>
                        <a:ext uri="{FF2B5EF4-FFF2-40B4-BE49-F238E27FC236}">
                          <a16:creationId xmlns:a16="http://schemas.microsoft.com/office/drawing/2014/main" id="{FB5DF41B-1BC7-41F9-ACA6-2E55612B43F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50651" y="3942831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17" name="Freeform: Shape 816">
                      <a:extLst>
                        <a:ext uri="{FF2B5EF4-FFF2-40B4-BE49-F238E27FC236}">
                          <a16:creationId xmlns:a16="http://schemas.microsoft.com/office/drawing/2014/main" id="{74290D75-E82C-409C-A41A-8A6D3C8660D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08871" y="3942831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18" name="Freeform: Shape 817">
                      <a:extLst>
                        <a:ext uri="{FF2B5EF4-FFF2-40B4-BE49-F238E27FC236}">
                          <a16:creationId xmlns:a16="http://schemas.microsoft.com/office/drawing/2014/main" id="{E4D346CB-B1A6-43D7-9D4A-EA7BB41C832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16757" y="3942831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19" name="Freeform: Shape 818">
                      <a:extLst>
                        <a:ext uri="{FF2B5EF4-FFF2-40B4-BE49-F238E27FC236}">
                          <a16:creationId xmlns:a16="http://schemas.microsoft.com/office/drawing/2014/main" id="{83631829-253D-474D-AAFB-A94CB253C85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24619" y="3942831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20" name="Freeform: Shape 819">
                      <a:extLst>
                        <a:ext uri="{FF2B5EF4-FFF2-40B4-BE49-F238E27FC236}">
                          <a16:creationId xmlns:a16="http://schemas.microsoft.com/office/drawing/2014/main" id="{59FB8E79-4609-4BB3-B588-ABAD5ED10A0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93123" y="3942831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21" name="Freeform: Shape 820">
                      <a:extLst>
                        <a:ext uri="{FF2B5EF4-FFF2-40B4-BE49-F238E27FC236}">
                          <a16:creationId xmlns:a16="http://schemas.microsoft.com/office/drawing/2014/main" id="{FBEF0215-948B-477D-B326-1DE95D173D2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01009" y="3942831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22" name="Freeform: Shape 821">
                      <a:extLst>
                        <a:ext uri="{FF2B5EF4-FFF2-40B4-BE49-F238E27FC236}">
                          <a16:creationId xmlns:a16="http://schemas.microsoft.com/office/drawing/2014/main" id="{FD59DEE3-A0D1-41EF-92FF-DE7947FBA6D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08871" y="3942831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23" name="Freeform: Shape 822">
                      <a:extLst>
                        <a:ext uri="{FF2B5EF4-FFF2-40B4-BE49-F238E27FC236}">
                          <a16:creationId xmlns:a16="http://schemas.microsoft.com/office/drawing/2014/main" id="{238DC66A-C0AD-4D97-B961-2B58F9BC74A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32505" y="3942831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24" name="Freeform: Shape 823">
                      <a:extLst>
                        <a:ext uri="{FF2B5EF4-FFF2-40B4-BE49-F238E27FC236}">
                          <a16:creationId xmlns:a16="http://schemas.microsoft.com/office/drawing/2014/main" id="{D922CB9B-2D07-4682-9209-3B446EC1EA6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40391" y="3942831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25" name="Freeform: Shape 824">
                      <a:extLst>
                        <a:ext uri="{FF2B5EF4-FFF2-40B4-BE49-F238E27FC236}">
                          <a16:creationId xmlns:a16="http://schemas.microsoft.com/office/drawing/2014/main" id="{4C3E2B2B-25DB-4654-B97D-3D4B5040C46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48253" y="3942831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26" name="Freeform: Shape 825">
                      <a:extLst>
                        <a:ext uri="{FF2B5EF4-FFF2-40B4-BE49-F238E27FC236}">
                          <a16:creationId xmlns:a16="http://schemas.microsoft.com/office/drawing/2014/main" id="{711B01BD-19B0-433B-BE57-99570AC2606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56139" y="3942831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27" name="Freeform: Shape 826">
                      <a:extLst>
                        <a:ext uri="{FF2B5EF4-FFF2-40B4-BE49-F238E27FC236}">
                          <a16:creationId xmlns:a16="http://schemas.microsoft.com/office/drawing/2014/main" id="{377FEB1A-9FB6-45CE-972E-202A14D1383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64001" y="3942831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637" name="Graphic 174">
                    <a:extLst>
                      <a:ext uri="{FF2B5EF4-FFF2-40B4-BE49-F238E27FC236}">
                        <a16:creationId xmlns:a16="http://schemas.microsoft.com/office/drawing/2014/main" id="{E2B6C1EB-4250-4D03-B4A6-B71C7536AED4}"/>
                      </a:ext>
                    </a:extLst>
                  </p:cNvPr>
                  <p:cNvGrpSpPr/>
                  <p:nvPr/>
                </p:nvGrpSpPr>
                <p:grpSpPr>
                  <a:xfrm>
                    <a:off x="6595286" y="3908334"/>
                    <a:ext cx="165158" cy="16283"/>
                    <a:chOff x="6595286" y="3908334"/>
                    <a:chExt cx="165158" cy="16283"/>
                  </a:xfrm>
                  <a:solidFill>
                    <a:schemeClr val="accent1"/>
                  </a:solidFill>
                </p:grpSpPr>
                <p:sp>
                  <p:nvSpPr>
                    <p:cNvPr id="782" name="Freeform: Shape 781">
                      <a:extLst>
                        <a:ext uri="{FF2B5EF4-FFF2-40B4-BE49-F238E27FC236}">
                          <a16:creationId xmlns:a16="http://schemas.microsoft.com/office/drawing/2014/main" id="{0D31D361-BE67-453C-96B8-C85AEE9A6A7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95286" y="3908334"/>
                      <a:ext cx="165158" cy="16283"/>
                    </a:xfrm>
                    <a:custGeom>
                      <a:avLst/>
                      <a:gdLst>
                        <a:gd name="connsiteX0" fmla="*/ 164553 w 165158"/>
                        <a:gd name="connsiteY0" fmla="*/ 16911 h 16283"/>
                        <a:gd name="connsiteX1" fmla="*/ 1465 w 165158"/>
                        <a:gd name="connsiteY1" fmla="*/ 16911 h 16283"/>
                        <a:gd name="connsiteX2" fmla="*/ 0 w 165158"/>
                        <a:gd name="connsiteY2" fmla="*/ 15446 h 16283"/>
                        <a:gd name="connsiteX3" fmla="*/ 0 w 165158"/>
                        <a:gd name="connsiteY3" fmla="*/ 1465 h 16283"/>
                        <a:gd name="connsiteX4" fmla="*/ 1465 w 165158"/>
                        <a:gd name="connsiteY4" fmla="*/ 0 h 16283"/>
                        <a:gd name="connsiteX5" fmla="*/ 164553 w 165158"/>
                        <a:gd name="connsiteY5" fmla="*/ 0 h 16283"/>
                        <a:gd name="connsiteX6" fmla="*/ 166019 w 165158"/>
                        <a:gd name="connsiteY6" fmla="*/ 1465 h 16283"/>
                        <a:gd name="connsiteX7" fmla="*/ 166019 w 165158"/>
                        <a:gd name="connsiteY7" fmla="*/ 15446 h 16283"/>
                        <a:gd name="connsiteX8" fmla="*/ 164553 w 165158"/>
                        <a:gd name="connsiteY8" fmla="*/ 1691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165158" h="16283">
                          <a:moveTo>
                            <a:pt x="164553" y="16911"/>
                          </a:moveTo>
                          <a:lnTo>
                            <a:pt x="1465" y="16911"/>
                          </a:lnTo>
                          <a:cubicBezTo>
                            <a:pt x="651" y="16911"/>
                            <a:pt x="0" y="16260"/>
                            <a:pt x="0" y="15446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164553" y="0"/>
                          </a:lnTo>
                          <a:cubicBezTo>
                            <a:pt x="165367" y="0"/>
                            <a:pt x="166019" y="651"/>
                            <a:pt x="166019" y="1465"/>
                          </a:cubicBezTo>
                          <a:lnTo>
                            <a:pt x="166019" y="15446"/>
                          </a:lnTo>
                          <a:cubicBezTo>
                            <a:pt x="166019" y="16260"/>
                            <a:pt x="165367" y="16911"/>
                            <a:pt x="164553" y="16911"/>
                          </a:cubicBezTo>
                          <a:close/>
                        </a:path>
                      </a:pathLst>
                    </a:custGeom>
                    <a:solidFill>
                      <a:srgbClr val="F19439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83" name="Freeform: Shape 782">
                      <a:extLst>
                        <a:ext uri="{FF2B5EF4-FFF2-40B4-BE49-F238E27FC236}">
                          <a16:creationId xmlns:a16="http://schemas.microsoft.com/office/drawing/2014/main" id="{80F6AE32-8530-4CF2-9C9E-4865B7850A2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75097" y="3909032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84" name="Freeform: Shape 783">
                      <a:extLst>
                        <a:ext uri="{FF2B5EF4-FFF2-40B4-BE49-F238E27FC236}">
                          <a16:creationId xmlns:a16="http://schemas.microsoft.com/office/drawing/2014/main" id="{DEB2D0D2-2FBF-42B4-AC21-2B71FAB498C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82960" y="3909032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85" name="Freeform: Shape 784">
                      <a:extLst>
                        <a:ext uri="{FF2B5EF4-FFF2-40B4-BE49-F238E27FC236}">
                          <a16:creationId xmlns:a16="http://schemas.microsoft.com/office/drawing/2014/main" id="{5FB50C53-D3B5-4912-AC91-6917C951288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90845" y="3909032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86" name="Freeform: Shape 785">
                      <a:extLst>
                        <a:ext uri="{FF2B5EF4-FFF2-40B4-BE49-F238E27FC236}">
                          <a16:creationId xmlns:a16="http://schemas.microsoft.com/office/drawing/2014/main" id="{DF3AE8AB-6437-44D8-A29E-9AD870449B1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98708" y="3909032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87" name="Freeform: Shape 786">
                      <a:extLst>
                        <a:ext uri="{FF2B5EF4-FFF2-40B4-BE49-F238E27FC236}">
                          <a16:creationId xmlns:a16="http://schemas.microsoft.com/office/drawing/2014/main" id="{C19DC7B0-7737-4613-A7F3-C59823FE8B9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06594" y="3909032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88" name="Freeform: Shape 787">
                      <a:extLst>
                        <a:ext uri="{FF2B5EF4-FFF2-40B4-BE49-F238E27FC236}">
                          <a16:creationId xmlns:a16="http://schemas.microsoft.com/office/drawing/2014/main" id="{DCBDF91C-2294-41E8-9DAF-3AF335B3CD2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14479" y="3909032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89" name="Freeform: Shape 788">
                      <a:extLst>
                        <a:ext uri="{FF2B5EF4-FFF2-40B4-BE49-F238E27FC236}">
                          <a16:creationId xmlns:a16="http://schemas.microsoft.com/office/drawing/2014/main" id="{BCBB21A4-693B-4CCD-9934-F47DBF3CCA0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22342" y="3909032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90" name="Freeform: Shape 789">
                      <a:extLst>
                        <a:ext uri="{FF2B5EF4-FFF2-40B4-BE49-F238E27FC236}">
                          <a16:creationId xmlns:a16="http://schemas.microsoft.com/office/drawing/2014/main" id="{50349CBE-A6AB-4C7B-9229-1BFE06DD1FE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30227" y="3909032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91" name="Freeform: Shape 790">
                      <a:extLst>
                        <a:ext uri="{FF2B5EF4-FFF2-40B4-BE49-F238E27FC236}">
                          <a16:creationId xmlns:a16="http://schemas.microsoft.com/office/drawing/2014/main" id="{E9285731-5E3E-455E-8F63-E76078B4E1D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38090" y="3909032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92" name="Freeform: Shape 791">
                      <a:extLst>
                        <a:ext uri="{FF2B5EF4-FFF2-40B4-BE49-F238E27FC236}">
                          <a16:creationId xmlns:a16="http://schemas.microsoft.com/office/drawing/2014/main" id="{2D6CA0FE-D696-44F4-B6E0-A309AD5600A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45976" y="3909032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93" name="Freeform: Shape 792">
                      <a:extLst>
                        <a:ext uri="{FF2B5EF4-FFF2-40B4-BE49-F238E27FC236}">
                          <a16:creationId xmlns:a16="http://schemas.microsoft.com/office/drawing/2014/main" id="{E04CF058-309C-4AAE-B4E0-A519D7055E1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53838" y="3909032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94" name="Freeform: Shape 793">
                      <a:extLst>
                        <a:ext uri="{FF2B5EF4-FFF2-40B4-BE49-F238E27FC236}">
                          <a16:creationId xmlns:a16="http://schemas.microsoft.com/office/drawing/2014/main" id="{875FA4D0-54C4-4E68-B5D2-76822180FB3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12081" y="3909032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95" name="Freeform: Shape 794">
                      <a:extLst>
                        <a:ext uri="{FF2B5EF4-FFF2-40B4-BE49-F238E27FC236}">
                          <a16:creationId xmlns:a16="http://schemas.microsoft.com/office/drawing/2014/main" id="{CE6BBBF5-E8A0-496C-911A-635B4FD861A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19967" y="3909032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96" name="Freeform: Shape 795">
                      <a:extLst>
                        <a:ext uri="{FF2B5EF4-FFF2-40B4-BE49-F238E27FC236}">
                          <a16:creationId xmlns:a16="http://schemas.microsoft.com/office/drawing/2014/main" id="{509DFFB6-6D37-492D-AF67-48EE974B0BB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27829" y="3909032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97" name="Freeform: Shape 796">
                      <a:extLst>
                        <a:ext uri="{FF2B5EF4-FFF2-40B4-BE49-F238E27FC236}">
                          <a16:creationId xmlns:a16="http://schemas.microsoft.com/office/drawing/2014/main" id="{FC3C33DC-207A-41F5-859F-B360A2B7588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96333" y="3909032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98" name="Freeform: Shape 797">
                      <a:extLst>
                        <a:ext uri="{FF2B5EF4-FFF2-40B4-BE49-F238E27FC236}">
                          <a16:creationId xmlns:a16="http://schemas.microsoft.com/office/drawing/2014/main" id="{329F8DAE-26B4-4947-8C8F-C3F0641D003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04195" y="3909032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99" name="Freeform: Shape 798">
                      <a:extLst>
                        <a:ext uri="{FF2B5EF4-FFF2-40B4-BE49-F238E27FC236}">
                          <a16:creationId xmlns:a16="http://schemas.microsoft.com/office/drawing/2014/main" id="{495F6BDE-BCE0-477C-80F3-C4F477ED792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12081" y="3909032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00" name="Freeform: Shape 799">
                      <a:extLst>
                        <a:ext uri="{FF2B5EF4-FFF2-40B4-BE49-F238E27FC236}">
                          <a16:creationId xmlns:a16="http://schemas.microsoft.com/office/drawing/2014/main" id="{5BB540AC-BF5B-4E1F-87FA-9B54EA65839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35692" y="3909032"/>
                      <a:ext cx="4652" cy="13957"/>
                    </a:xfrm>
                    <a:custGeom>
                      <a:avLst/>
                      <a:gdLst>
                        <a:gd name="connsiteX0" fmla="*/ 4978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78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78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78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01" name="Freeform: Shape 800">
                      <a:extLst>
                        <a:ext uri="{FF2B5EF4-FFF2-40B4-BE49-F238E27FC236}">
                          <a16:creationId xmlns:a16="http://schemas.microsoft.com/office/drawing/2014/main" id="{DB395247-B10A-4BB2-A0D6-CD0A9026E47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43578" y="3909032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02" name="Freeform: Shape 801">
                      <a:extLst>
                        <a:ext uri="{FF2B5EF4-FFF2-40B4-BE49-F238E27FC236}">
                          <a16:creationId xmlns:a16="http://schemas.microsoft.com/office/drawing/2014/main" id="{F421891B-6D69-454A-90B0-7557C36C57B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51463" y="3909032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03" name="Freeform: Shape 802">
                      <a:extLst>
                        <a:ext uri="{FF2B5EF4-FFF2-40B4-BE49-F238E27FC236}">
                          <a16:creationId xmlns:a16="http://schemas.microsoft.com/office/drawing/2014/main" id="{E951D583-2680-4E1F-AE15-F52909E3E3E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59326" y="3909032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804" name="Freeform: Shape 803">
                      <a:extLst>
                        <a:ext uri="{FF2B5EF4-FFF2-40B4-BE49-F238E27FC236}">
                          <a16:creationId xmlns:a16="http://schemas.microsoft.com/office/drawing/2014/main" id="{D55A8181-8967-4159-BC35-F9AB7A2B793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67211" y="3909032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638" name="Graphic 174">
                    <a:extLst>
                      <a:ext uri="{FF2B5EF4-FFF2-40B4-BE49-F238E27FC236}">
                        <a16:creationId xmlns:a16="http://schemas.microsoft.com/office/drawing/2014/main" id="{E7EB853C-2FD0-44AE-B314-E6D69AC2CDF0}"/>
                      </a:ext>
                    </a:extLst>
                  </p:cNvPr>
                  <p:cNvGrpSpPr/>
                  <p:nvPr/>
                </p:nvGrpSpPr>
                <p:grpSpPr>
                  <a:xfrm>
                    <a:off x="6599962" y="3891469"/>
                    <a:ext cx="165158" cy="16283"/>
                    <a:chOff x="6599962" y="3891469"/>
                    <a:chExt cx="165158" cy="16283"/>
                  </a:xfrm>
                  <a:solidFill>
                    <a:schemeClr val="accent1"/>
                  </a:solidFill>
                </p:grpSpPr>
                <p:sp>
                  <p:nvSpPr>
                    <p:cNvPr id="759" name="Freeform: Shape 758">
                      <a:extLst>
                        <a:ext uri="{FF2B5EF4-FFF2-40B4-BE49-F238E27FC236}">
                          <a16:creationId xmlns:a16="http://schemas.microsoft.com/office/drawing/2014/main" id="{29E1765C-CBE9-406C-BD1E-9A88BF161AF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99962" y="3891469"/>
                      <a:ext cx="165158" cy="16283"/>
                    </a:xfrm>
                    <a:custGeom>
                      <a:avLst/>
                      <a:gdLst>
                        <a:gd name="connsiteX0" fmla="*/ 164553 w 165158"/>
                        <a:gd name="connsiteY0" fmla="*/ 16888 h 16283"/>
                        <a:gd name="connsiteX1" fmla="*/ 1465 w 165158"/>
                        <a:gd name="connsiteY1" fmla="*/ 16888 h 16283"/>
                        <a:gd name="connsiteX2" fmla="*/ 0 w 165158"/>
                        <a:gd name="connsiteY2" fmla="*/ 15422 h 16283"/>
                        <a:gd name="connsiteX3" fmla="*/ 0 w 165158"/>
                        <a:gd name="connsiteY3" fmla="*/ 1442 h 16283"/>
                        <a:gd name="connsiteX4" fmla="*/ 1465 w 165158"/>
                        <a:gd name="connsiteY4" fmla="*/ 0 h 16283"/>
                        <a:gd name="connsiteX5" fmla="*/ 164553 w 165158"/>
                        <a:gd name="connsiteY5" fmla="*/ 0 h 16283"/>
                        <a:gd name="connsiteX6" fmla="*/ 166019 w 165158"/>
                        <a:gd name="connsiteY6" fmla="*/ 1442 h 16283"/>
                        <a:gd name="connsiteX7" fmla="*/ 166019 w 165158"/>
                        <a:gd name="connsiteY7" fmla="*/ 15422 h 16283"/>
                        <a:gd name="connsiteX8" fmla="*/ 164553 w 165158"/>
                        <a:gd name="connsiteY8" fmla="*/ 16888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165158" h="16283">
                          <a:moveTo>
                            <a:pt x="164553" y="16888"/>
                          </a:moveTo>
                          <a:lnTo>
                            <a:pt x="1465" y="16888"/>
                          </a:lnTo>
                          <a:cubicBezTo>
                            <a:pt x="651" y="16888"/>
                            <a:pt x="0" y="16237"/>
                            <a:pt x="0" y="15422"/>
                          </a:cubicBezTo>
                          <a:lnTo>
                            <a:pt x="0" y="1442"/>
                          </a:lnTo>
                          <a:cubicBezTo>
                            <a:pt x="0" y="628"/>
                            <a:pt x="651" y="0"/>
                            <a:pt x="1465" y="0"/>
                          </a:cubicBezTo>
                          <a:lnTo>
                            <a:pt x="164553" y="0"/>
                          </a:lnTo>
                          <a:cubicBezTo>
                            <a:pt x="165367" y="0"/>
                            <a:pt x="166019" y="651"/>
                            <a:pt x="166019" y="1442"/>
                          </a:cubicBezTo>
                          <a:lnTo>
                            <a:pt x="166019" y="15422"/>
                          </a:lnTo>
                          <a:cubicBezTo>
                            <a:pt x="166019" y="16237"/>
                            <a:pt x="165367" y="16888"/>
                            <a:pt x="164553" y="16888"/>
                          </a:cubicBezTo>
                          <a:close/>
                        </a:path>
                      </a:pathLst>
                    </a:custGeom>
                    <a:solidFill>
                      <a:srgbClr val="F19439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60" name="Freeform: Shape 759">
                      <a:extLst>
                        <a:ext uri="{FF2B5EF4-FFF2-40B4-BE49-F238E27FC236}">
                          <a16:creationId xmlns:a16="http://schemas.microsoft.com/office/drawing/2014/main" id="{FEC81DBD-649A-414A-BD0A-BAC3600C12F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79773" y="3892144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61" name="Freeform: Shape 760">
                      <a:extLst>
                        <a:ext uri="{FF2B5EF4-FFF2-40B4-BE49-F238E27FC236}">
                          <a16:creationId xmlns:a16="http://schemas.microsoft.com/office/drawing/2014/main" id="{BC605F00-5B8A-47F9-963A-3E000DC0313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87635" y="3892144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62" name="Freeform: Shape 761">
                      <a:extLst>
                        <a:ext uri="{FF2B5EF4-FFF2-40B4-BE49-F238E27FC236}">
                          <a16:creationId xmlns:a16="http://schemas.microsoft.com/office/drawing/2014/main" id="{AE768452-5754-4B7C-AB63-769EB577A3B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95521" y="3892144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63" name="Freeform: Shape 762">
                      <a:extLst>
                        <a:ext uri="{FF2B5EF4-FFF2-40B4-BE49-F238E27FC236}">
                          <a16:creationId xmlns:a16="http://schemas.microsoft.com/office/drawing/2014/main" id="{00849446-AFCB-4E1F-B03E-191F3A383D3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03383" y="3892144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64" name="Freeform: Shape 763">
                      <a:extLst>
                        <a:ext uri="{FF2B5EF4-FFF2-40B4-BE49-F238E27FC236}">
                          <a16:creationId xmlns:a16="http://schemas.microsoft.com/office/drawing/2014/main" id="{39E8CBF6-EBC2-47CC-9878-654C4D5E8E1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11269" y="3892144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65" name="Freeform: Shape 764">
                      <a:extLst>
                        <a:ext uri="{FF2B5EF4-FFF2-40B4-BE49-F238E27FC236}">
                          <a16:creationId xmlns:a16="http://schemas.microsoft.com/office/drawing/2014/main" id="{1AFBEDA9-A463-4380-9F7C-C865CEF5E9B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19132" y="3892144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66" name="Freeform: Shape 765">
                      <a:extLst>
                        <a:ext uri="{FF2B5EF4-FFF2-40B4-BE49-F238E27FC236}">
                          <a16:creationId xmlns:a16="http://schemas.microsoft.com/office/drawing/2014/main" id="{48709A18-4AEF-4A36-9C5D-3C214094E3C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27017" y="3892144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67" name="Freeform: Shape 766">
                      <a:extLst>
                        <a:ext uri="{FF2B5EF4-FFF2-40B4-BE49-F238E27FC236}">
                          <a16:creationId xmlns:a16="http://schemas.microsoft.com/office/drawing/2014/main" id="{C1A43C28-F314-40C8-964D-19D85538039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34903" y="3892144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68" name="Freeform: Shape 767">
                      <a:extLst>
                        <a:ext uri="{FF2B5EF4-FFF2-40B4-BE49-F238E27FC236}">
                          <a16:creationId xmlns:a16="http://schemas.microsoft.com/office/drawing/2014/main" id="{E1BF84BA-313E-4174-96A4-0DF6F2F479B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42765" y="3892144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69" name="Freeform: Shape 768">
                      <a:extLst>
                        <a:ext uri="{FF2B5EF4-FFF2-40B4-BE49-F238E27FC236}">
                          <a16:creationId xmlns:a16="http://schemas.microsoft.com/office/drawing/2014/main" id="{11B6C15C-A39E-48A7-90AC-F5E478DFE29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50651" y="3892144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70" name="Freeform: Shape 769">
                      <a:extLst>
                        <a:ext uri="{FF2B5EF4-FFF2-40B4-BE49-F238E27FC236}">
                          <a16:creationId xmlns:a16="http://schemas.microsoft.com/office/drawing/2014/main" id="{5B7C1BE6-5055-4C29-88C2-F771449A8E4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58514" y="3892144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71" name="Freeform: Shape 770">
                      <a:extLst>
                        <a:ext uri="{FF2B5EF4-FFF2-40B4-BE49-F238E27FC236}">
                          <a16:creationId xmlns:a16="http://schemas.microsoft.com/office/drawing/2014/main" id="{1706CE11-8FC8-48EA-A5A3-4C8F87E7DEC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16757" y="3892144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72" name="Freeform: Shape 771">
                      <a:extLst>
                        <a:ext uri="{FF2B5EF4-FFF2-40B4-BE49-F238E27FC236}">
                          <a16:creationId xmlns:a16="http://schemas.microsoft.com/office/drawing/2014/main" id="{773F4211-FCBB-443B-B5CD-59B2EBAB31A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24619" y="3892144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73" name="Freeform: Shape 772">
                      <a:extLst>
                        <a:ext uri="{FF2B5EF4-FFF2-40B4-BE49-F238E27FC236}">
                          <a16:creationId xmlns:a16="http://schemas.microsoft.com/office/drawing/2014/main" id="{EC29BCA0-6AA1-4B36-A228-540911DF35E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32505" y="3892144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74" name="Freeform: Shape 773">
                      <a:extLst>
                        <a:ext uri="{FF2B5EF4-FFF2-40B4-BE49-F238E27FC236}">
                          <a16:creationId xmlns:a16="http://schemas.microsoft.com/office/drawing/2014/main" id="{852AC1F4-24F7-4C5A-A3CF-E719B3C84DC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01009" y="3892144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75" name="Freeform: Shape 774">
                      <a:extLst>
                        <a:ext uri="{FF2B5EF4-FFF2-40B4-BE49-F238E27FC236}">
                          <a16:creationId xmlns:a16="http://schemas.microsoft.com/office/drawing/2014/main" id="{608C3CCF-FB3F-45A6-922F-661F47393EE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08871" y="3892144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76" name="Freeform: Shape 775">
                      <a:extLst>
                        <a:ext uri="{FF2B5EF4-FFF2-40B4-BE49-F238E27FC236}">
                          <a16:creationId xmlns:a16="http://schemas.microsoft.com/office/drawing/2014/main" id="{CC5684F2-15E5-4C73-A524-F32A468202B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16757" y="3892144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77" name="Freeform: Shape 776">
                      <a:extLst>
                        <a:ext uri="{FF2B5EF4-FFF2-40B4-BE49-F238E27FC236}">
                          <a16:creationId xmlns:a16="http://schemas.microsoft.com/office/drawing/2014/main" id="{30E093C4-34BE-40BA-9645-0CAE888A9D8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40391" y="3892144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78" name="Freeform: Shape 777">
                      <a:extLst>
                        <a:ext uri="{FF2B5EF4-FFF2-40B4-BE49-F238E27FC236}">
                          <a16:creationId xmlns:a16="http://schemas.microsoft.com/office/drawing/2014/main" id="{63BF8BAF-0452-4638-9689-36B86E23C66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48253" y="3892144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79" name="Freeform: Shape 778">
                      <a:extLst>
                        <a:ext uri="{FF2B5EF4-FFF2-40B4-BE49-F238E27FC236}">
                          <a16:creationId xmlns:a16="http://schemas.microsoft.com/office/drawing/2014/main" id="{151C822B-B610-4BF7-8DAD-E14F1DBEB9C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56139" y="3892144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80" name="Freeform: Shape 779">
                      <a:extLst>
                        <a:ext uri="{FF2B5EF4-FFF2-40B4-BE49-F238E27FC236}">
                          <a16:creationId xmlns:a16="http://schemas.microsoft.com/office/drawing/2014/main" id="{EF8912AB-0EDC-4FFE-BC0A-17B74018290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64001" y="3892144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81" name="Freeform: Shape 780">
                      <a:extLst>
                        <a:ext uri="{FF2B5EF4-FFF2-40B4-BE49-F238E27FC236}">
                          <a16:creationId xmlns:a16="http://schemas.microsoft.com/office/drawing/2014/main" id="{3599C9F2-E0ED-4582-920B-28A0F72BFC7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71887" y="3892144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639" name="Graphic 174">
                    <a:extLst>
                      <a:ext uri="{FF2B5EF4-FFF2-40B4-BE49-F238E27FC236}">
                        <a16:creationId xmlns:a16="http://schemas.microsoft.com/office/drawing/2014/main" id="{8E119BC5-5066-43D9-89FA-024E5E8975BF}"/>
                      </a:ext>
                    </a:extLst>
                  </p:cNvPr>
                  <p:cNvGrpSpPr/>
                  <p:nvPr/>
                </p:nvGrpSpPr>
                <p:grpSpPr>
                  <a:xfrm>
                    <a:off x="6592076" y="3874535"/>
                    <a:ext cx="165158" cy="16283"/>
                    <a:chOff x="6592076" y="3874535"/>
                    <a:chExt cx="165158" cy="16283"/>
                  </a:xfrm>
                  <a:solidFill>
                    <a:schemeClr val="accent1"/>
                  </a:solidFill>
                </p:grpSpPr>
                <p:sp>
                  <p:nvSpPr>
                    <p:cNvPr id="736" name="Freeform: Shape 735">
                      <a:extLst>
                        <a:ext uri="{FF2B5EF4-FFF2-40B4-BE49-F238E27FC236}">
                          <a16:creationId xmlns:a16="http://schemas.microsoft.com/office/drawing/2014/main" id="{7DD7B549-0409-41FF-895E-B47B5EC8857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92076" y="3874535"/>
                      <a:ext cx="165158" cy="16283"/>
                    </a:xfrm>
                    <a:custGeom>
                      <a:avLst/>
                      <a:gdLst>
                        <a:gd name="connsiteX0" fmla="*/ 164553 w 165158"/>
                        <a:gd name="connsiteY0" fmla="*/ 16911 h 16283"/>
                        <a:gd name="connsiteX1" fmla="*/ 1465 w 165158"/>
                        <a:gd name="connsiteY1" fmla="*/ 16911 h 16283"/>
                        <a:gd name="connsiteX2" fmla="*/ 0 w 165158"/>
                        <a:gd name="connsiteY2" fmla="*/ 15446 h 16283"/>
                        <a:gd name="connsiteX3" fmla="*/ 0 w 165158"/>
                        <a:gd name="connsiteY3" fmla="*/ 1465 h 16283"/>
                        <a:gd name="connsiteX4" fmla="*/ 1465 w 165158"/>
                        <a:gd name="connsiteY4" fmla="*/ 0 h 16283"/>
                        <a:gd name="connsiteX5" fmla="*/ 164553 w 165158"/>
                        <a:gd name="connsiteY5" fmla="*/ 0 h 16283"/>
                        <a:gd name="connsiteX6" fmla="*/ 166019 w 165158"/>
                        <a:gd name="connsiteY6" fmla="*/ 1465 h 16283"/>
                        <a:gd name="connsiteX7" fmla="*/ 166019 w 165158"/>
                        <a:gd name="connsiteY7" fmla="*/ 15446 h 16283"/>
                        <a:gd name="connsiteX8" fmla="*/ 164553 w 165158"/>
                        <a:gd name="connsiteY8" fmla="*/ 1691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165158" h="16283">
                          <a:moveTo>
                            <a:pt x="164553" y="16911"/>
                          </a:moveTo>
                          <a:lnTo>
                            <a:pt x="1465" y="16911"/>
                          </a:lnTo>
                          <a:cubicBezTo>
                            <a:pt x="651" y="16911"/>
                            <a:pt x="0" y="16260"/>
                            <a:pt x="0" y="15446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164553" y="0"/>
                          </a:lnTo>
                          <a:cubicBezTo>
                            <a:pt x="165367" y="0"/>
                            <a:pt x="166019" y="651"/>
                            <a:pt x="166019" y="1465"/>
                          </a:cubicBezTo>
                          <a:lnTo>
                            <a:pt x="166019" y="15446"/>
                          </a:lnTo>
                          <a:cubicBezTo>
                            <a:pt x="166019" y="16260"/>
                            <a:pt x="165367" y="16911"/>
                            <a:pt x="164553" y="16911"/>
                          </a:cubicBezTo>
                          <a:close/>
                        </a:path>
                      </a:pathLst>
                    </a:custGeom>
                    <a:solidFill>
                      <a:srgbClr val="F19439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37" name="Freeform: Shape 736">
                      <a:extLst>
                        <a:ext uri="{FF2B5EF4-FFF2-40B4-BE49-F238E27FC236}">
                          <a16:creationId xmlns:a16="http://schemas.microsoft.com/office/drawing/2014/main" id="{49540592-56FE-4AFB-9C2E-06CC5586632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71887" y="3875233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64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38" name="Freeform: Shape 737">
                      <a:extLst>
                        <a:ext uri="{FF2B5EF4-FFF2-40B4-BE49-F238E27FC236}">
                          <a16:creationId xmlns:a16="http://schemas.microsoft.com/office/drawing/2014/main" id="{9D31DDFD-24AD-47F6-8197-BB73E2A7E2E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79773" y="3875233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64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39" name="Freeform: Shape 738">
                      <a:extLst>
                        <a:ext uri="{FF2B5EF4-FFF2-40B4-BE49-F238E27FC236}">
                          <a16:creationId xmlns:a16="http://schemas.microsoft.com/office/drawing/2014/main" id="{E9302590-1547-4B76-BD9D-E15F0D8D641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87635" y="3875233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64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40" name="Freeform: Shape 739">
                      <a:extLst>
                        <a:ext uri="{FF2B5EF4-FFF2-40B4-BE49-F238E27FC236}">
                          <a16:creationId xmlns:a16="http://schemas.microsoft.com/office/drawing/2014/main" id="{61609C97-0637-4EF8-A3F9-3E1DBBE0417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95521" y="3875233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64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41" name="Freeform: Shape 740">
                      <a:extLst>
                        <a:ext uri="{FF2B5EF4-FFF2-40B4-BE49-F238E27FC236}">
                          <a16:creationId xmlns:a16="http://schemas.microsoft.com/office/drawing/2014/main" id="{C05E29DA-57BD-4177-8B9D-1F6FA071F19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03383" y="3875233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64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42" name="Freeform: Shape 741">
                      <a:extLst>
                        <a:ext uri="{FF2B5EF4-FFF2-40B4-BE49-F238E27FC236}">
                          <a16:creationId xmlns:a16="http://schemas.microsoft.com/office/drawing/2014/main" id="{D8A898C6-00BF-49EF-A4A7-0DF9F9A4E32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11269" y="3875233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64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43" name="Freeform: Shape 742">
                      <a:extLst>
                        <a:ext uri="{FF2B5EF4-FFF2-40B4-BE49-F238E27FC236}">
                          <a16:creationId xmlns:a16="http://schemas.microsoft.com/office/drawing/2014/main" id="{C5167380-7FDF-4AF0-B746-35E63A257EE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19132" y="3875233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64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44" name="Freeform: Shape 743">
                      <a:extLst>
                        <a:ext uri="{FF2B5EF4-FFF2-40B4-BE49-F238E27FC236}">
                          <a16:creationId xmlns:a16="http://schemas.microsoft.com/office/drawing/2014/main" id="{E2521B70-6BB5-4C3C-8614-D7909EA86CB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27017" y="3875233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64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45" name="Freeform: Shape 744">
                      <a:extLst>
                        <a:ext uri="{FF2B5EF4-FFF2-40B4-BE49-F238E27FC236}">
                          <a16:creationId xmlns:a16="http://schemas.microsoft.com/office/drawing/2014/main" id="{797D62F9-8990-4D18-A516-36A8769865F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34903" y="3875233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64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46" name="Freeform: Shape 745">
                      <a:extLst>
                        <a:ext uri="{FF2B5EF4-FFF2-40B4-BE49-F238E27FC236}">
                          <a16:creationId xmlns:a16="http://schemas.microsoft.com/office/drawing/2014/main" id="{9BAF5063-80FB-475E-93E3-4AE5AF7F146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42765" y="3875233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64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47" name="Freeform: Shape 746">
                      <a:extLst>
                        <a:ext uri="{FF2B5EF4-FFF2-40B4-BE49-F238E27FC236}">
                          <a16:creationId xmlns:a16="http://schemas.microsoft.com/office/drawing/2014/main" id="{24BCD791-6C60-477E-8635-1D9F1205D5A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50651" y="3875233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64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48" name="Freeform: Shape 747">
                      <a:extLst>
                        <a:ext uri="{FF2B5EF4-FFF2-40B4-BE49-F238E27FC236}">
                          <a16:creationId xmlns:a16="http://schemas.microsoft.com/office/drawing/2014/main" id="{7D2E308D-D369-4C69-9CD4-877F91E2A7A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08871" y="3875233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64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49" name="Freeform: Shape 748">
                      <a:extLst>
                        <a:ext uri="{FF2B5EF4-FFF2-40B4-BE49-F238E27FC236}">
                          <a16:creationId xmlns:a16="http://schemas.microsoft.com/office/drawing/2014/main" id="{9A240B5D-6E6F-43E6-B2C1-870268832BA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16757" y="3875233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64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50" name="Freeform: Shape 749">
                      <a:extLst>
                        <a:ext uri="{FF2B5EF4-FFF2-40B4-BE49-F238E27FC236}">
                          <a16:creationId xmlns:a16="http://schemas.microsoft.com/office/drawing/2014/main" id="{75F11709-F96C-490E-9DED-ED0605ACF39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24619" y="3875233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64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51" name="Freeform: Shape 750">
                      <a:extLst>
                        <a:ext uri="{FF2B5EF4-FFF2-40B4-BE49-F238E27FC236}">
                          <a16:creationId xmlns:a16="http://schemas.microsoft.com/office/drawing/2014/main" id="{9B4F65DF-A592-4E61-B0BD-01585686B29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93123" y="3875233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64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52" name="Freeform: Shape 751">
                      <a:extLst>
                        <a:ext uri="{FF2B5EF4-FFF2-40B4-BE49-F238E27FC236}">
                          <a16:creationId xmlns:a16="http://schemas.microsoft.com/office/drawing/2014/main" id="{FC7AE1C6-D6B5-4E3C-9325-7A7A0207C33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01009" y="3875233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64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53" name="Freeform: Shape 752">
                      <a:extLst>
                        <a:ext uri="{FF2B5EF4-FFF2-40B4-BE49-F238E27FC236}">
                          <a16:creationId xmlns:a16="http://schemas.microsoft.com/office/drawing/2014/main" id="{CFAC7427-CC37-4F7D-B7A7-AD436AF2CF7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08871" y="3875233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64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54" name="Freeform: Shape 753">
                      <a:extLst>
                        <a:ext uri="{FF2B5EF4-FFF2-40B4-BE49-F238E27FC236}">
                          <a16:creationId xmlns:a16="http://schemas.microsoft.com/office/drawing/2014/main" id="{83DF213B-27F3-4F51-A366-120FF21AC09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32505" y="3875233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64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55" name="Freeform: Shape 754">
                      <a:extLst>
                        <a:ext uri="{FF2B5EF4-FFF2-40B4-BE49-F238E27FC236}">
                          <a16:creationId xmlns:a16="http://schemas.microsoft.com/office/drawing/2014/main" id="{655D3959-DB46-471D-B62F-D5001A05D35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40391" y="3875233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64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56" name="Freeform: Shape 755">
                      <a:extLst>
                        <a:ext uri="{FF2B5EF4-FFF2-40B4-BE49-F238E27FC236}">
                          <a16:creationId xmlns:a16="http://schemas.microsoft.com/office/drawing/2014/main" id="{D44F1BAF-C253-4876-B303-D336F7294DE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48253" y="3875233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64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57" name="Freeform: Shape 756">
                      <a:extLst>
                        <a:ext uri="{FF2B5EF4-FFF2-40B4-BE49-F238E27FC236}">
                          <a16:creationId xmlns:a16="http://schemas.microsoft.com/office/drawing/2014/main" id="{ED6C3D50-E7BF-4BF1-AC76-00BFB3C7141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56139" y="3875233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64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58" name="Freeform: Shape 757">
                      <a:extLst>
                        <a:ext uri="{FF2B5EF4-FFF2-40B4-BE49-F238E27FC236}">
                          <a16:creationId xmlns:a16="http://schemas.microsoft.com/office/drawing/2014/main" id="{4C890BB5-D6E6-48C4-B98B-3D7C9D457E3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64001" y="3875233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64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640" name="Graphic 174">
                    <a:extLst>
                      <a:ext uri="{FF2B5EF4-FFF2-40B4-BE49-F238E27FC236}">
                        <a16:creationId xmlns:a16="http://schemas.microsoft.com/office/drawing/2014/main" id="{E85FB97E-DF01-47DC-B969-D794CE23851D}"/>
                      </a:ext>
                    </a:extLst>
                  </p:cNvPr>
                  <p:cNvGrpSpPr/>
                  <p:nvPr/>
                </p:nvGrpSpPr>
                <p:grpSpPr>
                  <a:xfrm>
                    <a:off x="6599962" y="3857647"/>
                    <a:ext cx="165158" cy="16283"/>
                    <a:chOff x="6599962" y="3857647"/>
                    <a:chExt cx="165158" cy="16283"/>
                  </a:xfrm>
                  <a:solidFill>
                    <a:schemeClr val="accent1"/>
                  </a:solidFill>
                </p:grpSpPr>
                <p:sp>
                  <p:nvSpPr>
                    <p:cNvPr id="713" name="Freeform: Shape 712">
                      <a:extLst>
                        <a:ext uri="{FF2B5EF4-FFF2-40B4-BE49-F238E27FC236}">
                          <a16:creationId xmlns:a16="http://schemas.microsoft.com/office/drawing/2014/main" id="{313D4C38-95C3-4F7E-B55F-62A5CF14C1F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99962" y="3857647"/>
                      <a:ext cx="165158" cy="16283"/>
                    </a:xfrm>
                    <a:custGeom>
                      <a:avLst/>
                      <a:gdLst>
                        <a:gd name="connsiteX0" fmla="*/ 164553 w 165158"/>
                        <a:gd name="connsiteY0" fmla="*/ 16911 h 16283"/>
                        <a:gd name="connsiteX1" fmla="*/ 1465 w 165158"/>
                        <a:gd name="connsiteY1" fmla="*/ 16911 h 16283"/>
                        <a:gd name="connsiteX2" fmla="*/ 0 w 165158"/>
                        <a:gd name="connsiteY2" fmla="*/ 15446 h 16283"/>
                        <a:gd name="connsiteX3" fmla="*/ 0 w 165158"/>
                        <a:gd name="connsiteY3" fmla="*/ 1465 h 16283"/>
                        <a:gd name="connsiteX4" fmla="*/ 1465 w 165158"/>
                        <a:gd name="connsiteY4" fmla="*/ 0 h 16283"/>
                        <a:gd name="connsiteX5" fmla="*/ 164553 w 165158"/>
                        <a:gd name="connsiteY5" fmla="*/ 0 h 16283"/>
                        <a:gd name="connsiteX6" fmla="*/ 166019 w 165158"/>
                        <a:gd name="connsiteY6" fmla="*/ 1465 h 16283"/>
                        <a:gd name="connsiteX7" fmla="*/ 166019 w 165158"/>
                        <a:gd name="connsiteY7" fmla="*/ 15446 h 16283"/>
                        <a:gd name="connsiteX8" fmla="*/ 164553 w 165158"/>
                        <a:gd name="connsiteY8" fmla="*/ 1691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165158" h="16283">
                          <a:moveTo>
                            <a:pt x="164553" y="16911"/>
                          </a:moveTo>
                          <a:lnTo>
                            <a:pt x="1465" y="16911"/>
                          </a:lnTo>
                          <a:cubicBezTo>
                            <a:pt x="651" y="16911"/>
                            <a:pt x="0" y="16260"/>
                            <a:pt x="0" y="15446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164553" y="0"/>
                          </a:lnTo>
                          <a:cubicBezTo>
                            <a:pt x="165367" y="0"/>
                            <a:pt x="166019" y="651"/>
                            <a:pt x="166019" y="1465"/>
                          </a:cubicBezTo>
                          <a:lnTo>
                            <a:pt x="166019" y="15446"/>
                          </a:lnTo>
                          <a:cubicBezTo>
                            <a:pt x="166019" y="16260"/>
                            <a:pt x="165367" y="16911"/>
                            <a:pt x="164553" y="16911"/>
                          </a:cubicBezTo>
                          <a:close/>
                        </a:path>
                      </a:pathLst>
                    </a:custGeom>
                    <a:solidFill>
                      <a:srgbClr val="F19439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14" name="Freeform: Shape 713">
                      <a:extLst>
                        <a:ext uri="{FF2B5EF4-FFF2-40B4-BE49-F238E27FC236}">
                          <a16:creationId xmlns:a16="http://schemas.microsoft.com/office/drawing/2014/main" id="{A392245E-CE1D-471B-B07D-B17895E97EC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79773" y="3858345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15" name="Freeform: Shape 714">
                      <a:extLst>
                        <a:ext uri="{FF2B5EF4-FFF2-40B4-BE49-F238E27FC236}">
                          <a16:creationId xmlns:a16="http://schemas.microsoft.com/office/drawing/2014/main" id="{DF5CEC02-298C-4867-91D7-9C9FC48BCEA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87635" y="3858345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16" name="Freeform: Shape 715">
                      <a:extLst>
                        <a:ext uri="{FF2B5EF4-FFF2-40B4-BE49-F238E27FC236}">
                          <a16:creationId xmlns:a16="http://schemas.microsoft.com/office/drawing/2014/main" id="{997D905D-C415-434D-94DB-5B3AE4D37F5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95521" y="3858345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17" name="Freeform: Shape 716">
                      <a:extLst>
                        <a:ext uri="{FF2B5EF4-FFF2-40B4-BE49-F238E27FC236}">
                          <a16:creationId xmlns:a16="http://schemas.microsoft.com/office/drawing/2014/main" id="{99D81E8B-EF72-4ABB-B516-7182E259A61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03383" y="3858345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18" name="Freeform: Shape 717">
                      <a:extLst>
                        <a:ext uri="{FF2B5EF4-FFF2-40B4-BE49-F238E27FC236}">
                          <a16:creationId xmlns:a16="http://schemas.microsoft.com/office/drawing/2014/main" id="{1B0F4984-F0C0-4487-8CD8-E1390B745C9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11269" y="3858345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19" name="Freeform: Shape 718">
                      <a:extLst>
                        <a:ext uri="{FF2B5EF4-FFF2-40B4-BE49-F238E27FC236}">
                          <a16:creationId xmlns:a16="http://schemas.microsoft.com/office/drawing/2014/main" id="{43F49B6B-B0AF-41C3-AB41-F8A052E0E33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19132" y="3858345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20" name="Freeform: Shape 719">
                      <a:extLst>
                        <a:ext uri="{FF2B5EF4-FFF2-40B4-BE49-F238E27FC236}">
                          <a16:creationId xmlns:a16="http://schemas.microsoft.com/office/drawing/2014/main" id="{618203DB-F63C-4415-98A0-425F7A09DCC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27017" y="3858345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21" name="Freeform: Shape 720">
                      <a:extLst>
                        <a:ext uri="{FF2B5EF4-FFF2-40B4-BE49-F238E27FC236}">
                          <a16:creationId xmlns:a16="http://schemas.microsoft.com/office/drawing/2014/main" id="{B59A55FC-E443-43C9-BD19-794ADB4F174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34903" y="3858345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22" name="Freeform: Shape 721">
                      <a:extLst>
                        <a:ext uri="{FF2B5EF4-FFF2-40B4-BE49-F238E27FC236}">
                          <a16:creationId xmlns:a16="http://schemas.microsoft.com/office/drawing/2014/main" id="{91F77038-FF1B-4CA2-8908-48AA0E74B52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42765" y="3858345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23" name="Freeform: Shape 722">
                      <a:extLst>
                        <a:ext uri="{FF2B5EF4-FFF2-40B4-BE49-F238E27FC236}">
                          <a16:creationId xmlns:a16="http://schemas.microsoft.com/office/drawing/2014/main" id="{C77B427A-5E01-4B9E-9BA6-3992CACF2AA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50651" y="3858345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24" name="Freeform: Shape 723">
                      <a:extLst>
                        <a:ext uri="{FF2B5EF4-FFF2-40B4-BE49-F238E27FC236}">
                          <a16:creationId xmlns:a16="http://schemas.microsoft.com/office/drawing/2014/main" id="{AF8FE5F4-56C1-4E9E-8BE9-DC6A85639A1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58514" y="3858345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25" name="Freeform: Shape 724">
                      <a:extLst>
                        <a:ext uri="{FF2B5EF4-FFF2-40B4-BE49-F238E27FC236}">
                          <a16:creationId xmlns:a16="http://schemas.microsoft.com/office/drawing/2014/main" id="{18405942-A43B-4346-92C6-4AB5A878CE9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16757" y="3858345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26" name="Freeform: Shape 725">
                      <a:extLst>
                        <a:ext uri="{FF2B5EF4-FFF2-40B4-BE49-F238E27FC236}">
                          <a16:creationId xmlns:a16="http://schemas.microsoft.com/office/drawing/2014/main" id="{41B01C6F-4818-4DC3-B086-A4389A5C616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24619" y="3858345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27" name="Freeform: Shape 726">
                      <a:extLst>
                        <a:ext uri="{FF2B5EF4-FFF2-40B4-BE49-F238E27FC236}">
                          <a16:creationId xmlns:a16="http://schemas.microsoft.com/office/drawing/2014/main" id="{BAD6CABE-9676-4998-97B8-7111AC1058A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32505" y="3858345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28" name="Freeform: Shape 727">
                      <a:extLst>
                        <a:ext uri="{FF2B5EF4-FFF2-40B4-BE49-F238E27FC236}">
                          <a16:creationId xmlns:a16="http://schemas.microsoft.com/office/drawing/2014/main" id="{720BA13B-69F5-4A65-BAAB-33E7B2A5519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01009" y="3858345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29" name="Freeform: Shape 728">
                      <a:extLst>
                        <a:ext uri="{FF2B5EF4-FFF2-40B4-BE49-F238E27FC236}">
                          <a16:creationId xmlns:a16="http://schemas.microsoft.com/office/drawing/2014/main" id="{5B90DFE5-1668-4DB9-8B35-70428D9C9D0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08871" y="3858345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30" name="Freeform: Shape 729">
                      <a:extLst>
                        <a:ext uri="{FF2B5EF4-FFF2-40B4-BE49-F238E27FC236}">
                          <a16:creationId xmlns:a16="http://schemas.microsoft.com/office/drawing/2014/main" id="{BE6825FD-2A6A-48B3-97E6-0FF27D05576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16757" y="3858345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31" name="Freeform: Shape 730">
                      <a:extLst>
                        <a:ext uri="{FF2B5EF4-FFF2-40B4-BE49-F238E27FC236}">
                          <a16:creationId xmlns:a16="http://schemas.microsoft.com/office/drawing/2014/main" id="{8D2BDBC4-1A5B-4673-9340-562D8809875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40391" y="3858345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32" name="Freeform: Shape 731">
                      <a:extLst>
                        <a:ext uri="{FF2B5EF4-FFF2-40B4-BE49-F238E27FC236}">
                          <a16:creationId xmlns:a16="http://schemas.microsoft.com/office/drawing/2014/main" id="{05CF5D78-946B-413B-BA21-7A2F4E9607F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48253" y="3858345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33" name="Freeform: Shape 732">
                      <a:extLst>
                        <a:ext uri="{FF2B5EF4-FFF2-40B4-BE49-F238E27FC236}">
                          <a16:creationId xmlns:a16="http://schemas.microsoft.com/office/drawing/2014/main" id="{D72BBF6C-8557-4A19-9BA3-3ED304D4B94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56139" y="3858345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34" name="Freeform: Shape 733">
                      <a:extLst>
                        <a:ext uri="{FF2B5EF4-FFF2-40B4-BE49-F238E27FC236}">
                          <a16:creationId xmlns:a16="http://schemas.microsoft.com/office/drawing/2014/main" id="{CF2D4B2F-0721-41E4-9197-C5018720DDC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64001" y="3858345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35" name="Freeform: Shape 734">
                      <a:extLst>
                        <a:ext uri="{FF2B5EF4-FFF2-40B4-BE49-F238E27FC236}">
                          <a16:creationId xmlns:a16="http://schemas.microsoft.com/office/drawing/2014/main" id="{51F93365-4714-4D62-B10B-F9304DC5FDA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71887" y="3858345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641" name="Graphic 174">
                    <a:extLst>
                      <a:ext uri="{FF2B5EF4-FFF2-40B4-BE49-F238E27FC236}">
                        <a16:creationId xmlns:a16="http://schemas.microsoft.com/office/drawing/2014/main" id="{95139DBA-E715-4409-80E2-5D8C1EFE0402}"/>
                      </a:ext>
                    </a:extLst>
                  </p:cNvPr>
                  <p:cNvGrpSpPr/>
                  <p:nvPr/>
                </p:nvGrpSpPr>
                <p:grpSpPr>
                  <a:xfrm>
                    <a:off x="6592076" y="3840759"/>
                    <a:ext cx="165158" cy="16283"/>
                    <a:chOff x="6592076" y="3840759"/>
                    <a:chExt cx="165158" cy="16283"/>
                  </a:xfrm>
                  <a:solidFill>
                    <a:schemeClr val="accent1"/>
                  </a:solidFill>
                </p:grpSpPr>
                <p:sp>
                  <p:nvSpPr>
                    <p:cNvPr id="690" name="Freeform: Shape 689">
                      <a:extLst>
                        <a:ext uri="{FF2B5EF4-FFF2-40B4-BE49-F238E27FC236}">
                          <a16:creationId xmlns:a16="http://schemas.microsoft.com/office/drawing/2014/main" id="{95940DCB-B37F-4ACA-A44B-A7EE7F2A553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92076" y="3840759"/>
                      <a:ext cx="165158" cy="16283"/>
                    </a:xfrm>
                    <a:custGeom>
                      <a:avLst/>
                      <a:gdLst>
                        <a:gd name="connsiteX0" fmla="*/ 164553 w 165158"/>
                        <a:gd name="connsiteY0" fmla="*/ 16911 h 16283"/>
                        <a:gd name="connsiteX1" fmla="*/ 1465 w 165158"/>
                        <a:gd name="connsiteY1" fmla="*/ 16911 h 16283"/>
                        <a:gd name="connsiteX2" fmla="*/ 0 w 165158"/>
                        <a:gd name="connsiteY2" fmla="*/ 15446 h 16283"/>
                        <a:gd name="connsiteX3" fmla="*/ 0 w 165158"/>
                        <a:gd name="connsiteY3" fmla="*/ 1465 h 16283"/>
                        <a:gd name="connsiteX4" fmla="*/ 1465 w 165158"/>
                        <a:gd name="connsiteY4" fmla="*/ 0 h 16283"/>
                        <a:gd name="connsiteX5" fmla="*/ 164553 w 165158"/>
                        <a:gd name="connsiteY5" fmla="*/ 0 h 16283"/>
                        <a:gd name="connsiteX6" fmla="*/ 166019 w 165158"/>
                        <a:gd name="connsiteY6" fmla="*/ 1465 h 16283"/>
                        <a:gd name="connsiteX7" fmla="*/ 166019 w 165158"/>
                        <a:gd name="connsiteY7" fmla="*/ 15446 h 16283"/>
                        <a:gd name="connsiteX8" fmla="*/ 164553 w 165158"/>
                        <a:gd name="connsiteY8" fmla="*/ 1691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165158" h="16283">
                          <a:moveTo>
                            <a:pt x="164553" y="16911"/>
                          </a:moveTo>
                          <a:lnTo>
                            <a:pt x="1465" y="16911"/>
                          </a:lnTo>
                          <a:cubicBezTo>
                            <a:pt x="651" y="16911"/>
                            <a:pt x="0" y="16260"/>
                            <a:pt x="0" y="15446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164553" y="0"/>
                          </a:lnTo>
                          <a:cubicBezTo>
                            <a:pt x="165367" y="0"/>
                            <a:pt x="166019" y="651"/>
                            <a:pt x="166019" y="1465"/>
                          </a:cubicBezTo>
                          <a:lnTo>
                            <a:pt x="166019" y="15446"/>
                          </a:lnTo>
                          <a:cubicBezTo>
                            <a:pt x="166019" y="16260"/>
                            <a:pt x="165367" y="16911"/>
                            <a:pt x="164553" y="16911"/>
                          </a:cubicBezTo>
                          <a:close/>
                        </a:path>
                      </a:pathLst>
                    </a:custGeom>
                    <a:solidFill>
                      <a:srgbClr val="F19439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91" name="Freeform: Shape 690">
                      <a:extLst>
                        <a:ext uri="{FF2B5EF4-FFF2-40B4-BE49-F238E27FC236}">
                          <a16:creationId xmlns:a16="http://schemas.microsoft.com/office/drawing/2014/main" id="{7BFC20A5-F9E8-4995-AF0C-944E66B8237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71887" y="3841457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92" name="Freeform: Shape 691">
                      <a:extLst>
                        <a:ext uri="{FF2B5EF4-FFF2-40B4-BE49-F238E27FC236}">
                          <a16:creationId xmlns:a16="http://schemas.microsoft.com/office/drawing/2014/main" id="{D36F52A3-CB4A-47EC-9846-5E13E87BC49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79773" y="3841457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93" name="Freeform: Shape 692">
                      <a:extLst>
                        <a:ext uri="{FF2B5EF4-FFF2-40B4-BE49-F238E27FC236}">
                          <a16:creationId xmlns:a16="http://schemas.microsoft.com/office/drawing/2014/main" id="{54FDD015-5277-4540-95B0-B2C440BBB39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87635" y="3841457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94" name="Freeform: Shape 693">
                      <a:extLst>
                        <a:ext uri="{FF2B5EF4-FFF2-40B4-BE49-F238E27FC236}">
                          <a16:creationId xmlns:a16="http://schemas.microsoft.com/office/drawing/2014/main" id="{004B1A96-FE24-4A34-9775-2BC26D85D55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95521" y="3841457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95" name="Freeform: Shape 694">
                      <a:extLst>
                        <a:ext uri="{FF2B5EF4-FFF2-40B4-BE49-F238E27FC236}">
                          <a16:creationId xmlns:a16="http://schemas.microsoft.com/office/drawing/2014/main" id="{F41D3880-D1D7-4CB9-9EE3-785041106E6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03383" y="3841457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96" name="Freeform: Shape 695">
                      <a:extLst>
                        <a:ext uri="{FF2B5EF4-FFF2-40B4-BE49-F238E27FC236}">
                          <a16:creationId xmlns:a16="http://schemas.microsoft.com/office/drawing/2014/main" id="{67B12077-E122-49F2-A802-1C579BE87FE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11269" y="3841457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97" name="Freeform: Shape 696">
                      <a:extLst>
                        <a:ext uri="{FF2B5EF4-FFF2-40B4-BE49-F238E27FC236}">
                          <a16:creationId xmlns:a16="http://schemas.microsoft.com/office/drawing/2014/main" id="{6423D8A8-F0F1-4052-BFEB-54BC8D8DAF5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19132" y="3841457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98" name="Freeform: Shape 697">
                      <a:extLst>
                        <a:ext uri="{FF2B5EF4-FFF2-40B4-BE49-F238E27FC236}">
                          <a16:creationId xmlns:a16="http://schemas.microsoft.com/office/drawing/2014/main" id="{CA41A1B4-C49B-4063-8921-4CE66B3DFB5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27017" y="3841457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99" name="Freeform: Shape 698">
                      <a:extLst>
                        <a:ext uri="{FF2B5EF4-FFF2-40B4-BE49-F238E27FC236}">
                          <a16:creationId xmlns:a16="http://schemas.microsoft.com/office/drawing/2014/main" id="{6A1B7047-6719-4B8B-A64E-80DF392DD12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34903" y="3841457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00" name="Freeform: Shape 699">
                      <a:extLst>
                        <a:ext uri="{FF2B5EF4-FFF2-40B4-BE49-F238E27FC236}">
                          <a16:creationId xmlns:a16="http://schemas.microsoft.com/office/drawing/2014/main" id="{4A52FC11-93A2-447D-8738-177F8D9447E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42765" y="3841457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01" name="Freeform: Shape 700">
                      <a:extLst>
                        <a:ext uri="{FF2B5EF4-FFF2-40B4-BE49-F238E27FC236}">
                          <a16:creationId xmlns:a16="http://schemas.microsoft.com/office/drawing/2014/main" id="{8507E9D7-293A-47F2-816F-43DB08D01CA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50651" y="3841457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02" name="Freeform: Shape 701">
                      <a:extLst>
                        <a:ext uri="{FF2B5EF4-FFF2-40B4-BE49-F238E27FC236}">
                          <a16:creationId xmlns:a16="http://schemas.microsoft.com/office/drawing/2014/main" id="{BCA4B9B1-2AB5-4ED4-BAD3-F15DD17AD90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08871" y="3841457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03" name="Freeform: Shape 702">
                      <a:extLst>
                        <a:ext uri="{FF2B5EF4-FFF2-40B4-BE49-F238E27FC236}">
                          <a16:creationId xmlns:a16="http://schemas.microsoft.com/office/drawing/2014/main" id="{F39E56A4-5231-4CEB-BB9B-0314C38526D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16757" y="3841457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04" name="Freeform: Shape 703">
                      <a:extLst>
                        <a:ext uri="{FF2B5EF4-FFF2-40B4-BE49-F238E27FC236}">
                          <a16:creationId xmlns:a16="http://schemas.microsoft.com/office/drawing/2014/main" id="{8C2D9DB0-0A01-4A3F-B526-949F54E4F57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24619" y="3841457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05" name="Freeform: Shape 704">
                      <a:extLst>
                        <a:ext uri="{FF2B5EF4-FFF2-40B4-BE49-F238E27FC236}">
                          <a16:creationId xmlns:a16="http://schemas.microsoft.com/office/drawing/2014/main" id="{52F0EECB-5E0F-4073-BFA0-7E8FAF1D5DB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93123" y="3841457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06" name="Freeform: Shape 705">
                      <a:extLst>
                        <a:ext uri="{FF2B5EF4-FFF2-40B4-BE49-F238E27FC236}">
                          <a16:creationId xmlns:a16="http://schemas.microsoft.com/office/drawing/2014/main" id="{48763142-CAD3-40B5-97DD-806511D27F4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01009" y="3841457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07" name="Freeform: Shape 706">
                      <a:extLst>
                        <a:ext uri="{FF2B5EF4-FFF2-40B4-BE49-F238E27FC236}">
                          <a16:creationId xmlns:a16="http://schemas.microsoft.com/office/drawing/2014/main" id="{A5D38EC0-C35F-4AC8-805C-6B5FDCA8E09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08871" y="3841457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08" name="Freeform: Shape 707">
                      <a:extLst>
                        <a:ext uri="{FF2B5EF4-FFF2-40B4-BE49-F238E27FC236}">
                          <a16:creationId xmlns:a16="http://schemas.microsoft.com/office/drawing/2014/main" id="{B92532FC-DB35-4AF4-BD5F-02A619E75DA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32505" y="3841457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09" name="Freeform: Shape 708">
                      <a:extLst>
                        <a:ext uri="{FF2B5EF4-FFF2-40B4-BE49-F238E27FC236}">
                          <a16:creationId xmlns:a16="http://schemas.microsoft.com/office/drawing/2014/main" id="{5A9F20B9-5D56-4867-A3A1-C8C3D1AE43E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40391" y="3841457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10" name="Freeform: Shape 709">
                      <a:extLst>
                        <a:ext uri="{FF2B5EF4-FFF2-40B4-BE49-F238E27FC236}">
                          <a16:creationId xmlns:a16="http://schemas.microsoft.com/office/drawing/2014/main" id="{B86BECF5-37F3-4EF2-AE53-4B3F2C16725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48253" y="3841457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11" name="Freeform: Shape 710">
                      <a:extLst>
                        <a:ext uri="{FF2B5EF4-FFF2-40B4-BE49-F238E27FC236}">
                          <a16:creationId xmlns:a16="http://schemas.microsoft.com/office/drawing/2014/main" id="{72A75BFD-2401-4FC2-A6D7-0E0B3A5D185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56139" y="3841457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712" name="Freeform: Shape 711">
                      <a:extLst>
                        <a:ext uri="{FF2B5EF4-FFF2-40B4-BE49-F238E27FC236}">
                          <a16:creationId xmlns:a16="http://schemas.microsoft.com/office/drawing/2014/main" id="{A4C95120-1BA2-44B3-8575-6D47457F00B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64001" y="3841457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642" name="Graphic 174">
                    <a:extLst>
                      <a:ext uri="{FF2B5EF4-FFF2-40B4-BE49-F238E27FC236}">
                        <a16:creationId xmlns:a16="http://schemas.microsoft.com/office/drawing/2014/main" id="{78E179D2-7CE5-4872-A797-7EB65ACC2874}"/>
                      </a:ext>
                    </a:extLst>
                  </p:cNvPr>
                  <p:cNvGrpSpPr/>
                  <p:nvPr/>
                </p:nvGrpSpPr>
                <p:grpSpPr>
                  <a:xfrm>
                    <a:off x="6597705" y="3823708"/>
                    <a:ext cx="165158" cy="16283"/>
                    <a:chOff x="6597705" y="3823708"/>
                    <a:chExt cx="165158" cy="16283"/>
                  </a:xfrm>
                  <a:solidFill>
                    <a:schemeClr val="accent1"/>
                  </a:solidFill>
                </p:grpSpPr>
                <p:sp>
                  <p:nvSpPr>
                    <p:cNvPr id="667" name="Freeform: Shape 666">
                      <a:extLst>
                        <a:ext uri="{FF2B5EF4-FFF2-40B4-BE49-F238E27FC236}">
                          <a16:creationId xmlns:a16="http://schemas.microsoft.com/office/drawing/2014/main" id="{02198266-8DA0-485C-B686-5F7741A490F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97705" y="3823708"/>
                      <a:ext cx="165158" cy="16283"/>
                    </a:xfrm>
                    <a:custGeom>
                      <a:avLst/>
                      <a:gdLst>
                        <a:gd name="connsiteX0" fmla="*/ 164553 w 165158"/>
                        <a:gd name="connsiteY0" fmla="*/ 16911 h 16283"/>
                        <a:gd name="connsiteX1" fmla="*/ 1465 w 165158"/>
                        <a:gd name="connsiteY1" fmla="*/ 16911 h 16283"/>
                        <a:gd name="connsiteX2" fmla="*/ 0 w 165158"/>
                        <a:gd name="connsiteY2" fmla="*/ 15446 h 16283"/>
                        <a:gd name="connsiteX3" fmla="*/ 0 w 165158"/>
                        <a:gd name="connsiteY3" fmla="*/ 1465 h 16283"/>
                        <a:gd name="connsiteX4" fmla="*/ 1465 w 165158"/>
                        <a:gd name="connsiteY4" fmla="*/ 0 h 16283"/>
                        <a:gd name="connsiteX5" fmla="*/ 164553 w 165158"/>
                        <a:gd name="connsiteY5" fmla="*/ 0 h 16283"/>
                        <a:gd name="connsiteX6" fmla="*/ 166019 w 165158"/>
                        <a:gd name="connsiteY6" fmla="*/ 1465 h 16283"/>
                        <a:gd name="connsiteX7" fmla="*/ 166019 w 165158"/>
                        <a:gd name="connsiteY7" fmla="*/ 15446 h 16283"/>
                        <a:gd name="connsiteX8" fmla="*/ 164553 w 165158"/>
                        <a:gd name="connsiteY8" fmla="*/ 1691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165158" h="16283">
                          <a:moveTo>
                            <a:pt x="164553" y="16911"/>
                          </a:moveTo>
                          <a:lnTo>
                            <a:pt x="1465" y="16911"/>
                          </a:lnTo>
                          <a:cubicBezTo>
                            <a:pt x="651" y="16911"/>
                            <a:pt x="0" y="16260"/>
                            <a:pt x="0" y="15446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164553" y="0"/>
                          </a:lnTo>
                          <a:cubicBezTo>
                            <a:pt x="165367" y="0"/>
                            <a:pt x="166019" y="651"/>
                            <a:pt x="166019" y="1465"/>
                          </a:cubicBezTo>
                          <a:lnTo>
                            <a:pt x="166019" y="15446"/>
                          </a:lnTo>
                          <a:cubicBezTo>
                            <a:pt x="165996" y="16260"/>
                            <a:pt x="165344" y="16911"/>
                            <a:pt x="164553" y="16911"/>
                          </a:cubicBezTo>
                          <a:close/>
                        </a:path>
                      </a:pathLst>
                    </a:custGeom>
                    <a:solidFill>
                      <a:srgbClr val="F19439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68" name="Freeform: Shape 667">
                      <a:extLst>
                        <a:ext uri="{FF2B5EF4-FFF2-40B4-BE49-F238E27FC236}">
                          <a16:creationId xmlns:a16="http://schemas.microsoft.com/office/drawing/2014/main" id="{086F5B68-9B43-45CD-ABA1-F2B5424170E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77493" y="3824406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69" name="Freeform: Shape 668">
                      <a:extLst>
                        <a:ext uri="{FF2B5EF4-FFF2-40B4-BE49-F238E27FC236}">
                          <a16:creationId xmlns:a16="http://schemas.microsoft.com/office/drawing/2014/main" id="{E2C1408E-4853-4049-95A2-ADDA2E68A23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85379" y="3824406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70" name="Freeform: Shape 669">
                      <a:extLst>
                        <a:ext uri="{FF2B5EF4-FFF2-40B4-BE49-F238E27FC236}">
                          <a16:creationId xmlns:a16="http://schemas.microsoft.com/office/drawing/2014/main" id="{CAA4379E-B4EE-4C5A-97D1-BA218AF29A0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93265" y="3824406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71" name="Freeform: Shape 670">
                      <a:extLst>
                        <a:ext uri="{FF2B5EF4-FFF2-40B4-BE49-F238E27FC236}">
                          <a16:creationId xmlns:a16="http://schemas.microsoft.com/office/drawing/2014/main" id="{F86453BF-9628-4A0C-8D56-C7D5EBD5E2E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01127" y="3824406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72" name="Freeform: Shape 671">
                      <a:extLst>
                        <a:ext uri="{FF2B5EF4-FFF2-40B4-BE49-F238E27FC236}">
                          <a16:creationId xmlns:a16="http://schemas.microsoft.com/office/drawing/2014/main" id="{2497003F-A79A-4B22-AED0-7A19373C87D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09013" y="3824406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73" name="Freeform: Shape 672">
                      <a:extLst>
                        <a:ext uri="{FF2B5EF4-FFF2-40B4-BE49-F238E27FC236}">
                          <a16:creationId xmlns:a16="http://schemas.microsoft.com/office/drawing/2014/main" id="{E1A81555-33F2-4775-A945-5F008F8832A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16875" y="3824406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74" name="Freeform: Shape 673">
                      <a:extLst>
                        <a:ext uri="{FF2B5EF4-FFF2-40B4-BE49-F238E27FC236}">
                          <a16:creationId xmlns:a16="http://schemas.microsoft.com/office/drawing/2014/main" id="{B87DC528-EA9C-4957-B765-A0C0FDECFAF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24761" y="3824406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75" name="Freeform: Shape 674">
                      <a:extLst>
                        <a:ext uri="{FF2B5EF4-FFF2-40B4-BE49-F238E27FC236}">
                          <a16:creationId xmlns:a16="http://schemas.microsoft.com/office/drawing/2014/main" id="{04A86DC8-79AD-4EF3-B7E9-00D9D902A2D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32623" y="3824406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76" name="Freeform: Shape 675">
                      <a:extLst>
                        <a:ext uri="{FF2B5EF4-FFF2-40B4-BE49-F238E27FC236}">
                          <a16:creationId xmlns:a16="http://schemas.microsoft.com/office/drawing/2014/main" id="{55CDF49E-BEAE-453F-A5A5-D7E7DFEDF17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40509" y="3824406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77" name="Freeform: Shape 676">
                      <a:extLst>
                        <a:ext uri="{FF2B5EF4-FFF2-40B4-BE49-F238E27FC236}">
                          <a16:creationId xmlns:a16="http://schemas.microsoft.com/office/drawing/2014/main" id="{3DA1C90C-DCE3-49DD-9B4F-9916BF678FD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48395" y="3824406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78" name="Freeform: Shape 677">
                      <a:extLst>
                        <a:ext uri="{FF2B5EF4-FFF2-40B4-BE49-F238E27FC236}">
                          <a16:creationId xmlns:a16="http://schemas.microsoft.com/office/drawing/2014/main" id="{9096C765-7ABA-46F0-AA08-1B6CD90DFA4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56257" y="3824406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79" name="Freeform: Shape 678">
                      <a:extLst>
                        <a:ext uri="{FF2B5EF4-FFF2-40B4-BE49-F238E27FC236}">
                          <a16:creationId xmlns:a16="http://schemas.microsoft.com/office/drawing/2014/main" id="{EB540128-8EC9-4F1B-8426-60BF3D02728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14500" y="3824406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80" name="Freeform: Shape 679">
                      <a:extLst>
                        <a:ext uri="{FF2B5EF4-FFF2-40B4-BE49-F238E27FC236}">
                          <a16:creationId xmlns:a16="http://schemas.microsoft.com/office/drawing/2014/main" id="{94851457-B427-4554-8A1B-F20D322AE17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22363" y="3824406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81" name="Freeform: Shape 680">
                      <a:extLst>
                        <a:ext uri="{FF2B5EF4-FFF2-40B4-BE49-F238E27FC236}">
                          <a16:creationId xmlns:a16="http://schemas.microsoft.com/office/drawing/2014/main" id="{3DAD2227-854B-49A8-9B3B-83D1359A7C9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30249" y="3824406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82" name="Freeform: Shape 681">
                      <a:extLst>
                        <a:ext uri="{FF2B5EF4-FFF2-40B4-BE49-F238E27FC236}">
                          <a16:creationId xmlns:a16="http://schemas.microsoft.com/office/drawing/2014/main" id="{DED40B9C-EA2D-40CF-B517-6CE77015BC3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98752" y="3824406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83" name="Freeform: Shape 682">
                      <a:extLst>
                        <a:ext uri="{FF2B5EF4-FFF2-40B4-BE49-F238E27FC236}">
                          <a16:creationId xmlns:a16="http://schemas.microsoft.com/office/drawing/2014/main" id="{86E7D2A3-5361-46B7-903D-AD598D00FFF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06615" y="3824406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84" name="Freeform: Shape 683">
                      <a:extLst>
                        <a:ext uri="{FF2B5EF4-FFF2-40B4-BE49-F238E27FC236}">
                          <a16:creationId xmlns:a16="http://schemas.microsoft.com/office/drawing/2014/main" id="{3D9D3212-2B31-4F66-A3C9-1E36E9E96A4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14500" y="3824406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85" name="Freeform: Shape 684">
                      <a:extLst>
                        <a:ext uri="{FF2B5EF4-FFF2-40B4-BE49-F238E27FC236}">
                          <a16:creationId xmlns:a16="http://schemas.microsoft.com/office/drawing/2014/main" id="{E067DEC6-D231-4D9F-A085-2E2C93CE312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38111" y="3824406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86" name="Freeform: Shape 685">
                      <a:extLst>
                        <a:ext uri="{FF2B5EF4-FFF2-40B4-BE49-F238E27FC236}">
                          <a16:creationId xmlns:a16="http://schemas.microsoft.com/office/drawing/2014/main" id="{7CF1F247-D84D-47E0-8E8C-B6EB94583AC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45997" y="3824406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87" name="Freeform: Shape 686">
                      <a:extLst>
                        <a:ext uri="{FF2B5EF4-FFF2-40B4-BE49-F238E27FC236}">
                          <a16:creationId xmlns:a16="http://schemas.microsoft.com/office/drawing/2014/main" id="{F6C07A13-EE0E-4391-9D67-B49732B1140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53882" y="3824406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88" name="Freeform: Shape 687">
                      <a:extLst>
                        <a:ext uri="{FF2B5EF4-FFF2-40B4-BE49-F238E27FC236}">
                          <a16:creationId xmlns:a16="http://schemas.microsoft.com/office/drawing/2014/main" id="{A40E5F2F-AC20-4082-B1E5-A6C121198BC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61745" y="3824406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89" name="Freeform: Shape 688">
                      <a:extLst>
                        <a:ext uri="{FF2B5EF4-FFF2-40B4-BE49-F238E27FC236}">
                          <a16:creationId xmlns:a16="http://schemas.microsoft.com/office/drawing/2014/main" id="{3D798FA7-0D55-4578-8A42-3A32089D794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69631" y="3824406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643" name="Graphic 174">
                    <a:extLst>
                      <a:ext uri="{FF2B5EF4-FFF2-40B4-BE49-F238E27FC236}">
                        <a16:creationId xmlns:a16="http://schemas.microsoft.com/office/drawing/2014/main" id="{1D4A8009-29B0-488E-97B0-2445F4FDA8D4}"/>
                      </a:ext>
                    </a:extLst>
                  </p:cNvPr>
                  <p:cNvGrpSpPr/>
                  <p:nvPr/>
                </p:nvGrpSpPr>
                <p:grpSpPr>
                  <a:xfrm>
                    <a:off x="6605591" y="3806820"/>
                    <a:ext cx="165158" cy="16283"/>
                    <a:chOff x="6605591" y="3806820"/>
                    <a:chExt cx="165158" cy="16283"/>
                  </a:xfrm>
                  <a:solidFill>
                    <a:schemeClr val="accent1"/>
                  </a:solidFill>
                </p:grpSpPr>
                <p:sp>
                  <p:nvSpPr>
                    <p:cNvPr id="644" name="Freeform: Shape 643">
                      <a:extLst>
                        <a:ext uri="{FF2B5EF4-FFF2-40B4-BE49-F238E27FC236}">
                          <a16:creationId xmlns:a16="http://schemas.microsoft.com/office/drawing/2014/main" id="{733EC81D-43E5-49D3-9598-2F131DCF897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05591" y="3806820"/>
                      <a:ext cx="165158" cy="16283"/>
                    </a:xfrm>
                    <a:custGeom>
                      <a:avLst/>
                      <a:gdLst>
                        <a:gd name="connsiteX0" fmla="*/ 164553 w 165158"/>
                        <a:gd name="connsiteY0" fmla="*/ 16911 h 16283"/>
                        <a:gd name="connsiteX1" fmla="*/ 1465 w 165158"/>
                        <a:gd name="connsiteY1" fmla="*/ 16911 h 16283"/>
                        <a:gd name="connsiteX2" fmla="*/ 0 w 165158"/>
                        <a:gd name="connsiteY2" fmla="*/ 15446 h 16283"/>
                        <a:gd name="connsiteX3" fmla="*/ 0 w 165158"/>
                        <a:gd name="connsiteY3" fmla="*/ 1465 h 16283"/>
                        <a:gd name="connsiteX4" fmla="*/ 1465 w 165158"/>
                        <a:gd name="connsiteY4" fmla="*/ 0 h 16283"/>
                        <a:gd name="connsiteX5" fmla="*/ 164553 w 165158"/>
                        <a:gd name="connsiteY5" fmla="*/ 0 h 16283"/>
                        <a:gd name="connsiteX6" fmla="*/ 166019 w 165158"/>
                        <a:gd name="connsiteY6" fmla="*/ 1465 h 16283"/>
                        <a:gd name="connsiteX7" fmla="*/ 166019 w 165158"/>
                        <a:gd name="connsiteY7" fmla="*/ 15446 h 16283"/>
                        <a:gd name="connsiteX8" fmla="*/ 164553 w 165158"/>
                        <a:gd name="connsiteY8" fmla="*/ 16911 h 162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165158" h="16283">
                          <a:moveTo>
                            <a:pt x="164553" y="16911"/>
                          </a:moveTo>
                          <a:lnTo>
                            <a:pt x="1465" y="16911"/>
                          </a:lnTo>
                          <a:cubicBezTo>
                            <a:pt x="651" y="16911"/>
                            <a:pt x="0" y="16260"/>
                            <a:pt x="0" y="15446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164553" y="0"/>
                          </a:lnTo>
                          <a:cubicBezTo>
                            <a:pt x="165367" y="0"/>
                            <a:pt x="166019" y="651"/>
                            <a:pt x="166019" y="1465"/>
                          </a:cubicBezTo>
                          <a:lnTo>
                            <a:pt x="166019" y="15446"/>
                          </a:lnTo>
                          <a:cubicBezTo>
                            <a:pt x="165996" y="16260"/>
                            <a:pt x="165344" y="16911"/>
                            <a:pt x="164553" y="16911"/>
                          </a:cubicBezTo>
                          <a:close/>
                        </a:path>
                      </a:pathLst>
                    </a:custGeom>
                    <a:solidFill>
                      <a:srgbClr val="F19439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45" name="Freeform: Shape 644">
                      <a:extLst>
                        <a:ext uri="{FF2B5EF4-FFF2-40B4-BE49-F238E27FC236}">
                          <a16:creationId xmlns:a16="http://schemas.microsoft.com/office/drawing/2014/main" id="{38445BBA-1D56-4C10-9BE9-EEB4363127E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85379" y="3807518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46" name="Freeform: Shape 645">
                      <a:extLst>
                        <a:ext uri="{FF2B5EF4-FFF2-40B4-BE49-F238E27FC236}">
                          <a16:creationId xmlns:a16="http://schemas.microsoft.com/office/drawing/2014/main" id="{09854BD5-C550-4888-B8C9-9ED6BAEC5DB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93265" y="3807518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47" name="Freeform: Shape 646">
                      <a:extLst>
                        <a:ext uri="{FF2B5EF4-FFF2-40B4-BE49-F238E27FC236}">
                          <a16:creationId xmlns:a16="http://schemas.microsoft.com/office/drawing/2014/main" id="{53F36B64-7132-4AAD-9A15-006A623647D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01127" y="3807518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48" name="Freeform: Shape 647">
                      <a:extLst>
                        <a:ext uri="{FF2B5EF4-FFF2-40B4-BE49-F238E27FC236}">
                          <a16:creationId xmlns:a16="http://schemas.microsoft.com/office/drawing/2014/main" id="{C2F0FF46-19AC-4724-A5F0-E41A8BE6BAB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09013" y="3807518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49" name="Freeform: Shape 648">
                      <a:extLst>
                        <a:ext uri="{FF2B5EF4-FFF2-40B4-BE49-F238E27FC236}">
                          <a16:creationId xmlns:a16="http://schemas.microsoft.com/office/drawing/2014/main" id="{B41DDB90-0310-4F28-B897-3874FD1F929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16875" y="3807518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50" name="Freeform: Shape 649">
                      <a:extLst>
                        <a:ext uri="{FF2B5EF4-FFF2-40B4-BE49-F238E27FC236}">
                          <a16:creationId xmlns:a16="http://schemas.microsoft.com/office/drawing/2014/main" id="{C59995D5-8D97-47B7-B6DF-1919573A445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24761" y="3807518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51" name="Freeform: Shape 650">
                      <a:extLst>
                        <a:ext uri="{FF2B5EF4-FFF2-40B4-BE49-F238E27FC236}">
                          <a16:creationId xmlns:a16="http://schemas.microsoft.com/office/drawing/2014/main" id="{18A4F158-0296-4C14-80A3-983D6A3955B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32623" y="3807518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52" name="Freeform: Shape 651">
                      <a:extLst>
                        <a:ext uri="{FF2B5EF4-FFF2-40B4-BE49-F238E27FC236}">
                          <a16:creationId xmlns:a16="http://schemas.microsoft.com/office/drawing/2014/main" id="{C2DB418B-1F7A-4EBD-A232-B12936ADB30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40509" y="3807518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53" name="Freeform: Shape 652">
                      <a:extLst>
                        <a:ext uri="{FF2B5EF4-FFF2-40B4-BE49-F238E27FC236}">
                          <a16:creationId xmlns:a16="http://schemas.microsoft.com/office/drawing/2014/main" id="{B8F14B3E-A517-4D43-B4F1-4881F75BCAF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48395" y="3807518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54" name="Freeform: Shape 653">
                      <a:extLst>
                        <a:ext uri="{FF2B5EF4-FFF2-40B4-BE49-F238E27FC236}">
                          <a16:creationId xmlns:a16="http://schemas.microsoft.com/office/drawing/2014/main" id="{DD3ADE3E-BB6C-4C44-8E0B-212BC1B98F6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56257" y="3807518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55" name="Freeform: Shape 654">
                      <a:extLst>
                        <a:ext uri="{FF2B5EF4-FFF2-40B4-BE49-F238E27FC236}">
                          <a16:creationId xmlns:a16="http://schemas.microsoft.com/office/drawing/2014/main" id="{B07EC7F9-31C7-4AF7-951C-6E3AD7388DE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64143" y="3807518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56" name="Freeform: Shape 655">
                      <a:extLst>
                        <a:ext uri="{FF2B5EF4-FFF2-40B4-BE49-F238E27FC236}">
                          <a16:creationId xmlns:a16="http://schemas.microsoft.com/office/drawing/2014/main" id="{354AA169-31CF-4F7F-8A09-840EF43D729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22363" y="3807518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57" name="Freeform: Shape 656">
                      <a:extLst>
                        <a:ext uri="{FF2B5EF4-FFF2-40B4-BE49-F238E27FC236}">
                          <a16:creationId xmlns:a16="http://schemas.microsoft.com/office/drawing/2014/main" id="{09B755ED-E46F-4F8F-95EC-97D3F3FAE17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30249" y="3807518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58" name="Freeform: Shape 657">
                      <a:extLst>
                        <a:ext uri="{FF2B5EF4-FFF2-40B4-BE49-F238E27FC236}">
                          <a16:creationId xmlns:a16="http://schemas.microsoft.com/office/drawing/2014/main" id="{FEA58AC7-3F66-49A5-AC6E-0A9AD63F0B8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38111" y="3807518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59" name="Freeform: Shape 658">
                      <a:extLst>
                        <a:ext uri="{FF2B5EF4-FFF2-40B4-BE49-F238E27FC236}">
                          <a16:creationId xmlns:a16="http://schemas.microsoft.com/office/drawing/2014/main" id="{B2D5874C-4CC7-411C-88E9-83752CF797C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06615" y="3807518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60" name="Freeform: Shape 659">
                      <a:extLst>
                        <a:ext uri="{FF2B5EF4-FFF2-40B4-BE49-F238E27FC236}">
                          <a16:creationId xmlns:a16="http://schemas.microsoft.com/office/drawing/2014/main" id="{6240D0F3-F7BD-4A00-B788-4939746D57C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14500" y="3807518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61" name="Freeform: Shape 660">
                      <a:extLst>
                        <a:ext uri="{FF2B5EF4-FFF2-40B4-BE49-F238E27FC236}">
                          <a16:creationId xmlns:a16="http://schemas.microsoft.com/office/drawing/2014/main" id="{E4C39753-2845-42EF-AC6D-7EF04325D32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22363" y="3807518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62" name="Freeform: Shape 661">
                      <a:extLst>
                        <a:ext uri="{FF2B5EF4-FFF2-40B4-BE49-F238E27FC236}">
                          <a16:creationId xmlns:a16="http://schemas.microsoft.com/office/drawing/2014/main" id="{21F8DA6E-3A25-40C2-9DDC-62193DF23DD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45997" y="3807518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63" name="Freeform: Shape 662">
                      <a:extLst>
                        <a:ext uri="{FF2B5EF4-FFF2-40B4-BE49-F238E27FC236}">
                          <a16:creationId xmlns:a16="http://schemas.microsoft.com/office/drawing/2014/main" id="{761A0FF5-6B9C-45B6-8FF6-B692A5E26FB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53882" y="3807518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64" name="Freeform: Shape 663">
                      <a:extLst>
                        <a:ext uri="{FF2B5EF4-FFF2-40B4-BE49-F238E27FC236}">
                          <a16:creationId xmlns:a16="http://schemas.microsoft.com/office/drawing/2014/main" id="{60CB5E2E-6BB8-498F-849A-B11EE2A4085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61745" y="3807518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65" name="Freeform: Shape 664">
                      <a:extLst>
                        <a:ext uri="{FF2B5EF4-FFF2-40B4-BE49-F238E27FC236}">
                          <a16:creationId xmlns:a16="http://schemas.microsoft.com/office/drawing/2014/main" id="{49BBBDD4-1F1B-423F-9B94-7D3CCF018DD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69631" y="3807518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397" y="14841"/>
                            <a:pt x="5746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666" name="Freeform: Shape 665">
                      <a:extLst>
                        <a:ext uri="{FF2B5EF4-FFF2-40B4-BE49-F238E27FC236}">
                          <a16:creationId xmlns:a16="http://schemas.microsoft.com/office/drawing/2014/main" id="{04C6BC66-5F62-4DC0-8BA7-FA3B8E28F48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77493" y="3807518"/>
                      <a:ext cx="4652" cy="13957"/>
                    </a:xfrm>
                    <a:custGeom>
                      <a:avLst/>
                      <a:gdLst>
                        <a:gd name="connsiteX0" fmla="*/ 4955 w 4652"/>
                        <a:gd name="connsiteY0" fmla="*/ 15492 h 13957"/>
                        <a:gd name="connsiteX1" fmla="*/ 1465 w 4652"/>
                        <a:gd name="connsiteY1" fmla="*/ 15492 h 13957"/>
                        <a:gd name="connsiteX2" fmla="*/ 0 w 4652"/>
                        <a:gd name="connsiteY2" fmla="*/ 14027 h 13957"/>
                        <a:gd name="connsiteX3" fmla="*/ 0 w 4652"/>
                        <a:gd name="connsiteY3" fmla="*/ 1465 h 13957"/>
                        <a:gd name="connsiteX4" fmla="*/ 1465 w 4652"/>
                        <a:gd name="connsiteY4" fmla="*/ 0 h 13957"/>
                        <a:gd name="connsiteX5" fmla="*/ 4955 w 4652"/>
                        <a:gd name="connsiteY5" fmla="*/ 0 h 13957"/>
                        <a:gd name="connsiteX6" fmla="*/ 6420 w 4652"/>
                        <a:gd name="connsiteY6" fmla="*/ 1465 h 13957"/>
                        <a:gd name="connsiteX7" fmla="*/ 6420 w 4652"/>
                        <a:gd name="connsiteY7" fmla="*/ 14027 h 13957"/>
                        <a:gd name="connsiteX8" fmla="*/ 4955 w 4652"/>
                        <a:gd name="connsiteY8" fmla="*/ 15492 h 1395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652" h="13957">
                          <a:moveTo>
                            <a:pt x="4955" y="15492"/>
                          </a:moveTo>
                          <a:lnTo>
                            <a:pt x="1465" y="15492"/>
                          </a:lnTo>
                          <a:cubicBezTo>
                            <a:pt x="651" y="15492"/>
                            <a:pt x="0" y="14841"/>
                            <a:pt x="0" y="14027"/>
                          </a:cubicBezTo>
                          <a:lnTo>
                            <a:pt x="0" y="1465"/>
                          </a:lnTo>
                          <a:cubicBezTo>
                            <a:pt x="0" y="651"/>
                            <a:pt x="651" y="0"/>
                            <a:pt x="1465" y="0"/>
                          </a:cubicBezTo>
                          <a:lnTo>
                            <a:pt x="4955" y="0"/>
                          </a:lnTo>
                          <a:cubicBezTo>
                            <a:pt x="5769" y="0"/>
                            <a:pt x="6420" y="651"/>
                            <a:pt x="6420" y="1465"/>
                          </a:cubicBezTo>
                          <a:lnTo>
                            <a:pt x="6420" y="14027"/>
                          </a:lnTo>
                          <a:cubicBezTo>
                            <a:pt x="6420" y="14841"/>
                            <a:pt x="5769" y="15492"/>
                            <a:pt x="4955" y="15492"/>
                          </a:cubicBezTo>
                          <a:close/>
                        </a:path>
                      </a:pathLst>
                    </a:custGeom>
                    <a:solidFill>
                      <a:srgbClr val="FFBD41"/>
                    </a:solidFill>
                    <a:ln w="232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</p:grpSp>
          </p:grpSp>
          <p:grpSp>
            <p:nvGrpSpPr>
              <p:cNvPr id="89" name="Graphic 174">
                <a:extLst>
                  <a:ext uri="{FF2B5EF4-FFF2-40B4-BE49-F238E27FC236}">
                    <a16:creationId xmlns:a16="http://schemas.microsoft.com/office/drawing/2014/main" id="{08FC86A3-434A-4EAB-93C2-4BAE385D8F08}"/>
                  </a:ext>
                </a:extLst>
              </p:cNvPr>
              <p:cNvGrpSpPr/>
              <p:nvPr/>
            </p:nvGrpSpPr>
            <p:grpSpPr>
              <a:xfrm>
                <a:off x="6158106" y="3993542"/>
                <a:ext cx="176137" cy="183069"/>
                <a:chOff x="6158106" y="3993542"/>
                <a:chExt cx="176137" cy="183069"/>
              </a:xfrm>
              <a:solidFill>
                <a:schemeClr val="accent1"/>
              </a:solidFill>
            </p:grpSpPr>
            <p:grpSp>
              <p:nvGrpSpPr>
                <p:cNvPr id="367" name="Graphic 174">
                  <a:extLst>
                    <a:ext uri="{FF2B5EF4-FFF2-40B4-BE49-F238E27FC236}">
                      <a16:creationId xmlns:a16="http://schemas.microsoft.com/office/drawing/2014/main" id="{D1CFB776-91AB-4DED-9DF0-FD5A6AFA3D7C}"/>
                    </a:ext>
                  </a:extLst>
                </p:cNvPr>
                <p:cNvGrpSpPr/>
                <p:nvPr/>
              </p:nvGrpSpPr>
              <p:grpSpPr>
                <a:xfrm>
                  <a:off x="6161246" y="4160328"/>
                  <a:ext cx="162832" cy="16283"/>
                  <a:chOff x="6161246" y="4160328"/>
                  <a:chExt cx="162832" cy="16283"/>
                </a:xfrm>
                <a:solidFill>
                  <a:schemeClr val="accent1"/>
                </a:solidFill>
              </p:grpSpPr>
              <p:sp>
                <p:nvSpPr>
                  <p:cNvPr id="608" name="Freeform: Shape 607">
                    <a:extLst>
                      <a:ext uri="{FF2B5EF4-FFF2-40B4-BE49-F238E27FC236}">
                        <a16:creationId xmlns:a16="http://schemas.microsoft.com/office/drawing/2014/main" id="{983BBBC5-99D2-4E77-9AA5-594B6FD00927}"/>
                      </a:ext>
                    </a:extLst>
                  </p:cNvPr>
                  <p:cNvSpPr/>
                  <p:nvPr/>
                </p:nvSpPr>
                <p:spPr>
                  <a:xfrm>
                    <a:off x="6161246" y="4160328"/>
                    <a:ext cx="162832" cy="16283"/>
                  </a:xfrm>
                  <a:custGeom>
                    <a:avLst/>
                    <a:gdLst>
                      <a:gd name="connsiteX0" fmla="*/ 162297 w 162831"/>
                      <a:gd name="connsiteY0" fmla="*/ 16679 h 16283"/>
                      <a:gd name="connsiteX1" fmla="*/ 1442 w 162831"/>
                      <a:gd name="connsiteY1" fmla="*/ 16679 h 16283"/>
                      <a:gd name="connsiteX2" fmla="*/ 0 w 162831"/>
                      <a:gd name="connsiteY2" fmla="*/ 15236 h 16283"/>
                      <a:gd name="connsiteX3" fmla="*/ 0 w 162831"/>
                      <a:gd name="connsiteY3" fmla="*/ 1442 h 16283"/>
                      <a:gd name="connsiteX4" fmla="*/ 1442 w 162831"/>
                      <a:gd name="connsiteY4" fmla="*/ 0 h 16283"/>
                      <a:gd name="connsiteX5" fmla="*/ 162297 w 162831"/>
                      <a:gd name="connsiteY5" fmla="*/ 0 h 16283"/>
                      <a:gd name="connsiteX6" fmla="*/ 163739 w 162831"/>
                      <a:gd name="connsiteY6" fmla="*/ 1442 h 16283"/>
                      <a:gd name="connsiteX7" fmla="*/ 163739 w 162831"/>
                      <a:gd name="connsiteY7" fmla="*/ 15236 h 16283"/>
                      <a:gd name="connsiteX8" fmla="*/ 162297 w 162831"/>
                      <a:gd name="connsiteY8" fmla="*/ 16679 h 1628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62831" h="16283">
                        <a:moveTo>
                          <a:pt x="162297" y="16679"/>
                        </a:moveTo>
                        <a:lnTo>
                          <a:pt x="1442" y="16679"/>
                        </a:lnTo>
                        <a:cubicBezTo>
                          <a:pt x="651" y="16679"/>
                          <a:pt x="0" y="16027"/>
                          <a:pt x="0" y="15236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162297" y="0"/>
                        </a:lnTo>
                        <a:cubicBezTo>
                          <a:pt x="163088" y="0"/>
                          <a:pt x="163739" y="651"/>
                          <a:pt x="163739" y="1442"/>
                        </a:cubicBezTo>
                        <a:lnTo>
                          <a:pt x="163739" y="15236"/>
                        </a:lnTo>
                        <a:cubicBezTo>
                          <a:pt x="163739" y="16027"/>
                          <a:pt x="163088" y="16679"/>
                          <a:pt x="162297" y="16679"/>
                        </a:cubicBezTo>
                        <a:close/>
                      </a:path>
                    </a:pathLst>
                  </a:custGeom>
                  <a:solidFill>
                    <a:srgbClr val="F19439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609" name="Freeform: Shape 608">
                    <a:extLst>
                      <a:ext uri="{FF2B5EF4-FFF2-40B4-BE49-F238E27FC236}">
                        <a16:creationId xmlns:a16="http://schemas.microsoft.com/office/drawing/2014/main" id="{0ABECC0C-7797-4915-B1CB-7AF3BBDAC8F3}"/>
                      </a:ext>
                    </a:extLst>
                  </p:cNvPr>
                  <p:cNvSpPr/>
                  <p:nvPr/>
                </p:nvSpPr>
                <p:spPr>
                  <a:xfrm>
                    <a:off x="6239964" y="4161026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32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610" name="Freeform: Shape 609">
                    <a:extLst>
                      <a:ext uri="{FF2B5EF4-FFF2-40B4-BE49-F238E27FC236}">
                        <a16:creationId xmlns:a16="http://schemas.microsoft.com/office/drawing/2014/main" id="{281CFBD9-8FEA-433F-BBDA-BC6AD35FCA22}"/>
                      </a:ext>
                    </a:extLst>
                  </p:cNvPr>
                  <p:cNvSpPr/>
                  <p:nvPr/>
                </p:nvSpPr>
                <p:spPr>
                  <a:xfrm>
                    <a:off x="6247733" y="4161026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32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611" name="Freeform: Shape 610">
                    <a:extLst>
                      <a:ext uri="{FF2B5EF4-FFF2-40B4-BE49-F238E27FC236}">
                        <a16:creationId xmlns:a16="http://schemas.microsoft.com/office/drawing/2014/main" id="{FF577096-45DF-4C5B-9007-5F8B91A77A68}"/>
                      </a:ext>
                    </a:extLst>
                  </p:cNvPr>
                  <p:cNvSpPr/>
                  <p:nvPr/>
                </p:nvSpPr>
                <p:spPr>
                  <a:xfrm>
                    <a:off x="6255503" y="4161026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32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612" name="Freeform: Shape 611">
                    <a:extLst>
                      <a:ext uri="{FF2B5EF4-FFF2-40B4-BE49-F238E27FC236}">
                        <a16:creationId xmlns:a16="http://schemas.microsoft.com/office/drawing/2014/main" id="{1F4D6DEF-F674-424E-87ED-F2195B049118}"/>
                      </a:ext>
                    </a:extLst>
                  </p:cNvPr>
                  <p:cNvSpPr/>
                  <p:nvPr/>
                </p:nvSpPr>
                <p:spPr>
                  <a:xfrm>
                    <a:off x="6263272" y="4161026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32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613" name="Freeform: Shape 612">
                    <a:extLst>
                      <a:ext uri="{FF2B5EF4-FFF2-40B4-BE49-F238E27FC236}">
                        <a16:creationId xmlns:a16="http://schemas.microsoft.com/office/drawing/2014/main" id="{CC85778A-EDF0-424A-9613-892FD32BDCE3}"/>
                      </a:ext>
                    </a:extLst>
                  </p:cNvPr>
                  <p:cNvSpPr/>
                  <p:nvPr/>
                </p:nvSpPr>
                <p:spPr>
                  <a:xfrm>
                    <a:off x="6271041" y="4161026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32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614" name="Freeform: Shape 613">
                    <a:extLst>
                      <a:ext uri="{FF2B5EF4-FFF2-40B4-BE49-F238E27FC236}">
                        <a16:creationId xmlns:a16="http://schemas.microsoft.com/office/drawing/2014/main" id="{6EA28F2C-4DCC-4611-B81D-9B51C20B1E86}"/>
                      </a:ext>
                    </a:extLst>
                  </p:cNvPr>
                  <p:cNvSpPr/>
                  <p:nvPr/>
                </p:nvSpPr>
                <p:spPr>
                  <a:xfrm>
                    <a:off x="6278811" y="4161026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32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615" name="Freeform: Shape 614">
                    <a:extLst>
                      <a:ext uri="{FF2B5EF4-FFF2-40B4-BE49-F238E27FC236}">
                        <a16:creationId xmlns:a16="http://schemas.microsoft.com/office/drawing/2014/main" id="{3496BBDE-48A9-449D-861A-07822F8276A0}"/>
                      </a:ext>
                    </a:extLst>
                  </p:cNvPr>
                  <p:cNvSpPr/>
                  <p:nvPr/>
                </p:nvSpPr>
                <p:spPr>
                  <a:xfrm>
                    <a:off x="6286580" y="4161026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32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616" name="Freeform: Shape 615">
                    <a:extLst>
                      <a:ext uri="{FF2B5EF4-FFF2-40B4-BE49-F238E27FC236}">
                        <a16:creationId xmlns:a16="http://schemas.microsoft.com/office/drawing/2014/main" id="{C81E868D-2C92-48E2-BC6A-31EF6059B188}"/>
                      </a:ext>
                    </a:extLst>
                  </p:cNvPr>
                  <p:cNvSpPr/>
                  <p:nvPr/>
                </p:nvSpPr>
                <p:spPr>
                  <a:xfrm>
                    <a:off x="6294350" y="4161026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32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617" name="Freeform: Shape 616">
                    <a:extLst>
                      <a:ext uri="{FF2B5EF4-FFF2-40B4-BE49-F238E27FC236}">
                        <a16:creationId xmlns:a16="http://schemas.microsoft.com/office/drawing/2014/main" id="{94D4F17C-8FBF-48D4-8C7F-08EF232B5FBB}"/>
                      </a:ext>
                    </a:extLst>
                  </p:cNvPr>
                  <p:cNvSpPr/>
                  <p:nvPr/>
                </p:nvSpPr>
                <p:spPr>
                  <a:xfrm>
                    <a:off x="6302096" y="4161026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32"/>
                          <a:pt x="5699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618" name="Freeform: Shape 617">
                    <a:extLst>
                      <a:ext uri="{FF2B5EF4-FFF2-40B4-BE49-F238E27FC236}">
                        <a16:creationId xmlns:a16="http://schemas.microsoft.com/office/drawing/2014/main" id="{69E75644-B879-4F66-8623-46E77D7FDFA5}"/>
                      </a:ext>
                    </a:extLst>
                  </p:cNvPr>
                  <p:cNvSpPr/>
                  <p:nvPr/>
                </p:nvSpPr>
                <p:spPr>
                  <a:xfrm>
                    <a:off x="6309865" y="4161026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32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619" name="Freeform: Shape 618">
                    <a:extLst>
                      <a:ext uri="{FF2B5EF4-FFF2-40B4-BE49-F238E27FC236}">
                        <a16:creationId xmlns:a16="http://schemas.microsoft.com/office/drawing/2014/main" id="{E097AFDB-E69E-42C6-A929-02D086F1823D}"/>
                      </a:ext>
                    </a:extLst>
                  </p:cNvPr>
                  <p:cNvSpPr/>
                  <p:nvPr/>
                </p:nvSpPr>
                <p:spPr>
                  <a:xfrm>
                    <a:off x="6317635" y="4161026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32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620" name="Freeform: Shape 619">
                    <a:extLst>
                      <a:ext uri="{FF2B5EF4-FFF2-40B4-BE49-F238E27FC236}">
                        <a16:creationId xmlns:a16="http://schemas.microsoft.com/office/drawing/2014/main" id="{6195A763-A22D-45F1-A4FE-693231F2EAD2}"/>
                      </a:ext>
                    </a:extLst>
                  </p:cNvPr>
                  <p:cNvSpPr/>
                  <p:nvPr/>
                </p:nvSpPr>
                <p:spPr>
                  <a:xfrm>
                    <a:off x="6177832" y="4161026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32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621" name="Freeform: Shape 620">
                    <a:extLst>
                      <a:ext uri="{FF2B5EF4-FFF2-40B4-BE49-F238E27FC236}">
                        <a16:creationId xmlns:a16="http://schemas.microsoft.com/office/drawing/2014/main" id="{3D3039F2-546E-46DC-B844-8370550B1376}"/>
                      </a:ext>
                    </a:extLst>
                  </p:cNvPr>
                  <p:cNvSpPr/>
                  <p:nvPr/>
                </p:nvSpPr>
                <p:spPr>
                  <a:xfrm>
                    <a:off x="6185578" y="4161026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32"/>
                          <a:pt x="5699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622" name="Freeform: Shape 621">
                    <a:extLst>
                      <a:ext uri="{FF2B5EF4-FFF2-40B4-BE49-F238E27FC236}">
                        <a16:creationId xmlns:a16="http://schemas.microsoft.com/office/drawing/2014/main" id="{0AFBD275-9321-4C15-A8FE-939321E936B7}"/>
                      </a:ext>
                    </a:extLst>
                  </p:cNvPr>
                  <p:cNvSpPr/>
                  <p:nvPr/>
                </p:nvSpPr>
                <p:spPr>
                  <a:xfrm>
                    <a:off x="6193347" y="4161026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32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623" name="Freeform: Shape 622">
                    <a:extLst>
                      <a:ext uri="{FF2B5EF4-FFF2-40B4-BE49-F238E27FC236}">
                        <a16:creationId xmlns:a16="http://schemas.microsoft.com/office/drawing/2014/main" id="{65F9B578-B810-4174-A6A4-99AC19D5519C}"/>
                      </a:ext>
                    </a:extLst>
                  </p:cNvPr>
                  <p:cNvSpPr/>
                  <p:nvPr/>
                </p:nvSpPr>
                <p:spPr>
                  <a:xfrm>
                    <a:off x="6162293" y="4161026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32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624" name="Freeform: Shape 623">
                    <a:extLst>
                      <a:ext uri="{FF2B5EF4-FFF2-40B4-BE49-F238E27FC236}">
                        <a16:creationId xmlns:a16="http://schemas.microsoft.com/office/drawing/2014/main" id="{22595937-85A9-4560-B9E7-29858A4F457C}"/>
                      </a:ext>
                    </a:extLst>
                  </p:cNvPr>
                  <p:cNvSpPr/>
                  <p:nvPr/>
                </p:nvSpPr>
                <p:spPr>
                  <a:xfrm>
                    <a:off x="6170062" y="4161026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32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625" name="Freeform: Shape 624">
                    <a:extLst>
                      <a:ext uri="{FF2B5EF4-FFF2-40B4-BE49-F238E27FC236}">
                        <a16:creationId xmlns:a16="http://schemas.microsoft.com/office/drawing/2014/main" id="{613B5ABA-9931-4244-9122-DE3B9DDD874C}"/>
                      </a:ext>
                    </a:extLst>
                  </p:cNvPr>
                  <p:cNvSpPr/>
                  <p:nvPr/>
                </p:nvSpPr>
                <p:spPr>
                  <a:xfrm>
                    <a:off x="6177832" y="4161026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32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626" name="Freeform: Shape 625">
                    <a:extLst>
                      <a:ext uri="{FF2B5EF4-FFF2-40B4-BE49-F238E27FC236}">
                        <a16:creationId xmlns:a16="http://schemas.microsoft.com/office/drawing/2014/main" id="{872ED7E7-CDE0-45F1-A366-0244D6FF6F63}"/>
                      </a:ext>
                    </a:extLst>
                  </p:cNvPr>
                  <p:cNvSpPr/>
                  <p:nvPr/>
                </p:nvSpPr>
                <p:spPr>
                  <a:xfrm>
                    <a:off x="6201117" y="4161026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32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627" name="Freeform: Shape 626">
                    <a:extLst>
                      <a:ext uri="{FF2B5EF4-FFF2-40B4-BE49-F238E27FC236}">
                        <a16:creationId xmlns:a16="http://schemas.microsoft.com/office/drawing/2014/main" id="{4F7D7069-68D2-47C3-9B0A-EB1F00F7F294}"/>
                      </a:ext>
                    </a:extLst>
                  </p:cNvPr>
                  <p:cNvSpPr/>
                  <p:nvPr/>
                </p:nvSpPr>
                <p:spPr>
                  <a:xfrm>
                    <a:off x="6208886" y="4161026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32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628" name="Freeform: Shape 627">
                    <a:extLst>
                      <a:ext uri="{FF2B5EF4-FFF2-40B4-BE49-F238E27FC236}">
                        <a16:creationId xmlns:a16="http://schemas.microsoft.com/office/drawing/2014/main" id="{08B0061D-7BEA-4867-B34F-93090CEDC80A}"/>
                      </a:ext>
                    </a:extLst>
                  </p:cNvPr>
                  <p:cNvSpPr/>
                  <p:nvPr/>
                </p:nvSpPr>
                <p:spPr>
                  <a:xfrm>
                    <a:off x="6216655" y="4161026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32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629" name="Freeform: Shape 628">
                    <a:extLst>
                      <a:ext uri="{FF2B5EF4-FFF2-40B4-BE49-F238E27FC236}">
                        <a16:creationId xmlns:a16="http://schemas.microsoft.com/office/drawing/2014/main" id="{812DB2C7-7BF4-4701-B390-0CB59233261E}"/>
                      </a:ext>
                    </a:extLst>
                  </p:cNvPr>
                  <p:cNvSpPr/>
                  <p:nvPr/>
                </p:nvSpPr>
                <p:spPr>
                  <a:xfrm>
                    <a:off x="6224425" y="4161026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32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630" name="Freeform: Shape 629">
                    <a:extLst>
                      <a:ext uri="{FF2B5EF4-FFF2-40B4-BE49-F238E27FC236}">
                        <a16:creationId xmlns:a16="http://schemas.microsoft.com/office/drawing/2014/main" id="{3D517F9F-0F9C-4D87-9377-4CD521B233A2}"/>
                      </a:ext>
                    </a:extLst>
                  </p:cNvPr>
                  <p:cNvSpPr/>
                  <p:nvPr/>
                </p:nvSpPr>
                <p:spPr>
                  <a:xfrm>
                    <a:off x="6232194" y="4161026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32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368" name="Graphic 174">
                  <a:extLst>
                    <a:ext uri="{FF2B5EF4-FFF2-40B4-BE49-F238E27FC236}">
                      <a16:creationId xmlns:a16="http://schemas.microsoft.com/office/drawing/2014/main" id="{A55E6FF1-0FA2-4383-BC0B-E5D3491C52F2}"/>
                    </a:ext>
                  </a:extLst>
                </p:cNvPr>
                <p:cNvGrpSpPr/>
                <p:nvPr/>
              </p:nvGrpSpPr>
              <p:grpSpPr>
                <a:xfrm>
                  <a:off x="6165875" y="4143650"/>
                  <a:ext cx="162832" cy="16283"/>
                  <a:chOff x="6165875" y="4143650"/>
                  <a:chExt cx="162832" cy="16283"/>
                </a:xfrm>
                <a:solidFill>
                  <a:schemeClr val="accent1"/>
                </a:solidFill>
              </p:grpSpPr>
              <p:sp>
                <p:nvSpPr>
                  <p:cNvPr id="585" name="Freeform: Shape 584">
                    <a:extLst>
                      <a:ext uri="{FF2B5EF4-FFF2-40B4-BE49-F238E27FC236}">
                        <a16:creationId xmlns:a16="http://schemas.microsoft.com/office/drawing/2014/main" id="{749B91D8-2B6A-46FD-8361-FA8FA2D5D33F}"/>
                      </a:ext>
                    </a:extLst>
                  </p:cNvPr>
                  <p:cNvSpPr/>
                  <p:nvPr/>
                </p:nvSpPr>
                <p:spPr>
                  <a:xfrm>
                    <a:off x="6165875" y="4143650"/>
                    <a:ext cx="162832" cy="16283"/>
                  </a:xfrm>
                  <a:custGeom>
                    <a:avLst/>
                    <a:gdLst>
                      <a:gd name="connsiteX0" fmla="*/ 162297 w 162831"/>
                      <a:gd name="connsiteY0" fmla="*/ 16679 h 16283"/>
                      <a:gd name="connsiteX1" fmla="*/ 1442 w 162831"/>
                      <a:gd name="connsiteY1" fmla="*/ 16679 h 16283"/>
                      <a:gd name="connsiteX2" fmla="*/ 0 w 162831"/>
                      <a:gd name="connsiteY2" fmla="*/ 15236 h 16283"/>
                      <a:gd name="connsiteX3" fmla="*/ 0 w 162831"/>
                      <a:gd name="connsiteY3" fmla="*/ 1442 h 16283"/>
                      <a:gd name="connsiteX4" fmla="*/ 1442 w 162831"/>
                      <a:gd name="connsiteY4" fmla="*/ 0 h 16283"/>
                      <a:gd name="connsiteX5" fmla="*/ 162297 w 162831"/>
                      <a:gd name="connsiteY5" fmla="*/ 0 h 16283"/>
                      <a:gd name="connsiteX6" fmla="*/ 163739 w 162831"/>
                      <a:gd name="connsiteY6" fmla="*/ 1442 h 16283"/>
                      <a:gd name="connsiteX7" fmla="*/ 163739 w 162831"/>
                      <a:gd name="connsiteY7" fmla="*/ 15236 h 16283"/>
                      <a:gd name="connsiteX8" fmla="*/ 162297 w 162831"/>
                      <a:gd name="connsiteY8" fmla="*/ 16679 h 1628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62831" h="16283">
                        <a:moveTo>
                          <a:pt x="162297" y="16679"/>
                        </a:moveTo>
                        <a:lnTo>
                          <a:pt x="1442" y="16679"/>
                        </a:lnTo>
                        <a:cubicBezTo>
                          <a:pt x="651" y="16679"/>
                          <a:pt x="0" y="16027"/>
                          <a:pt x="0" y="15236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162297" y="0"/>
                        </a:lnTo>
                        <a:cubicBezTo>
                          <a:pt x="163088" y="0"/>
                          <a:pt x="163739" y="651"/>
                          <a:pt x="163739" y="1442"/>
                        </a:cubicBezTo>
                        <a:lnTo>
                          <a:pt x="163739" y="15236"/>
                        </a:lnTo>
                        <a:cubicBezTo>
                          <a:pt x="163716" y="16051"/>
                          <a:pt x="163088" y="16679"/>
                          <a:pt x="162297" y="16679"/>
                        </a:cubicBezTo>
                        <a:close/>
                      </a:path>
                    </a:pathLst>
                  </a:custGeom>
                  <a:solidFill>
                    <a:srgbClr val="F19439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86" name="Freeform: Shape 585">
                    <a:extLst>
                      <a:ext uri="{FF2B5EF4-FFF2-40B4-BE49-F238E27FC236}">
                        <a16:creationId xmlns:a16="http://schemas.microsoft.com/office/drawing/2014/main" id="{08358A46-C38F-47FB-B561-0FEF0CD02F64}"/>
                      </a:ext>
                    </a:extLst>
                  </p:cNvPr>
                  <p:cNvSpPr/>
                  <p:nvPr/>
                </p:nvSpPr>
                <p:spPr>
                  <a:xfrm>
                    <a:off x="6244570" y="4144371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87" name="Freeform: Shape 586">
                    <a:extLst>
                      <a:ext uri="{FF2B5EF4-FFF2-40B4-BE49-F238E27FC236}">
                        <a16:creationId xmlns:a16="http://schemas.microsoft.com/office/drawing/2014/main" id="{E2D3D1F2-4F73-4751-BBE7-B6079A27C93E}"/>
                      </a:ext>
                    </a:extLst>
                  </p:cNvPr>
                  <p:cNvSpPr/>
                  <p:nvPr/>
                </p:nvSpPr>
                <p:spPr>
                  <a:xfrm>
                    <a:off x="6252339" y="4144371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88" name="Freeform: Shape 587">
                    <a:extLst>
                      <a:ext uri="{FF2B5EF4-FFF2-40B4-BE49-F238E27FC236}">
                        <a16:creationId xmlns:a16="http://schemas.microsoft.com/office/drawing/2014/main" id="{44E3E582-070E-4E40-AE84-18C4DA7EAAF1}"/>
                      </a:ext>
                    </a:extLst>
                  </p:cNvPr>
                  <p:cNvSpPr/>
                  <p:nvPr/>
                </p:nvSpPr>
                <p:spPr>
                  <a:xfrm>
                    <a:off x="6260108" y="4144371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89" name="Freeform: Shape 588">
                    <a:extLst>
                      <a:ext uri="{FF2B5EF4-FFF2-40B4-BE49-F238E27FC236}">
                        <a16:creationId xmlns:a16="http://schemas.microsoft.com/office/drawing/2014/main" id="{C37F1C58-EB5A-406D-9ED9-E1AA43A73EB4}"/>
                      </a:ext>
                    </a:extLst>
                  </p:cNvPr>
                  <p:cNvSpPr/>
                  <p:nvPr/>
                </p:nvSpPr>
                <p:spPr>
                  <a:xfrm>
                    <a:off x="6267878" y="4144371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90" name="Freeform: Shape 589">
                    <a:extLst>
                      <a:ext uri="{FF2B5EF4-FFF2-40B4-BE49-F238E27FC236}">
                        <a16:creationId xmlns:a16="http://schemas.microsoft.com/office/drawing/2014/main" id="{8E106D00-B4EF-43BF-BA6E-8F955F2E7BC3}"/>
                      </a:ext>
                    </a:extLst>
                  </p:cNvPr>
                  <p:cNvSpPr/>
                  <p:nvPr/>
                </p:nvSpPr>
                <p:spPr>
                  <a:xfrm>
                    <a:off x="6275647" y="4144371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91" name="Freeform: Shape 590">
                    <a:extLst>
                      <a:ext uri="{FF2B5EF4-FFF2-40B4-BE49-F238E27FC236}">
                        <a16:creationId xmlns:a16="http://schemas.microsoft.com/office/drawing/2014/main" id="{1D976BA8-D9EB-4338-B06C-CBB1BF770732}"/>
                      </a:ext>
                    </a:extLst>
                  </p:cNvPr>
                  <p:cNvSpPr/>
                  <p:nvPr/>
                </p:nvSpPr>
                <p:spPr>
                  <a:xfrm>
                    <a:off x="6283417" y="4144371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92" name="Freeform: Shape 591">
                    <a:extLst>
                      <a:ext uri="{FF2B5EF4-FFF2-40B4-BE49-F238E27FC236}">
                        <a16:creationId xmlns:a16="http://schemas.microsoft.com/office/drawing/2014/main" id="{71E6DD6B-0D1C-4D32-B385-71D465E0C591}"/>
                      </a:ext>
                    </a:extLst>
                  </p:cNvPr>
                  <p:cNvSpPr/>
                  <p:nvPr/>
                </p:nvSpPr>
                <p:spPr>
                  <a:xfrm>
                    <a:off x="6291186" y="4144371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93" name="Freeform: Shape 592">
                    <a:extLst>
                      <a:ext uri="{FF2B5EF4-FFF2-40B4-BE49-F238E27FC236}">
                        <a16:creationId xmlns:a16="http://schemas.microsoft.com/office/drawing/2014/main" id="{C575EF7C-492E-4C5B-A08D-D3F68F479DDC}"/>
                      </a:ext>
                    </a:extLst>
                  </p:cNvPr>
                  <p:cNvSpPr/>
                  <p:nvPr/>
                </p:nvSpPr>
                <p:spPr>
                  <a:xfrm>
                    <a:off x="6298955" y="4144371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94" name="Freeform: Shape 593">
                    <a:extLst>
                      <a:ext uri="{FF2B5EF4-FFF2-40B4-BE49-F238E27FC236}">
                        <a16:creationId xmlns:a16="http://schemas.microsoft.com/office/drawing/2014/main" id="{B6EC6239-BE73-49B7-A219-DB350E4B62CB}"/>
                      </a:ext>
                    </a:extLst>
                  </p:cNvPr>
                  <p:cNvSpPr/>
                  <p:nvPr/>
                </p:nvSpPr>
                <p:spPr>
                  <a:xfrm>
                    <a:off x="6306725" y="4144371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95" name="Freeform: Shape 594">
                    <a:extLst>
                      <a:ext uri="{FF2B5EF4-FFF2-40B4-BE49-F238E27FC236}">
                        <a16:creationId xmlns:a16="http://schemas.microsoft.com/office/drawing/2014/main" id="{162480FE-4C46-45CB-A6CF-6EC11A7A855F}"/>
                      </a:ext>
                    </a:extLst>
                  </p:cNvPr>
                  <p:cNvSpPr/>
                  <p:nvPr/>
                </p:nvSpPr>
                <p:spPr>
                  <a:xfrm>
                    <a:off x="6314494" y="4144371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96" name="Freeform: Shape 595">
                    <a:extLst>
                      <a:ext uri="{FF2B5EF4-FFF2-40B4-BE49-F238E27FC236}">
                        <a16:creationId xmlns:a16="http://schemas.microsoft.com/office/drawing/2014/main" id="{5611DB57-BACD-4AE3-8865-4186A042B7D1}"/>
                      </a:ext>
                    </a:extLst>
                  </p:cNvPr>
                  <p:cNvSpPr/>
                  <p:nvPr/>
                </p:nvSpPr>
                <p:spPr>
                  <a:xfrm>
                    <a:off x="6322264" y="4144371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97" name="Freeform: Shape 596">
                    <a:extLst>
                      <a:ext uri="{FF2B5EF4-FFF2-40B4-BE49-F238E27FC236}">
                        <a16:creationId xmlns:a16="http://schemas.microsoft.com/office/drawing/2014/main" id="{8221D3B2-FFDC-4441-83B8-A9EB8771C1C4}"/>
                      </a:ext>
                    </a:extLst>
                  </p:cNvPr>
                  <p:cNvSpPr/>
                  <p:nvPr/>
                </p:nvSpPr>
                <p:spPr>
                  <a:xfrm>
                    <a:off x="6182438" y="4144371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98" name="Freeform: Shape 597">
                    <a:extLst>
                      <a:ext uri="{FF2B5EF4-FFF2-40B4-BE49-F238E27FC236}">
                        <a16:creationId xmlns:a16="http://schemas.microsoft.com/office/drawing/2014/main" id="{58A6EF9D-7B26-442E-9D39-F2581BD5D1FF}"/>
                      </a:ext>
                    </a:extLst>
                  </p:cNvPr>
                  <p:cNvSpPr/>
                  <p:nvPr/>
                </p:nvSpPr>
                <p:spPr>
                  <a:xfrm>
                    <a:off x="6190207" y="4144371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99" name="Freeform: Shape 598">
                    <a:extLst>
                      <a:ext uri="{FF2B5EF4-FFF2-40B4-BE49-F238E27FC236}">
                        <a16:creationId xmlns:a16="http://schemas.microsoft.com/office/drawing/2014/main" id="{1A6CE5E0-C42F-40A1-9103-F046515A0AE7}"/>
                      </a:ext>
                    </a:extLst>
                  </p:cNvPr>
                  <p:cNvSpPr/>
                  <p:nvPr/>
                </p:nvSpPr>
                <p:spPr>
                  <a:xfrm>
                    <a:off x="6197976" y="4144371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600" name="Freeform: Shape 599">
                    <a:extLst>
                      <a:ext uri="{FF2B5EF4-FFF2-40B4-BE49-F238E27FC236}">
                        <a16:creationId xmlns:a16="http://schemas.microsoft.com/office/drawing/2014/main" id="{64C2EBAC-11D3-41AD-836C-BF8DB0379DE0}"/>
                      </a:ext>
                    </a:extLst>
                  </p:cNvPr>
                  <p:cNvSpPr/>
                  <p:nvPr/>
                </p:nvSpPr>
                <p:spPr>
                  <a:xfrm>
                    <a:off x="6166899" y="4144371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601" name="Freeform: Shape 600">
                    <a:extLst>
                      <a:ext uri="{FF2B5EF4-FFF2-40B4-BE49-F238E27FC236}">
                        <a16:creationId xmlns:a16="http://schemas.microsoft.com/office/drawing/2014/main" id="{3E59E086-81D7-44C0-A3A2-18B82F88E28D}"/>
                      </a:ext>
                    </a:extLst>
                  </p:cNvPr>
                  <p:cNvSpPr/>
                  <p:nvPr/>
                </p:nvSpPr>
                <p:spPr>
                  <a:xfrm>
                    <a:off x="6174668" y="4144371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602" name="Freeform: Shape 601">
                    <a:extLst>
                      <a:ext uri="{FF2B5EF4-FFF2-40B4-BE49-F238E27FC236}">
                        <a16:creationId xmlns:a16="http://schemas.microsoft.com/office/drawing/2014/main" id="{9B7D2561-2BDA-40DE-96D5-E9DE0A90D952}"/>
                      </a:ext>
                    </a:extLst>
                  </p:cNvPr>
                  <p:cNvSpPr/>
                  <p:nvPr/>
                </p:nvSpPr>
                <p:spPr>
                  <a:xfrm>
                    <a:off x="6182438" y="4144371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603" name="Freeform: Shape 602">
                    <a:extLst>
                      <a:ext uri="{FF2B5EF4-FFF2-40B4-BE49-F238E27FC236}">
                        <a16:creationId xmlns:a16="http://schemas.microsoft.com/office/drawing/2014/main" id="{FCFB3F43-2A6F-4738-8D81-A86D649BC594}"/>
                      </a:ext>
                    </a:extLst>
                  </p:cNvPr>
                  <p:cNvSpPr/>
                  <p:nvPr/>
                </p:nvSpPr>
                <p:spPr>
                  <a:xfrm>
                    <a:off x="6205746" y="4144371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604" name="Freeform: Shape 603">
                    <a:extLst>
                      <a:ext uri="{FF2B5EF4-FFF2-40B4-BE49-F238E27FC236}">
                        <a16:creationId xmlns:a16="http://schemas.microsoft.com/office/drawing/2014/main" id="{8AEA4C0D-E302-48A4-B36D-7F9FBD044118}"/>
                      </a:ext>
                    </a:extLst>
                  </p:cNvPr>
                  <p:cNvSpPr/>
                  <p:nvPr/>
                </p:nvSpPr>
                <p:spPr>
                  <a:xfrm>
                    <a:off x="6213492" y="4144371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08"/>
                          <a:pt x="5699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605" name="Freeform: Shape 604">
                    <a:extLst>
                      <a:ext uri="{FF2B5EF4-FFF2-40B4-BE49-F238E27FC236}">
                        <a16:creationId xmlns:a16="http://schemas.microsoft.com/office/drawing/2014/main" id="{E6C84D9B-FD8D-4CF4-BBD9-0CC4F683D265}"/>
                      </a:ext>
                    </a:extLst>
                  </p:cNvPr>
                  <p:cNvSpPr/>
                  <p:nvPr/>
                </p:nvSpPr>
                <p:spPr>
                  <a:xfrm>
                    <a:off x="6221261" y="4144371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606" name="Freeform: Shape 605">
                    <a:extLst>
                      <a:ext uri="{FF2B5EF4-FFF2-40B4-BE49-F238E27FC236}">
                        <a16:creationId xmlns:a16="http://schemas.microsoft.com/office/drawing/2014/main" id="{217EF56A-01D9-4E79-8535-E2715EAB1128}"/>
                      </a:ext>
                    </a:extLst>
                  </p:cNvPr>
                  <p:cNvSpPr/>
                  <p:nvPr/>
                </p:nvSpPr>
                <p:spPr>
                  <a:xfrm>
                    <a:off x="6229031" y="4144371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607" name="Freeform: Shape 606">
                    <a:extLst>
                      <a:ext uri="{FF2B5EF4-FFF2-40B4-BE49-F238E27FC236}">
                        <a16:creationId xmlns:a16="http://schemas.microsoft.com/office/drawing/2014/main" id="{99DFA2C8-5E70-488C-B716-9F7B3C1A2F0F}"/>
                      </a:ext>
                    </a:extLst>
                  </p:cNvPr>
                  <p:cNvSpPr/>
                  <p:nvPr/>
                </p:nvSpPr>
                <p:spPr>
                  <a:xfrm>
                    <a:off x="6236800" y="4144371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369" name="Graphic 174">
                  <a:extLst>
                    <a:ext uri="{FF2B5EF4-FFF2-40B4-BE49-F238E27FC236}">
                      <a16:creationId xmlns:a16="http://schemas.microsoft.com/office/drawing/2014/main" id="{7A745489-80A8-4AF6-B725-222A685C412A}"/>
                    </a:ext>
                  </a:extLst>
                </p:cNvPr>
                <p:cNvGrpSpPr/>
                <p:nvPr/>
              </p:nvGrpSpPr>
              <p:grpSpPr>
                <a:xfrm>
                  <a:off x="6165875" y="4110339"/>
                  <a:ext cx="162832" cy="16283"/>
                  <a:chOff x="6165875" y="4110339"/>
                  <a:chExt cx="162832" cy="16283"/>
                </a:xfrm>
                <a:solidFill>
                  <a:schemeClr val="accent1"/>
                </a:solidFill>
              </p:grpSpPr>
              <p:sp>
                <p:nvSpPr>
                  <p:cNvPr id="562" name="Freeform: Shape 561">
                    <a:extLst>
                      <a:ext uri="{FF2B5EF4-FFF2-40B4-BE49-F238E27FC236}">
                        <a16:creationId xmlns:a16="http://schemas.microsoft.com/office/drawing/2014/main" id="{C3D918A3-D6F1-4720-A335-9FDF9A4AD144}"/>
                      </a:ext>
                    </a:extLst>
                  </p:cNvPr>
                  <p:cNvSpPr/>
                  <p:nvPr/>
                </p:nvSpPr>
                <p:spPr>
                  <a:xfrm>
                    <a:off x="6165875" y="4110339"/>
                    <a:ext cx="162832" cy="16283"/>
                  </a:xfrm>
                  <a:custGeom>
                    <a:avLst/>
                    <a:gdLst>
                      <a:gd name="connsiteX0" fmla="*/ 162297 w 162831"/>
                      <a:gd name="connsiteY0" fmla="*/ 16679 h 16283"/>
                      <a:gd name="connsiteX1" fmla="*/ 1442 w 162831"/>
                      <a:gd name="connsiteY1" fmla="*/ 16679 h 16283"/>
                      <a:gd name="connsiteX2" fmla="*/ 0 w 162831"/>
                      <a:gd name="connsiteY2" fmla="*/ 15236 h 16283"/>
                      <a:gd name="connsiteX3" fmla="*/ 0 w 162831"/>
                      <a:gd name="connsiteY3" fmla="*/ 1442 h 16283"/>
                      <a:gd name="connsiteX4" fmla="*/ 1442 w 162831"/>
                      <a:gd name="connsiteY4" fmla="*/ 0 h 16283"/>
                      <a:gd name="connsiteX5" fmla="*/ 162297 w 162831"/>
                      <a:gd name="connsiteY5" fmla="*/ 0 h 16283"/>
                      <a:gd name="connsiteX6" fmla="*/ 163739 w 162831"/>
                      <a:gd name="connsiteY6" fmla="*/ 1442 h 16283"/>
                      <a:gd name="connsiteX7" fmla="*/ 163739 w 162831"/>
                      <a:gd name="connsiteY7" fmla="*/ 15236 h 16283"/>
                      <a:gd name="connsiteX8" fmla="*/ 162297 w 162831"/>
                      <a:gd name="connsiteY8" fmla="*/ 16679 h 1628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62831" h="16283">
                        <a:moveTo>
                          <a:pt x="162297" y="16679"/>
                        </a:moveTo>
                        <a:lnTo>
                          <a:pt x="1442" y="16679"/>
                        </a:lnTo>
                        <a:cubicBezTo>
                          <a:pt x="651" y="16679"/>
                          <a:pt x="0" y="16027"/>
                          <a:pt x="0" y="15236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162297" y="0"/>
                        </a:lnTo>
                        <a:cubicBezTo>
                          <a:pt x="163088" y="0"/>
                          <a:pt x="163739" y="651"/>
                          <a:pt x="163739" y="1442"/>
                        </a:cubicBezTo>
                        <a:lnTo>
                          <a:pt x="163739" y="15236"/>
                        </a:lnTo>
                        <a:cubicBezTo>
                          <a:pt x="163716" y="16027"/>
                          <a:pt x="163088" y="16679"/>
                          <a:pt x="162297" y="16679"/>
                        </a:cubicBezTo>
                        <a:close/>
                      </a:path>
                    </a:pathLst>
                  </a:custGeom>
                  <a:solidFill>
                    <a:srgbClr val="F19439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63" name="Freeform: Shape 562">
                    <a:extLst>
                      <a:ext uri="{FF2B5EF4-FFF2-40B4-BE49-F238E27FC236}">
                        <a16:creationId xmlns:a16="http://schemas.microsoft.com/office/drawing/2014/main" id="{4B434617-8D4E-4206-9F0C-0CC3474088DB}"/>
                      </a:ext>
                    </a:extLst>
                  </p:cNvPr>
                  <p:cNvSpPr/>
                  <p:nvPr/>
                </p:nvSpPr>
                <p:spPr>
                  <a:xfrm>
                    <a:off x="6244570" y="4111037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32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64" name="Freeform: Shape 563">
                    <a:extLst>
                      <a:ext uri="{FF2B5EF4-FFF2-40B4-BE49-F238E27FC236}">
                        <a16:creationId xmlns:a16="http://schemas.microsoft.com/office/drawing/2014/main" id="{001335F0-3885-4CD3-BE81-46AB84325D9F}"/>
                      </a:ext>
                    </a:extLst>
                  </p:cNvPr>
                  <p:cNvSpPr/>
                  <p:nvPr/>
                </p:nvSpPr>
                <p:spPr>
                  <a:xfrm>
                    <a:off x="6252339" y="4111037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32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65" name="Freeform: Shape 564">
                    <a:extLst>
                      <a:ext uri="{FF2B5EF4-FFF2-40B4-BE49-F238E27FC236}">
                        <a16:creationId xmlns:a16="http://schemas.microsoft.com/office/drawing/2014/main" id="{D00CBC88-42C2-4794-B5D9-A32C216EA917}"/>
                      </a:ext>
                    </a:extLst>
                  </p:cNvPr>
                  <p:cNvSpPr/>
                  <p:nvPr/>
                </p:nvSpPr>
                <p:spPr>
                  <a:xfrm>
                    <a:off x="6260108" y="4111037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32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66" name="Freeform: Shape 565">
                    <a:extLst>
                      <a:ext uri="{FF2B5EF4-FFF2-40B4-BE49-F238E27FC236}">
                        <a16:creationId xmlns:a16="http://schemas.microsoft.com/office/drawing/2014/main" id="{7BE56294-40CA-4605-9250-F711561B2080}"/>
                      </a:ext>
                    </a:extLst>
                  </p:cNvPr>
                  <p:cNvSpPr/>
                  <p:nvPr/>
                </p:nvSpPr>
                <p:spPr>
                  <a:xfrm>
                    <a:off x="6267878" y="4111037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32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67" name="Freeform: Shape 566">
                    <a:extLst>
                      <a:ext uri="{FF2B5EF4-FFF2-40B4-BE49-F238E27FC236}">
                        <a16:creationId xmlns:a16="http://schemas.microsoft.com/office/drawing/2014/main" id="{CC031AF1-7A70-4492-8751-B4A643BD8923}"/>
                      </a:ext>
                    </a:extLst>
                  </p:cNvPr>
                  <p:cNvSpPr/>
                  <p:nvPr/>
                </p:nvSpPr>
                <p:spPr>
                  <a:xfrm>
                    <a:off x="6275647" y="4111037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32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68" name="Freeform: Shape 567">
                    <a:extLst>
                      <a:ext uri="{FF2B5EF4-FFF2-40B4-BE49-F238E27FC236}">
                        <a16:creationId xmlns:a16="http://schemas.microsoft.com/office/drawing/2014/main" id="{50B99248-E8F7-46F8-9AB3-D2870820FD53}"/>
                      </a:ext>
                    </a:extLst>
                  </p:cNvPr>
                  <p:cNvSpPr/>
                  <p:nvPr/>
                </p:nvSpPr>
                <p:spPr>
                  <a:xfrm>
                    <a:off x="6283417" y="4111037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32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69" name="Freeform: Shape 568">
                    <a:extLst>
                      <a:ext uri="{FF2B5EF4-FFF2-40B4-BE49-F238E27FC236}">
                        <a16:creationId xmlns:a16="http://schemas.microsoft.com/office/drawing/2014/main" id="{AF20432B-5BA7-4B4D-AE7D-679A4710ABAE}"/>
                      </a:ext>
                    </a:extLst>
                  </p:cNvPr>
                  <p:cNvSpPr/>
                  <p:nvPr/>
                </p:nvSpPr>
                <p:spPr>
                  <a:xfrm>
                    <a:off x="6291186" y="4111037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32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70" name="Freeform: Shape 569">
                    <a:extLst>
                      <a:ext uri="{FF2B5EF4-FFF2-40B4-BE49-F238E27FC236}">
                        <a16:creationId xmlns:a16="http://schemas.microsoft.com/office/drawing/2014/main" id="{9C8C30DA-AA73-4BF2-A77F-A83EAD0E78F5}"/>
                      </a:ext>
                    </a:extLst>
                  </p:cNvPr>
                  <p:cNvSpPr/>
                  <p:nvPr/>
                </p:nvSpPr>
                <p:spPr>
                  <a:xfrm>
                    <a:off x="6298955" y="4111037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32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71" name="Freeform: Shape 570">
                    <a:extLst>
                      <a:ext uri="{FF2B5EF4-FFF2-40B4-BE49-F238E27FC236}">
                        <a16:creationId xmlns:a16="http://schemas.microsoft.com/office/drawing/2014/main" id="{1D9B2F2D-567E-4AEE-8FC0-60B5B9D66906}"/>
                      </a:ext>
                    </a:extLst>
                  </p:cNvPr>
                  <p:cNvSpPr/>
                  <p:nvPr/>
                </p:nvSpPr>
                <p:spPr>
                  <a:xfrm>
                    <a:off x="6306725" y="4111037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32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72" name="Freeform: Shape 571">
                    <a:extLst>
                      <a:ext uri="{FF2B5EF4-FFF2-40B4-BE49-F238E27FC236}">
                        <a16:creationId xmlns:a16="http://schemas.microsoft.com/office/drawing/2014/main" id="{BD956BDF-3739-4DDF-89D7-ED110AC88198}"/>
                      </a:ext>
                    </a:extLst>
                  </p:cNvPr>
                  <p:cNvSpPr/>
                  <p:nvPr/>
                </p:nvSpPr>
                <p:spPr>
                  <a:xfrm>
                    <a:off x="6314494" y="4111037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32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73" name="Freeform: Shape 572">
                    <a:extLst>
                      <a:ext uri="{FF2B5EF4-FFF2-40B4-BE49-F238E27FC236}">
                        <a16:creationId xmlns:a16="http://schemas.microsoft.com/office/drawing/2014/main" id="{72D6B638-E256-46BE-8F03-5F96D347D587}"/>
                      </a:ext>
                    </a:extLst>
                  </p:cNvPr>
                  <p:cNvSpPr/>
                  <p:nvPr/>
                </p:nvSpPr>
                <p:spPr>
                  <a:xfrm>
                    <a:off x="6322264" y="4111037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32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74" name="Freeform: Shape 573">
                    <a:extLst>
                      <a:ext uri="{FF2B5EF4-FFF2-40B4-BE49-F238E27FC236}">
                        <a16:creationId xmlns:a16="http://schemas.microsoft.com/office/drawing/2014/main" id="{83ABD8AA-0721-485A-852E-E56B7810A9F7}"/>
                      </a:ext>
                    </a:extLst>
                  </p:cNvPr>
                  <p:cNvSpPr/>
                  <p:nvPr/>
                </p:nvSpPr>
                <p:spPr>
                  <a:xfrm>
                    <a:off x="6182438" y="4111037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32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75" name="Freeform: Shape 574">
                    <a:extLst>
                      <a:ext uri="{FF2B5EF4-FFF2-40B4-BE49-F238E27FC236}">
                        <a16:creationId xmlns:a16="http://schemas.microsoft.com/office/drawing/2014/main" id="{A529A9C0-B4D5-4A49-94F9-B3DBC91C4DED}"/>
                      </a:ext>
                    </a:extLst>
                  </p:cNvPr>
                  <p:cNvSpPr/>
                  <p:nvPr/>
                </p:nvSpPr>
                <p:spPr>
                  <a:xfrm>
                    <a:off x="6190207" y="4111037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32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76" name="Freeform: Shape 575">
                    <a:extLst>
                      <a:ext uri="{FF2B5EF4-FFF2-40B4-BE49-F238E27FC236}">
                        <a16:creationId xmlns:a16="http://schemas.microsoft.com/office/drawing/2014/main" id="{E1CFD77F-EDBC-49E8-9EED-4B91551D3878}"/>
                      </a:ext>
                    </a:extLst>
                  </p:cNvPr>
                  <p:cNvSpPr/>
                  <p:nvPr/>
                </p:nvSpPr>
                <p:spPr>
                  <a:xfrm>
                    <a:off x="6197976" y="4111037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32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77" name="Freeform: Shape 576">
                    <a:extLst>
                      <a:ext uri="{FF2B5EF4-FFF2-40B4-BE49-F238E27FC236}">
                        <a16:creationId xmlns:a16="http://schemas.microsoft.com/office/drawing/2014/main" id="{BE6A5322-D64E-4A19-B3EE-9C2BFC1BBF84}"/>
                      </a:ext>
                    </a:extLst>
                  </p:cNvPr>
                  <p:cNvSpPr/>
                  <p:nvPr/>
                </p:nvSpPr>
                <p:spPr>
                  <a:xfrm>
                    <a:off x="6166899" y="4111037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32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78" name="Freeform: Shape 577">
                    <a:extLst>
                      <a:ext uri="{FF2B5EF4-FFF2-40B4-BE49-F238E27FC236}">
                        <a16:creationId xmlns:a16="http://schemas.microsoft.com/office/drawing/2014/main" id="{2460A372-9368-42BE-9AFA-7FB59833DE98}"/>
                      </a:ext>
                    </a:extLst>
                  </p:cNvPr>
                  <p:cNvSpPr/>
                  <p:nvPr/>
                </p:nvSpPr>
                <p:spPr>
                  <a:xfrm>
                    <a:off x="6174668" y="4111037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32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79" name="Freeform: Shape 578">
                    <a:extLst>
                      <a:ext uri="{FF2B5EF4-FFF2-40B4-BE49-F238E27FC236}">
                        <a16:creationId xmlns:a16="http://schemas.microsoft.com/office/drawing/2014/main" id="{4FA647D9-6248-4231-95A9-7B3D2B70847B}"/>
                      </a:ext>
                    </a:extLst>
                  </p:cNvPr>
                  <p:cNvSpPr/>
                  <p:nvPr/>
                </p:nvSpPr>
                <p:spPr>
                  <a:xfrm>
                    <a:off x="6182438" y="4111037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32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80" name="Freeform: Shape 579">
                    <a:extLst>
                      <a:ext uri="{FF2B5EF4-FFF2-40B4-BE49-F238E27FC236}">
                        <a16:creationId xmlns:a16="http://schemas.microsoft.com/office/drawing/2014/main" id="{210610D1-CC48-47A9-B8DC-02ACFBFF86DC}"/>
                      </a:ext>
                    </a:extLst>
                  </p:cNvPr>
                  <p:cNvSpPr/>
                  <p:nvPr/>
                </p:nvSpPr>
                <p:spPr>
                  <a:xfrm>
                    <a:off x="6205746" y="4111037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32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81" name="Freeform: Shape 580">
                    <a:extLst>
                      <a:ext uri="{FF2B5EF4-FFF2-40B4-BE49-F238E27FC236}">
                        <a16:creationId xmlns:a16="http://schemas.microsoft.com/office/drawing/2014/main" id="{83DB660C-0313-4153-9A71-ABE7EDD68048}"/>
                      </a:ext>
                    </a:extLst>
                  </p:cNvPr>
                  <p:cNvSpPr/>
                  <p:nvPr/>
                </p:nvSpPr>
                <p:spPr>
                  <a:xfrm>
                    <a:off x="6213492" y="4111037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32"/>
                          <a:pt x="5699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82" name="Freeform: Shape 581">
                    <a:extLst>
                      <a:ext uri="{FF2B5EF4-FFF2-40B4-BE49-F238E27FC236}">
                        <a16:creationId xmlns:a16="http://schemas.microsoft.com/office/drawing/2014/main" id="{89E185D4-C775-4975-801F-7DF5786C2990}"/>
                      </a:ext>
                    </a:extLst>
                  </p:cNvPr>
                  <p:cNvSpPr/>
                  <p:nvPr/>
                </p:nvSpPr>
                <p:spPr>
                  <a:xfrm>
                    <a:off x="6221261" y="4111037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32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83" name="Freeform: Shape 582">
                    <a:extLst>
                      <a:ext uri="{FF2B5EF4-FFF2-40B4-BE49-F238E27FC236}">
                        <a16:creationId xmlns:a16="http://schemas.microsoft.com/office/drawing/2014/main" id="{3883C7EE-AB41-4CF2-91CA-DD908D754AE7}"/>
                      </a:ext>
                    </a:extLst>
                  </p:cNvPr>
                  <p:cNvSpPr/>
                  <p:nvPr/>
                </p:nvSpPr>
                <p:spPr>
                  <a:xfrm>
                    <a:off x="6229031" y="4111037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32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84" name="Freeform: Shape 583">
                    <a:extLst>
                      <a:ext uri="{FF2B5EF4-FFF2-40B4-BE49-F238E27FC236}">
                        <a16:creationId xmlns:a16="http://schemas.microsoft.com/office/drawing/2014/main" id="{5E85BF98-8838-4074-AE07-0422AB6AB939}"/>
                      </a:ext>
                    </a:extLst>
                  </p:cNvPr>
                  <p:cNvSpPr/>
                  <p:nvPr/>
                </p:nvSpPr>
                <p:spPr>
                  <a:xfrm>
                    <a:off x="6236800" y="4111037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32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370" name="Graphic 174">
                  <a:extLst>
                    <a:ext uri="{FF2B5EF4-FFF2-40B4-BE49-F238E27FC236}">
                      <a16:creationId xmlns:a16="http://schemas.microsoft.com/office/drawing/2014/main" id="{42746B27-4C34-429F-B82F-2FC9682AF91B}"/>
                    </a:ext>
                  </a:extLst>
                </p:cNvPr>
                <p:cNvGrpSpPr/>
                <p:nvPr/>
              </p:nvGrpSpPr>
              <p:grpSpPr>
                <a:xfrm>
                  <a:off x="6158106" y="4126994"/>
                  <a:ext cx="162832" cy="16283"/>
                  <a:chOff x="6158106" y="4126994"/>
                  <a:chExt cx="162832" cy="16283"/>
                </a:xfrm>
                <a:solidFill>
                  <a:schemeClr val="accent1"/>
                </a:solidFill>
              </p:grpSpPr>
              <p:sp>
                <p:nvSpPr>
                  <p:cNvPr id="539" name="Freeform: Shape 538">
                    <a:extLst>
                      <a:ext uri="{FF2B5EF4-FFF2-40B4-BE49-F238E27FC236}">
                        <a16:creationId xmlns:a16="http://schemas.microsoft.com/office/drawing/2014/main" id="{B9AD8076-11A9-4706-AAE3-C0E20D08A669}"/>
                      </a:ext>
                    </a:extLst>
                  </p:cNvPr>
                  <p:cNvSpPr/>
                  <p:nvPr/>
                </p:nvSpPr>
                <p:spPr>
                  <a:xfrm>
                    <a:off x="6158106" y="4126994"/>
                    <a:ext cx="162832" cy="16283"/>
                  </a:xfrm>
                  <a:custGeom>
                    <a:avLst/>
                    <a:gdLst>
                      <a:gd name="connsiteX0" fmla="*/ 162297 w 162831"/>
                      <a:gd name="connsiteY0" fmla="*/ 16679 h 16283"/>
                      <a:gd name="connsiteX1" fmla="*/ 1442 w 162831"/>
                      <a:gd name="connsiteY1" fmla="*/ 16679 h 16283"/>
                      <a:gd name="connsiteX2" fmla="*/ 0 w 162831"/>
                      <a:gd name="connsiteY2" fmla="*/ 15236 h 16283"/>
                      <a:gd name="connsiteX3" fmla="*/ 0 w 162831"/>
                      <a:gd name="connsiteY3" fmla="*/ 1442 h 16283"/>
                      <a:gd name="connsiteX4" fmla="*/ 1442 w 162831"/>
                      <a:gd name="connsiteY4" fmla="*/ 0 h 16283"/>
                      <a:gd name="connsiteX5" fmla="*/ 162297 w 162831"/>
                      <a:gd name="connsiteY5" fmla="*/ 0 h 16283"/>
                      <a:gd name="connsiteX6" fmla="*/ 163739 w 162831"/>
                      <a:gd name="connsiteY6" fmla="*/ 1442 h 16283"/>
                      <a:gd name="connsiteX7" fmla="*/ 163739 w 162831"/>
                      <a:gd name="connsiteY7" fmla="*/ 15236 h 16283"/>
                      <a:gd name="connsiteX8" fmla="*/ 162297 w 162831"/>
                      <a:gd name="connsiteY8" fmla="*/ 16679 h 1628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62831" h="16283">
                        <a:moveTo>
                          <a:pt x="162297" y="16679"/>
                        </a:moveTo>
                        <a:lnTo>
                          <a:pt x="1442" y="16679"/>
                        </a:lnTo>
                        <a:cubicBezTo>
                          <a:pt x="651" y="16679"/>
                          <a:pt x="0" y="16027"/>
                          <a:pt x="0" y="15236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162297" y="0"/>
                        </a:lnTo>
                        <a:cubicBezTo>
                          <a:pt x="163088" y="0"/>
                          <a:pt x="163739" y="651"/>
                          <a:pt x="163739" y="1442"/>
                        </a:cubicBezTo>
                        <a:lnTo>
                          <a:pt x="163739" y="15236"/>
                        </a:lnTo>
                        <a:cubicBezTo>
                          <a:pt x="163716" y="16027"/>
                          <a:pt x="163088" y="16679"/>
                          <a:pt x="162297" y="16679"/>
                        </a:cubicBezTo>
                        <a:close/>
                      </a:path>
                    </a:pathLst>
                  </a:custGeom>
                  <a:solidFill>
                    <a:srgbClr val="F19439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40" name="Freeform: Shape 539">
                    <a:extLst>
                      <a:ext uri="{FF2B5EF4-FFF2-40B4-BE49-F238E27FC236}">
                        <a16:creationId xmlns:a16="http://schemas.microsoft.com/office/drawing/2014/main" id="{45AA877D-DDA5-468B-985F-F6B880583924}"/>
                      </a:ext>
                    </a:extLst>
                  </p:cNvPr>
                  <p:cNvSpPr/>
                  <p:nvPr/>
                </p:nvSpPr>
                <p:spPr>
                  <a:xfrm>
                    <a:off x="6236800" y="4127715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41" name="Freeform: Shape 540">
                    <a:extLst>
                      <a:ext uri="{FF2B5EF4-FFF2-40B4-BE49-F238E27FC236}">
                        <a16:creationId xmlns:a16="http://schemas.microsoft.com/office/drawing/2014/main" id="{05EE41DD-FD72-4DC0-9641-7B437D5E0D46}"/>
                      </a:ext>
                    </a:extLst>
                  </p:cNvPr>
                  <p:cNvSpPr/>
                  <p:nvPr/>
                </p:nvSpPr>
                <p:spPr>
                  <a:xfrm>
                    <a:off x="6244570" y="4127715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42" name="Freeform: Shape 541">
                    <a:extLst>
                      <a:ext uri="{FF2B5EF4-FFF2-40B4-BE49-F238E27FC236}">
                        <a16:creationId xmlns:a16="http://schemas.microsoft.com/office/drawing/2014/main" id="{121EE240-4118-463E-9D04-47F6AA1022BA}"/>
                      </a:ext>
                    </a:extLst>
                  </p:cNvPr>
                  <p:cNvSpPr/>
                  <p:nvPr/>
                </p:nvSpPr>
                <p:spPr>
                  <a:xfrm>
                    <a:off x="6252339" y="4127715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43" name="Freeform: Shape 542">
                    <a:extLst>
                      <a:ext uri="{FF2B5EF4-FFF2-40B4-BE49-F238E27FC236}">
                        <a16:creationId xmlns:a16="http://schemas.microsoft.com/office/drawing/2014/main" id="{601D3593-BED1-4702-BB70-5ED452A4C277}"/>
                      </a:ext>
                    </a:extLst>
                  </p:cNvPr>
                  <p:cNvSpPr/>
                  <p:nvPr/>
                </p:nvSpPr>
                <p:spPr>
                  <a:xfrm>
                    <a:off x="6260108" y="4127715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44" name="Freeform: Shape 543">
                    <a:extLst>
                      <a:ext uri="{FF2B5EF4-FFF2-40B4-BE49-F238E27FC236}">
                        <a16:creationId xmlns:a16="http://schemas.microsoft.com/office/drawing/2014/main" id="{9E20F094-AE05-4431-9C90-1047FD32EE49}"/>
                      </a:ext>
                    </a:extLst>
                  </p:cNvPr>
                  <p:cNvSpPr/>
                  <p:nvPr/>
                </p:nvSpPr>
                <p:spPr>
                  <a:xfrm>
                    <a:off x="6267878" y="4127715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45" name="Freeform: Shape 544">
                    <a:extLst>
                      <a:ext uri="{FF2B5EF4-FFF2-40B4-BE49-F238E27FC236}">
                        <a16:creationId xmlns:a16="http://schemas.microsoft.com/office/drawing/2014/main" id="{AB7A54A4-D2EF-4F4C-9414-32079141CDAF}"/>
                      </a:ext>
                    </a:extLst>
                  </p:cNvPr>
                  <p:cNvSpPr/>
                  <p:nvPr/>
                </p:nvSpPr>
                <p:spPr>
                  <a:xfrm>
                    <a:off x="6275647" y="4127715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46" name="Freeform: Shape 545">
                    <a:extLst>
                      <a:ext uri="{FF2B5EF4-FFF2-40B4-BE49-F238E27FC236}">
                        <a16:creationId xmlns:a16="http://schemas.microsoft.com/office/drawing/2014/main" id="{ED42B7F4-F2B2-4B64-AC69-A7081DD0475E}"/>
                      </a:ext>
                    </a:extLst>
                  </p:cNvPr>
                  <p:cNvSpPr/>
                  <p:nvPr/>
                </p:nvSpPr>
                <p:spPr>
                  <a:xfrm>
                    <a:off x="6283417" y="4127715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47" name="Freeform: Shape 546">
                    <a:extLst>
                      <a:ext uri="{FF2B5EF4-FFF2-40B4-BE49-F238E27FC236}">
                        <a16:creationId xmlns:a16="http://schemas.microsoft.com/office/drawing/2014/main" id="{38A7A5D4-53B9-404C-8A4C-C2CCB8095C83}"/>
                      </a:ext>
                    </a:extLst>
                  </p:cNvPr>
                  <p:cNvSpPr/>
                  <p:nvPr/>
                </p:nvSpPr>
                <p:spPr>
                  <a:xfrm>
                    <a:off x="6291186" y="4127715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48" name="Freeform: Shape 547">
                    <a:extLst>
                      <a:ext uri="{FF2B5EF4-FFF2-40B4-BE49-F238E27FC236}">
                        <a16:creationId xmlns:a16="http://schemas.microsoft.com/office/drawing/2014/main" id="{4650F745-A9A4-4286-BA0B-6D9B61566086}"/>
                      </a:ext>
                    </a:extLst>
                  </p:cNvPr>
                  <p:cNvSpPr/>
                  <p:nvPr/>
                </p:nvSpPr>
                <p:spPr>
                  <a:xfrm>
                    <a:off x="6298955" y="4127715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49" name="Freeform: Shape 548">
                    <a:extLst>
                      <a:ext uri="{FF2B5EF4-FFF2-40B4-BE49-F238E27FC236}">
                        <a16:creationId xmlns:a16="http://schemas.microsoft.com/office/drawing/2014/main" id="{BF5C6946-BE93-4A48-A316-4A268238A93B}"/>
                      </a:ext>
                    </a:extLst>
                  </p:cNvPr>
                  <p:cNvSpPr/>
                  <p:nvPr/>
                </p:nvSpPr>
                <p:spPr>
                  <a:xfrm>
                    <a:off x="6306725" y="4127715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50" name="Freeform: Shape 549">
                    <a:extLst>
                      <a:ext uri="{FF2B5EF4-FFF2-40B4-BE49-F238E27FC236}">
                        <a16:creationId xmlns:a16="http://schemas.microsoft.com/office/drawing/2014/main" id="{7E75CB0E-0F73-4677-989A-0973BF60C333}"/>
                      </a:ext>
                    </a:extLst>
                  </p:cNvPr>
                  <p:cNvSpPr/>
                  <p:nvPr/>
                </p:nvSpPr>
                <p:spPr>
                  <a:xfrm>
                    <a:off x="6314494" y="4127715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51" name="Freeform: Shape 550">
                    <a:extLst>
                      <a:ext uri="{FF2B5EF4-FFF2-40B4-BE49-F238E27FC236}">
                        <a16:creationId xmlns:a16="http://schemas.microsoft.com/office/drawing/2014/main" id="{9E91A1A5-29F7-4DBE-A3F3-BFFA72CB0EE6}"/>
                      </a:ext>
                    </a:extLst>
                  </p:cNvPr>
                  <p:cNvSpPr/>
                  <p:nvPr/>
                </p:nvSpPr>
                <p:spPr>
                  <a:xfrm>
                    <a:off x="6174668" y="4127715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52" name="Freeform: Shape 551">
                    <a:extLst>
                      <a:ext uri="{FF2B5EF4-FFF2-40B4-BE49-F238E27FC236}">
                        <a16:creationId xmlns:a16="http://schemas.microsoft.com/office/drawing/2014/main" id="{35EA8E22-8768-403F-B24A-D1546D38361B}"/>
                      </a:ext>
                    </a:extLst>
                  </p:cNvPr>
                  <p:cNvSpPr/>
                  <p:nvPr/>
                </p:nvSpPr>
                <p:spPr>
                  <a:xfrm>
                    <a:off x="6182438" y="4127715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53" name="Freeform: Shape 552">
                    <a:extLst>
                      <a:ext uri="{FF2B5EF4-FFF2-40B4-BE49-F238E27FC236}">
                        <a16:creationId xmlns:a16="http://schemas.microsoft.com/office/drawing/2014/main" id="{87FFE0E7-4406-4B5D-A19C-0B652DFAF0F9}"/>
                      </a:ext>
                    </a:extLst>
                  </p:cNvPr>
                  <p:cNvSpPr/>
                  <p:nvPr/>
                </p:nvSpPr>
                <p:spPr>
                  <a:xfrm>
                    <a:off x="6190207" y="4127715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54" name="Freeform: Shape 553">
                    <a:extLst>
                      <a:ext uri="{FF2B5EF4-FFF2-40B4-BE49-F238E27FC236}">
                        <a16:creationId xmlns:a16="http://schemas.microsoft.com/office/drawing/2014/main" id="{3439BDC5-24FB-462C-A80F-768206D8C625}"/>
                      </a:ext>
                    </a:extLst>
                  </p:cNvPr>
                  <p:cNvSpPr/>
                  <p:nvPr/>
                </p:nvSpPr>
                <p:spPr>
                  <a:xfrm>
                    <a:off x="6159129" y="4127715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55" name="Freeform: Shape 554">
                    <a:extLst>
                      <a:ext uri="{FF2B5EF4-FFF2-40B4-BE49-F238E27FC236}">
                        <a16:creationId xmlns:a16="http://schemas.microsoft.com/office/drawing/2014/main" id="{4AB63814-85CF-4B85-8DDE-2908A1D1EF08}"/>
                      </a:ext>
                    </a:extLst>
                  </p:cNvPr>
                  <p:cNvSpPr/>
                  <p:nvPr/>
                </p:nvSpPr>
                <p:spPr>
                  <a:xfrm>
                    <a:off x="6166899" y="4127715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56" name="Freeform: Shape 555">
                    <a:extLst>
                      <a:ext uri="{FF2B5EF4-FFF2-40B4-BE49-F238E27FC236}">
                        <a16:creationId xmlns:a16="http://schemas.microsoft.com/office/drawing/2014/main" id="{006C20EB-0C70-4A14-90F9-39768DDE01E3}"/>
                      </a:ext>
                    </a:extLst>
                  </p:cNvPr>
                  <p:cNvSpPr/>
                  <p:nvPr/>
                </p:nvSpPr>
                <p:spPr>
                  <a:xfrm>
                    <a:off x="6174668" y="4127715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57" name="Freeform: Shape 556">
                    <a:extLst>
                      <a:ext uri="{FF2B5EF4-FFF2-40B4-BE49-F238E27FC236}">
                        <a16:creationId xmlns:a16="http://schemas.microsoft.com/office/drawing/2014/main" id="{4398B61C-6A98-4755-B76A-B7038B6E478C}"/>
                      </a:ext>
                    </a:extLst>
                  </p:cNvPr>
                  <p:cNvSpPr/>
                  <p:nvPr/>
                </p:nvSpPr>
                <p:spPr>
                  <a:xfrm>
                    <a:off x="6197976" y="4127715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58" name="Freeform: Shape 557">
                    <a:extLst>
                      <a:ext uri="{FF2B5EF4-FFF2-40B4-BE49-F238E27FC236}">
                        <a16:creationId xmlns:a16="http://schemas.microsoft.com/office/drawing/2014/main" id="{A68F2A07-9B50-429A-BDCC-FD445094743C}"/>
                      </a:ext>
                    </a:extLst>
                  </p:cNvPr>
                  <p:cNvSpPr/>
                  <p:nvPr/>
                </p:nvSpPr>
                <p:spPr>
                  <a:xfrm>
                    <a:off x="6205746" y="4127715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59" name="Freeform: Shape 558">
                    <a:extLst>
                      <a:ext uri="{FF2B5EF4-FFF2-40B4-BE49-F238E27FC236}">
                        <a16:creationId xmlns:a16="http://schemas.microsoft.com/office/drawing/2014/main" id="{09438767-B0C6-4896-B226-A5C17F0BE181}"/>
                      </a:ext>
                    </a:extLst>
                  </p:cNvPr>
                  <p:cNvSpPr/>
                  <p:nvPr/>
                </p:nvSpPr>
                <p:spPr>
                  <a:xfrm>
                    <a:off x="6213492" y="4127715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08"/>
                          <a:pt x="5699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60" name="Freeform: Shape 559">
                    <a:extLst>
                      <a:ext uri="{FF2B5EF4-FFF2-40B4-BE49-F238E27FC236}">
                        <a16:creationId xmlns:a16="http://schemas.microsoft.com/office/drawing/2014/main" id="{BDC61783-8AC0-480C-AA80-6AFF2AAF9C2E}"/>
                      </a:ext>
                    </a:extLst>
                  </p:cNvPr>
                  <p:cNvSpPr/>
                  <p:nvPr/>
                </p:nvSpPr>
                <p:spPr>
                  <a:xfrm>
                    <a:off x="6221261" y="4127715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61" name="Freeform: Shape 560">
                    <a:extLst>
                      <a:ext uri="{FF2B5EF4-FFF2-40B4-BE49-F238E27FC236}">
                        <a16:creationId xmlns:a16="http://schemas.microsoft.com/office/drawing/2014/main" id="{FED82F5C-4963-417E-B24D-91713A970F92}"/>
                      </a:ext>
                    </a:extLst>
                  </p:cNvPr>
                  <p:cNvSpPr/>
                  <p:nvPr/>
                </p:nvSpPr>
                <p:spPr>
                  <a:xfrm>
                    <a:off x="6229031" y="4127715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371" name="Graphic 174">
                  <a:extLst>
                    <a:ext uri="{FF2B5EF4-FFF2-40B4-BE49-F238E27FC236}">
                      <a16:creationId xmlns:a16="http://schemas.microsoft.com/office/drawing/2014/main" id="{EEB6B70E-6E59-4834-A919-CC8BE650FF2C}"/>
                    </a:ext>
                  </a:extLst>
                </p:cNvPr>
                <p:cNvGrpSpPr/>
                <p:nvPr/>
              </p:nvGrpSpPr>
              <p:grpSpPr>
                <a:xfrm>
                  <a:off x="6161246" y="4093660"/>
                  <a:ext cx="162832" cy="16283"/>
                  <a:chOff x="6161246" y="4093660"/>
                  <a:chExt cx="162832" cy="16283"/>
                </a:xfrm>
                <a:solidFill>
                  <a:schemeClr val="accent1"/>
                </a:solidFill>
              </p:grpSpPr>
              <p:sp>
                <p:nvSpPr>
                  <p:cNvPr id="516" name="Freeform: Shape 515">
                    <a:extLst>
                      <a:ext uri="{FF2B5EF4-FFF2-40B4-BE49-F238E27FC236}">
                        <a16:creationId xmlns:a16="http://schemas.microsoft.com/office/drawing/2014/main" id="{A56CB1A2-5FBF-418F-8252-956AF42A1354}"/>
                      </a:ext>
                    </a:extLst>
                  </p:cNvPr>
                  <p:cNvSpPr/>
                  <p:nvPr/>
                </p:nvSpPr>
                <p:spPr>
                  <a:xfrm>
                    <a:off x="6161246" y="4093660"/>
                    <a:ext cx="162832" cy="16283"/>
                  </a:xfrm>
                  <a:custGeom>
                    <a:avLst/>
                    <a:gdLst>
                      <a:gd name="connsiteX0" fmla="*/ 162297 w 162831"/>
                      <a:gd name="connsiteY0" fmla="*/ 16679 h 16283"/>
                      <a:gd name="connsiteX1" fmla="*/ 1442 w 162831"/>
                      <a:gd name="connsiteY1" fmla="*/ 16679 h 16283"/>
                      <a:gd name="connsiteX2" fmla="*/ 0 w 162831"/>
                      <a:gd name="connsiteY2" fmla="*/ 15236 h 16283"/>
                      <a:gd name="connsiteX3" fmla="*/ 0 w 162831"/>
                      <a:gd name="connsiteY3" fmla="*/ 1442 h 16283"/>
                      <a:gd name="connsiteX4" fmla="*/ 1442 w 162831"/>
                      <a:gd name="connsiteY4" fmla="*/ 0 h 16283"/>
                      <a:gd name="connsiteX5" fmla="*/ 162297 w 162831"/>
                      <a:gd name="connsiteY5" fmla="*/ 0 h 16283"/>
                      <a:gd name="connsiteX6" fmla="*/ 163739 w 162831"/>
                      <a:gd name="connsiteY6" fmla="*/ 1442 h 16283"/>
                      <a:gd name="connsiteX7" fmla="*/ 163739 w 162831"/>
                      <a:gd name="connsiteY7" fmla="*/ 15236 h 16283"/>
                      <a:gd name="connsiteX8" fmla="*/ 162297 w 162831"/>
                      <a:gd name="connsiteY8" fmla="*/ 16679 h 1628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62831" h="16283">
                        <a:moveTo>
                          <a:pt x="162297" y="16679"/>
                        </a:moveTo>
                        <a:lnTo>
                          <a:pt x="1442" y="16679"/>
                        </a:lnTo>
                        <a:cubicBezTo>
                          <a:pt x="651" y="16679"/>
                          <a:pt x="0" y="16027"/>
                          <a:pt x="0" y="15236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162297" y="0"/>
                        </a:lnTo>
                        <a:cubicBezTo>
                          <a:pt x="163088" y="0"/>
                          <a:pt x="163739" y="651"/>
                          <a:pt x="163739" y="1442"/>
                        </a:cubicBezTo>
                        <a:lnTo>
                          <a:pt x="163739" y="15236"/>
                        </a:lnTo>
                        <a:cubicBezTo>
                          <a:pt x="163739" y="16051"/>
                          <a:pt x="163088" y="16679"/>
                          <a:pt x="162297" y="16679"/>
                        </a:cubicBezTo>
                        <a:close/>
                      </a:path>
                    </a:pathLst>
                  </a:custGeom>
                  <a:solidFill>
                    <a:srgbClr val="F19439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17" name="Freeform: Shape 516">
                    <a:extLst>
                      <a:ext uri="{FF2B5EF4-FFF2-40B4-BE49-F238E27FC236}">
                        <a16:creationId xmlns:a16="http://schemas.microsoft.com/office/drawing/2014/main" id="{00414770-616D-476E-8EE2-15580CCE54F2}"/>
                      </a:ext>
                    </a:extLst>
                  </p:cNvPr>
                  <p:cNvSpPr/>
                  <p:nvPr/>
                </p:nvSpPr>
                <p:spPr>
                  <a:xfrm>
                    <a:off x="6239964" y="4094381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18" name="Freeform: Shape 517">
                    <a:extLst>
                      <a:ext uri="{FF2B5EF4-FFF2-40B4-BE49-F238E27FC236}">
                        <a16:creationId xmlns:a16="http://schemas.microsoft.com/office/drawing/2014/main" id="{63A27E7F-6650-4856-B86C-655A908925EC}"/>
                      </a:ext>
                    </a:extLst>
                  </p:cNvPr>
                  <p:cNvSpPr/>
                  <p:nvPr/>
                </p:nvSpPr>
                <p:spPr>
                  <a:xfrm>
                    <a:off x="6247733" y="4094381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19" name="Freeform: Shape 518">
                    <a:extLst>
                      <a:ext uri="{FF2B5EF4-FFF2-40B4-BE49-F238E27FC236}">
                        <a16:creationId xmlns:a16="http://schemas.microsoft.com/office/drawing/2014/main" id="{20800ADC-978E-4FF1-82B5-5F63C0647093}"/>
                      </a:ext>
                    </a:extLst>
                  </p:cNvPr>
                  <p:cNvSpPr/>
                  <p:nvPr/>
                </p:nvSpPr>
                <p:spPr>
                  <a:xfrm>
                    <a:off x="6255503" y="4094381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20" name="Freeform: Shape 519">
                    <a:extLst>
                      <a:ext uri="{FF2B5EF4-FFF2-40B4-BE49-F238E27FC236}">
                        <a16:creationId xmlns:a16="http://schemas.microsoft.com/office/drawing/2014/main" id="{ED1CB3B6-5F13-468A-BEB6-B5A1C9645A0B}"/>
                      </a:ext>
                    </a:extLst>
                  </p:cNvPr>
                  <p:cNvSpPr/>
                  <p:nvPr/>
                </p:nvSpPr>
                <p:spPr>
                  <a:xfrm>
                    <a:off x="6263272" y="4094381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21" name="Freeform: Shape 520">
                    <a:extLst>
                      <a:ext uri="{FF2B5EF4-FFF2-40B4-BE49-F238E27FC236}">
                        <a16:creationId xmlns:a16="http://schemas.microsoft.com/office/drawing/2014/main" id="{03CBC686-67C3-45F2-B53B-2C1E51321191}"/>
                      </a:ext>
                    </a:extLst>
                  </p:cNvPr>
                  <p:cNvSpPr/>
                  <p:nvPr/>
                </p:nvSpPr>
                <p:spPr>
                  <a:xfrm>
                    <a:off x="6271041" y="4094381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22" name="Freeform: Shape 521">
                    <a:extLst>
                      <a:ext uri="{FF2B5EF4-FFF2-40B4-BE49-F238E27FC236}">
                        <a16:creationId xmlns:a16="http://schemas.microsoft.com/office/drawing/2014/main" id="{8B19BCC0-C9B6-43D9-9305-2DF52244207B}"/>
                      </a:ext>
                    </a:extLst>
                  </p:cNvPr>
                  <p:cNvSpPr/>
                  <p:nvPr/>
                </p:nvSpPr>
                <p:spPr>
                  <a:xfrm>
                    <a:off x="6278811" y="4094381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23" name="Freeform: Shape 522">
                    <a:extLst>
                      <a:ext uri="{FF2B5EF4-FFF2-40B4-BE49-F238E27FC236}">
                        <a16:creationId xmlns:a16="http://schemas.microsoft.com/office/drawing/2014/main" id="{4254EC40-5555-425F-AA81-098222F07A67}"/>
                      </a:ext>
                    </a:extLst>
                  </p:cNvPr>
                  <p:cNvSpPr/>
                  <p:nvPr/>
                </p:nvSpPr>
                <p:spPr>
                  <a:xfrm>
                    <a:off x="6286580" y="4094381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24" name="Freeform: Shape 523">
                    <a:extLst>
                      <a:ext uri="{FF2B5EF4-FFF2-40B4-BE49-F238E27FC236}">
                        <a16:creationId xmlns:a16="http://schemas.microsoft.com/office/drawing/2014/main" id="{63797674-C664-4CFE-AC84-7E388E75964E}"/>
                      </a:ext>
                    </a:extLst>
                  </p:cNvPr>
                  <p:cNvSpPr/>
                  <p:nvPr/>
                </p:nvSpPr>
                <p:spPr>
                  <a:xfrm>
                    <a:off x="6294350" y="4094381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25" name="Freeform: Shape 524">
                    <a:extLst>
                      <a:ext uri="{FF2B5EF4-FFF2-40B4-BE49-F238E27FC236}">
                        <a16:creationId xmlns:a16="http://schemas.microsoft.com/office/drawing/2014/main" id="{CC13E6EB-914E-45D0-ACAF-31B665A2B13E}"/>
                      </a:ext>
                    </a:extLst>
                  </p:cNvPr>
                  <p:cNvSpPr/>
                  <p:nvPr/>
                </p:nvSpPr>
                <p:spPr>
                  <a:xfrm>
                    <a:off x="6302096" y="4094381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08"/>
                          <a:pt x="5699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26" name="Freeform: Shape 525">
                    <a:extLst>
                      <a:ext uri="{FF2B5EF4-FFF2-40B4-BE49-F238E27FC236}">
                        <a16:creationId xmlns:a16="http://schemas.microsoft.com/office/drawing/2014/main" id="{B777EED5-53B6-485D-9235-E320FC91C8B6}"/>
                      </a:ext>
                    </a:extLst>
                  </p:cNvPr>
                  <p:cNvSpPr/>
                  <p:nvPr/>
                </p:nvSpPr>
                <p:spPr>
                  <a:xfrm>
                    <a:off x="6309865" y="4094381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27" name="Freeform: Shape 526">
                    <a:extLst>
                      <a:ext uri="{FF2B5EF4-FFF2-40B4-BE49-F238E27FC236}">
                        <a16:creationId xmlns:a16="http://schemas.microsoft.com/office/drawing/2014/main" id="{23052175-1BEC-4B50-8B2B-79B268808391}"/>
                      </a:ext>
                    </a:extLst>
                  </p:cNvPr>
                  <p:cNvSpPr/>
                  <p:nvPr/>
                </p:nvSpPr>
                <p:spPr>
                  <a:xfrm>
                    <a:off x="6317635" y="4094381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28" name="Freeform: Shape 527">
                    <a:extLst>
                      <a:ext uri="{FF2B5EF4-FFF2-40B4-BE49-F238E27FC236}">
                        <a16:creationId xmlns:a16="http://schemas.microsoft.com/office/drawing/2014/main" id="{5F7D91E1-AD79-4230-870D-CB2A8F6D9C16}"/>
                      </a:ext>
                    </a:extLst>
                  </p:cNvPr>
                  <p:cNvSpPr/>
                  <p:nvPr/>
                </p:nvSpPr>
                <p:spPr>
                  <a:xfrm>
                    <a:off x="6177832" y="4094381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29" name="Freeform: Shape 528">
                    <a:extLst>
                      <a:ext uri="{FF2B5EF4-FFF2-40B4-BE49-F238E27FC236}">
                        <a16:creationId xmlns:a16="http://schemas.microsoft.com/office/drawing/2014/main" id="{5C10298B-95CD-42E4-815C-00C56527122A}"/>
                      </a:ext>
                    </a:extLst>
                  </p:cNvPr>
                  <p:cNvSpPr/>
                  <p:nvPr/>
                </p:nvSpPr>
                <p:spPr>
                  <a:xfrm>
                    <a:off x="6185578" y="4094381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08"/>
                          <a:pt x="5699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30" name="Freeform: Shape 529">
                    <a:extLst>
                      <a:ext uri="{FF2B5EF4-FFF2-40B4-BE49-F238E27FC236}">
                        <a16:creationId xmlns:a16="http://schemas.microsoft.com/office/drawing/2014/main" id="{295E2EA9-DE1A-4A3C-9D66-B71A73505AA2}"/>
                      </a:ext>
                    </a:extLst>
                  </p:cNvPr>
                  <p:cNvSpPr/>
                  <p:nvPr/>
                </p:nvSpPr>
                <p:spPr>
                  <a:xfrm>
                    <a:off x="6193347" y="4094381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31" name="Freeform: Shape 530">
                    <a:extLst>
                      <a:ext uri="{FF2B5EF4-FFF2-40B4-BE49-F238E27FC236}">
                        <a16:creationId xmlns:a16="http://schemas.microsoft.com/office/drawing/2014/main" id="{CAF9E714-72A0-41EE-8B9C-3F468FABAD5B}"/>
                      </a:ext>
                    </a:extLst>
                  </p:cNvPr>
                  <p:cNvSpPr/>
                  <p:nvPr/>
                </p:nvSpPr>
                <p:spPr>
                  <a:xfrm>
                    <a:off x="6162293" y="4094381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32" name="Freeform: Shape 531">
                    <a:extLst>
                      <a:ext uri="{FF2B5EF4-FFF2-40B4-BE49-F238E27FC236}">
                        <a16:creationId xmlns:a16="http://schemas.microsoft.com/office/drawing/2014/main" id="{A9D05201-0BE9-4CC4-BA66-391CD50F2991}"/>
                      </a:ext>
                    </a:extLst>
                  </p:cNvPr>
                  <p:cNvSpPr/>
                  <p:nvPr/>
                </p:nvSpPr>
                <p:spPr>
                  <a:xfrm>
                    <a:off x="6170062" y="4094381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33" name="Freeform: Shape 532">
                    <a:extLst>
                      <a:ext uri="{FF2B5EF4-FFF2-40B4-BE49-F238E27FC236}">
                        <a16:creationId xmlns:a16="http://schemas.microsoft.com/office/drawing/2014/main" id="{89859473-6704-46F0-AA3A-03C7B51698FB}"/>
                      </a:ext>
                    </a:extLst>
                  </p:cNvPr>
                  <p:cNvSpPr/>
                  <p:nvPr/>
                </p:nvSpPr>
                <p:spPr>
                  <a:xfrm>
                    <a:off x="6177832" y="4094381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34" name="Freeform: Shape 533">
                    <a:extLst>
                      <a:ext uri="{FF2B5EF4-FFF2-40B4-BE49-F238E27FC236}">
                        <a16:creationId xmlns:a16="http://schemas.microsoft.com/office/drawing/2014/main" id="{58F3AB70-81E3-4D69-8115-92D004B44FAB}"/>
                      </a:ext>
                    </a:extLst>
                  </p:cNvPr>
                  <p:cNvSpPr/>
                  <p:nvPr/>
                </p:nvSpPr>
                <p:spPr>
                  <a:xfrm>
                    <a:off x="6201117" y="4094381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35" name="Freeform: Shape 534">
                    <a:extLst>
                      <a:ext uri="{FF2B5EF4-FFF2-40B4-BE49-F238E27FC236}">
                        <a16:creationId xmlns:a16="http://schemas.microsoft.com/office/drawing/2014/main" id="{79F07161-C5AB-4BE4-9E4F-4311F081A5EE}"/>
                      </a:ext>
                    </a:extLst>
                  </p:cNvPr>
                  <p:cNvSpPr/>
                  <p:nvPr/>
                </p:nvSpPr>
                <p:spPr>
                  <a:xfrm>
                    <a:off x="6208886" y="4094381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36" name="Freeform: Shape 535">
                    <a:extLst>
                      <a:ext uri="{FF2B5EF4-FFF2-40B4-BE49-F238E27FC236}">
                        <a16:creationId xmlns:a16="http://schemas.microsoft.com/office/drawing/2014/main" id="{5BCE1862-B40B-485A-97F7-978158AE145F}"/>
                      </a:ext>
                    </a:extLst>
                  </p:cNvPr>
                  <p:cNvSpPr/>
                  <p:nvPr/>
                </p:nvSpPr>
                <p:spPr>
                  <a:xfrm>
                    <a:off x="6216655" y="4094381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37" name="Freeform: Shape 536">
                    <a:extLst>
                      <a:ext uri="{FF2B5EF4-FFF2-40B4-BE49-F238E27FC236}">
                        <a16:creationId xmlns:a16="http://schemas.microsoft.com/office/drawing/2014/main" id="{2CDB105B-6423-4954-96CB-CC9AF3230B94}"/>
                      </a:ext>
                    </a:extLst>
                  </p:cNvPr>
                  <p:cNvSpPr/>
                  <p:nvPr/>
                </p:nvSpPr>
                <p:spPr>
                  <a:xfrm>
                    <a:off x="6224425" y="4094381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38" name="Freeform: Shape 537">
                    <a:extLst>
                      <a:ext uri="{FF2B5EF4-FFF2-40B4-BE49-F238E27FC236}">
                        <a16:creationId xmlns:a16="http://schemas.microsoft.com/office/drawing/2014/main" id="{9F9C977C-797B-4D7F-AFFF-C8EC6768B51D}"/>
                      </a:ext>
                    </a:extLst>
                  </p:cNvPr>
                  <p:cNvSpPr/>
                  <p:nvPr/>
                </p:nvSpPr>
                <p:spPr>
                  <a:xfrm>
                    <a:off x="6232194" y="4094381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372" name="Graphic 174">
                  <a:extLst>
                    <a:ext uri="{FF2B5EF4-FFF2-40B4-BE49-F238E27FC236}">
                      <a16:creationId xmlns:a16="http://schemas.microsoft.com/office/drawing/2014/main" id="{36F846D7-15B4-4E17-BF28-5DC75A2C5199}"/>
                    </a:ext>
                  </a:extLst>
                </p:cNvPr>
                <p:cNvGrpSpPr/>
                <p:nvPr/>
              </p:nvGrpSpPr>
              <p:grpSpPr>
                <a:xfrm>
                  <a:off x="6165875" y="4077005"/>
                  <a:ext cx="162832" cy="16283"/>
                  <a:chOff x="6165875" y="4077005"/>
                  <a:chExt cx="162832" cy="16283"/>
                </a:xfrm>
                <a:solidFill>
                  <a:schemeClr val="accent1"/>
                </a:solidFill>
              </p:grpSpPr>
              <p:sp>
                <p:nvSpPr>
                  <p:cNvPr id="493" name="Freeform: Shape 492">
                    <a:extLst>
                      <a:ext uri="{FF2B5EF4-FFF2-40B4-BE49-F238E27FC236}">
                        <a16:creationId xmlns:a16="http://schemas.microsoft.com/office/drawing/2014/main" id="{EC6A57C2-B791-45B1-B952-06E922B89FD4}"/>
                      </a:ext>
                    </a:extLst>
                  </p:cNvPr>
                  <p:cNvSpPr/>
                  <p:nvPr/>
                </p:nvSpPr>
                <p:spPr>
                  <a:xfrm>
                    <a:off x="6165875" y="4077005"/>
                    <a:ext cx="162832" cy="16283"/>
                  </a:xfrm>
                  <a:custGeom>
                    <a:avLst/>
                    <a:gdLst>
                      <a:gd name="connsiteX0" fmla="*/ 162297 w 162831"/>
                      <a:gd name="connsiteY0" fmla="*/ 16679 h 16283"/>
                      <a:gd name="connsiteX1" fmla="*/ 1442 w 162831"/>
                      <a:gd name="connsiteY1" fmla="*/ 16679 h 16283"/>
                      <a:gd name="connsiteX2" fmla="*/ 0 w 162831"/>
                      <a:gd name="connsiteY2" fmla="*/ 15236 h 16283"/>
                      <a:gd name="connsiteX3" fmla="*/ 0 w 162831"/>
                      <a:gd name="connsiteY3" fmla="*/ 1442 h 16283"/>
                      <a:gd name="connsiteX4" fmla="*/ 1442 w 162831"/>
                      <a:gd name="connsiteY4" fmla="*/ 0 h 16283"/>
                      <a:gd name="connsiteX5" fmla="*/ 162297 w 162831"/>
                      <a:gd name="connsiteY5" fmla="*/ 0 h 16283"/>
                      <a:gd name="connsiteX6" fmla="*/ 163739 w 162831"/>
                      <a:gd name="connsiteY6" fmla="*/ 1442 h 16283"/>
                      <a:gd name="connsiteX7" fmla="*/ 163739 w 162831"/>
                      <a:gd name="connsiteY7" fmla="*/ 15236 h 16283"/>
                      <a:gd name="connsiteX8" fmla="*/ 162297 w 162831"/>
                      <a:gd name="connsiteY8" fmla="*/ 16679 h 1628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62831" h="16283">
                        <a:moveTo>
                          <a:pt x="162297" y="16679"/>
                        </a:moveTo>
                        <a:lnTo>
                          <a:pt x="1442" y="16679"/>
                        </a:lnTo>
                        <a:cubicBezTo>
                          <a:pt x="651" y="16679"/>
                          <a:pt x="0" y="16027"/>
                          <a:pt x="0" y="15236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162297" y="0"/>
                        </a:lnTo>
                        <a:cubicBezTo>
                          <a:pt x="163088" y="0"/>
                          <a:pt x="163739" y="651"/>
                          <a:pt x="163739" y="1442"/>
                        </a:cubicBezTo>
                        <a:lnTo>
                          <a:pt x="163739" y="15236"/>
                        </a:lnTo>
                        <a:cubicBezTo>
                          <a:pt x="163716" y="16027"/>
                          <a:pt x="163088" y="16679"/>
                          <a:pt x="162297" y="16679"/>
                        </a:cubicBezTo>
                        <a:close/>
                      </a:path>
                    </a:pathLst>
                  </a:custGeom>
                  <a:solidFill>
                    <a:srgbClr val="F19439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94" name="Freeform: Shape 493">
                    <a:extLst>
                      <a:ext uri="{FF2B5EF4-FFF2-40B4-BE49-F238E27FC236}">
                        <a16:creationId xmlns:a16="http://schemas.microsoft.com/office/drawing/2014/main" id="{C5022518-F917-425A-A674-63B64FBAECF4}"/>
                      </a:ext>
                    </a:extLst>
                  </p:cNvPr>
                  <p:cNvSpPr/>
                  <p:nvPr/>
                </p:nvSpPr>
                <p:spPr>
                  <a:xfrm>
                    <a:off x="6244570" y="4077703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32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95" name="Freeform: Shape 494">
                    <a:extLst>
                      <a:ext uri="{FF2B5EF4-FFF2-40B4-BE49-F238E27FC236}">
                        <a16:creationId xmlns:a16="http://schemas.microsoft.com/office/drawing/2014/main" id="{0EE82DBB-A757-4EFB-8396-128EDE4D9EA1}"/>
                      </a:ext>
                    </a:extLst>
                  </p:cNvPr>
                  <p:cNvSpPr/>
                  <p:nvPr/>
                </p:nvSpPr>
                <p:spPr>
                  <a:xfrm>
                    <a:off x="6252339" y="4077703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32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96" name="Freeform: Shape 495">
                    <a:extLst>
                      <a:ext uri="{FF2B5EF4-FFF2-40B4-BE49-F238E27FC236}">
                        <a16:creationId xmlns:a16="http://schemas.microsoft.com/office/drawing/2014/main" id="{79B68AF3-295B-46FE-A8D6-29C3B39E6035}"/>
                      </a:ext>
                    </a:extLst>
                  </p:cNvPr>
                  <p:cNvSpPr/>
                  <p:nvPr/>
                </p:nvSpPr>
                <p:spPr>
                  <a:xfrm>
                    <a:off x="6260108" y="4077703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32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97" name="Freeform: Shape 496">
                    <a:extLst>
                      <a:ext uri="{FF2B5EF4-FFF2-40B4-BE49-F238E27FC236}">
                        <a16:creationId xmlns:a16="http://schemas.microsoft.com/office/drawing/2014/main" id="{A4118775-FDF4-4304-B61A-99B846765653}"/>
                      </a:ext>
                    </a:extLst>
                  </p:cNvPr>
                  <p:cNvSpPr/>
                  <p:nvPr/>
                </p:nvSpPr>
                <p:spPr>
                  <a:xfrm>
                    <a:off x="6267878" y="4077703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32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98" name="Freeform: Shape 497">
                    <a:extLst>
                      <a:ext uri="{FF2B5EF4-FFF2-40B4-BE49-F238E27FC236}">
                        <a16:creationId xmlns:a16="http://schemas.microsoft.com/office/drawing/2014/main" id="{5FF297BA-279E-45F9-BFF0-76D2FD2E3247}"/>
                      </a:ext>
                    </a:extLst>
                  </p:cNvPr>
                  <p:cNvSpPr/>
                  <p:nvPr/>
                </p:nvSpPr>
                <p:spPr>
                  <a:xfrm>
                    <a:off x="6275647" y="4077703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32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99" name="Freeform: Shape 498">
                    <a:extLst>
                      <a:ext uri="{FF2B5EF4-FFF2-40B4-BE49-F238E27FC236}">
                        <a16:creationId xmlns:a16="http://schemas.microsoft.com/office/drawing/2014/main" id="{B00156E4-643E-4BD6-8C78-5EAC4AA87BB5}"/>
                      </a:ext>
                    </a:extLst>
                  </p:cNvPr>
                  <p:cNvSpPr/>
                  <p:nvPr/>
                </p:nvSpPr>
                <p:spPr>
                  <a:xfrm>
                    <a:off x="6283417" y="4077703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32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00" name="Freeform: Shape 499">
                    <a:extLst>
                      <a:ext uri="{FF2B5EF4-FFF2-40B4-BE49-F238E27FC236}">
                        <a16:creationId xmlns:a16="http://schemas.microsoft.com/office/drawing/2014/main" id="{672B11AA-77C7-426D-98E5-0428F3884FF7}"/>
                      </a:ext>
                    </a:extLst>
                  </p:cNvPr>
                  <p:cNvSpPr/>
                  <p:nvPr/>
                </p:nvSpPr>
                <p:spPr>
                  <a:xfrm>
                    <a:off x="6291186" y="4077703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32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01" name="Freeform: Shape 500">
                    <a:extLst>
                      <a:ext uri="{FF2B5EF4-FFF2-40B4-BE49-F238E27FC236}">
                        <a16:creationId xmlns:a16="http://schemas.microsoft.com/office/drawing/2014/main" id="{5246942F-6A25-4059-B5B0-203BC63DDA0C}"/>
                      </a:ext>
                    </a:extLst>
                  </p:cNvPr>
                  <p:cNvSpPr/>
                  <p:nvPr/>
                </p:nvSpPr>
                <p:spPr>
                  <a:xfrm>
                    <a:off x="6298955" y="4077703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32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02" name="Freeform: Shape 501">
                    <a:extLst>
                      <a:ext uri="{FF2B5EF4-FFF2-40B4-BE49-F238E27FC236}">
                        <a16:creationId xmlns:a16="http://schemas.microsoft.com/office/drawing/2014/main" id="{BC02432D-212E-49CA-8614-4489EA2C24D8}"/>
                      </a:ext>
                    </a:extLst>
                  </p:cNvPr>
                  <p:cNvSpPr/>
                  <p:nvPr/>
                </p:nvSpPr>
                <p:spPr>
                  <a:xfrm>
                    <a:off x="6306725" y="4077703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32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03" name="Freeform: Shape 502">
                    <a:extLst>
                      <a:ext uri="{FF2B5EF4-FFF2-40B4-BE49-F238E27FC236}">
                        <a16:creationId xmlns:a16="http://schemas.microsoft.com/office/drawing/2014/main" id="{C65C409D-80E2-4BD4-ADE7-E5AD199CADD2}"/>
                      </a:ext>
                    </a:extLst>
                  </p:cNvPr>
                  <p:cNvSpPr/>
                  <p:nvPr/>
                </p:nvSpPr>
                <p:spPr>
                  <a:xfrm>
                    <a:off x="6314494" y="4077703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32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04" name="Freeform: Shape 503">
                    <a:extLst>
                      <a:ext uri="{FF2B5EF4-FFF2-40B4-BE49-F238E27FC236}">
                        <a16:creationId xmlns:a16="http://schemas.microsoft.com/office/drawing/2014/main" id="{A27DA0BE-A3D9-44BD-AB3A-23EBE6998CC8}"/>
                      </a:ext>
                    </a:extLst>
                  </p:cNvPr>
                  <p:cNvSpPr/>
                  <p:nvPr/>
                </p:nvSpPr>
                <p:spPr>
                  <a:xfrm>
                    <a:off x="6322264" y="4077703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32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05" name="Freeform: Shape 504">
                    <a:extLst>
                      <a:ext uri="{FF2B5EF4-FFF2-40B4-BE49-F238E27FC236}">
                        <a16:creationId xmlns:a16="http://schemas.microsoft.com/office/drawing/2014/main" id="{8264BA0A-512E-4E92-AED4-131E904C983B}"/>
                      </a:ext>
                    </a:extLst>
                  </p:cNvPr>
                  <p:cNvSpPr/>
                  <p:nvPr/>
                </p:nvSpPr>
                <p:spPr>
                  <a:xfrm>
                    <a:off x="6182438" y="4077703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32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06" name="Freeform: Shape 505">
                    <a:extLst>
                      <a:ext uri="{FF2B5EF4-FFF2-40B4-BE49-F238E27FC236}">
                        <a16:creationId xmlns:a16="http://schemas.microsoft.com/office/drawing/2014/main" id="{29DA27E3-02B0-42E5-B3F9-830A7028C4A6}"/>
                      </a:ext>
                    </a:extLst>
                  </p:cNvPr>
                  <p:cNvSpPr/>
                  <p:nvPr/>
                </p:nvSpPr>
                <p:spPr>
                  <a:xfrm>
                    <a:off x="6190207" y="4077703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32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07" name="Freeform: Shape 506">
                    <a:extLst>
                      <a:ext uri="{FF2B5EF4-FFF2-40B4-BE49-F238E27FC236}">
                        <a16:creationId xmlns:a16="http://schemas.microsoft.com/office/drawing/2014/main" id="{42F7A8A4-790D-41B3-A89D-0E0EAFF15733}"/>
                      </a:ext>
                    </a:extLst>
                  </p:cNvPr>
                  <p:cNvSpPr/>
                  <p:nvPr/>
                </p:nvSpPr>
                <p:spPr>
                  <a:xfrm>
                    <a:off x="6197976" y="4077703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32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08" name="Freeform: Shape 507">
                    <a:extLst>
                      <a:ext uri="{FF2B5EF4-FFF2-40B4-BE49-F238E27FC236}">
                        <a16:creationId xmlns:a16="http://schemas.microsoft.com/office/drawing/2014/main" id="{AFE841D3-6715-49D9-A3D6-F424A2B0DC22}"/>
                      </a:ext>
                    </a:extLst>
                  </p:cNvPr>
                  <p:cNvSpPr/>
                  <p:nvPr/>
                </p:nvSpPr>
                <p:spPr>
                  <a:xfrm>
                    <a:off x="6166899" y="4077703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32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09" name="Freeform: Shape 508">
                    <a:extLst>
                      <a:ext uri="{FF2B5EF4-FFF2-40B4-BE49-F238E27FC236}">
                        <a16:creationId xmlns:a16="http://schemas.microsoft.com/office/drawing/2014/main" id="{59538C52-A8A0-40B9-A57E-D279F3BAAC2D}"/>
                      </a:ext>
                    </a:extLst>
                  </p:cNvPr>
                  <p:cNvSpPr/>
                  <p:nvPr/>
                </p:nvSpPr>
                <p:spPr>
                  <a:xfrm>
                    <a:off x="6174668" y="4077703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32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10" name="Freeform: Shape 509">
                    <a:extLst>
                      <a:ext uri="{FF2B5EF4-FFF2-40B4-BE49-F238E27FC236}">
                        <a16:creationId xmlns:a16="http://schemas.microsoft.com/office/drawing/2014/main" id="{86A05274-8BDD-4363-8736-F6B7DAF41A92}"/>
                      </a:ext>
                    </a:extLst>
                  </p:cNvPr>
                  <p:cNvSpPr/>
                  <p:nvPr/>
                </p:nvSpPr>
                <p:spPr>
                  <a:xfrm>
                    <a:off x="6182438" y="4077703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32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11" name="Freeform: Shape 510">
                    <a:extLst>
                      <a:ext uri="{FF2B5EF4-FFF2-40B4-BE49-F238E27FC236}">
                        <a16:creationId xmlns:a16="http://schemas.microsoft.com/office/drawing/2014/main" id="{EF10A408-4E86-4482-8842-5832FB090DF4}"/>
                      </a:ext>
                    </a:extLst>
                  </p:cNvPr>
                  <p:cNvSpPr/>
                  <p:nvPr/>
                </p:nvSpPr>
                <p:spPr>
                  <a:xfrm>
                    <a:off x="6205746" y="4077703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32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12" name="Freeform: Shape 511">
                    <a:extLst>
                      <a:ext uri="{FF2B5EF4-FFF2-40B4-BE49-F238E27FC236}">
                        <a16:creationId xmlns:a16="http://schemas.microsoft.com/office/drawing/2014/main" id="{1A501E41-5176-44B2-870C-2FCB14B6CCA6}"/>
                      </a:ext>
                    </a:extLst>
                  </p:cNvPr>
                  <p:cNvSpPr/>
                  <p:nvPr/>
                </p:nvSpPr>
                <p:spPr>
                  <a:xfrm>
                    <a:off x="6213492" y="4077703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32"/>
                          <a:pt x="5699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13" name="Freeform: Shape 512">
                    <a:extLst>
                      <a:ext uri="{FF2B5EF4-FFF2-40B4-BE49-F238E27FC236}">
                        <a16:creationId xmlns:a16="http://schemas.microsoft.com/office/drawing/2014/main" id="{19AED9FF-CF65-4640-BA65-D18CF7B8628B}"/>
                      </a:ext>
                    </a:extLst>
                  </p:cNvPr>
                  <p:cNvSpPr/>
                  <p:nvPr/>
                </p:nvSpPr>
                <p:spPr>
                  <a:xfrm>
                    <a:off x="6221261" y="4077703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32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14" name="Freeform: Shape 513">
                    <a:extLst>
                      <a:ext uri="{FF2B5EF4-FFF2-40B4-BE49-F238E27FC236}">
                        <a16:creationId xmlns:a16="http://schemas.microsoft.com/office/drawing/2014/main" id="{6B81B897-6F2E-4E05-9C37-9C23995D1F33}"/>
                      </a:ext>
                    </a:extLst>
                  </p:cNvPr>
                  <p:cNvSpPr/>
                  <p:nvPr/>
                </p:nvSpPr>
                <p:spPr>
                  <a:xfrm>
                    <a:off x="6229031" y="4077703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32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15" name="Freeform: Shape 514">
                    <a:extLst>
                      <a:ext uri="{FF2B5EF4-FFF2-40B4-BE49-F238E27FC236}">
                        <a16:creationId xmlns:a16="http://schemas.microsoft.com/office/drawing/2014/main" id="{E8F49C76-DC6A-46D9-913D-11AD1F05835F}"/>
                      </a:ext>
                    </a:extLst>
                  </p:cNvPr>
                  <p:cNvSpPr/>
                  <p:nvPr/>
                </p:nvSpPr>
                <p:spPr>
                  <a:xfrm>
                    <a:off x="6236800" y="4077703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32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373" name="Graphic 174">
                  <a:extLst>
                    <a:ext uri="{FF2B5EF4-FFF2-40B4-BE49-F238E27FC236}">
                      <a16:creationId xmlns:a16="http://schemas.microsoft.com/office/drawing/2014/main" id="{36526822-19F9-4F1C-B0D1-E8EB5ADFFD4D}"/>
                    </a:ext>
                  </a:extLst>
                </p:cNvPr>
                <p:cNvGrpSpPr/>
                <p:nvPr/>
              </p:nvGrpSpPr>
              <p:grpSpPr>
                <a:xfrm>
                  <a:off x="6158106" y="4060326"/>
                  <a:ext cx="162832" cy="16283"/>
                  <a:chOff x="6158106" y="4060326"/>
                  <a:chExt cx="162832" cy="16283"/>
                </a:xfrm>
                <a:solidFill>
                  <a:schemeClr val="accent1"/>
                </a:solidFill>
              </p:grpSpPr>
              <p:sp>
                <p:nvSpPr>
                  <p:cNvPr id="470" name="Freeform: Shape 469">
                    <a:extLst>
                      <a:ext uri="{FF2B5EF4-FFF2-40B4-BE49-F238E27FC236}">
                        <a16:creationId xmlns:a16="http://schemas.microsoft.com/office/drawing/2014/main" id="{8329AD76-6E9D-4CC9-92B0-6E427105375A}"/>
                      </a:ext>
                    </a:extLst>
                  </p:cNvPr>
                  <p:cNvSpPr/>
                  <p:nvPr/>
                </p:nvSpPr>
                <p:spPr>
                  <a:xfrm>
                    <a:off x="6158106" y="4060326"/>
                    <a:ext cx="162832" cy="16283"/>
                  </a:xfrm>
                  <a:custGeom>
                    <a:avLst/>
                    <a:gdLst>
                      <a:gd name="connsiteX0" fmla="*/ 162297 w 162831"/>
                      <a:gd name="connsiteY0" fmla="*/ 16679 h 16283"/>
                      <a:gd name="connsiteX1" fmla="*/ 1442 w 162831"/>
                      <a:gd name="connsiteY1" fmla="*/ 16679 h 16283"/>
                      <a:gd name="connsiteX2" fmla="*/ 0 w 162831"/>
                      <a:gd name="connsiteY2" fmla="*/ 15236 h 16283"/>
                      <a:gd name="connsiteX3" fmla="*/ 0 w 162831"/>
                      <a:gd name="connsiteY3" fmla="*/ 1442 h 16283"/>
                      <a:gd name="connsiteX4" fmla="*/ 1442 w 162831"/>
                      <a:gd name="connsiteY4" fmla="*/ 0 h 16283"/>
                      <a:gd name="connsiteX5" fmla="*/ 162297 w 162831"/>
                      <a:gd name="connsiteY5" fmla="*/ 0 h 16283"/>
                      <a:gd name="connsiteX6" fmla="*/ 163739 w 162831"/>
                      <a:gd name="connsiteY6" fmla="*/ 1442 h 16283"/>
                      <a:gd name="connsiteX7" fmla="*/ 163739 w 162831"/>
                      <a:gd name="connsiteY7" fmla="*/ 15236 h 16283"/>
                      <a:gd name="connsiteX8" fmla="*/ 162297 w 162831"/>
                      <a:gd name="connsiteY8" fmla="*/ 16679 h 1628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62831" h="16283">
                        <a:moveTo>
                          <a:pt x="162297" y="16679"/>
                        </a:moveTo>
                        <a:lnTo>
                          <a:pt x="1442" y="16679"/>
                        </a:lnTo>
                        <a:cubicBezTo>
                          <a:pt x="651" y="16679"/>
                          <a:pt x="0" y="16027"/>
                          <a:pt x="0" y="15236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162297" y="0"/>
                        </a:lnTo>
                        <a:cubicBezTo>
                          <a:pt x="163088" y="0"/>
                          <a:pt x="163739" y="651"/>
                          <a:pt x="163739" y="1442"/>
                        </a:cubicBezTo>
                        <a:lnTo>
                          <a:pt x="163739" y="15236"/>
                        </a:lnTo>
                        <a:cubicBezTo>
                          <a:pt x="163716" y="16051"/>
                          <a:pt x="163088" y="16679"/>
                          <a:pt x="162297" y="16679"/>
                        </a:cubicBezTo>
                        <a:close/>
                      </a:path>
                    </a:pathLst>
                  </a:custGeom>
                  <a:solidFill>
                    <a:srgbClr val="F19439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71" name="Freeform: Shape 470">
                    <a:extLst>
                      <a:ext uri="{FF2B5EF4-FFF2-40B4-BE49-F238E27FC236}">
                        <a16:creationId xmlns:a16="http://schemas.microsoft.com/office/drawing/2014/main" id="{803FC871-B5A6-4477-8A75-0B237670A14C}"/>
                      </a:ext>
                    </a:extLst>
                  </p:cNvPr>
                  <p:cNvSpPr/>
                  <p:nvPr/>
                </p:nvSpPr>
                <p:spPr>
                  <a:xfrm>
                    <a:off x="6236800" y="4061047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72" name="Freeform: Shape 471">
                    <a:extLst>
                      <a:ext uri="{FF2B5EF4-FFF2-40B4-BE49-F238E27FC236}">
                        <a16:creationId xmlns:a16="http://schemas.microsoft.com/office/drawing/2014/main" id="{825D2BED-E39C-4C19-805D-35536288ACC0}"/>
                      </a:ext>
                    </a:extLst>
                  </p:cNvPr>
                  <p:cNvSpPr/>
                  <p:nvPr/>
                </p:nvSpPr>
                <p:spPr>
                  <a:xfrm>
                    <a:off x="6244570" y="4061047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73" name="Freeform: Shape 472">
                    <a:extLst>
                      <a:ext uri="{FF2B5EF4-FFF2-40B4-BE49-F238E27FC236}">
                        <a16:creationId xmlns:a16="http://schemas.microsoft.com/office/drawing/2014/main" id="{BEE9E4AE-F286-43EE-A98B-BA944E909C50}"/>
                      </a:ext>
                    </a:extLst>
                  </p:cNvPr>
                  <p:cNvSpPr/>
                  <p:nvPr/>
                </p:nvSpPr>
                <p:spPr>
                  <a:xfrm>
                    <a:off x="6252339" y="4061047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74" name="Freeform: Shape 473">
                    <a:extLst>
                      <a:ext uri="{FF2B5EF4-FFF2-40B4-BE49-F238E27FC236}">
                        <a16:creationId xmlns:a16="http://schemas.microsoft.com/office/drawing/2014/main" id="{2AA2926D-1C08-4045-B4B7-2FD83F04A262}"/>
                      </a:ext>
                    </a:extLst>
                  </p:cNvPr>
                  <p:cNvSpPr/>
                  <p:nvPr/>
                </p:nvSpPr>
                <p:spPr>
                  <a:xfrm>
                    <a:off x="6260108" y="4061047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75" name="Freeform: Shape 474">
                    <a:extLst>
                      <a:ext uri="{FF2B5EF4-FFF2-40B4-BE49-F238E27FC236}">
                        <a16:creationId xmlns:a16="http://schemas.microsoft.com/office/drawing/2014/main" id="{AF9BAF8A-731B-458B-9CC7-8948116F28EF}"/>
                      </a:ext>
                    </a:extLst>
                  </p:cNvPr>
                  <p:cNvSpPr/>
                  <p:nvPr/>
                </p:nvSpPr>
                <p:spPr>
                  <a:xfrm>
                    <a:off x="6267878" y="4061047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76" name="Freeform: Shape 475">
                    <a:extLst>
                      <a:ext uri="{FF2B5EF4-FFF2-40B4-BE49-F238E27FC236}">
                        <a16:creationId xmlns:a16="http://schemas.microsoft.com/office/drawing/2014/main" id="{EE355DC0-6D3C-42BA-BCA2-6B3C678EB9C1}"/>
                      </a:ext>
                    </a:extLst>
                  </p:cNvPr>
                  <p:cNvSpPr/>
                  <p:nvPr/>
                </p:nvSpPr>
                <p:spPr>
                  <a:xfrm>
                    <a:off x="6275647" y="4061047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77" name="Freeform: Shape 476">
                    <a:extLst>
                      <a:ext uri="{FF2B5EF4-FFF2-40B4-BE49-F238E27FC236}">
                        <a16:creationId xmlns:a16="http://schemas.microsoft.com/office/drawing/2014/main" id="{B62E70EE-93F3-4B25-8236-1F93A40F841E}"/>
                      </a:ext>
                    </a:extLst>
                  </p:cNvPr>
                  <p:cNvSpPr/>
                  <p:nvPr/>
                </p:nvSpPr>
                <p:spPr>
                  <a:xfrm>
                    <a:off x="6283417" y="4061047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78" name="Freeform: Shape 477">
                    <a:extLst>
                      <a:ext uri="{FF2B5EF4-FFF2-40B4-BE49-F238E27FC236}">
                        <a16:creationId xmlns:a16="http://schemas.microsoft.com/office/drawing/2014/main" id="{03F12B22-A90A-4CC1-B238-77DA0AE80F34}"/>
                      </a:ext>
                    </a:extLst>
                  </p:cNvPr>
                  <p:cNvSpPr/>
                  <p:nvPr/>
                </p:nvSpPr>
                <p:spPr>
                  <a:xfrm>
                    <a:off x="6291186" y="4061047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79" name="Freeform: Shape 478">
                    <a:extLst>
                      <a:ext uri="{FF2B5EF4-FFF2-40B4-BE49-F238E27FC236}">
                        <a16:creationId xmlns:a16="http://schemas.microsoft.com/office/drawing/2014/main" id="{62D3E6F3-6DF3-4FB5-83EC-40E915B0D255}"/>
                      </a:ext>
                    </a:extLst>
                  </p:cNvPr>
                  <p:cNvSpPr/>
                  <p:nvPr/>
                </p:nvSpPr>
                <p:spPr>
                  <a:xfrm>
                    <a:off x="6298955" y="4061047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80" name="Freeform: Shape 479">
                    <a:extLst>
                      <a:ext uri="{FF2B5EF4-FFF2-40B4-BE49-F238E27FC236}">
                        <a16:creationId xmlns:a16="http://schemas.microsoft.com/office/drawing/2014/main" id="{45EF639D-9DB2-4053-B8DD-91D2E2FECDF0}"/>
                      </a:ext>
                    </a:extLst>
                  </p:cNvPr>
                  <p:cNvSpPr/>
                  <p:nvPr/>
                </p:nvSpPr>
                <p:spPr>
                  <a:xfrm>
                    <a:off x="6306725" y="4061047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81" name="Freeform: Shape 480">
                    <a:extLst>
                      <a:ext uri="{FF2B5EF4-FFF2-40B4-BE49-F238E27FC236}">
                        <a16:creationId xmlns:a16="http://schemas.microsoft.com/office/drawing/2014/main" id="{3F971B7C-7C79-48C4-901E-6B54B90B52E5}"/>
                      </a:ext>
                    </a:extLst>
                  </p:cNvPr>
                  <p:cNvSpPr/>
                  <p:nvPr/>
                </p:nvSpPr>
                <p:spPr>
                  <a:xfrm>
                    <a:off x="6314494" y="4061047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82" name="Freeform: Shape 481">
                    <a:extLst>
                      <a:ext uri="{FF2B5EF4-FFF2-40B4-BE49-F238E27FC236}">
                        <a16:creationId xmlns:a16="http://schemas.microsoft.com/office/drawing/2014/main" id="{D2A6A42E-C59B-4403-AB59-EC2C575E1CBB}"/>
                      </a:ext>
                    </a:extLst>
                  </p:cNvPr>
                  <p:cNvSpPr/>
                  <p:nvPr/>
                </p:nvSpPr>
                <p:spPr>
                  <a:xfrm>
                    <a:off x="6174668" y="4061047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83" name="Freeform: Shape 482">
                    <a:extLst>
                      <a:ext uri="{FF2B5EF4-FFF2-40B4-BE49-F238E27FC236}">
                        <a16:creationId xmlns:a16="http://schemas.microsoft.com/office/drawing/2014/main" id="{E7341291-32C4-4309-8ECE-6A291236D597}"/>
                      </a:ext>
                    </a:extLst>
                  </p:cNvPr>
                  <p:cNvSpPr/>
                  <p:nvPr/>
                </p:nvSpPr>
                <p:spPr>
                  <a:xfrm>
                    <a:off x="6182438" y="4061047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84" name="Freeform: Shape 483">
                    <a:extLst>
                      <a:ext uri="{FF2B5EF4-FFF2-40B4-BE49-F238E27FC236}">
                        <a16:creationId xmlns:a16="http://schemas.microsoft.com/office/drawing/2014/main" id="{04E8946A-9F8E-4143-8792-E6C74B71C26F}"/>
                      </a:ext>
                    </a:extLst>
                  </p:cNvPr>
                  <p:cNvSpPr/>
                  <p:nvPr/>
                </p:nvSpPr>
                <p:spPr>
                  <a:xfrm>
                    <a:off x="6190207" y="4061047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85" name="Freeform: Shape 484">
                    <a:extLst>
                      <a:ext uri="{FF2B5EF4-FFF2-40B4-BE49-F238E27FC236}">
                        <a16:creationId xmlns:a16="http://schemas.microsoft.com/office/drawing/2014/main" id="{25E0E77D-2E8E-44C9-8BE2-1EDDE403C072}"/>
                      </a:ext>
                    </a:extLst>
                  </p:cNvPr>
                  <p:cNvSpPr/>
                  <p:nvPr/>
                </p:nvSpPr>
                <p:spPr>
                  <a:xfrm>
                    <a:off x="6159129" y="4061047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86" name="Freeform: Shape 485">
                    <a:extLst>
                      <a:ext uri="{FF2B5EF4-FFF2-40B4-BE49-F238E27FC236}">
                        <a16:creationId xmlns:a16="http://schemas.microsoft.com/office/drawing/2014/main" id="{891955BD-F6A4-41F0-9CF3-A1BF9148EC41}"/>
                      </a:ext>
                    </a:extLst>
                  </p:cNvPr>
                  <p:cNvSpPr/>
                  <p:nvPr/>
                </p:nvSpPr>
                <p:spPr>
                  <a:xfrm>
                    <a:off x="6166899" y="4061047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87" name="Freeform: Shape 486">
                    <a:extLst>
                      <a:ext uri="{FF2B5EF4-FFF2-40B4-BE49-F238E27FC236}">
                        <a16:creationId xmlns:a16="http://schemas.microsoft.com/office/drawing/2014/main" id="{79596C3A-A440-477B-9387-5B387A727BAD}"/>
                      </a:ext>
                    </a:extLst>
                  </p:cNvPr>
                  <p:cNvSpPr/>
                  <p:nvPr/>
                </p:nvSpPr>
                <p:spPr>
                  <a:xfrm>
                    <a:off x="6174668" y="4061047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88" name="Freeform: Shape 487">
                    <a:extLst>
                      <a:ext uri="{FF2B5EF4-FFF2-40B4-BE49-F238E27FC236}">
                        <a16:creationId xmlns:a16="http://schemas.microsoft.com/office/drawing/2014/main" id="{E1CE594F-7E72-4559-A381-549585E173DF}"/>
                      </a:ext>
                    </a:extLst>
                  </p:cNvPr>
                  <p:cNvSpPr/>
                  <p:nvPr/>
                </p:nvSpPr>
                <p:spPr>
                  <a:xfrm>
                    <a:off x="6197976" y="4061047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89" name="Freeform: Shape 488">
                    <a:extLst>
                      <a:ext uri="{FF2B5EF4-FFF2-40B4-BE49-F238E27FC236}">
                        <a16:creationId xmlns:a16="http://schemas.microsoft.com/office/drawing/2014/main" id="{70C5E67B-A9F3-44AC-8149-956730EA2BDA}"/>
                      </a:ext>
                    </a:extLst>
                  </p:cNvPr>
                  <p:cNvSpPr/>
                  <p:nvPr/>
                </p:nvSpPr>
                <p:spPr>
                  <a:xfrm>
                    <a:off x="6205746" y="4061047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90" name="Freeform: Shape 489">
                    <a:extLst>
                      <a:ext uri="{FF2B5EF4-FFF2-40B4-BE49-F238E27FC236}">
                        <a16:creationId xmlns:a16="http://schemas.microsoft.com/office/drawing/2014/main" id="{FF0FD841-6580-44A7-90DB-C72DA61DCC28}"/>
                      </a:ext>
                    </a:extLst>
                  </p:cNvPr>
                  <p:cNvSpPr/>
                  <p:nvPr/>
                </p:nvSpPr>
                <p:spPr>
                  <a:xfrm>
                    <a:off x="6213492" y="4061047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08"/>
                          <a:pt x="5699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91" name="Freeform: Shape 490">
                    <a:extLst>
                      <a:ext uri="{FF2B5EF4-FFF2-40B4-BE49-F238E27FC236}">
                        <a16:creationId xmlns:a16="http://schemas.microsoft.com/office/drawing/2014/main" id="{1CE49EBE-CC18-477B-B447-5089179BA981}"/>
                      </a:ext>
                    </a:extLst>
                  </p:cNvPr>
                  <p:cNvSpPr/>
                  <p:nvPr/>
                </p:nvSpPr>
                <p:spPr>
                  <a:xfrm>
                    <a:off x="6221261" y="4061047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92" name="Freeform: Shape 491">
                    <a:extLst>
                      <a:ext uri="{FF2B5EF4-FFF2-40B4-BE49-F238E27FC236}">
                        <a16:creationId xmlns:a16="http://schemas.microsoft.com/office/drawing/2014/main" id="{AB27C162-C09D-4F9D-A2D2-C43B56890C35}"/>
                      </a:ext>
                    </a:extLst>
                  </p:cNvPr>
                  <p:cNvSpPr/>
                  <p:nvPr/>
                </p:nvSpPr>
                <p:spPr>
                  <a:xfrm>
                    <a:off x="6229031" y="4061047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374" name="Graphic 174">
                  <a:extLst>
                    <a:ext uri="{FF2B5EF4-FFF2-40B4-BE49-F238E27FC236}">
                      <a16:creationId xmlns:a16="http://schemas.microsoft.com/office/drawing/2014/main" id="{184C5DFF-512D-4562-81A9-7BB907BBD0F1}"/>
                    </a:ext>
                  </a:extLst>
                </p:cNvPr>
                <p:cNvGrpSpPr/>
                <p:nvPr/>
              </p:nvGrpSpPr>
              <p:grpSpPr>
                <a:xfrm>
                  <a:off x="6165875" y="4043671"/>
                  <a:ext cx="162832" cy="16283"/>
                  <a:chOff x="6165875" y="4043671"/>
                  <a:chExt cx="162832" cy="16283"/>
                </a:xfrm>
                <a:solidFill>
                  <a:schemeClr val="accent1"/>
                </a:solidFill>
              </p:grpSpPr>
              <p:sp>
                <p:nvSpPr>
                  <p:cNvPr id="447" name="Freeform: Shape 446">
                    <a:extLst>
                      <a:ext uri="{FF2B5EF4-FFF2-40B4-BE49-F238E27FC236}">
                        <a16:creationId xmlns:a16="http://schemas.microsoft.com/office/drawing/2014/main" id="{0821E6E3-8B55-4877-8365-28D82424E9DB}"/>
                      </a:ext>
                    </a:extLst>
                  </p:cNvPr>
                  <p:cNvSpPr/>
                  <p:nvPr/>
                </p:nvSpPr>
                <p:spPr>
                  <a:xfrm>
                    <a:off x="6165875" y="4043671"/>
                    <a:ext cx="162832" cy="16283"/>
                  </a:xfrm>
                  <a:custGeom>
                    <a:avLst/>
                    <a:gdLst>
                      <a:gd name="connsiteX0" fmla="*/ 162297 w 162831"/>
                      <a:gd name="connsiteY0" fmla="*/ 16679 h 16283"/>
                      <a:gd name="connsiteX1" fmla="*/ 1442 w 162831"/>
                      <a:gd name="connsiteY1" fmla="*/ 16679 h 16283"/>
                      <a:gd name="connsiteX2" fmla="*/ 0 w 162831"/>
                      <a:gd name="connsiteY2" fmla="*/ 15236 h 16283"/>
                      <a:gd name="connsiteX3" fmla="*/ 0 w 162831"/>
                      <a:gd name="connsiteY3" fmla="*/ 1442 h 16283"/>
                      <a:gd name="connsiteX4" fmla="*/ 1442 w 162831"/>
                      <a:gd name="connsiteY4" fmla="*/ 0 h 16283"/>
                      <a:gd name="connsiteX5" fmla="*/ 162297 w 162831"/>
                      <a:gd name="connsiteY5" fmla="*/ 0 h 16283"/>
                      <a:gd name="connsiteX6" fmla="*/ 163739 w 162831"/>
                      <a:gd name="connsiteY6" fmla="*/ 1442 h 16283"/>
                      <a:gd name="connsiteX7" fmla="*/ 163739 w 162831"/>
                      <a:gd name="connsiteY7" fmla="*/ 15236 h 16283"/>
                      <a:gd name="connsiteX8" fmla="*/ 162297 w 162831"/>
                      <a:gd name="connsiteY8" fmla="*/ 16679 h 1628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62831" h="16283">
                        <a:moveTo>
                          <a:pt x="162297" y="16679"/>
                        </a:moveTo>
                        <a:lnTo>
                          <a:pt x="1442" y="16679"/>
                        </a:lnTo>
                        <a:cubicBezTo>
                          <a:pt x="651" y="16679"/>
                          <a:pt x="0" y="16027"/>
                          <a:pt x="0" y="15236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162297" y="0"/>
                        </a:lnTo>
                        <a:cubicBezTo>
                          <a:pt x="163088" y="0"/>
                          <a:pt x="163739" y="651"/>
                          <a:pt x="163739" y="1442"/>
                        </a:cubicBezTo>
                        <a:lnTo>
                          <a:pt x="163739" y="15236"/>
                        </a:lnTo>
                        <a:cubicBezTo>
                          <a:pt x="163716" y="16027"/>
                          <a:pt x="163088" y="16679"/>
                          <a:pt x="162297" y="16679"/>
                        </a:cubicBezTo>
                        <a:close/>
                      </a:path>
                    </a:pathLst>
                  </a:custGeom>
                  <a:solidFill>
                    <a:srgbClr val="F19439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48" name="Freeform: Shape 447">
                    <a:extLst>
                      <a:ext uri="{FF2B5EF4-FFF2-40B4-BE49-F238E27FC236}">
                        <a16:creationId xmlns:a16="http://schemas.microsoft.com/office/drawing/2014/main" id="{B02BBCD9-B2D2-4500-97CD-F60BEBB71FF8}"/>
                      </a:ext>
                    </a:extLst>
                  </p:cNvPr>
                  <p:cNvSpPr/>
                  <p:nvPr/>
                </p:nvSpPr>
                <p:spPr>
                  <a:xfrm>
                    <a:off x="6244570" y="4044392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49" name="Freeform: Shape 448">
                    <a:extLst>
                      <a:ext uri="{FF2B5EF4-FFF2-40B4-BE49-F238E27FC236}">
                        <a16:creationId xmlns:a16="http://schemas.microsoft.com/office/drawing/2014/main" id="{9FFFC01D-12F8-4588-B1B1-F10176519C06}"/>
                      </a:ext>
                    </a:extLst>
                  </p:cNvPr>
                  <p:cNvSpPr/>
                  <p:nvPr/>
                </p:nvSpPr>
                <p:spPr>
                  <a:xfrm>
                    <a:off x="6252339" y="4044392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50" name="Freeform: Shape 449">
                    <a:extLst>
                      <a:ext uri="{FF2B5EF4-FFF2-40B4-BE49-F238E27FC236}">
                        <a16:creationId xmlns:a16="http://schemas.microsoft.com/office/drawing/2014/main" id="{C71CAE5A-4D62-4620-AF04-6ABD02067BF9}"/>
                      </a:ext>
                    </a:extLst>
                  </p:cNvPr>
                  <p:cNvSpPr/>
                  <p:nvPr/>
                </p:nvSpPr>
                <p:spPr>
                  <a:xfrm>
                    <a:off x="6260108" y="4044392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51" name="Freeform: Shape 450">
                    <a:extLst>
                      <a:ext uri="{FF2B5EF4-FFF2-40B4-BE49-F238E27FC236}">
                        <a16:creationId xmlns:a16="http://schemas.microsoft.com/office/drawing/2014/main" id="{BD6269CE-77E1-4D73-B419-5280741627CF}"/>
                      </a:ext>
                    </a:extLst>
                  </p:cNvPr>
                  <p:cNvSpPr/>
                  <p:nvPr/>
                </p:nvSpPr>
                <p:spPr>
                  <a:xfrm>
                    <a:off x="6267878" y="4044392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52" name="Freeform: Shape 451">
                    <a:extLst>
                      <a:ext uri="{FF2B5EF4-FFF2-40B4-BE49-F238E27FC236}">
                        <a16:creationId xmlns:a16="http://schemas.microsoft.com/office/drawing/2014/main" id="{88764E94-5F45-4481-953A-F3FC1924EFAF}"/>
                      </a:ext>
                    </a:extLst>
                  </p:cNvPr>
                  <p:cNvSpPr/>
                  <p:nvPr/>
                </p:nvSpPr>
                <p:spPr>
                  <a:xfrm>
                    <a:off x="6275647" y="4044392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53" name="Freeform: Shape 452">
                    <a:extLst>
                      <a:ext uri="{FF2B5EF4-FFF2-40B4-BE49-F238E27FC236}">
                        <a16:creationId xmlns:a16="http://schemas.microsoft.com/office/drawing/2014/main" id="{A30F20C1-627F-4061-94DA-EEE1EE72D185}"/>
                      </a:ext>
                    </a:extLst>
                  </p:cNvPr>
                  <p:cNvSpPr/>
                  <p:nvPr/>
                </p:nvSpPr>
                <p:spPr>
                  <a:xfrm>
                    <a:off x="6283417" y="4044392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54" name="Freeform: Shape 453">
                    <a:extLst>
                      <a:ext uri="{FF2B5EF4-FFF2-40B4-BE49-F238E27FC236}">
                        <a16:creationId xmlns:a16="http://schemas.microsoft.com/office/drawing/2014/main" id="{AE628131-E8D9-481A-89ED-8D33507F20A9}"/>
                      </a:ext>
                    </a:extLst>
                  </p:cNvPr>
                  <p:cNvSpPr/>
                  <p:nvPr/>
                </p:nvSpPr>
                <p:spPr>
                  <a:xfrm>
                    <a:off x="6291186" y="4044392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55" name="Freeform: Shape 454">
                    <a:extLst>
                      <a:ext uri="{FF2B5EF4-FFF2-40B4-BE49-F238E27FC236}">
                        <a16:creationId xmlns:a16="http://schemas.microsoft.com/office/drawing/2014/main" id="{4AA2B054-0FAF-4A8E-9769-36F136699205}"/>
                      </a:ext>
                    </a:extLst>
                  </p:cNvPr>
                  <p:cNvSpPr/>
                  <p:nvPr/>
                </p:nvSpPr>
                <p:spPr>
                  <a:xfrm>
                    <a:off x="6298955" y="4044392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56" name="Freeform: Shape 455">
                    <a:extLst>
                      <a:ext uri="{FF2B5EF4-FFF2-40B4-BE49-F238E27FC236}">
                        <a16:creationId xmlns:a16="http://schemas.microsoft.com/office/drawing/2014/main" id="{D61C3A5A-0CE0-47DC-8344-40E2A62175C9}"/>
                      </a:ext>
                    </a:extLst>
                  </p:cNvPr>
                  <p:cNvSpPr/>
                  <p:nvPr/>
                </p:nvSpPr>
                <p:spPr>
                  <a:xfrm>
                    <a:off x="6306725" y="4044392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57" name="Freeform: Shape 456">
                    <a:extLst>
                      <a:ext uri="{FF2B5EF4-FFF2-40B4-BE49-F238E27FC236}">
                        <a16:creationId xmlns:a16="http://schemas.microsoft.com/office/drawing/2014/main" id="{E8C994F2-628B-4423-8670-3A6AE6904954}"/>
                      </a:ext>
                    </a:extLst>
                  </p:cNvPr>
                  <p:cNvSpPr/>
                  <p:nvPr/>
                </p:nvSpPr>
                <p:spPr>
                  <a:xfrm>
                    <a:off x="6314494" y="4044392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58" name="Freeform: Shape 457">
                    <a:extLst>
                      <a:ext uri="{FF2B5EF4-FFF2-40B4-BE49-F238E27FC236}">
                        <a16:creationId xmlns:a16="http://schemas.microsoft.com/office/drawing/2014/main" id="{C4A2E111-8AE8-4FDC-A2AE-0A147968323C}"/>
                      </a:ext>
                    </a:extLst>
                  </p:cNvPr>
                  <p:cNvSpPr/>
                  <p:nvPr/>
                </p:nvSpPr>
                <p:spPr>
                  <a:xfrm>
                    <a:off x="6322264" y="4044392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59" name="Freeform: Shape 458">
                    <a:extLst>
                      <a:ext uri="{FF2B5EF4-FFF2-40B4-BE49-F238E27FC236}">
                        <a16:creationId xmlns:a16="http://schemas.microsoft.com/office/drawing/2014/main" id="{C4133DAB-9175-479B-9AC5-F0058F0E018E}"/>
                      </a:ext>
                    </a:extLst>
                  </p:cNvPr>
                  <p:cNvSpPr/>
                  <p:nvPr/>
                </p:nvSpPr>
                <p:spPr>
                  <a:xfrm>
                    <a:off x="6182438" y="4044392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60" name="Freeform: Shape 459">
                    <a:extLst>
                      <a:ext uri="{FF2B5EF4-FFF2-40B4-BE49-F238E27FC236}">
                        <a16:creationId xmlns:a16="http://schemas.microsoft.com/office/drawing/2014/main" id="{101FE0C1-7723-4CF5-8D63-3C42365B6FB5}"/>
                      </a:ext>
                    </a:extLst>
                  </p:cNvPr>
                  <p:cNvSpPr/>
                  <p:nvPr/>
                </p:nvSpPr>
                <p:spPr>
                  <a:xfrm>
                    <a:off x="6190207" y="4044392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61" name="Freeform: Shape 460">
                    <a:extLst>
                      <a:ext uri="{FF2B5EF4-FFF2-40B4-BE49-F238E27FC236}">
                        <a16:creationId xmlns:a16="http://schemas.microsoft.com/office/drawing/2014/main" id="{396ECB1A-3687-41D2-BE34-A972E2EE65E1}"/>
                      </a:ext>
                    </a:extLst>
                  </p:cNvPr>
                  <p:cNvSpPr/>
                  <p:nvPr/>
                </p:nvSpPr>
                <p:spPr>
                  <a:xfrm>
                    <a:off x="6197976" y="4044392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62" name="Freeform: Shape 461">
                    <a:extLst>
                      <a:ext uri="{FF2B5EF4-FFF2-40B4-BE49-F238E27FC236}">
                        <a16:creationId xmlns:a16="http://schemas.microsoft.com/office/drawing/2014/main" id="{A10CAE22-9756-4674-8FB0-B042B429EE3B}"/>
                      </a:ext>
                    </a:extLst>
                  </p:cNvPr>
                  <p:cNvSpPr/>
                  <p:nvPr/>
                </p:nvSpPr>
                <p:spPr>
                  <a:xfrm>
                    <a:off x="6166899" y="4044392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63" name="Freeform: Shape 462">
                    <a:extLst>
                      <a:ext uri="{FF2B5EF4-FFF2-40B4-BE49-F238E27FC236}">
                        <a16:creationId xmlns:a16="http://schemas.microsoft.com/office/drawing/2014/main" id="{291760C2-0182-476E-A6B9-FB8485DF6016}"/>
                      </a:ext>
                    </a:extLst>
                  </p:cNvPr>
                  <p:cNvSpPr/>
                  <p:nvPr/>
                </p:nvSpPr>
                <p:spPr>
                  <a:xfrm>
                    <a:off x="6174668" y="4044392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64" name="Freeform: Shape 463">
                    <a:extLst>
                      <a:ext uri="{FF2B5EF4-FFF2-40B4-BE49-F238E27FC236}">
                        <a16:creationId xmlns:a16="http://schemas.microsoft.com/office/drawing/2014/main" id="{08E2E7D4-6252-436A-92D2-3AB0688FEF44}"/>
                      </a:ext>
                    </a:extLst>
                  </p:cNvPr>
                  <p:cNvSpPr/>
                  <p:nvPr/>
                </p:nvSpPr>
                <p:spPr>
                  <a:xfrm>
                    <a:off x="6182438" y="4044392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65" name="Freeform: Shape 464">
                    <a:extLst>
                      <a:ext uri="{FF2B5EF4-FFF2-40B4-BE49-F238E27FC236}">
                        <a16:creationId xmlns:a16="http://schemas.microsoft.com/office/drawing/2014/main" id="{4161D4DF-6BCE-4743-AB09-0ADCA9B46C88}"/>
                      </a:ext>
                    </a:extLst>
                  </p:cNvPr>
                  <p:cNvSpPr/>
                  <p:nvPr/>
                </p:nvSpPr>
                <p:spPr>
                  <a:xfrm>
                    <a:off x="6205746" y="4044392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66" name="Freeform: Shape 465">
                    <a:extLst>
                      <a:ext uri="{FF2B5EF4-FFF2-40B4-BE49-F238E27FC236}">
                        <a16:creationId xmlns:a16="http://schemas.microsoft.com/office/drawing/2014/main" id="{A8C07637-5207-458E-88AF-03785DAF8E63}"/>
                      </a:ext>
                    </a:extLst>
                  </p:cNvPr>
                  <p:cNvSpPr/>
                  <p:nvPr/>
                </p:nvSpPr>
                <p:spPr>
                  <a:xfrm>
                    <a:off x="6213492" y="4044392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08"/>
                          <a:pt x="5699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67" name="Freeform: Shape 466">
                    <a:extLst>
                      <a:ext uri="{FF2B5EF4-FFF2-40B4-BE49-F238E27FC236}">
                        <a16:creationId xmlns:a16="http://schemas.microsoft.com/office/drawing/2014/main" id="{1E8DE4E8-C58E-4C23-A026-739F866C9E50}"/>
                      </a:ext>
                    </a:extLst>
                  </p:cNvPr>
                  <p:cNvSpPr/>
                  <p:nvPr/>
                </p:nvSpPr>
                <p:spPr>
                  <a:xfrm>
                    <a:off x="6221261" y="4044392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68" name="Freeform: Shape 467">
                    <a:extLst>
                      <a:ext uri="{FF2B5EF4-FFF2-40B4-BE49-F238E27FC236}">
                        <a16:creationId xmlns:a16="http://schemas.microsoft.com/office/drawing/2014/main" id="{AF6DD2D2-2822-4BD1-BBAE-607AA6FB9899}"/>
                      </a:ext>
                    </a:extLst>
                  </p:cNvPr>
                  <p:cNvSpPr/>
                  <p:nvPr/>
                </p:nvSpPr>
                <p:spPr>
                  <a:xfrm>
                    <a:off x="6229031" y="4044392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69" name="Freeform: Shape 468">
                    <a:extLst>
                      <a:ext uri="{FF2B5EF4-FFF2-40B4-BE49-F238E27FC236}">
                        <a16:creationId xmlns:a16="http://schemas.microsoft.com/office/drawing/2014/main" id="{2A919B17-D701-4E63-8FE4-94D5669B7996}"/>
                      </a:ext>
                    </a:extLst>
                  </p:cNvPr>
                  <p:cNvSpPr/>
                  <p:nvPr/>
                </p:nvSpPr>
                <p:spPr>
                  <a:xfrm>
                    <a:off x="6236800" y="4044392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375" name="Graphic 174">
                  <a:extLst>
                    <a:ext uri="{FF2B5EF4-FFF2-40B4-BE49-F238E27FC236}">
                      <a16:creationId xmlns:a16="http://schemas.microsoft.com/office/drawing/2014/main" id="{04811F85-23D6-499D-B5E1-B0BEB88A3706}"/>
                    </a:ext>
                  </a:extLst>
                </p:cNvPr>
                <p:cNvGrpSpPr/>
                <p:nvPr/>
              </p:nvGrpSpPr>
              <p:grpSpPr>
                <a:xfrm>
                  <a:off x="6158106" y="4027016"/>
                  <a:ext cx="162832" cy="16283"/>
                  <a:chOff x="6158106" y="4027016"/>
                  <a:chExt cx="162832" cy="16283"/>
                </a:xfrm>
                <a:solidFill>
                  <a:schemeClr val="accent1"/>
                </a:solidFill>
              </p:grpSpPr>
              <p:sp>
                <p:nvSpPr>
                  <p:cNvPr id="424" name="Freeform: Shape 423">
                    <a:extLst>
                      <a:ext uri="{FF2B5EF4-FFF2-40B4-BE49-F238E27FC236}">
                        <a16:creationId xmlns:a16="http://schemas.microsoft.com/office/drawing/2014/main" id="{58D8D991-8839-4835-8E3B-810409FF6697}"/>
                      </a:ext>
                    </a:extLst>
                  </p:cNvPr>
                  <p:cNvSpPr/>
                  <p:nvPr/>
                </p:nvSpPr>
                <p:spPr>
                  <a:xfrm>
                    <a:off x="6158106" y="4027016"/>
                    <a:ext cx="162832" cy="16283"/>
                  </a:xfrm>
                  <a:custGeom>
                    <a:avLst/>
                    <a:gdLst>
                      <a:gd name="connsiteX0" fmla="*/ 162297 w 162831"/>
                      <a:gd name="connsiteY0" fmla="*/ 16679 h 16283"/>
                      <a:gd name="connsiteX1" fmla="*/ 1442 w 162831"/>
                      <a:gd name="connsiteY1" fmla="*/ 16679 h 16283"/>
                      <a:gd name="connsiteX2" fmla="*/ 0 w 162831"/>
                      <a:gd name="connsiteY2" fmla="*/ 15236 h 16283"/>
                      <a:gd name="connsiteX3" fmla="*/ 0 w 162831"/>
                      <a:gd name="connsiteY3" fmla="*/ 1442 h 16283"/>
                      <a:gd name="connsiteX4" fmla="*/ 1442 w 162831"/>
                      <a:gd name="connsiteY4" fmla="*/ 0 h 16283"/>
                      <a:gd name="connsiteX5" fmla="*/ 162297 w 162831"/>
                      <a:gd name="connsiteY5" fmla="*/ 0 h 16283"/>
                      <a:gd name="connsiteX6" fmla="*/ 163739 w 162831"/>
                      <a:gd name="connsiteY6" fmla="*/ 1442 h 16283"/>
                      <a:gd name="connsiteX7" fmla="*/ 163739 w 162831"/>
                      <a:gd name="connsiteY7" fmla="*/ 15236 h 16283"/>
                      <a:gd name="connsiteX8" fmla="*/ 162297 w 162831"/>
                      <a:gd name="connsiteY8" fmla="*/ 16679 h 1628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62831" h="16283">
                        <a:moveTo>
                          <a:pt x="162297" y="16679"/>
                        </a:moveTo>
                        <a:lnTo>
                          <a:pt x="1442" y="16679"/>
                        </a:lnTo>
                        <a:cubicBezTo>
                          <a:pt x="651" y="16679"/>
                          <a:pt x="0" y="16027"/>
                          <a:pt x="0" y="15236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162297" y="0"/>
                        </a:lnTo>
                        <a:cubicBezTo>
                          <a:pt x="163088" y="0"/>
                          <a:pt x="163739" y="651"/>
                          <a:pt x="163739" y="1442"/>
                        </a:cubicBezTo>
                        <a:lnTo>
                          <a:pt x="163739" y="15236"/>
                        </a:lnTo>
                        <a:cubicBezTo>
                          <a:pt x="163716" y="16027"/>
                          <a:pt x="163088" y="16679"/>
                          <a:pt x="162297" y="16679"/>
                        </a:cubicBezTo>
                        <a:close/>
                      </a:path>
                    </a:pathLst>
                  </a:custGeom>
                  <a:solidFill>
                    <a:srgbClr val="F19439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25" name="Freeform: Shape 424">
                    <a:extLst>
                      <a:ext uri="{FF2B5EF4-FFF2-40B4-BE49-F238E27FC236}">
                        <a16:creationId xmlns:a16="http://schemas.microsoft.com/office/drawing/2014/main" id="{33C8F042-2795-4F40-BC9C-C7D2A37B32ED}"/>
                      </a:ext>
                    </a:extLst>
                  </p:cNvPr>
                  <p:cNvSpPr/>
                  <p:nvPr/>
                </p:nvSpPr>
                <p:spPr>
                  <a:xfrm>
                    <a:off x="6236800" y="4027713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26" name="Freeform: Shape 425">
                    <a:extLst>
                      <a:ext uri="{FF2B5EF4-FFF2-40B4-BE49-F238E27FC236}">
                        <a16:creationId xmlns:a16="http://schemas.microsoft.com/office/drawing/2014/main" id="{E546CD54-B2FE-415B-822C-81F73C272459}"/>
                      </a:ext>
                    </a:extLst>
                  </p:cNvPr>
                  <p:cNvSpPr/>
                  <p:nvPr/>
                </p:nvSpPr>
                <p:spPr>
                  <a:xfrm>
                    <a:off x="6244570" y="4027713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27" name="Freeform: Shape 426">
                    <a:extLst>
                      <a:ext uri="{FF2B5EF4-FFF2-40B4-BE49-F238E27FC236}">
                        <a16:creationId xmlns:a16="http://schemas.microsoft.com/office/drawing/2014/main" id="{63758A0F-7CD6-4C74-A6DC-35D9EB342EB6}"/>
                      </a:ext>
                    </a:extLst>
                  </p:cNvPr>
                  <p:cNvSpPr/>
                  <p:nvPr/>
                </p:nvSpPr>
                <p:spPr>
                  <a:xfrm>
                    <a:off x="6252339" y="4027713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28" name="Freeform: Shape 427">
                    <a:extLst>
                      <a:ext uri="{FF2B5EF4-FFF2-40B4-BE49-F238E27FC236}">
                        <a16:creationId xmlns:a16="http://schemas.microsoft.com/office/drawing/2014/main" id="{91AC8654-C98C-4F40-A45C-DB7140DFBBDD}"/>
                      </a:ext>
                    </a:extLst>
                  </p:cNvPr>
                  <p:cNvSpPr/>
                  <p:nvPr/>
                </p:nvSpPr>
                <p:spPr>
                  <a:xfrm>
                    <a:off x="6260108" y="4027713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29" name="Freeform: Shape 428">
                    <a:extLst>
                      <a:ext uri="{FF2B5EF4-FFF2-40B4-BE49-F238E27FC236}">
                        <a16:creationId xmlns:a16="http://schemas.microsoft.com/office/drawing/2014/main" id="{82772332-E309-429A-B618-C27B81BBA8C4}"/>
                      </a:ext>
                    </a:extLst>
                  </p:cNvPr>
                  <p:cNvSpPr/>
                  <p:nvPr/>
                </p:nvSpPr>
                <p:spPr>
                  <a:xfrm>
                    <a:off x="6267878" y="4027713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30" name="Freeform: Shape 429">
                    <a:extLst>
                      <a:ext uri="{FF2B5EF4-FFF2-40B4-BE49-F238E27FC236}">
                        <a16:creationId xmlns:a16="http://schemas.microsoft.com/office/drawing/2014/main" id="{9223BF2D-23B8-49DB-8C7E-BE79E85F411C}"/>
                      </a:ext>
                    </a:extLst>
                  </p:cNvPr>
                  <p:cNvSpPr/>
                  <p:nvPr/>
                </p:nvSpPr>
                <p:spPr>
                  <a:xfrm>
                    <a:off x="6275647" y="4027713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31" name="Freeform: Shape 430">
                    <a:extLst>
                      <a:ext uri="{FF2B5EF4-FFF2-40B4-BE49-F238E27FC236}">
                        <a16:creationId xmlns:a16="http://schemas.microsoft.com/office/drawing/2014/main" id="{5F0ADCA5-A813-42F2-AE3D-587311BB6646}"/>
                      </a:ext>
                    </a:extLst>
                  </p:cNvPr>
                  <p:cNvSpPr/>
                  <p:nvPr/>
                </p:nvSpPr>
                <p:spPr>
                  <a:xfrm>
                    <a:off x="6283417" y="4027713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32" name="Freeform: Shape 431">
                    <a:extLst>
                      <a:ext uri="{FF2B5EF4-FFF2-40B4-BE49-F238E27FC236}">
                        <a16:creationId xmlns:a16="http://schemas.microsoft.com/office/drawing/2014/main" id="{E339B368-4C8A-4F4B-9E02-35ED456557D8}"/>
                      </a:ext>
                    </a:extLst>
                  </p:cNvPr>
                  <p:cNvSpPr/>
                  <p:nvPr/>
                </p:nvSpPr>
                <p:spPr>
                  <a:xfrm>
                    <a:off x="6291186" y="4027713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33" name="Freeform: Shape 432">
                    <a:extLst>
                      <a:ext uri="{FF2B5EF4-FFF2-40B4-BE49-F238E27FC236}">
                        <a16:creationId xmlns:a16="http://schemas.microsoft.com/office/drawing/2014/main" id="{77FFFC43-8110-4DFE-AE98-A333DE1E94FD}"/>
                      </a:ext>
                    </a:extLst>
                  </p:cNvPr>
                  <p:cNvSpPr/>
                  <p:nvPr/>
                </p:nvSpPr>
                <p:spPr>
                  <a:xfrm>
                    <a:off x="6298955" y="4027713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34" name="Freeform: Shape 433">
                    <a:extLst>
                      <a:ext uri="{FF2B5EF4-FFF2-40B4-BE49-F238E27FC236}">
                        <a16:creationId xmlns:a16="http://schemas.microsoft.com/office/drawing/2014/main" id="{A911AD60-CE67-4847-B962-BAED02253662}"/>
                      </a:ext>
                    </a:extLst>
                  </p:cNvPr>
                  <p:cNvSpPr/>
                  <p:nvPr/>
                </p:nvSpPr>
                <p:spPr>
                  <a:xfrm>
                    <a:off x="6306725" y="4027713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35" name="Freeform: Shape 434">
                    <a:extLst>
                      <a:ext uri="{FF2B5EF4-FFF2-40B4-BE49-F238E27FC236}">
                        <a16:creationId xmlns:a16="http://schemas.microsoft.com/office/drawing/2014/main" id="{5A9306DD-389D-406C-B423-5EBF1CA1192A}"/>
                      </a:ext>
                    </a:extLst>
                  </p:cNvPr>
                  <p:cNvSpPr/>
                  <p:nvPr/>
                </p:nvSpPr>
                <p:spPr>
                  <a:xfrm>
                    <a:off x="6314494" y="4027713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36" name="Freeform: Shape 435">
                    <a:extLst>
                      <a:ext uri="{FF2B5EF4-FFF2-40B4-BE49-F238E27FC236}">
                        <a16:creationId xmlns:a16="http://schemas.microsoft.com/office/drawing/2014/main" id="{BA0C73E5-F28E-4B47-8100-A3ECF80C9D02}"/>
                      </a:ext>
                    </a:extLst>
                  </p:cNvPr>
                  <p:cNvSpPr/>
                  <p:nvPr/>
                </p:nvSpPr>
                <p:spPr>
                  <a:xfrm>
                    <a:off x="6174668" y="4027713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37" name="Freeform: Shape 436">
                    <a:extLst>
                      <a:ext uri="{FF2B5EF4-FFF2-40B4-BE49-F238E27FC236}">
                        <a16:creationId xmlns:a16="http://schemas.microsoft.com/office/drawing/2014/main" id="{53AF786B-0D73-4E21-9519-B1AEF1109A29}"/>
                      </a:ext>
                    </a:extLst>
                  </p:cNvPr>
                  <p:cNvSpPr/>
                  <p:nvPr/>
                </p:nvSpPr>
                <p:spPr>
                  <a:xfrm>
                    <a:off x="6182438" y="4027713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38" name="Freeform: Shape 437">
                    <a:extLst>
                      <a:ext uri="{FF2B5EF4-FFF2-40B4-BE49-F238E27FC236}">
                        <a16:creationId xmlns:a16="http://schemas.microsoft.com/office/drawing/2014/main" id="{3A1BD3F7-58F3-481B-9AA2-F19644F77462}"/>
                      </a:ext>
                    </a:extLst>
                  </p:cNvPr>
                  <p:cNvSpPr/>
                  <p:nvPr/>
                </p:nvSpPr>
                <p:spPr>
                  <a:xfrm>
                    <a:off x="6190207" y="4027713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39" name="Freeform: Shape 438">
                    <a:extLst>
                      <a:ext uri="{FF2B5EF4-FFF2-40B4-BE49-F238E27FC236}">
                        <a16:creationId xmlns:a16="http://schemas.microsoft.com/office/drawing/2014/main" id="{46F16056-237F-4764-A003-8B44C820259A}"/>
                      </a:ext>
                    </a:extLst>
                  </p:cNvPr>
                  <p:cNvSpPr/>
                  <p:nvPr/>
                </p:nvSpPr>
                <p:spPr>
                  <a:xfrm>
                    <a:off x="6159129" y="4027713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40" name="Freeform: Shape 439">
                    <a:extLst>
                      <a:ext uri="{FF2B5EF4-FFF2-40B4-BE49-F238E27FC236}">
                        <a16:creationId xmlns:a16="http://schemas.microsoft.com/office/drawing/2014/main" id="{C6DD90B1-5605-401B-A450-DB82EB8BF6B7}"/>
                      </a:ext>
                    </a:extLst>
                  </p:cNvPr>
                  <p:cNvSpPr/>
                  <p:nvPr/>
                </p:nvSpPr>
                <p:spPr>
                  <a:xfrm>
                    <a:off x="6166899" y="4027713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41" name="Freeform: Shape 440">
                    <a:extLst>
                      <a:ext uri="{FF2B5EF4-FFF2-40B4-BE49-F238E27FC236}">
                        <a16:creationId xmlns:a16="http://schemas.microsoft.com/office/drawing/2014/main" id="{C9A675AE-EC18-477B-86CB-31AE13162898}"/>
                      </a:ext>
                    </a:extLst>
                  </p:cNvPr>
                  <p:cNvSpPr/>
                  <p:nvPr/>
                </p:nvSpPr>
                <p:spPr>
                  <a:xfrm>
                    <a:off x="6174668" y="4027713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42" name="Freeform: Shape 441">
                    <a:extLst>
                      <a:ext uri="{FF2B5EF4-FFF2-40B4-BE49-F238E27FC236}">
                        <a16:creationId xmlns:a16="http://schemas.microsoft.com/office/drawing/2014/main" id="{786CB550-4982-4F23-BA68-671E05D24F5C}"/>
                      </a:ext>
                    </a:extLst>
                  </p:cNvPr>
                  <p:cNvSpPr/>
                  <p:nvPr/>
                </p:nvSpPr>
                <p:spPr>
                  <a:xfrm>
                    <a:off x="6197976" y="4027713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43" name="Freeform: Shape 442">
                    <a:extLst>
                      <a:ext uri="{FF2B5EF4-FFF2-40B4-BE49-F238E27FC236}">
                        <a16:creationId xmlns:a16="http://schemas.microsoft.com/office/drawing/2014/main" id="{715B1D91-687D-4EDA-AB03-45614F84E002}"/>
                      </a:ext>
                    </a:extLst>
                  </p:cNvPr>
                  <p:cNvSpPr/>
                  <p:nvPr/>
                </p:nvSpPr>
                <p:spPr>
                  <a:xfrm>
                    <a:off x="6205746" y="4027713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44" name="Freeform: Shape 443">
                    <a:extLst>
                      <a:ext uri="{FF2B5EF4-FFF2-40B4-BE49-F238E27FC236}">
                        <a16:creationId xmlns:a16="http://schemas.microsoft.com/office/drawing/2014/main" id="{F0180A29-78F5-4839-AA57-03E985C2B23B}"/>
                      </a:ext>
                    </a:extLst>
                  </p:cNvPr>
                  <p:cNvSpPr/>
                  <p:nvPr/>
                </p:nvSpPr>
                <p:spPr>
                  <a:xfrm>
                    <a:off x="6213492" y="4027713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08"/>
                          <a:pt x="5699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45" name="Freeform: Shape 444">
                    <a:extLst>
                      <a:ext uri="{FF2B5EF4-FFF2-40B4-BE49-F238E27FC236}">
                        <a16:creationId xmlns:a16="http://schemas.microsoft.com/office/drawing/2014/main" id="{2932A305-3D3F-46D2-90A8-7981F507B88E}"/>
                      </a:ext>
                    </a:extLst>
                  </p:cNvPr>
                  <p:cNvSpPr/>
                  <p:nvPr/>
                </p:nvSpPr>
                <p:spPr>
                  <a:xfrm>
                    <a:off x="6221261" y="4027713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46" name="Freeform: Shape 445">
                    <a:extLst>
                      <a:ext uri="{FF2B5EF4-FFF2-40B4-BE49-F238E27FC236}">
                        <a16:creationId xmlns:a16="http://schemas.microsoft.com/office/drawing/2014/main" id="{AEEB3D79-C350-46F0-BCF8-294DEFD719E6}"/>
                      </a:ext>
                    </a:extLst>
                  </p:cNvPr>
                  <p:cNvSpPr/>
                  <p:nvPr/>
                </p:nvSpPr>
                <p:spPr>
                  <a:xfrm>
                    <a:off x="6229031" y="4027713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376" name="Graphic 174">
                  <a:extLst>
                    <a:ext uri="{FF2B5EF4-FFF2-40B4-BE49-F238E27FC236}">
                      <a16:creationId xmlns:a16="http://schemas.microsoft.com/office/drawing/2014/main" id="{A50A8F87-5047-4DC7-8BA8-D1310277E39E}"/>
                    </a:ext>
                  </a:extLst>
                </p:cNvPr>
                <p:cNvGrpSpPr/>
                <p:nvPr/>
              </p:nvGrpSpPr>
              <p:grpSpPr>
                <a:xfrm>
                  <a:off x="6163642" y="4010197"/>
                  <a:ext cx="162832" cy="16283"/>
                  <a:chOff x="6163642" y="4010197"/>
                  <a:chExt cx="162832" cy="16283"/>
                </a:xfrm>
                <a:solidFill>
                  <a:schemeClr val="accent1"/>
                </a:solidFill>
              </p:grpSpPr>
              <p:sp>
                <p:nvSpPr>
                  <p:cNvPr id="401" name="Freeform: Shape 400">
                    <a:extLst>
                      <a:ext uri="{FF2B5EF4-FFF2-40B4-BE49-F238E27FC236}">
                        <a16:creationId xmlns:a16="http://schemas.microsoft.com/office/drawing/2014/main" id="{A988C176-01A0-484D-BCF7-7E04E8C983D3}"/>
                      </a:ext>
                    </a:extLst>
                  </p:cNvPr>
                  <p:cNvSpPr/>
                  <p:nvPr/>
                </p:nvSpPr>
                <p:spPr>
                  <a:xfrm>
                    <a:off x="6163642" y="4010197"/>
                    <a:ext cx="162832" cy="16283"/>
                  </a:xfrm>
                  <a:custGeom>
                    <a:avLst/>
                    <a:gdLst>
                      <a:gd name="connsiteX0" fmla="*/ 162297 w 162831"/>
                      <a:gd name="connsiteY0" fmla="*/ 16679 h 16283"/>
                      <a:gd name="connsiteX1" fmla="*/ 1442 w 162831"/>
                      <a:gd name="connsiteY1" fmla="*/ 16679 h 16283"/>
                      <a:gd name="connsiteX2" fmla="*/ 0 w 162831"/>
                      <a:gd name="connsiteY2" fmla="*/ 15236 h 16283"/>
                      <a:gd name="connsiteX3" fmla="*/ 0 w 162831"/>
                      <a:gd name="connsiteY3" fmla="*/ 1442 h 16283"/>
                      <a:gd name="connsiteX4" fmla="*/ 1442 w 162831"/>
                      <a:gd name="connsiteY4" fmla="*/ 0 h 16283"/>
                      <a:gd name="connsiteX5" fmla="*/ 162297 w 162831"/>
                      <a:gd name="connsiteY5" fmla="*/ 0 h 16283"/>
                      <a:gd name="connsiteX6" fmla="*/ 163739 w 162831"/>
                      <a:gd name="connsiteY6" fmla="*/ 1442 h 16283"/>
                      <a:gd name="connsiteX7" fmla="*/ 163739 w 162831"/>
                      <a:gd name="connsiteY7" fmla="*/ 15236 h 16283"/>
                      <a:gd name="connsiteX8" fmla="*/ 162297 w 162831"/>
                      <a:gd name="connsiteY8" fmla="*/ 16679 h 1628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62831" h="16283">
                        <a:moveTo>
                          <a:pt x="162297" y="16679"/>
                        </a:moveTo>
                        <a:lnTo>
                          <a:pt x="1442" y="16679"/>
                        </a:lnTo>
                        <a:cubicBezTo>
                          <a:pt x="651" y="16679"/>
                          <a:pt x="0" y="16027"/>
                          <a:pt x="0" y="15236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162297" y="0"/>
                        </a:lnTo>
                        <a:cubicBezTo>
                          <a:pt x="163088" y="0"/>
                          <a:pt x="163739" y="651"/>
                          <a:pt x="163739" y="1442"/>
                        </a:cubicBezTo>
                        <a:lnTo>
                          <a:pt x="163739" y="15236"/>
                        </a:lnTo>
                        <a:cubicBezTo>
                          <a:pt x="163716" y="16051"/>
                          <a:pt x="163088" y="16679"/>
                          <a:pt x="162297" y="16679"/>
                        </a:cubicBezTo>
                        <a:close/>
                      </a:path>
                    </a:pathLst>
                  </a:custGeom>
                  <a:solidFill>
                    <a:srgbClr val="F19439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02" name="Freeform: Shape 401">
                    <a:extLst>
                      <a:ext uri="{FF2B5EF4-FFF2-40B4-BE49-F238E27FC236}">
                        <a16:creationId xmlns:a16="http://schemas.microsoft.com/office/drawing/2014/main" id="{9768CF03-477F-495D-A5CA-FF06D6F26B6A}"/>
                      </a:ext>
                    </a:extLst>
                  </p:cNvPr>
                  <p:cNvSpPr/>
                  <p:nvPr/>
                </p:nvSpPr>
                <p:spPr>
                  <a:xfrm>
                    <a:off x="6242336" y="4010918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03" name="Freeform: Shape 402">
                    <a:extLst>
                      <a:ext uri="{FF2B5EF4-FFF2-40B4-BE49-F238E27FC236}">
                        <a16:creationId xmlns:a16="http://schemas.microsoft.com/office/drawing/2014/main" id="{5461EB33-EF8A-4867-8B0D-06376FDE58AA}"/>
                      </a:ext>
                    </a:extLst>
                  </p:cNvPr>
                  <p:cNvSpPr/>
                  <p:nvPr/>
                </p:nvSpPr>
                <p:spPr>
                  <a:xfrm>
                    <a:off x="6250106" y="4010918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04" name="Freeform: Shape 403">
                    <a:extLst>
                      <a:ext uri="{FF2B5EF4-FFF2-40B4-BE49-F238E27FC236}">
                        <a16:creationId xmlns:a16="http://schemas.microsoft.com/office/drawing/2014/main" id="{9B8F3EE3-85D8-4316-85CA-C4AD7B95BF9E}"/>
                      </a:ext>
                    </a:extLst>
                  </p:cNvPr>
                  <p:cNvSpPr/>
                  <p:nvPr/>
                </p:nvSpPr>
                <p:spPr>
                  <a:xfrm>
                    <a:off x="6257875" y="4010918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05" name="Freeform: Shape 404">
                    <a:extLst>
                      <a:ext uri="{FF2B5EF4-FFF2-40B4-BE49-F238E27FC236}">
                        <a16:creationId xmlns:a16="http://schemas.microsoft.com/office/drawing/2014/main" id="{D186CFA0-3CF5-4ECD-AB67-A915C25B2155}"/>
                      </a:ext>
                    </a:extLst>
                  </p:cNvPr>
                  <p:cNvSpPr/>
                  <p:nvPr/>
                </p:nvSpPr>
                <p:spPr>
                  <a:xfrm>
                    <a:off x="6265645" y="4010918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06" name="Freeform: Shape 405">
                    <a:extLst>
                      <a:ext uri="{FF2B5EF4-FFF2-40B4-BE49-F238E27FC236}">
                        <a16:creationId xmlns:a16="http://schemas.microsoft.com/office/drawing/2014/main" id="{5A0B931B-C2AE-4D1B-AA8D-D70169FA5EF3}"/>
                      </a:ext>
                    </a:extLst>
                  </p:cNvPr>
                  <p:cNvSpPr/>
                  <p:nvPr/>
                </p:nvSpPr>
                <p:spPr>
                  <a:xfrm>
                    <a:off x="6273414" y="4010918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07" name="Freeform: Shape 406">
                    <a:extLst>
                      <a:ext uri="{FF2B5EF4-FFF2-40B4-BE49-F238E27FC236}">
                        <a16:creationId xmlns:a16="http://schemas.microsoft.com/office/drawing/2014/main" id="{CFA3CCA0-5485-4DEC-AC63-324921DA5B58}"/>
                      </a:ext>
                    </a:extLst>
                  </p:cNvPr>
                  <p:cNvSpPr/>
                  <p:nvPr/>
                </p:nvSpPr>
                <p:spPr>
                  <a:xfrm>
                    <a:off x="6281183" y="4010918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08" name="Freeform: Shape 407">
                    <a:extLst>
                      <a:ext uri="{FF2B5EF4-FFF2-40B4-BE49-F238E27FC236}">
                        <a16:creationId xmlns:a16="http://schemas.microsoft.com/office/drawing/2014/main" id="{C0B605A2-EC1B-4E68-883A-7B57F4DFE2F4}"/>
                      </a:ext>
                    </a:extLst>
                  </p:cNvPr>
                  <p:cNvSpPr/>
                  <p:nvPr/>
                </p:nvSpPr>
                <p:spPr>
                  <a:xfrm>
                    <a:off x="6288953" y="4010918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09" name="Freeform: Shape 408">
                    <a:extLst>
                      <a:ext uri="{FF2B5EF4-FFF2-40B4-BE49-F238E27FC236}">
                        <a16:creationId xmlns:a16="http://schemas.microsoft.com/office/drawing/2014/main" id="{1E767BD1-4655-41B1-A19B-A835C4A6BBC1}"/>
                      </a:ext>
                    </a:extLst>
                  </p:cNvPr>
                  <p:cNvSpPr/>
                  <p:nvPr/>
                </p:nvSpPr>
                <p:spPr>
                  <a:xfrm>
                    <a:off x="6296722" y="4010918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10" name="Freeform: Shape 409">
                    <a:extLst>
                      <a:ext uri="{FF2B5EF4-FFF2-40B4-BE49-F238E27FC236}">
                        <a16:creationId xmlns:a16="http://schemas.microsoft.com/office/drawing/2014/main" id="{D5ACD72B-3DD3-4B48-80D0-81EEC8FC2130}"/>
                      </a:ext>
                    </a:extLst>
                  </p:cNvPr>
                  <p:cNvSpPr/>
                  <p:nvPr/>
                </p:nvSpPr>
                <p:spPr>
                  <a:xfrm>
                    <a:off x="6304492" y="4010918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11" name="Freeform: Shape 410">
                    <a:extLst>
                      <a:ext uri="{FF2B5EF4-FFF2-40B4-BE49-F238E27FC236}">
                        <a16:creationId xmlns:a16="http://schemas.microsoft.com/office/drawing/2014/main" id="{F1FC2316-C434-4BC3-9CB6-E31FE49C4919}"/>
                      </a:ext>
                    </a:extLst>
                  </p:cNvPr>
                  <p:cNvSpPr/>
                  <p:nvPr/>
                </p:nvSpPr>
                <p:spPr>
                  <a:xfrm>
                    <a:off x="6312261" y="4010918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12" name="Freeform: Shape 411">
                    <a:extLst>
                      <a:ext uri="{FF2B5EF4-FFF2-40B4-BE49-F238E27FC236}">
                        <a16:creationId xmlns:a16="http://schemas.microsoft.com/office/drawing/2014/main" id="{2A7B8AFE-3F0A-4934-944A-E19905833753}"/>
                      </a:ext>
                    </a:extLst>
                  </p:cNvPr>
                  <p:cNvSpPr/>
                  <p:nvPr/>
                </p:nvSpPr>
                <p:spPr>
                  <a:xfrm>
                    <a:off x="6320030" y="4010918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13" name="Freeform: Shape 412">
                    <a:extLst>
                      <a:ext uri="{FF2B5EF4-FFF2-40B4-BE49-F238E27FC236}">
                        <a16:creationId xmlns:a16="http://schemas.microsoft.com/office/drawing/2014/main" id="{EEDB6E26-9F97-46B7-BC5F-59CF8AB4A473}"/>
                      </a:ext>
                    </a:extLst>
                  </p:cNvPr>
                  <p:cNvSpPr/>
                  <p:nvPr/>
                </p:nvSpPr>
                <p:spPr>
                  <a:xfrm>
                    <a:off x="6180204" y="4010918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14" name="Freeform: Shape 413">
                    <a:extLst>
                      <a:ext uri="{FF2B5EF4-FFF2-40B4-BE49-F238E27FC236}">
                        <a16:creationId xmlns:a16="http://schemas.microsoft.com/office/drawing/2014/main" id="{235FD705-C476-48F7-BF5D-207F49F9E0A9}"/>
                      </a:ext>
                    </a:extLst>
                  </p:cNvPr>
                  <p:cNvSpPr/>
                  <p:nvPr/>
                </p:nvSpPr>
                <p:spPr>
                  <a:xfrm>
                    <a:off x="6187974" y="4010918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15" name="Freeform: Shape 414">
                    <a:extLst>
                      <a:ext uri="{FF2B5EF4-FFF2-40B4-BE49-F238E27FC236}">
                        <a16:creationId xmlns:a16="http://schemas.microsoft.com/office/drawing/2014/main" id="{3DA36A27-93D0-4D5D-B2CB-F0284D845C42}"/>
                      </a:ext>
                    </a:extLst>
                  </p:cNvPr>
                  <p:cNvSpPr/>
                  <p:nvPr/>
                </p:nvSpPr>
                <p:spPr>
                  <a:xfrm>
                    <a:off x="6195743" y="4010918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16" name="Freeform: Shape 415">
                    <a:extLst>
                      <a:ext uri="{FF2B5EF4-FFF2-40B4-BE49-F238E27FC236}">
                        <a16:creationId xmlns:a16="http://schemas.microsoft.com/office/drawing/2014/main" id="{907D7D51-FA15-4CB2-8881-8478A98FC901}"/>
                      </a:ext>
                    </a:extLst>
                  </p:cNvPr>
                  <p:cNvSpPr/>
                  <p:nvPr/>
                </p:nvSpPr>
                <p:spPr>
                  <a:xfrm>
                    <a:off x="6164666" y="4010918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17" name="Freeform: Shape 416">
                    <a:extLst>
                      <a:ext uri="{FF2B5EF4-FFF2-40B4-BE49-F238E27FC236}">
                        <a16:creationId xmlns:a16="http://schemas.microsoft.com/office/drawing/2014/main" id="{16D9F09D-53C7-4A4D-AA24-45EC3B13D270}"/>
                      </a:ext>
                    </a:extLst>
                  </p:cNvPr>
                  <p:cNvSpPr/>
                  <p:nvPr/>
                </p:nvSpPr>
                <p:spPr>
                  <a:xfrm>
                    <a:off x="6172435" y="4010918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18" name="Freeform: Shape 417">
                    <a:extLst>
                      <a:ext uri="{FF2B5EF4-FFF2-40B4-BE49-F238E27FC236}">
                        <a16:creationId xmlns:a16="http://schemas.microsoft.com/office/drawing/2014/main" id="{E226A212-1DF1-46E2-BC59-0172B681F4CA}"/>
                      </a:ext>
                    </a:extLst>
                  </p:cNvPr>
                  <p:cNvSpPr/>
                  <p:nvPr/>
                </p:nvSpPr>
                <p:spPr>
                  <a:xfrm>
                    <a:off x="6180204" y="4010918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19" name="Freeform: Shape 418">
                    <a:extLst>
                      <a:ext uri="{FF2B5EF4-FFF2-40B4-BE49-F238E27FC236}">
                        <a16:creationId xmlns:a16="http://schemas.microsoft.com/office/drawing/2014/main" id="{B6997B60-037F-4FD8-9C53-A2008695EAC5}"/>
                      </a:ext>
                    </a:extLst>
                  </p:cNvPr>
                  <p:cNvSpPr/>
                  <p:nvPr/>
                </p:nvSpPr>
                <p:spPr>
                  <a:xfrm>
                    <a:off x="6203513" y="4010918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20" name="Freeform: Shape 419">
                    <a:extLst>
                      <a:ext uri="{FF2B5EF4-FFF2-40B4-BE49-F238E27FC236}">
                        <a16:creationId xmlns:a16="http://schemas.microsoft.com/office/drawing/2014/main" id="{1F9FCDF8-46CF-47B1-A075-4CCA2363A146}"/>
                      </a:ext>
                    </a:extLst>
                  </p:cNvPr>
                  <p:cNvSpPr/>
                  <p:nvPr/>
                </p:nvSpPr>
                <p:spPr>
                  <a:xfrm>
                    <a:off x="6211282" y="4010918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21" name="Freeform: Shape 420">
                    <a:extLst>
                      <a:ext uri="{FF2B5EF4-FFF2-40B4-BE49-F238E27FC236}">
                        <a16:creationId xmlns:a16="http://schemas.microsoft.com/office/drawing/2014/main" id="{6FCCF8B8-F29B-4C1C-B1F3-A3EC9ECBCE4C}"/>
                      </a:ext>
                    </a:extLst>
                  </p:cNvPr>
                  <p:cNvSpPr/>
                  <p:nvPr/>
                </p:nvSpPr>
                <p:spPr>
                  <a:xfrm>
                    <a:off x="6219051" y="4010918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22" name="Freeform: Shape 421">
                    <a:extLst>
                      <a:ext uri="{FF2B5EF4-FFF2-40B4-BE49-F238E27FC236}">
                        <a16:creationId xmlns:a16="http://schemas.microsoft.com/office/drawing/2014/main" id="{49AF5DE9-6CE2-49FF-A100-9DA76BA512F0}"/>
                      </a:ext>
                    </a:extLst>
                  </p:cNvPr>
                  <p:cNvSpPr/>
                  <p:nvPr/>
                </p:nvSpPr>
                <p:spPr>
                  <a:xfrm>
                    <a:off x="6226821" y="4010918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08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23" name="Freeform: Shape 422">
                    <a:extLst>
                      <a:ext uri="{FF2B5EF4-FFF2-40B4-BE49-F238E27FC236}">
                        <a16:creationId xmlns:a16="http://schemas.microsoft.com/office/drawing/2014/main" id="{DF499A8A-5491-480F-9BC6-14F4D0346A4B}"/>
                      </a:ext>
                    </a:extLst>
                  </p:cNvPr>
                  <p:cNvSpPr/>
                  <p:nvPr/>
                </p:nvSpPr>
                <p:spPr>
                  <a:xfrm>
                    <a:off x="6234567" y="4010918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08"/>
                          <a:pt x="5699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377" name="Graphic 174">
                  <a:extLst>
                    <a:ext uri="{FF2B5EF4-FFF2-40B4-BE49-F238E27FC236}">
                      <a16:creationId xmlns:a16="http://schemas.microsoft.com/office/drawing/2014/main" id="{C9C65EA6-72F4-4DB0-99BF-229742A0ECCF}"/>
                    </a:ext>
                  </a:extLst>
                </p:cNvPr>
                <p:cNvGrpSpPr/>
                <p:nvPr/>
              </p:nvGrpSpPr>
              <p:grpSpPr>
                <a:xfrm>
                  <a:off x="6171411" y="3993542"/>
                  <a:ext cx="162832" cy="16283"/>
                  <a:chOff x="6171411" y="3993542"/>
                  <a:chExt cx="162832" cy="16283"/>
                </a:xfrm>
                <a:solidFill>
                  <a:schemeClr val="accent1"/>
                </a:solidFill>
              </p:grpSpPr>
              <p:sp>
                <p:nvSpPr>
                  <p:cNvPr id="378" name="Freeform: Shape 377">
                    <a:extLst>
                      <a:ext uri="{FF2B5EF4-FFF2-40B4-BE49-F238E27FC236}">
                        <a16:creationId xmlns:a16="http://schemas.microsoft.com/office/drawing/2014/main" id="{20E401F5-66BA-418F-B177-86A302574E51}"/>
                      </a:ext>
                    </a:extLst>
                  </p:cNvPr>
                  <p:cNvSpPr/>
                  <p:nvPr/>
                </p:nvSpPr>
                <p:spPr>
                  <a:xfrm>
                    <a:off x="6171411" y="3993542"/>
                    <a:ext cx="162832" cy="16283"/>
                  </a:xfrm>
                  <a:custGeom>
                    <a:avLst/>
                    <a:gdLst>
                      <a:gd name="connsiteX0" fmla="*/ 162297 w 162831"/>
                      <a:gd name="connsiteY0" fmla="*/ 16679 h 16283"/>
                      <a:gd name="connsiteX1" fmla="*/ 1442 w 162831"/>
                      <a:gd name="connsiteY1" fmla="*/ 16679 h 16283"/>
                      <a:gd name="connsiteX2" fmla="*/ 0 w 162831"/>
                      <a:gd name="connsiteY2" fmla="*/ 15236 h 16283"/>
                      <a:gd name="connsiteX3" fmla="*/ 0 w 162831"/>
                      <a:gd name="connsiteY3" fmla="*/ 1442 h 16283"/>
                      <a:gd name="connsiteX4" fmla="*/ 1442 w 162831"/>
                      <a:gd name="connsiteY4" fmla="*/ 0 h 16283"/>
                      <a:gd name="connsiteX5" fmla="*/ 162297 w 162831"/>
                      <a:gd name="connsiteY5" fmla="*/ 0 h 16283"/>
                      <a:gd name="connsiteX6" fmla="*/ 163739 w 162831"/>
                      <a:gd name="connsiteY6" fmla="*/ 1442 h 16283"/>
                      <a:gd name="connsiteX7" fmla="*/ 163739 w 162831"/>
                      <a:gd name="connsiteY7" fmla="*/ 15236 h 16283"/>
                      <a:gd name="connsiteX8" fmla="*/ 162297 w 162831"/>
                      <a:gd name="connsiteY8" fmla="*/ 16679 h 1628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62831" h="16283">
                        <a:moveTo>
                          <a:pt x="162297" y="16679"/>
                        </a:moveTo>
                        <a:lnTo>
                          <a:pt x="1442" y="16679"/>
                        </a:lnTo>
                        <a:cubicBezTo>
                          <a:pt x="651" y="16679"/>
                          <a:pt x="0" y="16027"/>
                          <a:pt x="0" y="15236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162297" y="0"/>
                        </a:lnTo>
                        <a:cubicBezTo>
                          <a:pt x="163088" y="0"/>
                          <a:pt x="163739" y="651"/>
                          <a:pt x="163739" y="1442"/>
                        </a:cubicBezTo>
                        <a:lnTo>
                          <a:pt x="163739" y="15236"/>
                        </a:lnTo>
                        <a:cubicBezTo>
                          <a:pt x="163716" y="16027"/>
                          <a:pt x="163088" y="16679"/>
                          <a:pt x="162297" y="16679"/>
                        </a:cubicBezTo>
                        <a:close/>
                      </a:path>
                    </a:pathLst>
                  </a:custGeom>
                  <a:solidFill>
                    <a:srgbClr val="F19439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79" name="Freeform: Shape 378">
                    <a:extLst>
                      <a:ext uri="{FF2B5EF4-FFF2-40B4-BE49-F238E27FC236}">
                        <a16:creationId xmlns:a16="http://schemas.microsoft.com/office/drawing/2014/main" id="{A7481424-6A15-452E-BC96-A22F0794099D}"/>
                      </a:ext>
                    </a:extLst>
                  </p:cNvPr>
                  <p:cNvSpPr/>
                  <p:nvPr/>
                </p:nvSpPr>
                <p:spPr>
                  <a:xfrm>
                    <a:off x="6250106" y="3994240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32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80" name="Freeform: Shape 379">
                    <a:extLst>
                      <a:ext uri="{FF2B5EF4-FFF2-40B4-BE49-F238E27FC236}">
                        <a16:creationId xmlns:a16="http://schemas.microsoft.com/office/drawing/2014/main" id="{3A0FAC97-C26A-41C5-AAF9-3D824EA486A4}"/>
                      </a:ext>
                    </a:extLst>
                  </p:cNvPr>
                  <p:cNvSpPr/>
                  <p:nvPr/>
                </p:nvSpPr>
                <p:spPr>
                  <a:xfrm>
                    <a:off x="6257875" y="3994240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32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81" name="Freeform: Shape 380">
                    <a:extLst>
                      <a:ext uri="{FF2B5EF4-FFF2-40B4-BE49-F238E27FC236}">
                        <a16:creationId xmlns:a16="http://schemas.microsoft.com/office/drawing/2014/main" id="{35225FB2-6C17-4000-8769-7E843BB1492B}"/>
                      </a:ext>
                    </a:extLst>
                  </p:cNvPr>
                  <p:cNvSpPr/>
                  <p:nvPr/>
                </p:nvSpPr>
                <p:spPr>
                  <a:xfrm>
                    <a:off x="6265645" y="3994240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32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82" name="Freeform: Shape 381">
                    <a:extLst>
                      <a:ext uri="{FF2B5EF4-FFF2-40B4-BE49-F238E27FC236}">
                        <a16:creationId xmlns:a16="http://schemas.microsoft.com/office/drawing/2014/main" id="{5DF14102-0624-4EBB-89D4-C0464AC4DA83}"/>
                      </a:ext>
                    </a:extLst>
                  </p:cNvPr>
                  <p:cNvSpPr/>
                  <p:nvPr/>
                </p:nvSpPr>
                <p:spPr>
                  <a:xfrm>
                    <a:off x="6273414" y="3994240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32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83" name="Freeform: Shape 382">
                    <a:extLst>
                      <a:ext uri="{FF2B5EF4-FFF2-40B4-BE49-F238E27FC236}">
                        <a16:creationId xmlns:a16="http://schemas.microsoft.com/office/drawing/2014/main" id="{BCFADAD1-7703-424E-9372-6B4F3C71FB85}"/>
                      </a:ext>
                    </a:extLst>
                  </p:cNvPr>
                  <p:cNvSpPr/>
                  <p:nvPr/>
                </p:nvSpPr>
                <p:spPr>
                  <a:xfrm>
                    <a:off x="6281183" y="3994240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32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84" name="Freeform: Shape 383">
                    <a:extLst>
                      <a:ext uri="{FF2B5EF4-FFF2-40B4-BE49-F238E27FC236}">
                        <a16:creationId xmlns:a16="http://schemas.microsoft.com/office/drawing/2014/main" id="{596F4A41-0DC1-4F79-BDF6-18C1A0128F22}"/>
                      </a:ext>
                    </a:extLst>
                  </p:cNvPr>
                  <p:cNvSpPr/>
                  <p:nvPr/>
                </p:nvSpPr>
                <p:spPr>
                  <a:xfrm>
                    <a:off x="6288953" y="3994240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32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85" name="Freeform: Shape 384">
                    <a:extLst>
                      <a:ext uri="{FF2B5EF4-FFF2-40B4-BE49-F238E27FC236}">
                        <a16:creationId xmlns:a16="http://schemas.microsoft.com/office/drawing/2014/main" id="{998F3A0C-5392-4295-9569-D550A4010410}"/>
                      </a:ext>
                    </a:extLst>
                  </p:cNvPr>
                  <p:cNvSpPr/>
                  <p:nvPr/>
                </p:nvSpPr>
                <p:spPr>
                  <a:xfrm>
                    <a:off x="6296722" y="3994240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32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86" name="Freeform: Shape 385">
                    <a:extLst>
                      <a:ext uri="{FF2B5EF4-FFF2-40B4-BE49-F238E27FC236}">
                        <a16:creationId xmlns:a16="http://schemas.microsoft.com/office/drawing/2014/main" id="{33B431E0-7F23-4FA1-BC00-93D6664496D1}"/>
                      </a:ext>
                    </a:extLst>
                  </p:cNvPr>
                  <p:cNvSpPr/>
                  <p:nvPr/>
                </p:nvSpPr>
                <p:spPr>
                  <a:xfrm>
                    <a:off x="6304492" y="3994240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32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87" name="Freeform: Shape 386">
                    <a:extLst>
                      <a:ext uri="{FF2B5EF4-FFF2-40B4-BE49-F238E27FC236}">
                        <a16:creationId xmlns:a16="http://schemas.microsoft.com/office/drawing/2014/main" id="{5416FE4A-2EF8-4E54-BB51-833711CDAA1E}"/>
                      </a:ext>
                    </a:extLst>
                  </p:cNvPr>
                  <p:cNvSpPr/>
                  <p:nvPr/>
                </p:nvSpPr>
                <p:spPr>
                  <a:xfrm>
                    <a:off x="6312261" y="3994240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32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88" name="Freeform: Shape 387">
                    <a:extLst>
                      <a:ext uri="{FF2B5EF4-FFF2-40B4-BE49-F238E27FC236}">
                        <a16:creationId xmlns:a16="http://schemas.microsoft.com/office/drawing/2014/main" id="{F5888629-7803-4DF8-8492-8F9B52AA4D2B}"/>
                      </a:ext>
                    </a:extLst>
                  </p:cNvPr>
                  <p:cNvSpPr/>
                  <p:nvPr/>
                </p:nvSpPr>
                <p:spPr>
                  <a:xfrm>
                    <a:off x="6320030" y="3994240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32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89" name="Freeform: Shape 388">
                    <a:extLst>
                      <a:ext uri="{FF2B5EF4-FFF2-40B4-BE49-F238E27FC236}">
                        <a16:creationId xmlns:a16="http://schemas.microsoft.com/office/drawing/2014/main" id="{03A86F3A-0330-45F5-9C74-23D047FA3BC5}"/>
                      </a:ext>
                    </a:extLst>
                  </p:cNvPr>
                  <p:cNvSpPr/>
                  <p:nvPr/>
                </p:nvSpPr>
                <p:spPr>
                  <a:xfrm>
                    <a:off x="6327800" y="3994240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32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90" name="Freeform: Shape 389">
                    <a:extLst>
                      <a:ext uri="{FF2B5EF4-FFF2-40B4-BE49-F238E27FC236}">
                        <a16:creationId xmlns:a16="http://schemas.microsoft.com/office/drawing/2014/main" id="{C35B4C09-DA52-44C9-9E84-65FC889A2B4E}"/>
                      </a:ext>
                    </a:extLst>
                  </p:cNvPr>
                  <p:cNvSpPr/>
                  <p:nvPr/>
                </p:nvSpPr>
                <p:spPr>
                  <a:xfrm>
                    <a:off x="6187974" y="3994240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32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91" name="Freeform: Shape 390">
                    <a:extLst>
                      <a:ext uri="{FF2B5EF4-FFF2-40B4-BE49-F238E27FC236}">
                        <a16:creationId xmlns:a16="http://schemas.microsoft.com/office/drawing/2014/main" id="{BB2F5B8F-3C08-45F1-A6FF-539D614781B6}"/>
                      </a:ext>
                    </a:extLst>
                  </p:cNvPr>
                  <p:cNvSpPr/>
                  <p:nvPr/>
                </p:nvSpPr>
                <p:spPr>
                  <a:xfrm>
                    <a:off x="6195743" y="3994240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32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92" name="Freeform: Shape 391">
                    <a:extLst>
                      <a:ext uri="{FF2B5EF4-FFF2-40B4-BE49-F238E27FC236}">
                        <a16:creationId xmlns:a16="http://schemas.microsoft.com/office/drawing/2014/main" id="{2D5B0448-40CF-4863-B924-8C4335329D2A}"/>
                      </a:ext>
                    </a:extLst>
                  </p:cNvPr>
                  <p:cNvSpPr/>
                  <p:nvPr/>
                </p:nvSpPr>
                <p:spPr>
                  <a:xfrm>
                    <a:off x="6203513" y="3994240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32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93" name="Freeform: Shape 392">
                    <a:extLst>
                      <a:ext uri="{FF2B5EF4-FFF2-40B4-BE49-F238E27FC236}">
                        <a16:creationId xmlns:a16="http://schemas.microsoft.com/office/drawing/2014/main" id="{DAC4DA19-C080-48CB-9305-2BC1354F213F}"/>
                      </a:ext>
                    </a:extLst>
                  </p:cNvPr>
                  <p:cNvSpPr/>
                  <p:nvPr/>
                </p:nvSpPr>
                <p:spPr>
                  <a:xfrm>
                    <a:off x="6172435" y="3994240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32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94" name="Freeform: Shape 393">
                    <a:extLst>
                      <a:ext uri="{FF2B5EF4-FFF2-40B4-BE49-F238E27FC236}">
                        <a16:creationId xmlns:a16="http://schemas.microsoft.com/office/drawing/2014/main" id="{43B7B8D1-6852-47EE-9118-156B9F044C57}"/>
                      </a:ext>
                    </a:extLst>
                  </p:cNvPr>
                  <p:cNvSpPr/>
                  <p:nvPr/>
                </p:nvSpPr>
                <p:spPr>
                  <a:xfrm>
                    <a:off x="6180204" y="3994240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32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95" name="Freeform: Shape 394">
                    <a:extLst>
                      <a:ext uri="{FF2B5EF4-FFF2-40B4-BE49-F238E27FC236}">
                        <a16:creationId xmlns:a16="http://schemas.microsoft.com/office/drawing/2014/main" id="{13B0A761-3308-4045-9C97-EF6052289432}"/>
                      </a:ext>
                    </a:extLst>
                  </p:cNvPr>
                  <p:cNvSpPr/>
                  <p:nvPr/>
                </p:nvSpPr>
                <p:spPr>
                  <a:xfrm>
                    <a:off x="6187974" y="3994240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32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96" name="Freeform: Shape 395">
                    <a:extLst>
                      <a:ext uri="{FF2B5EF4-FFF2-40B4-BE49-F238E27FC236}">
                        <a16:creationId xmlns:a16="http://schemas.microsoft.com/office/drawing/2014/main" id="{B769857A-6BEF-4A39-A16D-AA6FDCDF23FE}"/>
                      </a:ext>
                    </a:extLst>
                  </p:cNvPr>
                  <p:cNvSpPr/>
                  <p:nvPr/>
                </p:nvSpPr>
                <p:spPr>
                  <a:xfrm>
                    <a:off x="6211282" y="3994240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32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97" name="Freeform: Shape 396">
                    <a:extLst>
                      <a:ext uri="{FF2B5EF4-FFF2-40B4-BE49-F238E27FC236}">
                        <a16:creationId xmlns:a16="http://schemas.microsoft.com/office/drawing/2014/main" id="{4E7C0350-C260-40CF-B552-DA2471662221}"/>
                      </a:ext>
                    </a:extLst>
                  </p:cNvPr>
                  <p:cNvSpPr/>
                  <p:nvPr/>
                </p:nvSpPr>
                <p:spPr>
                  <a:xfrm>
                    <a:off x="6219051" y="3994240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32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98" name="Freeform: Shape 397">
                    <a:extLst>
                      <a:ext uri="{FF2B5EF4-FFF2-40B4-BE49-F238E27FC236}">
                        <a16:creationId xmlns:a16="http://schemas.microsoft.com/office/drawing/2014/main" id="{97D79FD0-B62F-414A-AE3F-5ACA62802FC1}"/>
                      </a:ext>
                    </a:extLst>
                  </p:cNvPr>
                  <p:cNvSpPr/>
                  <p:nvPr/>
                </p:nvSpPr>
                <p:spPr>
                  <a:xfrm>
                    <a:off x="6226821" y="3994240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04" y="14632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99" name="Freeform: Shape 398">
                    <a:extLst>
                      <a:ext uri="{FF2B5EF4-FFF2-40B4-BE49-F238E27FC236}">
                        <a16:creationId xmlns:a16="http://schemas.microsoft.com/office/drawing/2014/main" id="{0ECAB42C-A334-4C6D-8074-D9C1E66997E7}"/>
                      </a:ext>
                    </a:extLst>
                  </p:cNvPr>
                  <p:cNvSpPr/>
                  <p:nvPr/>
                </p:nvSpPr>
                <p:spPr>
                  <a:xfrm>
                    <a:off x="6234567" y="3994240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32"/>
                          <a:pt x="5699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00" name="Freeform: Shape 399">
                    <a:extLst>
                      <a:ext uri="{FF2B5EF4-FFF2-40B4-BE49-F238E27FC236}">
                        <a16:creationId xmlns:a16="http://schemas.microsoft.com/office/drawing/2014/main" id="{9F0806CB-9D7E-458A-B450-F79DDEA7C748}"/>
                      </a:ext>
                    </a:extLst>
                  </p:cNvPr>
                  <p:cNvSpPr/>
                  <p:nvPr/>
                </p:nvSpPr>
                <p:spPr>
                  <a:xfrm>
                    <a:off x="6242336" y="3994240"/>
                    <a:ext cx="4652" cy="13957"/>
                  </a:xfrm>
                  <a:custGeom>
                    <a:avLst/>
                    <a:gdLst>
                      <a:gd name="connsiteX0" fmla="*/ 4885 w 4652"/>
                      <a:gd name="connsiteY0" fmla="*/ 15260 h 13957"/>
                      <a:gd name="connsiteX1" fmla="*/ 1442 w 4652"/>
                      <a:gd name="connsiteY1" fmla="*/ 15260 h 13957"/>
                      <a:gd name="connsiteX2" fmla="*/ 0 w 4652"/>
                      <a:gd name="connsiteY2" fmla="*/ 13817 h 13957"/>
                      <a:gd name="connsiteX3" fmla="*/ 0 w 4652"/>
                      <a:gd name="connsiteY3" fmla="*/ 1442 h 13957"/>
                      <a:gd name="connsiteX4" fmla="*/ 1442 w 4652"/>
                      <a:gd name="connsiteY4" fmla="*/ 0 h 13957"/>
                      <a:gd name="connsiteX5" fmla="*/ 4885 w 4652"/>
                      <a:gd name="connsiteY5" fmla="*/ 0 h 13957"/>
                      <a:gd name="connsiteX6" fmla="*/ 6327 w 4652"/>
                      <a:gd name="connsiteY6" fmla="*/ 1442 h 13957"/>
                      <a:gd name="connsiteX7" fmla="*/ 6327 w 4652"/>
                      <a:gd name="connsiteY7" fmla="*/ 13817 h 13957"/>
                      <a:gd name="connsiteX8" fmla="*/ 4885 w 4652"/>
                      <a:gd name="connsiteY8" fmla="*/ 15260 h 139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652" h="13957">
                        <a:moveTo>
                          <a:pt x="4885" y="15260"/>
                        </a:moveTo>
                        <a:lnTo>
                          <a:pt x="1442" y="15260"/>
                        </a:lnTo>
                        <a:cubicBezTo>
                          <a:pt x="651" y="15260"/>
                          <a:pt x="0" y="14608"/>
                          <a:pt x="0" y="13817"/>
                        </a:cubicBezTo>
                        <a:lnTo>
                          <a:pt x="0" y="1442"/>
                        </a:lnTo>
                        <a:cubicBezTo>
                          <a:pt x="0" y="651"/>
                          <a:pt x="651" y="0"/>
                          <a:pt x="1442" y="0"/>
                        </a:cubicBezTo>
                        <a:lnTo>
                          <a:pt x="4885" y="0"/>
                        </a:lnTo>
                        <a:cubicBezTo>
                          <a:pt x="5676" y="0"/>
                          <a:pt x="6327" y="651"/>
                          <a:pt x="6327" y="1442"/>
                        </a:cubicBezTo>
                        <a:lnTo>
                          <a:pt x="6327" y="13817"/>
                        </a:lnTo>
                        <a:cubicBezTo>
                          <a:pt x="6327" y="14632"/>
                          <a:pt x="5676" y="15260"/>
                          <a:pt x="4885" y="15260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90" name="Graphic 174">
                <a:extLst>
                  <a:ext uri="{FF2B5EF4-FFF2-40B4-BE49-F238E27FC236}">
                    <a16:creationId xmlns:a16="http://schemas.microsoft.com/office/drawing/2014/main" id="{529D14DD-79EB-4DF4-A4B0-35A9F1BE9441}"/>
                  </a:ext>
                </a:extLst>
              </p:cNvPr>
              <p:cNvGrpSpPr/>
              <p:nvPr/>
            </p:nvGrpSpPr>
            <p:grpSpPr>
              <a:xfrm>
                <a:off x="6151453" y="4027364"/>
                <a:ext cx="113982" cy="148875"/>
                <a:chOff x="6151453" y="4027364"/>
                <a:chExt cx="113982" cy="148875"/>
              </a:xfrm>
              <a:solidFill>
                <a:schemeClr val="accent1"/>
              </a:solidFill>
            </p:grpSpPr>
            <p:grpSp>
              <p:nvGrpSpPr>
                <p:cNvPr id="91" name="Graphic 174">
                  <a:extLst>
                    <a:ext uri="{FF2B5EF4-FFF2-40B4-BE49-F238E27FC236}">
                      <a16:creationId xmlns:a16="http://schemas.microsoft.com/office/drawing/2014/main" id="{0A6EE659-814D-4471-8451-051752FA34DE}"/>
                    </a:ext>
                  </a:extLst>
                </p:cNvPr>
                <p:cNvGrpSpPr/>
                <p:nvPr/>
              </p:nvGrpSpPr>
              <p:grpSpPr>
                <a:xfrm>
                  <a:off x="6151453" y="4027364"/>
                  <a:ext cx="113982" cy="148875"/>
                  <a:chOff x="6151453" y="4027364"/>
                  <a:chExt cx="113982" cy="148875"/>
                </a:xfrm>
                <a:solidFill>
                  <a:schemeClr val="accent1"/>
                </a:solidFill>
              </p:grpSpPr>
              <p:sp>
                <p:nvSpPr>
                  <p:cNvPr id="96" name="Freeform: Shape 95">
                    <a:extLst>
                      <a:ext uri="{FF2B5EF4-FFF2-40B4-BE49-F238E27FC236}">
                        <a16:creationId xmlns:a16="http://schemas.microsoft.com/office/drawing/2014/main" id="{E641F3FE-5EC4-4ACC-89D4-4F7CBFE12AFC}"/>
                      </a:ext>
                    </a:extLst>
                  </p:cNvPr>
                  <p:cNvSpPr/>
                  <p:nvPr/>
                </p:nvSpPr>
                <p:spPr>
                  <a:xfrm>
                    <a:off x="6164712" y="4078052"/>
                    <a:ext cx="2326" cy="2326"/>
                  </a:xfrm>
                  <a:custGeom>
                    <a:avLst/>
                    <a:gdLst>
                      <a:gd name="connsiteX0" fmla="*/ 47 w 0"/>
                      <a:gd name="connsiteY0" fmla="*/ 0 h 0"/>
                      <a:gd name="connsiteX1" fmla="*/ 0 w 0"/>
                      <a:gd name="connsiteY1" fmla="*/ 163 h 0"/>
                      <a:gd name="connsiteX2" fmla="*/ 47 w 0"/>
                      <a:gd name="connsiteY2" fmla="*/ 0 h 0"/>
                      <a:gd name="connsiteX3" fmla="*/ 47 w 0"/>
                      <a:gd name="connsiteY3" fmla="*/ 0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>
                        <a:moveTo>
                          <a:pt x="47" y="0"/>
                        </a:moveTo>
                        <a:cubicBezTo>
                          <a:pt x="23" y="46"/>
                          <a:pt x="0" y="116"/>
                          <a:pt x="0" y="163"/>
                        </a:cubicBezTo>
                        <a:cubicBezTo>
                          <a:pt x="0" y="93"/>
                          <a:pt x="0" y="46"/>
                          <a:pt x="47" y="0"/>
                        </a:cubicBezTo>
                        <a:lnTo>
                          <a:pt x="47" y="0"/>
                        </a:ln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97" name="Freeform: Shape 96">
                    <a:extLst>
                      <a:ext uri="{FF2B5EF4-FFF2-40B4-BE49-F238E27FC236}">
                        <a16:creationId xmlns:a16="http://schemas.microsoft.com/office/drawing/2014/main" id="{C53808F3-5BCB-4EBF-A183-86D45A21A005}"/>
                      </a:ext>
                    </a:extLst>
                  </p:cNvPr>
                  <p:cNvSpPr/>
                  <p:nvPr/>
                </p:nvSpPr>
                <p:spPr>
                  <a:xfrm>
                    <a:off x="6163689" y="4089683"/>
                    <a:ext cx="2326" cy="2326"/>
                  </a:xfrm>
                  <a:custGeom>
                    <a:avLst/>
                    <a:gdLst>
                      <a:gd name="connsiteX0" fmla="*/ 0 w 0"/>
                      <a:gd name="connsiteY0" fmla="*/ 0 h 0"/>
                      <a:gd name="connsiteX1" fmla="*/ 23 w 0"/>
                      <a:gd name="connsiteY1" fmla="*/ 23 h 0"/>
                      <a:gd name="connsiteX2" fmla="*/ 0 w 0"/>
                      <a:gd name="connsiteY2" fmla="*/ 0 h 0"/>
                      <a:gd name="connsiteX3" fmla="*/ 0 w 0"/>
                      <a:gd name="connsiteY3" fmla="*/ 0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>
                        <a:moveTo>
                          <a:pt x="0" y="0"/>
                        </a:moveTo>
                        <a:cubicBezTo>
                          <a:pt x="0" y="0"/>
                          <a:pt x="23" y="23"/>
                          <a:pt x="23" y="23"/>
                        </a:cubicBezTo>
                        <a:cubicBezTo>
                          <a:pt x="0" y="23"/>
                          <a:pt x="0" y="23"/>
                          <a:pt x="0" y="0"/>
                        </a:cubicBez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98" name="Freeform: Shape 97">
                    <a:extLst>
                      <a:ext uri="{FF2B5EF4-FFF2-40B4-BE49-F238E27FC236}">
                        <a16:creationId xmlns:a16="http://schemas.microsoft.com/office/drawing/2014/main" id="{87810944-653C-4F9D-84F7-7F07374FA095}"/>
                      </a:ext>
                    </a:extLst>
                  </p:cNvPr>
                  <p:cNvSpPr/>
                  <p:nvPr/>
                </p:nvSpPr>
                <p:spPr>
                  <a:xfrm>
                    <a:off x="6162432" y="4091962"/>
                    <a:ext cx="2326" cy="2326"/>
                  </a:xfrm>
                  <a:custGeom>
                    <a:avLst/>
                    <a:gdLst>
                      <a:gd name="connsiteX0" fmla="*/ 302 w 0"/>
                      <a:gd name="connsiteY0" fmla="*/ 0 h 0"/>
                      <a:gd name="connsiteX1" fmla="*/ 0 w 0"/>
                      <a:gd name="connsiteY1" fmla="*/ 535 h 0"/>
                      <a:gd name="connsiteX2" fmla="*/ 0 w 0"/>
                      <a:gd name="connsiteY2" fmla="*/ 535 h 0"/>
                      <a:gd name="connsiteX3" fmla="*/ 302 w 0"/>
                      <a:gd name="connsiteY3" fmla="*/ 0 h 0"/>
                      <a:gd name="connsiteX4" fmla="*/ 302 w 0"/>
                      <a:gd name="connsiteY4" fmla="*/ 0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>
                        <a:moveTo>
                          <a:pt x="302" y="0"/>
                        </a:moveTo>
                        <a:cubicBezTo>
                          <a:pt x="186" y="163"/>
                          <a:pt x="70" y="326"/>
                          <a:pt x="0" y="535"/>
                        </a:cubicBezTo>
                        <a:lnTo>
                          <a:pt x="0" y="535"/>
                        </a:lnTo>
                        <a:cubicBezTo>
                          <a:pt x="70" y="349"/>
                          <a:pt x="163" y="163"/>
                          <a:pt x="302" y="0"/>
                        </a:cubicBezTo>
                        <a:lnTo>
                          <a:pt x="302" y="0"/>
                        </a:ln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99" name="Freeform: Shape 98">
                    <a:extLst>
                      <a:ext uri="{FF2B5EF4-FFF2-40B4-BE49-F238E27FC236}">
                        <a16:creationId xmlns:a16="http://schemas.microsoft.com/office/drawing/2014/main" id="{61A98763-9E0E-4083-A1C1-95277DD7CEC8}"/>
                      </a:ext>
                    </a:extLst>
                  </p:cNvPr>
                  <p:cNvSpPr/>
                  <p:nvPr/>
                </p:nvSpPr>
                <p:spPr>
                  <a:xfrm>
                    <a:off x="6162107" y="4094823"/>
                    <a:ext cx="2326" cy="2326"/>
                  </a:xfrm>
                  <a:custGeom>
                    <a:avLst/>
                    <a:gdLst>
                      <a:gd name="connsiteX0" fmla="*/ 0 w 0"/>
                      <a:gd name="connsiteY0" fmla="*/ 326 h 0"/>
                      <a:gd name="connsiteX1" fmla="*/ 0 w 0"/>
                      <a:gd name="connsiteY1" fmla="*/ 326 h 0"/>
                      <a:gd name="connsiteX2" fmla="*/ 0 w 0"/>
                      <a:gd name="connsiteY2" fmla="*/ 0 h 0"/>
                      <a:gd name="connsiteX3" fmla="*/ 0 w 0"/>
                      <a:gd name="connsiteY3" fmla="*/ 326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>
                        <a:moveTo>
                          <a:pt x="0" y="326"/>
                        </a:moveTo>
                        <a:lnTo>
                          <a:pt x="0" y="326"/>
                        </a:lnTo>
                        <a:cubicBezTo>
                          <a:pt x="0" y="209"/>
                          <a:pt x="0" y="93"/>
                          <a:pt x="0" y="0"/>
                        </a:cubicBezTo>
                        <a:cubicBezTo>
                          <a:pt x="0" y="93"/>
                          <a:pt x="0" y="209"/>
                          <a:pt x="0" y="326"/>
                        </a:cubicBez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00" name="Freeform: Shape 99">
                    <a:extLst>
                      <a:ext uri="{FF2B5EF4-FFF2-40B4-BE49-F238E27FC236}">
                        <a16:creationId xmlns:a16="http://schemas.microsoft.com/office/drawing/2014/main" id="{B64215AE-3449-4717-8E13-07FE03342AE3}"/>
                      </a:ext>
                    </a:extLst>
                  </p:cNvPr>
                  <p:cNvSpPr/>
                  <p:nvPr/>
                </p:nvSpPr>
                <p:spPr>
                  <a:xfrm>
                    <a:off x="6163386" y="4089380"/>
                    <a:ext cx="2326" cy="2326"/>
                  </a:xfrm>
                  <a:custGeom>
                    <a:avLst/>
                    <a:gdLst>
                      <a:gd name="connsiteX0" fmla="*/ 0 w 0"/>
                      <a:gd name="connsiteY0" fmla="*/ 0 h 0"/>
                      <a:gd name="connsiteX1" fmla="*/ 0 w 0"/>
                      <a:gd name="connsiteY1" fmla="*/ 0 h 0"/>
                      <a:gd name="connsiteX2" fmla="*/ 0 w 0"/>
                      <a:gd name="connsiteY2" fmla="*/ 0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01" name="Freeform: Shape 100">
                    <a:extLst>
                      <a:ext uri="{FF2B5EF4-FFF2-40B4-BE49-F238E27FC236}">
                        <a16:creationId xmlns:a16="http://schemas.microsoft.com/office/drawing/2014/main" id="{C856893E-3E6B-4F52-9B5F-46A32181C413}"/>
                      </a:ext>
                    </a:extLst>
                  </p:cNvPr>
                  <p:cNvSpPr/>
                  <p:nvPr/>
                </p:nvSpPr>
                <p:spPr>
                  <a:xfrm>
                    <a:off x="6163107" y="4097103"/>
                    <a:ext cx="2326" cy="2326"/>
                  </a:xfrm>
                  <a:custGeom>
                    <a:avLst/>
                    <a:gdLst>
                      <a:gd name="connsiteX0" fmla="*/ 23 w 0"/>
                      <a:gd name="connsiteY0" fmla="*/ 0 h 0"/>
                      <a:gd name="connsiteX1" fmla="*/ 23 w 0"/>
                      <a:gd name="connsiteY1" fmla="*/ 0 h 0"/>
                      <a:gd name="connsiteX2" fmla="*/ 0 w 0"/>
                      <a:gd name="connsiteY2" fmla="*/ 0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>
                        <a:moveTo>
                          <a:pt x="23" y="0"/>
                        </a:moveTo>
                        <a:lnTo>
                          <a:pt x="23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02" name="Freeform: Shape 101">
                    <a:extLst>
                      <a:ext uri="{FF2B5EF4-FFF2-40B4-BE49-F238E27FC236}">
                        <a16:creationId xmlns:a16="http://schemas.microsoft.com/office/drawing/2014/main" id="{AF538735-69E3-4EAA-B4E6-DCE69B8D05A4}"/>
                      </a:ext>
                    </a:extLst>
                  </p:cNvPr>
                  <p:cNvSpPr/>
                  <p:nvPr/>
                </p:nvSpPr>
                <p:spPr>
                  <a:xfrm>
                    <a:off x="6164177" y="4084193"/>
                    <a:ext cx="2326" cy="2326"/>
                  </a:xfrm>
                  <a:custGeom>
                    <a:avLst/>
                    <a:gdLst>
                      <a:gd name="connsiteX0" fmla="*/ 0 w 0"/>
                      <a:gd name="connsiteY0" fmla="*/ 23 h 0"/>
                      <a:gd name="connsiteX1" fmla="*/ 0 w 0"/>
                      <a:gd name="connsiteY1" fmla="*/ 23 h 0"/>
                      <a:gd name="connsiteX2" fmla="*/ 116 w 0"/>
                      <a:gd name="connsiteY2" fmla="*/ 0 h 0"/>
                      <a:gd name="connsiteX3" fmla="*/ 0 w 0"/>
                      <a:gd name="connsiteY3" fmla="*/ 23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>
                        <a:moveTo>
                          <a:pt x="0" y="23"/>
                        </a:moveTo>
                        <a:lnTo>
                          <a:pt x="0" y="23"/>
                        </a:lnTo>
                        <a:cubicBezTo>
                          <a:pt x="47" y="23"/>
                          <a:pt x="93" y="23"/>
                          <a:pt x="116" y="0"/>
                        </a:cubicBezTo>
                        <a:cubicBezTo>
                          <a:pt x="93" y="23"/>
                          <a:pt x="47" y="23"/>
                          <a:pt x="0" y="23"/>
                        </a:cubicBez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03" name="Freeform: Shape 102">
                    <a:extLst>
                      <a:ext uri="{FF2B5EF4-FFF2-40B4-BE49-F238E27FC236}">
                        <a16:creationId xmlns:a16="http://schemas.microsoft.com/office/drawing/2014/main" id="{E0714A35-1F43-43A6-8789-BACC7DB4049C}"/>
                      </a:ext>
                    </a:extLst>
                  </p:cNvPr>
                  <p:cNvSpPr/>
                  <p:nvPr/>
                </p:nvSpPr>
                <p:spPr>
                  <a:xfrm>
                    <a:off x="6164322" y="4081558"/>
                    <a:ext cx="2326" cy="2326"/>
                  </a:xfrm>
                  <a:custGeom>
                    <a:avLst/>
                    <a:gdLst>
                      <a:gd name="connsiteX0" fmla="*/ 17 w 0"/>
                      <a:gd name="connsiteY0" fmla="*/ 53 h 0"/>
                      <a:gd name="connsiteX1" fmla="*/ 17 w 0"/>
                      <a:gd name="connsiteY1" fmla="*/ 53 h 0"/>
                      <a:gd name="connsiteX2" fmla="*/ 17 w 0"/>
                      <a:gd name="connsiteY2" fmla="*/ 6 h 0"/>
                      <a:gd name="connsiteX3" fmla="*/ 17 w 0"/>
                      <a:gd name="connsiteY3" fmla="*/ 53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>
                        <a:moveTo>
                          <a:pt x="17" y="53"/>
                        </a:moveTo>
                        <a:lnTo>
                          <a:pt x="17" y="53"/>
                        </a:lnTo>
                        <a:lnTo>
                          <a:pt x="17" y="6"/>
                        </a:lnTo>
                        <a:cubicBezTo>
                          <a:pt x="-6" y="-17"/>
                          <a:pt x="-6" y="30"/>
                          <a:pt x="17" y="53"/>
                        </a:cubicBez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04" name="Freeform: Shape 103">
                    <a:extLst>
                      <a:ext uri="{FF2B5EF4-FFF2-40B4-BE49-F238E27FC236}">
                        <a16:creationId xmlns:a16="http://schemas.microsoft.com/office/drawing/2014/main" id="{7720DB81-49AC-4294-A6D7-BF9835A2EE2A}"/>
                      </a:ext>
                    </a:extLst>
                  </p:cNvPr>
                  <p:cNvSpPr/>
                  <p:nvPr/>
                </p:nvSpPr>
                <p:spPr>
                  <a:xfrm>
                    <a:off x="6162944" y="4088380"/>
                    <a:ext cx="2326" cy="2326"/>
                  </a:xfrm>
                  <a:custGeom>
                    <a:avLst/>
                    <a:gdLst>
                      <a:gd name="connsiteX0" fmla="*/ 0 w 0"/>
                      <a:gd name="connsiteY0" fmla="*/ 0 h 0"/>
                      <a:gd name="connsiteX1" fmla="*/ 23 w 0"/>
                      <a:gd name="connsiteY1" fmla="*/ 116 h 0"/>
                      <a:gd name="connsiteX2" fmla="*/ 0 w 0"/>
                      <a:gd name="connsiteY2" fmla="*/ 0 h 0"/>
                      <a:gd name="connsiteX3" fmla="*/ 0 w 0"/>
                      <a:gd name="connsiteY3" fmla="*/ 0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>
                        <a:moveTo>
                          <a:pt x="0" y="0"/>
                        </a:moveTo>
                        <a:cubicBezTo>
                          <a:pt x="0" y="46"/>
                          <a:pt x="0" y="70"/>
                          <a:pt x="23" y="116"/>
                        </a:cubicBezTo>
                        <a:cubicBezTo>
                          <a:pt x="0" y="70"/>
                          <a:pt x="0" y="23"/>
                          <a:pt x="0" y="0"/>
                        </a:cubicBez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05" name="Freeform: Shape 104">
                    <a:extLst>
                      <a:ext uri="{FF2B5EF4-FFF2-40B4-BE49-F238E27FC236}">
                        <a16:creationId xmlns:a16="http://schemas.microsoft.com/office/drawing/2014/main" id="{FA71145D-0AFC-40E7-BBC9-7A9C34D659CD}"/>
                      </a:ext>
                    </a:extLst>
                  </p:cNvPr>
                  <p:cNvSpPr/>
                  <p:nvPr/>
                </p:nvSpPr>
                <p:spPr>
                  <a:xfrm>
                    <a:off x="6163782" y="4084286"/>
                    <a:ext cx="2326" cy="2326"/>
                  </a:xfrm>
                  <a:custGeom>
                    <a:avLst/>
                    <a:gdLst>
                      <a:gd name="connsiteX0" fmla="*/ 0 w 0"/>
                      <a:gd name="connsiteY0" fmla="*/ 209 h 0"/>
                      <a:gd name="connsiteX1" fmla="*/ 0 w 0"/>
                      <a:gd name="connsiteY1" fmla="*/ 209 h 0"/>
                      <a:gd name="connsiteX2" fmla="*/ 256 w 0"/>
                      <a:gd name="connsiteY2" fmla="*/ 0 h 0"/>
                      <a:gd name="connsiteX3" fmla="*/ 0 w 0"/>
                      <a:gd name="connsiteY3" fmla="*/ 209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>
                        <a:moveTo>
                          <a:pt x="0" y="209"/>
                        </a:moveTo>
                        <a:lnTo>
                          <a:pt x="0" y="209"/>
                        </a:lnTo>
                        <a:cubicBezTo>
                          <a:pt x="93" y="140"/>
                          <a:pt x="163" y="70"/>
                          <a:pt x="256" y="0"/>
                        </a:cubicBezTo>
                        <a:cubicBezTo>
                          <a:pt x="186" y="70"/>
                          <a:pt x="93" y="140"/>
                          <a:pt x="0" y="209"/>
                        </a:cubicBez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06" name="Freeform: Shape 105">
                    <a:extLst>
                      <a:ext uri="{FF2B5EF4-FFF2-40B4-BE49-F238E27FC236}">
                        <a16:creationId xmlns:a16="http://schemas.microsoft.com/office/drawing/2014/main" id="{34141510-2D5E-4081-83C9-371DD68C125D}"/>
                      </a:ext>
                    </a:extLst>
                  </p:cNvPr>
                  <p:cNvSpPr/>
                  <p:nvPr/>
                </p:nvSpPr>
                <p:spPr>
                  <a:xfrm>
                    <a:off x="6163433" y="4084658"/>
                    <a:ext cx="2326" cy="2326"/>
                  </a:xfrm>
                  <a:custGeom>
                    <a:avLst/>
                    <a:gdLst>
                      <a:gd name="connsiteX0" fmla="*/ 209 w 0"/>
                      <a:gd name="connsiteY0" fmla="*/ 0 h 0"/>
                      <a:gd name="connsiteX1" fmla="*/ 0 w 0"/>
                      <a:gd name="connsiteY1" fmla="*/ 326 h 0"/>
                      <a:gd name="connsiteX2" fmla="*/ 0 w 0"/>
                      <a:gd name="connsiteY2" fmla="*/ 326 h 0"/>
                      <a:gd name="connsiteX3" fmla="*/ 209 w 0"/>
                      <a:gd name="connsiteY3" fmla="*/ 0 h 0"/>
                      <a:gd name="connsiteX4" fmla="*/ 209 w 0"/>
                      <a:gd name="connsiteY4" fmla="*/ 0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>
                        <a:moveTo>
                          <a:pt x="209" y="0"/>
                        </a:moveTo>
                        <a:cubicBezTo>
                          <a:pt x="140" y="93"/>
                          <a:pt x="70" y="209"/>
                          <a:pt x="0" y="326"/>
                        </a:cubicBezTo>
                        <a:lnTo>
                          <a:pt x="0" y="326"/>
                        </a:lnTo>
                        <a:cubicBezTo>
                          <a:pt x="47" y="233"/>
                          <a:pt x="116" y="116"/>
                          <a:pt x="209" y="0"/>
                        </a:cubicBezTo>
                        <a:lnTo>
                          <a:pt x="209" y="0"/>
                        </a:ln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07" name="Freeform: Shape 106">
                    <a:extLst>
                      <a:ext uri="{FF2B5EF4-FFF2-40B4-BE49-F238E27FC236}">
                        <a16:creationId xmlns:a16="http://schemas.microsoft.com/office/drawing/2014/main" id="{2CAF1944-43A7-48C7-B4EE-1364F1076E68}"/>
                      </a:ext>
                    </a:extLst>
                  </p:cNvPr>
                  <p:cNvSpPr/>
                  <p:nvPr/>
                </p:nvSpPr>
                <p:spPr>
                  <a:xfrm>
                    <a:off x="6154570" y="4082774"/>
                    <a:ext cx="9305" cy="2326"/>
                  </a:xfrm>
                  <a:custGeom>
                    <a:avLst/>
                    <a:gdLst>
                      <a:gd name="connsiteX0" fmla="*/ 10072 w 9304"/>
                      <a:gd name="connsiteY0" fmla="*/ 1349 h 0"/>
                      <a:gd name="connsiteX1" fmla="*/ 10072 w 9304"/>
                      <a:gd name="connsiteY1" fmla="*/ 1349 h 0"/>
                      <a:gd name="connsiteX2" fmla="*/ 10421 w 9304"/>
                      <a:gd name="connsiteY2" fmla="*/ 1396 h 0"/>
                      <a:gd name="connsiteX3" fmla="*/ 10445 w 9304"/>
                      <a:gd name="connsiteY3" fmla="*/ 1396 h 0"/>
                      <a:gd name="connsiteX4" fmla="*/ 10700 w 9304"/>
                      <a:gd name="connsiteY4" fmla="*/ 0 h 0"/>
                      <a:gd name="connsiteX5" fmla="*/ 10700 w 9304"/>
                      <a:gd name="connsiteY5" fmla="*/ 0 h 0"/>
                      <a:gd name="connsiteX6" fmla="*/ 256 w 9304"/>
                      <a:gd name="connsiteY6" fmla="*/ 0 h 0"/>
                      <a:gd name="connsiteX7" fmla="*/ 0 w 9304"/>
                      <a:gd name="connsiteY7" fmla="*/ 1349 h 0"/>
                      <a:gd name="connsiteX8" fmla="*/ 10072 w 9304"/>
                      <a:gd name="connsiteY8" fmla="*/ 1349 h 0"/>
                      <a:gd name="connsiteX9" fmla="*/ 10072 w 9304"/>
                      <a:gd name="connsiteY9" fmla="*/ 1349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9304">
                        <a:moveTo>
                          <a:pt x="10072" y="1349"/>
                        </a:moveTo>
                        <a:lnTo>
                          <a:pt x="10072" y="1349"/>
                        </a:lnTo>
                        <a:cubicBezTo>
                          <a:pt x="10189" y="1349"/>
                          <a:pt x="10305" y="1372"/>
                          <a:pt x="10421" y="1396"/>
                        </a:cubicBezTo>
                        <a:lnTo>
                          <a:pt x="10445" y="1396"/>
                        </a:lnTo>
                        <a:cubicBezTo>
                          <a:pt x="10538" y="930"/>
                          <a:pt x="10607" y="465"/>
                          <a:pt x="10700" y="0"/>
                        </a:cubicBezTo>
                        <a:lnTo>
                          <a:pt x="10700" y="0"/>
                        </a:lnTo>
                        <a:lnTo>
                          <a:pt x="256" y="0"/>
                        </a:lnTo>
                        <a:cubicBezTo>
                          <a:pt x="163" y="442"/>
                          <a:pt x="93" y="884"/>
                          <a:pt x="0" y="1349"/>
                        </a:cubicBezTo>
                        <a:lnTo>
                          <a:pt x="10072" y="1349"/>
                        </a:lnTo>
                        <a:lnTo>
                          <a:pt x="10072" y="1349"/>
                        </a:ln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08" name="Freeform: Shape 107">
                    <a:extLst>
                      <a:ext uri="{FF2B5EF4-FFF2-40B4-BE49-F238E27FC236}">
                        <a16:creationId xmlns:a16="http://schemas.microsoft.com/office/drawing/2014/main" id="{62BC3A5D-38E8-4705-998A-049B9F65CC00}"/>
                      </a:ext>
                    </a:extLst>
                  </p:cNvPr>
                  <p:cNvSpPr/>
                  <p:nvPr/>
                </p:nvSpPr>
                <p:spPr>
                  <a:xfrm>
                    <a:off x="6163968" y="4119085"/>
                    <a:ext cx="2326" cy="2326"/>
                  </a:xfrm>
                  <a:custGeom>
                    <a:avLst/>
                    <a:gdLst>
                      <a:gd name="connsiteX0" fmla="*/ 0 w 0"/>
                      <a:gd name="connsiteY0" fmla="*/ 0 h 0"/>
                      <a:gd name="connsiteX1" fmla="*/ 488 w 0"/>
                      <a:gd name="connsiteY1" fmla="*/ 116 h 0"/>
                      <a:gd name="connsiteX2" fmla="*/ 0 w 0"/>
                      <a:gd name="connsiteY2" fmla="*/ 0 h 0"/>
                      <a:gd name="connsiteX3" fmla="*/ 0 w 0"/>
                      <a:gd name="connsiteY3" fmla="*/ 0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>
                        <a:moveTo>
                          <a:pt x="0" y="0"/>
                        </a:moveTo>
                        <a:cubicBezTo>
                          <a:pt x="163" y="70"/>
                          <a:pt x="326" y="116"/>
                          <a:pt x="488" y="116"/>
                        </a:cubicBezTo>
                        <a:cubicBezTo>
                          <a:pt x="326" y="116"/>
                          <a:pt x="163" y="70"/>
                          <a:pt x="0" y="0"/>
                        </a:cubicBez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09" name="Freeform: Shape 108">
                    <a:extLst>
                      <a:ext uri="{FF2B5EF4-FFF2-40B4-BE49-F238E27FC236}">
                        <a16:creationId xmlns:a16="http://schemas.microsoft.com/office/drawing/2014/main" id="{EEB78CB4-DD08-4D3E-B4E3-F06F1E4D2B18}"/>
                      </a:ext>
                    </a:extLst>
                  </p:cNvPr>
                  <p:cNvSpPr/>
                  <p:nvPr/>
                </p:nvSpPr>
                <p:spPr>
                  <a:xfrm>
                    <a:off x="6153570" y="4089938"/>
                    <a:ext cx="9305" cy="2326"/>
                  </a:xfrm>
                  <a:custGeom>
                    <a:avLst/>
                    <a:gdLst>
                      <a:gd name="connsiteX0" fmla="*/ 10398 w 9304"/>
                      <a:gd name="connsiteY0" fmla="*/ 1442 h 0"/>
                      <a:gd name="connsiteX1" fmla="*/ 10421 w 9304"/>
                      <a:gd name="connsiteY1" fmla="*/ 1442 h 0"/>
                      <a:gd name="connsiteX2" fmla="*/ 10421 w 9304"/>
                      <a:gd name="connsiteY2" fmla="*/ 1442 h 0"/>
                      <a:gd name="connsiteX3" fmla="*/ 10584 w 9304"/>
                      <a:gd name="connsiteY3" fmla="*/ 0 h 0"/>
                      <a:gd name="connsiteX4" fmla="*/ 163 w 9304"/>
                      <a:gd name="connsiteY4" fmla="*/ 0 h 0"/>
                      <a:gd name="connsiteX5" fmla="*/ 163 w 9304"/>
                      <a:gd name="connsiteY5" fmla="*/ 0 h 0"/>
                      <a:gd name="connsiteX6" fmla="*/ 0 w 9304"/>
                      <a:gd name="connsiteY6" fmla="*/ 1442 h 0"/>
                      <a:gd name="connsiteX7" fmla="*/ 10235 w 9304"/>
                      <a:gd name="connsiteY7" fmla="*/ 1442 h 0"/>
                      <a:gd name="connsiteX8" fmla="*/ 10398 w 9304"/>
                      <a:gd name="connsiteY8" fmla="*/ 1442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9304">
                        <a:moveTo>
                          <a:pt x="10398" y="1442"/>
                        </a:moveTo>
                        <a:lnTo>
                          <a:pt x="10421" y="1442"/>
                        </a:lnTo>
                        <a:lnTo>
                          <a:pt x="10421" y="1442"/>
                        </a:lnTo>
                        <a:cubicBezTo>
                          <a:pt x="10468" y="954"/>
                          <a:pt x="10538" y="488"/>
                          <a:pt x="10584" y="0"/>
                        </a:cubicBezTo>
                        <a:lnTo>
                          <a:pt x="163" y="0"/>
                        </a:lnTo>
                        <a:lnTo>
                          <a:pt x="163" y="0"/>
                        </a:lnTo>
                        <a:cubicBezTo>
                          <a:pt x="116" y="488"/>
                          <a:pt x="47" y="954"/>
                          <a:pt x="0" y="1442"/>
                        </a:cubicBezTo>
                        <a:lnTo>
                          <a:pt x="10235" y="1442"/>
                        </a:lnTo>
                        <a:cubicBezTo>
                          <a:pt x="10282" y="1442"/>
                          <a:pt x="10328" y="1442"/>
                          <a:pt x="10398" y="1442"/>
                        </a:cubicBez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10" name="Freeform: Shape 109">
                    <a:extLst>
                      <a:ext uri="{FF2B5EF4-FFF2-40B4-BE49-F238E27FC236}">
                        <a16:creationId xmlns:a16="http://schemas.microsoft.com/office/drawing/2014/main" id="{D8BF64A2-A276-4358-B251-B04DD629F3CF}"/>
                      </a:ext>
                    </a:extLst>
                  </p:cNvPr>
                  <p:cNvSpPr/>
                  <p:nvPr/>
                </p:nvSpPr>
                <p:spPr>
                  <a:xfrm>
                    <a:off x="6162037" y="4108059"/>
                    <a:ext cx="2326" cy="2326"/>
                  </a:xfrm>
                  <a:custGeom>
                    <a:avLst/>
                    <a:gdLst>
                      <a:gd name="connsiteX0" fmla="*/ 0 w 0"/>
                      <a:gd name="connsiteY0" fmla="*/ 0 h 0"/>
                      <a:gd name="connsiteX1" fmla="*/ 0 w 0"/>
                      <a:gd name="connsiteY1" fmla="*/ 372 h 0"/>
                      <a:gd name="connsiteX2" fmla="*/ 0 w 0"/>
                      <a:gd name="connsiteY2" fmla="*/ 0 h 0"/>
                      <a:gd name="connsiteX3" fmla="*/ 0 w 0"/>
                      <a:gd name="connsiteY3" fmla="*/ 0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>
                        <a:moveTo>
                          <a:pt x="0" y="0"/>
                        </a:moveTo>
                        <a:cubicBezTo>
                          <a:pt x="0" y="116"/>
                          <a:pt x="0" y="256"/>
                          <a:pt x="0" y="372"/>
                        </a:cubicBezTo>
                        <a:cubicBezTo>
                          <a:pt x="0" y="233"/>
                          <a:pt x="0" y="116"/>
                          <a:pt x="0" y="0"/>
                        </a:cubicBez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11" name="Freeform: Shape 110">
                    <a:extLst>
                      <a:ext uri="{FF2B5EF4-FFF2-40B4-BE49-F238E27FC236}">
                        <a16:creationId xmlns:a16="http://schemas.microsoft.com/office/drawing/2014/main" id="{604E09BF-26D9-4736-96C0-FD996C87BAA7}"/>
                      </a:ext>
                    </a:extLst>
                  </p:cNvPr>
                  <p:cNvSpPr/>
                  <p:nvPr/>
                </p:nvSpPr>
                <p:spPr>
                  <a:xfrm>
                    <a:off x="6163549" y="4118736"/>
                    <a:ext cx="2326" cy="2326"/>
                  </a:xfrm>
                  <a:custGeom>
                    <a:avLst/>
                    <a:gdLst>
                      <a:gd name="connsiteX0" fmla="*/ 0 w 0"/>
                      <a:gd name="connsiteY0" fmla="*/ 0 h 0"/>
                      <a:gd name="connsiteX1" fmla="*/ 302 w 0"/>
                      <a:gd name="connsiteY1" fmla="*/ 233 h 0"/>
                      <a:gd name="connsiteX2" fmla="*/ 302 w 0"/>
                      <a:gd name="connsiteY2" fmla="*/ 233 h 0"/>
                      <a:gd name="connsiteX3" fmla="*/ 0 w 0"/>
                      <a:gd name="connsiteY3" fmla="*/ 0 h 0"/>
                      <a:gd name="connsiteX4" fmla="*/ 0 w 0"/>
                      <a:gd name="connsiteY4" fmla="*/ 0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>
                        <a:moveTo>
                          <a:pt x="0" y="0"/>
                        </a:moveTo>
                        <a:cubicBezTo>
                          <a:pt x="93" y="93"/>
                          <a:pt x="186" y="163"/>
                          <a:pt x="302" y="233"/>
                        </a:cubicBezTo>
                        <a:lnTo>
                          <a:pt x="302" y="233"/>
                        </a:lnTo>
                        <a:cubicBezTo>
                          <a:pt x="186" y="163"/>
                          <a:pt x="93" y="93"/>
                          <a:pt x="0" y="0"/>
                        </a:cubicBez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12" name="Freeform: Shape 111">
                    <a:extLst>
                      <a:ext uri="{FF2B5EF4-FFF2-40B4-BE49-F238E27FC236}">
                        <a16:creationId xmlns:a16="http://schemas.microsoft.com/office/drawing/2014/main" id="{20798A6E-5568-488E-BBAC-39D2B348C595}"/>
                      </a:ext>
                    </a:extLst>
                  </p:cNvPr>
                  <p:cNvSpPr/>
                  <p:nvPr/>
                </p:nvSpPr>
                <p:spPr>
                  <a:xfrm>
                    <a:off x="6162060" y="4107664"/>
                    <a:ext cx="2326" cy="2326"/>
                  </a:xfrm>
                  <a:custGeom>
                    <a:avLst/>
                    <a:gdLst>
                      <a:gd name="connsiteX0" fmla="*/ 23 w 0"/>
                      <a:gd name="connsiteY0" fmla="*/ 0 h 0"/>
                      <a:gd name="connsiteX1" fmla="*/ 0 w 0"/>
                      <a:gd name="connsiteY1" fmla="*/ 163 h 0"/>
                      <a:gd name="connsiteX2" fmla="*/ 23 w 0"/>
                      <a:gd name="connsiteY2" fmla="*/ 0 h 0"/>
                      <a:gd name="connsiteX3" fmla="*/ 23 w 0"/>
                      <a:gd name="connsiteY3" fmla="*/ 0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>
                        <a:moveTo>
                          <a:pt x="23" y="0"/>
                        </a:moveTo>
                        <a:cubicBezTo>
                          <a:pt x="23" y="47"/>
                          <a:pt x="0" y="116"/>
                          <a:pt x="0" y="163"/>
                        </a:cubicBezTo>
                        <a:cubicBezTo>
                          <a:pt x="23" y="93"/>
                          <a:pt x="23" y="47"/>
                          <a:pt x="23" y="0"/>
                        </a:cubicBezTo>
                        <a:lnTo>
                          <a:pt x="23" y="0"/>
                        </a:ln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13" name="Freeform: Shape 112">
                    <a:extLst>
                      <a:ext uri="{FF2B5EF4-FFF2-40B4-BE49-F238E27FC236}">
                        <a16:creationId xmlns:a16="http://schemas.microsoft.com/office/drawing/2014/main" id="{243B7960-9237-4B3F-A54B-57EF3EFD2F00}"/>
                      </a:ext>
                    </a:extLst>
                  </p:cNvPr>
                  <p:cNvSpPr/>
                  <p:nvPr/>
                </p:nvSpPr>
                <p:spPr>
                  <a:xfrm>
                    <a:off x="6163177" y="4113968"/>
                    <a:ext cx="2326" cy="2326"/>
                  </a:xfrm>
                  <a:custGeom>
                    <a:avLst/>
                    <a:gdLst>
                      <a:gd name="connsiteX0" fmla="*/ 0 w 0"/>
                      <a:gd name="connsiteY0" fmla="*/ 0 h 0"/>
                      <a:gd name="connsiteX1" fmla="*/ 0 w 0"/>
                      <a:gd name="connsiteY1" fmla="*/ 0 h 0"/>
                      <a:gd name="connsiteX2" fmla="*/ 0 w 0"/>
                      <a:gd name="connsiteY2" fmla="*/ 0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14" name="Freeform: Shape 113">
                    <a:extLst>
                      <a:ext uri="{FF2B5EF4-FFF2-40B4-BE49-F238E27FC236}">
                        <a16:creationId xmlns:a16="http://schemas.microsoft.com/office/drawing/2014/main" id="{45C6D69D-032C-4DD2-8699-46096FBAD7F7}"/>
                      </a:ext>
                    </a:extLst>
                  </p:cNvPr>
                  <p:cNvSpPr/>
                  <p:nvPr/>
                </p:nvSpPr>
                <p:spPr>
                  <a:xfrm>
                    <a:off x="6163177" y="4111781"/>
                    <a:ext cx="2326" cy="2326"/>
                  </a:xfrm>
                  <a:custGeom>
                    <a:avLst/>
                    <a:gdLst>
                      <a:gd name="connsiteX0" fmla="*/ 0 w 0"/>
                      <a:gd name="connsiteY0" fmla="*/ 0 h 0"/>
                      <a:gd name="connsiteX1" fmla="*/ 209 w 0"/>
                      <a:gd name="connsiteY1" fmla="*/ 46 h 0"/>
                      <a:gd name="connsiteX2" fmla="*/ 0 w 0"/>
                      <a:gd name="connsiteY2" fmla="*/ 0 h 0"/>
                      <a:gd name="connsiteX3" fmla="*/ 0 w 0"/>
                      <a:gd name="connsiteY3" fmla="*/ 0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>
                        <a:moveTo>
                          <a:pt x="0" y="0"/>
                        </a:moveTo>
                        <a:cubicBezTo>
                          <a:pt x="70" y="46"/>
                          <a:pt x="140" y="46"/>
                          <a:pt x="209" y="46"/>
                        </a:cubicBezTo>
                        <a:cubicBezTo>
                          <a:pt x="140" y="46"/>
                          <a:pt x="47" y="46"/>
                          <a:pt x="0" y="0"/>
                        </a:cubicBez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15" name="Freeform: Shape 114">
                    <a:extLst>
                      <a:ext uri="{FF2B5EF4-FFF2-40B4-BE49-F238E27FC236}">
                        <a16:creationId xmlns:a16="http://schemas.microsoft.com/office/drawing/2014/main" id="{707FD988-8BE5-4669-A35A-B1CCBB07B734}"/>
                      </a:ext>
                    </a:extLst>
                  </p:cNvPr>
                  <p:cNvSpPr/>
                  <p:nvPr/>
                </p:nvSpPr>
                <p:spPr>
                  <a:xfrm>
                    <a:off x="6160851" y="4062722"/>
                    <a:ext cx="9305" cy="2326"/>
                  </a:xfrm>
                  <a:custGeom>
                    <a:avLst/>
                    <a:gdLst>
                      <a:gd name="connsiteX0" fmla="*/ 9095 w 9304"/>
                      <a:gd name="connsiteY0" fmla="*/ 977 h 0"/>
                      <a:gd name="connsiteX1" fmla="*/ 9095 w 9304"/>
                      <a:gd name="connsiteY1" fmla="*/ 977 h 0"/>
                      <a:gd name="connsiteX2" fmla="*/ 9468 w 9304"/>
                      <a:gd name="connsiteY2" fmla="*/ 907 h 0"/>
                      <a:gd name="connsiteX3" fmla="*/ 10258 w 9304"/>
                      <a:gd name="connsiteY3" fmla="*/ 1210 h 0"/>
                      <a:gd name="connsiteX4" fmla="*/ 10282 w 9304"/>
                      <a:gd name="connsiteY4" fmla="*/ 1233 h 0"/>
                      <a:gd name="connsiteX5" fmla="*/ 10840 w 9304"/>
                      <a:gd name="connsiteY5" fmla="*/ 0 h 0"/>
                      <a:gd name="connsiteX6" fmla="*/ 419 w 9304"/>
                      <a:gd name="connsiteY6" fmla="*/ 0 h 0"/>
                      <a:gd name="connsiteX7" fmla="*/ 419 w 9304"/>
                      <a:gd name="connsiteY7" fmla="*/ 0 h 0"/>
                      <a:gd name="connsiteX8" fmla="*/ 0 w 9304"/>
                      <a:gd name="connsiteY8" fmla="*/ 907 h 0"/>
                      <a:gd name="connsiteX9" fmla="*/ 9491 w 9304"/>
                      <a:gd name="connsiteY9" fmla="*/ 907 h 0"/>
                      <a:gd name="connsiteX10" fmla="*/ 9095 w 9304"/>
                      <a:gd name="connsiteY10" fmla="*/ 977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9304">
                        <a:moveTo>
                          <a:pt x="9095" y="977"/>
                        </a:moveTo>
                        <a:lnTo>
                          <a:pt x="9095" y="977"/>
                        </a:lnTo>
                        <a:cubicBezTo>
                          <a:pt x="9212" y="930"/>
                          <a:pt x="9351" y="907"/>
                          <a:pt x="9468" y="907"/>
                        </a:cubicBezTo>
                        <a:cubicBezTo>
                          <a:pt x="9747" y="907"/>
                          <a:pt x="10003" y="1000"/>
                          <a:pt x="10258" y="1210"/>
                        </a:cubicBezTo>
                        <a:lnTo>
                          <a:pt x="10282" y="1233"/>
                        </a:lnTo>
                        <a:cubicBezTo>
                          <a:pt x="10468" y="814"/>
                          <a:pt x="10654" y="419"/>
                          <a:pt x="10840" y="0"/>
                        </a:cubicBezTo>
                        <a:cubicBezTo>
                          <a:pt x="7374" y="0"/>
                          <a:pt x="3908" y="0"/>
                          <a:pt x="419" y="0"/>
                        </a:cubicBezTo>
                        <a:lnTo>
                          <a:pt x="419" y="0"/>
                        </a:lnTo>
                        <a:cubicBezTo>
                          <a:pt x="279" y="302"/>
                          <a:pt x="140" y="605"/>
                          <a:pt x="0" y="907"/>
                        </a:cubicBezTo>
                        <a:lnTo>
                          <a:pt x="9491" y="907"/>
                        </a:lnTo>
                        <a:cubicBezTo>
                          <a:pt x="9351" y="907"/>
                          <a:pt x="9212" y="954"/>
                          <a:pt x="9095" y="977"/>
                        </a:cubicBez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16" name="Freeform: Shape 115">
                    <a:extLst>
                      <a:ext uri="{FF2B5EF4-FFF2-40B4-BE49-F238E27FC236}">
                        <a16:creationId xmlns:a16="http://schemas.microsoft.com/office/drawing/2014/main" id="{5B4E7993-5757-44BD-AC82-141B79EFE52B}"/>
                      </a:ext>
                    </a:extLst>
                  </p:cNvPr>
                  <p:cNvSpPr/>
                  <p:nvPr/>
                </p:nvSpPr>
                <p:spPr>
                  <a:xfrm>
                    <a:off x="6163642" y="4108990"/>
                    <a:ext cx="2326" cy="2326"/>
                  </a:xfrm>
                  <a:custGeom>
                    <a:avLst/>
                    <a:gdLst>
                      <a:gd name="connsiteX0" fmla="*/ 186 w 0"/>
                      <a:gd name="connsiteY0" fmla="*/ 2326 h 2326"/>
                      <a:gd name="connsiteX1" fmla="*/ 0 w 0"/>
                      <a:gd name="connsiteY1" fmla="*/ 0 h 2326"/>
                      <a:gd name="connsiteX2" fmla="*/ 186 w 0"/>
                      <a:gd name="connsiteY2" fmla="*/ 2326 h 2326"/>
                      <a:gd name="connsiteX3" fmla="*/ 186 w 0"/>
                      <a:gd name="connsiteY3" fmla="*/ 2326 h 232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h="2326">
                        <a:moveTo>
                          <a:pt x="186" y="2326"/>
                        </a:moveTo>
                        <a:cubicBezTo>
                          <a:pt x="116" y="1559"/>
                          <a:pt x="47" y="768"/>
                          <a:pt x="0" y="0"/>
                        </a:cubicBezTo>
                        <a:cubicBezTo>
                          <a:pt x="47" y="791"/>
                          <a:pt x="116" y="1559"/>
                          <a:pt x="186" y="2326"/>
                        </a:cubicBezTo>
                        <a:lnTo>
                          <a:pt x="186" y="2326"/>
                        </a:ln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17" name="Freeform: Shape 116">
                    <a:extLst>
                      <a:ext uri="{FF2B5EF4-FFF2-40B4-BE49-F238E27FC236}">
                        <a16:creationId xmlns:a16="http://schemas.microsoft.com/office/drawing/2014/main" id="{8A99601D-F2CA-41B6-A212-422FE34F42D2}"/>
                      </a:ext>
                    </a:extLst>
                  </p:cNvPr>
                  <p:cNvSpPr/>
                  <p:nvPr/>
                </p:nvSpPr>
                <p:spPr>
                  <a:xfrm>
                    <a:off x="6158269" y="4069073"/>
                    <a:ext cx="9305" cy="2326"/>
                  </a:xfrm>
                  <a:custGeom>
                    <a:avLst/>
                    <a:gdLst>
                      <a:gd name="connsiteX0" fmla="*/ 9677 w 9304"/>
                      <a:gd name="connsiteY0" fmla="*/ 1093 h 0"/>
                      <a:gd name="connsiteX1" fmla="*/ 9677 w 9304"/>
                      <a:gd name="connsiteY1" fmla="*/ 1093 h 0"/>
                      <a:gd name="connsiteX2" fmla="*/ 10328 w 9304"/>
                      <a:gd name="connsiteY2" fmla="*/ 1303 h 0"/>
                      <a:gd name="connsiteX3" fmla="*/ 10328 w 9304"/>
                      <a:gd name="connsiteY3" fmla="*/ 1303 h 0"/>
                      <a:gd name="connsiteX4" fmla="*/ 10817 w 9304"/>
                      <a:gd name="connsiteY4" fmla="*/ 0 h 0"/>
                      <a:gd name="connsiteX5" fmla="*/ 372 w 9304"/>
                      <a:gd name="connsiteY5" fmla="*/ 0 h 0"/>
                      <a:gd name="connsiteX6" fmla="*/ 0 w 9304"/>
                      <a:gd name="connsiteY6" fmla="*/ 1093 h 0"/>
                      <a:gd name="connsiteX7" fmla="*/ 9677 w 9304"/>
                      <a:gd name="connsiteY7" fmla="*/ 1093 h 0"/>
                      <a:gd name="connsiteX8" fmla="*/ 9677 w 9304"/>
                      <a:gd name="connsiteY8" fmla="*/ 1093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9304">
                        <a:moveTo>
                          <a:pt x="9677" y="1093"/>
                        </a:moveTo>
                        <a:lnTo>
                          <a:pt x="9677" y="1093"/>
                        </a:lnTo>
                        <a:cubicBezTo>
                          <a:pt x="9886" y="1093"/>
                          <a:pt x="10119" y="1163"/>
                          <a:pt x="10328" y="1303"/>
                        </a:cubicBezTo>
                        <a:lnTo>
                          <a:pt x="10328" y="1303"/>
                        </a:lnTo>
                        <a:cubicBezTo>
                          <a:pt x="10491" y="884"/>
                          <a:pt x="10654" y="442"/>
                          <a:pt x="10817" y="0"/>
                        </a:cubicBezTo>
                        <a:lnTo>
                          <a:pt x="372" y="0"/>
                        </a:lnTo>
                        <a:cubicBezTo>
                          <a:pt x="233" y="372"/>
                          <a:pt x="116" y="744"/>
                          <a:pt x="0" y="1093"/>
                        </a:cubicBezTo>
                        <a:lnTo>
                          <a:pt x="9677" y="1093"/>
                        </a:lnTo>
                        <a:lnTo>
                          <a:pt x="9677" y="1093"/>
                        </a:ln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18" name="Freeform: Shape 117">
                    <a:extLst>
                      <a:ext uri="{FF2B5EF4-FFF2-40B4-BE49-F238E27FC236}">
                        <a16:creationId xmlns:a16="http://schemas.microsoft.com/office/drawing/2014/main" id="{893ACB6D-DC8A-45A6-B126-1215DAC72A67}"/>
                      </a:ext>
                    </a:extLst>
                  </p:cNvPr>
                  <p:cNvSpPr/>
                  <p:nvPr/>
                </p:nvSpPr>
                <p:spPr>
                  <a:xfrm>
                    <a:off x="6165340" y="4077191"/>
                    <a:ext cx="2326" cy="2326"/>
                  </a:xfrm>
                  <a:custGeom>
                    <a:avLst/>
                    <a:gdLst>
                      <a:gd name="connsiteX0" fmla="*/ 140 w 0"/>
                      <a:gd name="connsiteY0" fmla="*/ 0 h 0"/>
                      <a:gd name="connsiteX1" fmla="*/ 0 w 0"/>
                      <a:gd name="connsiteY1" fmla="*/ 93 h 0"/>
                      <a:gd name="connsiteX2" fmla="*/ 140 w 0"/>
                      <a:gd name="connsiteY2" fmla="*/ 0 h 0"/>
                      <a:gd name="connsiteX3" fmla="*/ 140 w 0"/>
                      <a:gd name="connsiteY3" fmla="*/ 0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>
                        <a:moveTo>
                          <a:pt x="140" y="0"/>
                        </a:moveTo>
                        <a:cubicBezTo>
                          <a:pt x="93" y="23"/>
                          <a:pt x="47" y="70"/>
                          <a:pt x="0" y="93"/>
                        </a:cubicBezTo>
                        <a:cubicBezTo>
                          <a:pt x="47" y="70"/>
                          <a:pt x="93" y="23"/>
                          <a:pt x="140" y="0"/>
                        </a:cubicBezTo>
                        <a:lnTo>
                          <a:pt x="140" y="0"/>
                        </a:ln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19" name="Freeform: Shape 118">
                    <a:extLst>
                      <a:ext uri="{FF2B5EF4-FFF2-40B4-BE49-F238E27FC236}">
                        <a16:creationId xmlns:a16="http://schemas.microsoft.com/office/drawing/2014/main" id="{3D90D763-F54D-48B8-852C-5FE921EB5411}"/>
                      </a:ext>
                    </a:extLst>
                  </p:cNvPr>
                  <p:cNvSpPr/>
                  <p:nvPr/>
                </p:nvSpPr>
                <p:spPr>
                  <a:xfrm>
                    <a:off x="6163456" y="4106036"/>
                    <a:ext cx="2326" cy="2326"/>
                  </a:xfrm>
                  <a:custGeom>
                    <a:avLst/>
                    <a:gdLst>
                      <a:gd name="connsiteX0" fmla="*/ 23 w 0"/>
                      <a:gd name="connsiteY0" fmla="*/ 0 h 0"/>
                      <a:gd name="connsiteX1" fmla="*/ 0 w 0"/>
                      <a:gd name="connsiteY1" fmla="*/ 0 h 0"/>
                      <a:gd name="connsiteX2" fmla="*/ 23 w 0"/>
                      <a:gd name="connsiteY2" fmla="*/ 0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>
                        <a:moveTo>
                          <a:pt x="23" y="0"/>
                        </a:moveTo>
                        <a:lnTo>
                          <a:pt x="0" y="0"/>
                        </a:lnTo>
                        <a:lnTo>
                          <a:pt x="23" y="0"/>
                        </a:ln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20" name="Freeform: Shape 119">
                    <a:extLst>
                      <a:ext uri="{FF2B5EF4-FFF2-40B4-BE49-F238E27FC236}">
                        <a16:creationId xmlns:a16="http://schemas.microsoft.com/office/drawing/2014/main" id="{F2E7A4D4-1C90-4921-AFA2-49110EE9893C}"/>
                      </a:ext>
                    </a:extLst>
                  </p:cNvPr>
                  <p:cNvSpPr/>
                  <p:nvPr/>
                </p:nvSpPr>
                <p:spPr>
                  <a:xfrm>
                    <a:off x="6165294" y="4077168"/>
                    <a:ext cx="2326" cy="4652"/>
                  </a:xfrm>
                  <a:custGeom>
                    <a:avLst/>
                    <a:gdLst>
                      <a:gd name="connsiteX0" fmla="*/ 0 w 0"/>
                      <a:gd name="connsiteY0" fmla="*/ 5606 h 4652"/>
                      <a:gd name="connsiteX1" fmla="*/ 1279 w 0"/>
                      <a:gd name="connsiteY1" fmla="*/ 0 h 4652"/>
                      <a:gd name="connsiteX2" fmla="*/ 0 w 0"/>
                      <a:gd name="connsiteY2" fmla="*/ 5606 h 4652"/>
                      <a:gd name="connsiteX3" fmla="*/ 0 w 0"/>
                      <a:gd name="connsiteY3" fmla="*/ 5606 h 46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h="4652">
                        <a:moveTo>
                          <a:pt x="0" y="5606"/>
                        </a:moveTo>
                        <a:cubicBezTo>
                          <a:pt x="372" y="3699"/>
                          <a:pt x="791" y="1838"/>
                          <a:pt x="1279" y="0"/>
                        </a:cubicBezTo>
                        <a:cubicBezTo>
                          <a:pt x="791" y="1838"/>
                          <a:pt x="372" y="3699"/>
                          <a:pt x="0" y="5606"/>
                        </a:cubicBezTo>
                        <a:lnTo>
                          <a:pt x="0" y="5606"/>
                        </a:ln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21" name="Freeform: Shape 120">
                    <a:extLst>
                      <a:ext uri="{FF2B5EF4-FFF2-40B4-BE49-F238E27FC236}">
                        <a16:creationId xmlns:a16="http://schemas.microsoft.com/office/drawing/2014/main" id="{1C1C8F4D-C768-464E-B7D4-A5AE8B5C737F}"/>
                      </a:ext>
                    </a:extLst>
                  </p:cNvPr>
                  <p:cNvSpPr/>
                  <p:nvPr/>
                </p:nvSpPr>
                <p:spPr>
                  <a:xfrm>
                    <a:off x="6162200" y="4107245"/>
                    <a:ext cx="2326" cy="2326"/>
                  </a:xfrm>
                  <a:custGeom>
                    <a:avLst/>
                    <a:gdLst>
                      <a:gd name="connsiteX0" fmla="*/ 0 w 0"/>
                      <a:gd name="connsiteY0" fmla="*/ 0 h 0"/>
                      <a:gd name="connsiteX1" fmla="*/ 0 w 0"/>
                      <a:gd name="connsiteY1" fmla="*/ 0 h 0"/>
                      <a:gd name="connsiteX2" fmla="*/ 0 w 0"/>
                      <a:gd name="connsiteY2" fmla="*/ 0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22" name="Freeform: Shape 121">
                    <a:extLst>
                      <a:ext uri="{FF2B5EF4-FFF2-40B4-BE49-F238E27FC236}">
                        <a16:creationId xmlns:a16="http://schemas.microsoft.com/office/drawing/2014/main" id="{3A651701-74E6-4A49-B9A6-B03E9CB19001}"/>
                      </a:ext>
                    </a:extLst>
                  </p:cNvPr>
                  <p:cNvSpPr/>
                  <p:nvPr/>
                </p:nvSpPr>
                <p:spPr>
                  <a:xfrm>
                    <a:off x="6166433" y="4075307"/>
                    <a:ext cx="2326" cy="2326"/>
                  </a:xfrm>
                  <a:custGeom>
                    <a:avLst/>
                    <a:gdLst>
                      <a:gd name="connsiteX0" fmla="*/ 0 w 0"/>
                      <a:gd name="connsiteY0" fmla="*/ 0 h 0"/>
                      <a:gd name="connsiteX1" fmla="*/ 140 w 0"/>
                      <a:gd name="connsiteY1" fmla="*/ 140 h 0"/>
                      <a:gd name="connsiteX2" fmla="*/ 0 w 0"/>
                      <a:gd name="connsiteY2" fmla="*/ 0 h 0"/>
                      <a:gd name="connsiteX3" fmla="*/ 0 w 0"/>
                      <a:gd name="connsiteY3" fmla="*/ 0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>
                        <a:moveTo>
                          <a:pt x="0" y="0"/>
                        </a:moveTo>
                        <a:cubicBezTo>
                          <a:pt x="47" y="47"/>
                          <a:pt x="93" y="93"/>
                          <a:pt x="140" y="140"/>
                        </a:cubicBezTo>
                        <a:cubicBezTo>
                          <a:pt x="93" y="70"/>
                          <a:pt x="23" y="47"/>
                          <a:pt x="0" y="0"/>
                        </a:cubicBez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23" name="Freeform: Shape 122">
                    <a:extLst>
                      <a:ext uri="{FF2B5EF4-FFF2-40B4-BE49-F238E27FC236}">
                        <a16:creationId xmlns:a16="http://schemas.microsoft.com/office/drawing/2014/main" id="{4DF50CE1-9EC4-40F5-9ACF-9DF4C6175B8B}"/>
                      </a:ext>
                    </a:extLst>
                  </p:cNvPr>
                  <p:cNvSpPr/>
                  <p:nvPr/>
                </p:nvSpPr>
                <p:spPr>
                  <a:xfrm>
                    <a:off x="6166317" y="4075097"/>
                    <a:ext cx="2326" cy="2326"/>
                  </a:xfrm>
                  <a:custGeom>
                    <a:avLst/>
                    <a:gdLst>
                      <a:gd name="connsiteX0" fmla="*/ 70 w 0"/>
                      <a:gd name="connsiteY0" fmla="*/ 163 h 0"/>
                      <a:gd name="connsiteX1" fmla="*/ 70 w 0"/>
                      <a:gd name="connsiteY1" fmla="*/ 163 h 0"/>
                      <a:gd name="connsiteX2" fmla="*/ 0 w 0"/>
                      <a:gd name="connsiteY2" fmla="*/ 0 h 0"/>
                      <a:gd name="connsiteX3" fmla="*/ 70 w 0"/>
                      <a:gd name="connsiteY3" fmla="*/ 163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>
                        <a:moveTo>
                          <a:pt x="70" y="163"/>
                        </a:moveTo>
                        <a:lnTo>
                          <a:pt x="70" y="163"/>
                        </a:lnTo>
                        <a:cubicBezTo>
                          <a:pt x="47" y="116"/>
                          <a:pt x="23" y="47"/>
                          <a:pt x="0" y="0"/>
                        </a:cubicBezTo>
                        <a:cubicBezTo>
                          <a:pt x="23" y="70"/>
                          <a:pt x="47" y="116"/>
                          <a:pt x="70" y="163"/>
                        </a:cubicBez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24" name="Freeform: Shape 123">
                    <a:extLst>
                      <a:ext uri="{FF2B5EF4-FFF2-40B4-BE49-F238E27FC236}">
                        <a16:creationId xmlns:a16="http://schemas.microsoft.com/office/drawing/2014/main" id="{49403130-3F92-49A0-AA19-7142C63EFAEA}"/>
                      </a:ext>
                    </a:extLst>
                  </p:cNvPr>
                  <p:cNvSpPr/>
                  <p:nvPr/>
                </p:nvSpPr>
                <p:spPr>
                  <a:xfrm>
                    <a:off x="6156198" y="4075795"/>
                    <a:ext cx="9305" cy="2326"/>
                  </a:xfrm>
                  <a:custGeom>
                    <a:avLst/>
                    <a:gdLst>
                      <a:gd name="connsiteX0" fmla="*/ 9421 w 9304"/>
                      <a:gd name="connsiteY0" fmla="*/ 1326 h 0"/>
                      <a:gd name="connsiteX1" fmla="*/ 9421 w 9304"/>
                      <a:gd name="connsiteY1" fmla="*/ 1326 h 0"/>
                      <a:gd name="connsiteX2" fmla="*/ 9840 w 9304"/>
                      <a:gd name="connsiteY2" fmla="*/ 1233 h 0"/>
                      <a:gd name="connsiteX3" fmla="*/ 10351 w 9304"/>
                      <a:gd name="connsiteY3" fmla="*/ 1349 h 0"/>
                      <a:gd name="connsiteX4" fmla="*/ 10375 w 9304"/>
                      <a:gd name="connsiteY4" fmla="*/ 1372 h 0"/>
                      <a:gd name="connsiteX5" fmla="*/ 10747 w 9304"/>
                      <a:gd name="connsiteY5" fmla="*/ 0 h 0"/>
                      <a:gd name="connsiteX6" fmla="*/ 326 w 9304"/>
                      <a:gd name="connsiteY6" fmla="*/ 0 h 0"/>
                      <a:gd name="connsiteX7" fmla="*/ 326 w 9304"/>
                      <a:gd name="connsiteY7" fmla="*/ 0 h 0"/>
                      <a:gd name="connsiteX8" fmla="*/ 0 w 9304"/>
                      <a:gd name="connsiteY8" fmla="*/ 1233 h 0"/>
                      <a:gd name="connsiteX9" fmla="*/ 9863 w 9304"/>
                      <a:gd name="connsiteY9" fmla="*/ 1233 h 0"/>
                      <a:gd name="connsiteX10" fmla="*/ 9421 w 9304"/>
                      <a:gd name="connsiteY10" fmla="*/ 1326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9304">
                        <a:moveTo>
                          <a:pt x="9421" y="1326"/>
                        </a:moveTo>
                        <a:lnTo>
                          <a:pt x="9421" y="1326"/>
                        </a:lnTo>
                        <a:cubicBezTo>
                          <a:pt x="9561" y="1256"/>
                          <a:pt x="9700" y="1233"/>
                          <a:pt x="9840" y="1233"/>
                        </a:cubicBezTo>
                        <a:cubicBezTo>
                          <a:pt x="10003" y="1233"/>
                          <a:pt x="10165" y="1279"/>
                          <a:pt x="10351" y="1349"/>
                        </a:cubicBezTo>
                        <a:cubicBezTo>
                          <a:pt x="10351" y="1349"/>
                          <a:pt x="10351" y="1349"/>
                          <a:pt x="10375" y="1372"/>
                        </a:cubicBezTo>
                        <a:cubicBezTo>
                          <a:pt x="10491" y="907"/>
                          <a:pt x="10607" y="465"/>
                          <a:pt x="10747" y="0"/>
                        </a:cubicBezTo>
                        <a:lnTo>
                          <a:pt x="326" y="0"/>
                        </a:lnTo>
                        <a:lnTo>
                          <a:pt x="326" y="0"/>
                        </a:lnTo>
                        <a:cubicBezTo>
                          <a:pt x="209" y="395"/>
                          <a:pt x="116" y="814"/>
                          <a:pt x="0" y="1233"/>
                        </a:cubicBezTo>
                        <a:lnTo>
                          <a:pt x="9863" y="1233"/>
                        </a:lnTo>
                        <a:cubicBezTo>
                          <a:pt x="9700" y="1233"/>
                          <a:pt x="9561" y="1279"/>
                          <a:pt x="9421" y="1326"/>
                        </a:cubicBez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25" name="Freeform: Shape 124">
                    <a:extLst>
                      <a:ext uri="{FF2B5EF4-FFF2-40B4-BE49-F238E27FC236}">
                        <a16:creationId xmlns:a16="http://schemas.microsoft.com/office/drawing/2014/main" id="{6457CDA2-3DD8-4104-8B89-9B96903807E3}"/>
                      </a:ext>
                    </a:extLst>
                  </p:cNvPr>
                  <p:cNvSpPr/>
                  <p:nvPr/>
                </p:nvSpPr>
                <p:spPr>
                  <a:xfrm>
                    <a:off x="6189276" y="4038135"/>
                    <a:ext cx="2326" cy="2326"/>
                  </a:xfrm>
                  <a:custGeom>
                    <a:avLst/>
                    <a:gdLst>
                      <a:gd name="connsiteX0" fmla="*/ 0 w 0"/>
                      <a:gd name="connsiteY0" fmla="*/ 0 h 0"/>
                      <a:gd name="connsiteX1" fmla="*/ 465 w 0"/>
                      <a:gd name="connsiteY1" fmla="*/ 675 h 0"/>
                      <a:gd name="connsiteX2" fmla="*/ 488 w 0"/>
                      <a:gd name="connsiteY2" fmla="*/ 698 h 0"/>
                      <a:gd name="connsiteX3" fmla="*/ 488 w 0"/>
                      <a:gd name="connsiteY3" fmla="*/ 698 h 0"/>
                      <a:gd name="connsiteX4" fmla="*/ 698 w 0"/>
                      <a:gd name="connsiteY4" fmla="*/ 535 h 0"/>
                      <a:gd name="connsiteX5" fmla="*/ 1396 w 0"/>
                      <a:gd name="connsiteY5" fmla="*/ 0 h 0"/>
                      <a:gd name="connsiteX6" fmla="*/ 1396 w 0"/>
                      <a:gd name="connsiteY6" fmla="*/ 0 h 0"/>
                      <a:gd name="connsiteX7" fmla="*/ 0 w 0"/>
                      <a:gd name="connsiteY7" fmla="*/ 0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>
                        <a:moveTo>
                          <a:pt x="0" y="0"/>
                        </a:moveTo>
                        <a:cubicBezTo>
                          <a:pt x="186" y="163"/>
                          <a:pt x="349" y="372"/>
                          <a:pt x="465" y="675"/>
                        </a:cubicBezTo>
                        <a:lnTo>
                          <a:pt x="488" y="698"/>
                        </a:lnTo>
                        <a:lnTo>
                          <a:pt x="488" y="698"/>
                        </a:lnTo>
                        <a:cubicBezTo>
                          <a:pt x="558" y="651"/>
                          <a:pt x="628" y="582"/>
                          <a:pt x="698" y="535"/>
                        </a:cubicBezTo>
                        <a:cubicBezTo>
                          <a:pt x="930" y="349"/>
                          <a:pt x="1163" y="163"/>
                          <a:pt x="1396" y="0"/>
                        </a:cubicBezTo>
                        <a:lnTo>
                          <a:pt x="1396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26" name="Freeform: Shape 125">
                    <a:extLst>
                      <a:ext uri="{FF2B5EF4-FFF2-40B4-BE49-F238E27FC236}">
                        <a16:creationId xmlns:a16="http://schemas.microsoft.com/office/drawing/2014/main" id="{7A958616-EBE8-44FA-94E2-4C085C8214BE}"/>
                      </a:ext>
                    </a:extLst>
                  </p:cNvPr>
                  <p:cNvSpPr/>
                  <p:nvPr/>
                </p:nvSpPr>
                <p:spPr>
                  <a:xfrm>
                    <a:off x="6186183" y="4039065"/>
                    <a:ext cx="2326" cy="2326"/>
                  </a:xfrm>
                  <a:custGeom>
                    <a:avLst/>
                    <a:gdLst>
                      <a:gd name="connsiteX0" fmla="*/ 0 w 2326"/>
                      <a:gd name="connsiteY0" fmla="*/ 2838 h 2326"/>
                      <a:gd name="connsiteX1" fmla="*/ 0 w 2326"/>
                      <a:gd name="connsiteY1" fmla="*/ 2838 h 2326"/>
                      <a:gd name="connsiteX2" fmla="*/ 1745 w 2326"/>
                      <a:gd name="connsiteY2" fmla="*/ 1233 h 2326"/>
                      <a:gd name="connsiteX3" fmla="*/ 3233 w 2326"/>
                      <a:gd name="connsiteY3" fmla="*/ 0 h 2326"/>
                      <a:gd name="connsiteX4" fmla="*/ 0 w 2326"/>
                      <a:gd name="connsiteY4" fmla="*/ 2838 h 232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326" h="2326">
                        <a:moveTo>
                          <a:pt x="0" y="2838"/>
                        </a:moveTo>
                        <a:lnTo>
                          <a:pt x="0" y="2838"/>
                        </a:lnTo>
                        <a:cubicBezTo>
                          <a:pt x="582" y="2280"/>
                          <a:pt x="1163" y="1768"/>
                          <a:pt x="1745" y="1233"/>
                        </a:cubicBezTo>
                        <a:cubicBezTo>
                          <a:pt x="2233" y="791"/>
                          <a:pt x="2745" y="395"/>
                          <a:pt x="3233" y="0"/>
                        </a:cubicBezTo>
                        <a:cubicBezTo>
                          <a:pt x="2140" y="907"/>
                          <a:pt x="1047" y="1838"/>
                          <a:pt x="0" y="2838"/>
                        </a:cubicBez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27" name="Freeform: Shape 126">
                    <a:extLst>
                      <a:ext uri="{FF2B5EF4-FFF2-40B4-BE49-F238E27FC236}">
                        <a16:creationId xmlns:a16="http://schemas.microsoft.com/office/drawing/2014/main" id="{76D960FE-86A2-4F92-88EA-FDE4D45C99DB}"/>
                      </a:ext>
                    </a:extLst>
                  </p:cNvPr>
                  <p:cNvSpPr/>
                  <p:nvPr/>
                </p:nvSpPr>
                <p:spPr>
                  <a:xfrm>
                    <a:off x="6190509" y="4036483"/>
                    <a:ext cx="2326" cy="2326"/>
                  </a:xfrm>
                  <a:custGeom>
                    <a:avLst/>
                    <a:gdLst>
                      <a:gd name="connsiteX0" fmla="*/ 47 w 0"/>
                      <a:gd name="connsiteY0" fmla="*/ 0 h 0"/>
                      <a:gd name="connsiteX1" fmla="*/ 0 w 0"/>
                      <a:gd name="connsiteY1" fmla="*/ 419 h 0"/>
                      <a:gd name="connsiteX2" fmla="*/ 47 w 0"/>
                      <a:gd name="connsiteY2" fmla="*/ 0 h 0"/>
                      <a:gd name="connsiteX3" fmla="*/ 47 w 0"/>
                      <a:gd name="connsiteY3" fmla="*/ 0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>
                        <a:moveTo>
                          <a:pt x="47" y="0"/>
                        </a:moveTo>
                        <a:cubicBezTo>
                          <a:pt x="23" y="140"/>
                          <a:pt x="23" y="279"/>
                          <a:pt x="0" y="419"/>
                        </a:cubicBezTo>
                        <a:cubicBezTo>
                          <a:pt x="0" y="279"/>
                          <a:pt x="0" y="116"/>
                          <a:pt x="47" y="0"/>
                        </a:cubicBezTo>
                        <a:lnTo>
                          <a:pt x="47" y="0"/>
                        </a:ln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28" name="Freeform: Shape 127">
                    <a:extLst>
                      <a:ext uri="{FF2B5EF4-FFF2-40B4-BE49-F238E27FC236}">
                        <a16:creationId xmlns:a16="http://schemas.microsoft.com/office/drawing/2014/main" id="{EBDF9681-EF92-4444-88CA-8D9EE43E8D98}"/>
                      </a:ext>
                    </a:extLst>
                  </p:cNvPr>
                  <p:cNvSpPr/>
                  <p:nvPr/>
                </p:nvSpPr>
                <p:spPr>
                  <a:xfrm>
                    <a:off x="6185973" y="4039856"/>
                    <a:ext cx="2326" cy="2326"/>
                  </a:xfrm>
                  <a:custGeom>
                    <a:avLst/>
                    <a:gdLst>
                      <a:gd name="connsiteX0" fmla="*/ 0 w 0"/>
                      <a:gd name="connsiteY0" fmla="*/ 326 h 0"/>
                      <a:gd name="connsiteX1" fmla="*/ 0 w 0"/>
                      <a:gd name="connsiteY1" fmla="*/ 326 h 0"/>
                      <a:gd name="connsiteX2" fmla="*/ 93 w 0"/>
                      <a:gd name="connsiteY2" fmla="*/ 0 h 0"/>
                      <a:gd name="connsiteX3" fmla="*/ 0 w 0"/>
                      <a:gd name="connsiteY3" fmla="*/ 326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>
                        <a:moveTo>
                          <a:pt x="0" y="326"/>
                        </a:moveTo>
                        <a:lnTo>
                          <a:pt x="0" y="326"/>
                        </a:lnTo>
                        <a:cubicBezTo>
                          <a:pt x="23" y="209"/>
                          <a:pt x="70" y="116"/>
                          <a:pt x="93" y="0"/>
                        </a:cubicBezTo>
                        <a:cubicBezTo>
                          <a:pt x="70" y="116"/>
                          <a:pt x="23" y="233"/>
                          <a:pt x="0" y="326"/>
                        </a:cubicBez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29" name="Freeform: Shape 128">
                    <a:extLst>
                      <a:ext uri="{FF2B5EF4-FFF2-40B4-BE49-F238E27FC236}">
                        <a16:creationId xmlns:a16="http://schemas.microsoft.com/office/drawing/2014/main" id="{04EE84A3-6B36-4B99-8771-E2500F182D40}"/>
                      </a:ext>
                    </a:extLst>
                  </p:cNvPr>
                  <p:cNvSpPr/>
                  <p:nvPr/>
                </p:nvSpPr>
                <p:spPr>
                  <a:xfrm>
                    <a:off x="6186671" y="4038135"/>
                    <a:ext cx="2326" cy="2326"/>
                  </a:xfrm>
                  <a:custGeom>
                    <a:avLst/>
                    <a:gdLst>
                      <a:gd name="connsiteX0" fmla="*/ 814 w 0"/>
                      <a:gd name="connsiteY0" fmla="*/ 0 h 0"/>
                      <a:gd name="connsiteX1" fmla="*/ 0 w 0"/>
                      <a:gd name="connsiteY1" fmla="*/ 698 h 0"/>
                      <a:gd name="connsiteX2" fmla="*/ 814 w 0"/>
                      <a:gd name="connsiteY2" fmla="*/ 0 h 0"/>
                      <a:gd name="connsiteX3" fmla="*/ 814 w 0"/>
                      <a:gd name="connsiteY3" fmla="*/ 0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>
                        <a:moveTo>
                          <a:pt x="814" y="0"/>
                        </a:moveTo>
                        <a:cubicBezTo>
                          <a:pt x="535" y="233"/>
                          <a:pt x="279" y="465"/>
                          <a:pt x="0" y="698"/>
                        </a:cubicBezTo>
                        <a:cubicBezTo>
                          <a:pt x="256" y="442"/>
                          <a:pt x="535" y="233"/>
                          <a:pt x="814" y="0"/>
                        </a:cubicBezTo>
                        <a:lnTo>
                          <a:pt x="814" y="0"/>
                        </a:ln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30" name="Freeform: Shape 129">
                    <a:extLst>
                      <a:ext uri="{FF2B5EF4-FFF2-40B4-BE49-F238E27FC236}">
                        <a16:creationId xmlns:a16="http://schemas.microsoft.com/office/drawing/2014/main" id="{4B0A1DE5-34BD-4891-AB79-8673ED7F433C}"/>
                      </a:ext>
                    </a:extLst>
                  </p:cNvPr>
                  <p:cNvSpPr/>
                  <p:nvPr/>
                </p:nvSpPr>
                <p:spPr>
                  <a:xfrm>
                    <a:off x="6194138" y="4035018"/>
                    <a:ext cx="2326" cy="2326"/>
                  </a:xfrm>
                  <a:custGeom>
                    <a:avLst/>
                    <a:gdLst>
                      <a:gd name="connsiteX0" fmla="*/ 256 w 0"/>
                      <a:gd name="connsiteY0" fmla="*/ 535 h 0"/>
                      <a:gd name="connsiteX1" fmla="*/ 256 w 0"/>
                      <a:gd name="connsiteY1" fmla="*/ 558 h 0"/>
                      <a:gd name="connsiteX2" fmla="*/ 1210 w 0"/>
                      <a:gd name="connsiteY2" fmla="*/ 0 h 0"/>
                      <a:gd name="connsiteX3" fmla="*/ 0 w 0"/>
                      <a:gd name="connsiteY3" fmla="*/ 0 h 0"/>
                      <a:gd name="connsiteX4" fmla="*/ 256 w 0"/>
                      <a:gd name="connsiteY4" fmla="*/ 535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>
                        <a:moveTo>
                          <a:pt x="256" y="535"/>
                        </a:moveTo>
                        <a:lnTo>
                          <a:pt x="256" y="558"/>
                        </a:lnTo>
                        <a:cubicBezTo>
                          <a:pt x="582" y="372"/>
                          <a:pt x="884" y="186"/>
                          <a:pt x="1210" y="0"/>
                        </a:cubicBezTo>
                        <a:lnTo>
                          <a:pt x="0" y="0"/>
                        </a:lnTo>
                        <a:cubicBezTo>
                          <a:pt x="93" y="140"/>
                          <a:pt x="186" y="326"/>
                          <a:pt x="256" y="535"/>
                        </a:cubicBez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31" name="Freeform: Shape 130">
                    <a:extLst>
                      <a:ext uri="{FF2B5EF4-FFF2-40B4-BE49-F238E27FC236}">
                        <a16:creationId xmlns:a16="http://schemas.microsoft.com/office/drawing/2014/main" id="{0FFF07F8-9437-4ED7-8ADC-2737DB80DC05}"/>
                      </a:ext>
                    </a:extLst>
                  </p:cNvPr>
                  <p:cNvSpPr/>
                  <p:nvPr/>
                </p:nvSpPr>
                <p:spPr>
                  <a:xfrm>
                    <a:off x="6190579" y="4035785"/>
                    <a:ext cx="2326" cy="2326"/>
                  </a:xfrm>
                  <a:custGeom>
                    <a:avLst/>
                    <a:gdLst>
                      <a:gd name="connsiteX0" fmla="*/ 209 w 0"/>
                      <a:gd name="connsiteY0" fmla="*/ 0 h 0"/>
                      <a:gd name="connsiteX1" fmla="*/ 0 w 0"/>
                      <a:gd name="connsiteY1" fmla="*/ 535 h 0"/>
                      <a:gd name="connsiteX2" fmla="*/ 0 w 0"/>
                      <a:gd name="connsiteY2" fmla="*/ 535 h 0"/>
                      <a:gd name="connsiteX3" fmla="*/ 209 w 0"/>
                      <a:gd name="connsiteY3" fmla="*/ 0 h 0"/>
                      <a:gd name="connsiteX4" fmla="*/ 209 w 0"/>
                      <a:gd name="connsiteY4" fmla="*/ 0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>
                        <a:moveTo>
                          <a:pt x="209" y="0"/>
                        </a:moveTo>
                        <a:cubicBezTo>
                          <a:pt x="116" y="163"/>
                          <a:pt x="47" y="326"/>
                          <a:pt x="0" y="535"/>
                        </a:cubicBezTo>
                        <a:lnTo>
                          <a:pt x="0" y="535"/>
                        </a:lnTo>
                        <a:cubicBezTo>
                          <a:pt x="47" y="349"/>
                          <a:pt x="140" y="163"/>
                          <a:pt x="209" y="0"/>
                        </a:cubicBezTo>
                        <a:lnTo>
                          <a:pt x="209" y="0"/>
                        </a:ln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32" name="Freeform: Shape 131">
                    <a:extLst>
                      <a:ext uri="{FF2B5EF4-FFF2-40B4-BE49-F238E27FC236}">
                        <a16:creationId xmlns:a16="http://schemas.microsoft.com/office/drawing/2014/main" id="{CB44D627-21AC-4D4F-8970-9D1AE7A966E7}"/>
                      </a:ext>
                    </a:extLst>
                  </p:cNvPr>
                  <p:cNvSpPr/>
                  <p:nvPr/>
                </p:nvSpPr>
                <p:spPr>
                  <a:xfrm>
                    <a:off x="6190882" y="4035134"/>
                    <a:ext cx="2326" cy="2326"/>
                  </a:xfrm>
                  <a:custGeom>
                    <a:avLst/>
                    <a:gdLst>
                      <a:gd name="connsiteX0" fmla="*/ 0 w 0"/>
                      <a:gd name="connsiteY0" fmla="*/ 488 h 0"/>
                      <a:gd name="connsiteX1" fmla="*/ 0 w 0"/>
                      <a:gd name="connsiteY1" fmla="*/ 488 h 0"/>
                      <a:gd name="connsiteX2" fmla="*/ 442 w 0"/>
                      <a:gd name="connsiteY2" fmla="*/ 0 h 0"/>
                      <a:gd name="connsiteX3" fmla="*/ 0 w 0"/>
                      <a:gd name="connsiteY3" fmla="*/ 488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>
                        <a:moveTo>
                          <a:pt x="0" y="488"/>
                        </a:moveTo>
                        <a:lnTo>
                          <a:pt x="0" y="488"/>
                        </a:lnTo>
                        <a:cubicBezTo>
                          <a:pt x="116" y="279"/>
                          <a:pt x="279" y="116"/>
                          <a:pt x="442" y="0"/>
                        </a:cubicBezTo>
                        <a:cubicBezTo>
                          <a:pt x="279" y="116"/>
                          <a:pt x="116" y="302"/>
                          <a:pt x="0" y="488"/>
                        </a:cubicBez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33" name="Freeform: Shape 132">
                    <a:extLst>
                      <a:ext uri="{FF2B5EF4-FFF2-40B4-BE49-F238E27FC236}">
                        <a16:creationId xmlns:a16="http://schemas.microsoft.com/office/drawing/2014/main" id="{554E6124-D362-4944-A212-63EB229076E1}"/>
                      </a:ext>
                    </a:extLst>
                  </p:cNvPr>
                  <p:cNvSpPr/>
                  <p:nvPr/>
                </p:nvSpPr>
                <p:spPr>
                  <a:xfrm>
                    <a:off x="6190649" y="4035576"/>
                    <a:ext cx="2326" cy="2326"/>
                  </a:xfrm>
                  <a:custGeom>
                    <a:avLst/>
                    <a:gdLst>
                      <a:gd name="connsiteX0" fmla="*/ 0 w 2326"/>
                      <a:gd name="connsiteY0" fmla="*/ 2559 h 2326"/>
                      <a:gd name="connsiteX1" fmla="*/ 954 w 2326"/>
                      <a:gd name="connsiteY1" fmla="*/ 1884 h 2326"/>
                      <a:gd name="connsiteX2" fmla="*/ 1326 w 2326"/>
                      <a:gd name="connsiteY2" fmla="*/ 1605 h 2326"/>
                      <a:gd name="connsiteX3" fmla="*/ 1326 w 2326"/>
                      <a:gd name="connsiteY3" fmla="*/ 1605 h 2326"/>
                      <a:gd name="connsiteX4" fmla="*/ 3745 w 2326"/>
                      <a:gd name="connsiteY4" fmla="*/ 0 h 2326"/>
                      <a:gd name="connsiteX5" fmla="*/ 0 w 2326"/>
                      <a:gd name="connsiteY5" fmla="*/ 2559 h 2326"/>
                      <a:gd name="connsiteX6" fmla="*/ 0 w 2326"/>
                      <a:gd name="connsiteY6" fmla="*/ 2559 h 232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2326" h="2326">
                        <a:moveTo>
                          <a:pt x="0" y="2559"/>
                        </a:moveTo>
                        <a:cubicBezTo>
                          <a:pt x="326" y="2326"/>
                          <a:pt x="628" y="2117"/>
                          <a:pt x="954" y="1884"/>
                        </a:cubicBezTo>
                        <a:cubicBezTo>
                          <a:pt x="1070" y="1791"/>
                          <a:pt x="1210" y="1698"/>
                          <a:pt x="1326" y="1605"/>
                        </a:cubicBezTo>
                        <a:lnTo>
                          <a:pt x="1326" y="1605"/>
                        </a:lnTo>
                        <a:cubicBezTo>
                          <a:pt x="2140" y="1047"/>
                          <a:pt x="2931" y="488"/>
                          <a:pt x="3745" y="0"/>
                        </a:cubicBezTo>
                        <a:cubicBezTo>
                          <a:pt x="2466" y="768"/>
                          <a:pt x="1210" y="1628"/>
                          <a:pt x="0" y="2559"/>
                        </a:cubicBezTo>
                        <a:lnTo>
                          <a:pt x="0" y="2559"/>
                        </a:ln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34" name="Freeform: Shape 133">
                    <a:extLst>
                      <a:ext uri="{FF2B5EF4-FFF2-40B4-BE49-F238E27FC236}">
                        <a16:creationId xmlns:a16="http://schemas.microsoft.com/office/drawing/2014/main" id="{34405800-99EE-406C-B84B-58DFD87664B3}"/>
                      </a:ext>
                    </a:extLst>
                  </p:cNvPr>
                  <p:cNvSpPr/>
                  <p:nvPr/>
                </p:nvSpPr>
                <p:spPr>
                  <a:xfrm>
                    <a:off x="6177756" y="4049719"/>
                    <a:ext cx="2326" cy="2326"/>
                  </a:xfrm>
                  <a:custGeom>
                    <a:avLst/>
                    <a:gdLst>
                      <a:gd name="connsiteX0" fmla="*/ 6 w 0"/>
                      <a:gd name="connsiteY0" fmla="*/ 0 h 0"/>
                      <a:gd name="connsiteX1" fmla="*/ 53 w 0"/>
                      <a:gd name="connsiteY1" fmla="*/ 465 h 0"/>
                      <a:gd name="connsiteX2" fmla="*/ 6 w 0"/>
                      <a:gd name="connsiteY2" fmla="*/ 0 h 0"/>
                      <a:gd name="connsiteX3" fmla="*/ 6 w 0"/>
                      <a:gd name="connsiteY3" fmla="*/ 0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>
                        <a:moveTo>
                          <a:pt x="6" y="0"/>
                        </a:moveTo>
                        <a:cubicBezTo>
                          <a:pt x="6" y="163"/>
                          <a:pt x="30" y="302"/>
                          <a:pt x="53" y="465"/>
                        </a:cubicBezTo>
                        <a:cubicBezTo>
                          <a:pt x="30" y="302"/>
                          <a:pt x="-17" y="140"/>
                          <a:pt x="6" y="0"/>
                        </a:cubicBezTo>
                        <a:lnTo>
                          <a:pt x="6" y="0"/>
                        </a:ln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35" name="Freeform: Shape 134">
                    <a:extLst>
                      <a:ext uri="{FF2B5EF4-FFF2-40B4-BE49-F238E27FC236}">
                        <a16:creationId xmlns:a16="http://schemas.microsoft.com/office/drawing/2014/main" id="{D7A0FE70-7A5E-4487-B006-997775F9164D}"/>
                      </a:ext>
                    </a:extLst>
                  </p:cNvPr>
                  <p:cNvSpPr/>
                  <p:nvPr/>
                </p:nvSpPr>
                <p:spPr>
                  <a:xfrm>
                    <a:off x="6175692" y="4051975"/>
                    <a:ext cx="2326" cy="2326"/>
                  </a:xfrm>
                  <a:custGeom>
                    <a:avLst/>
                    <a:gdLst>
                      <a:gd name="connsiteX0" fmla="*/ 47 w 0"/>
                      <a:gd name="connsiteY0" fmla="*/ 0 h 0"/>
                      <a:gd name="connsiteX1" fmla="*/ 0 w 0"/>
                      <a:gd name="connsiteY1" fmla="*/ 23 h 0"/>
                      <a:gd name="connsiteX2" fmla="*/ 23 w 0"/>
                      <a:gd name="connsiteY2" fmla="*/ 0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>
                        <a:moveTo>
                          <a:pt x="47" y="0"/>
                        </a:moveTo>
                        <a:lnTo>
                          <a:pt x="0" y="23"/>
                        </a:lnTo>
                        <a:lnTo>
                          <a:pt x="23" y="0"/>
                        </a:ln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36" name="Freeform: Shape 135">
                    <a:extLst>
                      <a:ext uri="{FF2B5EF4-FFF2-40B4-BE49-F238E27FC236}">
                        <a16:creationId xmlns:a16="http://schemas.microsoft.com/office/drawing/2014/main" id="{5947EEB6-A29C-4981-84B4-33368BE16442}"/>
                      </a:ext>
                    </a:extLst>
                  </p:cNvPr>
                  <p:cNvSpPr/>
                  <p:nvPr/>
                </p:nvSpPr>
                <p:spPr>
                  <a:xfrm>
                    <a:off x="6174180" y="4055255"/>
                    <a:ext cx="2326" cy="2326"/>
                  </a:xfrm>
                  <a:custGeom>
                    <a:avLst/>
                    <a:gdLst>
                      <a:gd name="connsiteX0" fmla="*/ 0 w 0"/>
                      <a:gd name="connsiteY0" fmla="*/ 0 h 0"/>
                      <a:gd name="connsiteX1" fmla="*/ 93 w 0"/>
                      <a:gd name="connsiteY1" fmla="*/ 558 h 0"/>
                      <a:gd name="connsiteX2" fmla="*/ 0 w 0"/>
                      <a:gd name="connsiteY2" fmla="*/ 0 h 0"/>
                      <a:gd name="connsiteX3" fmla="*/ 0 w 0"/>
                      <a:gd name="connsiteY3" fmla="*/ 0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>
                        <a:moveTo>
                          <a:pt x="0" y="0"/>
                        </a:moveTo>
                        <a:cubicBezTo>
                          <a:pt x="0" y="186"/>
                          <a:pt x="47" y="372"/>
                          <a:pt x="93" y="558"/>
                        </a:cubicBezTo>
                        <a:cubicBezTo>
                          <a:pt x="47" y="372"/>
                          <a:pt x="0" y="186"/>
                          <a:pt x="0" y="0"/>
                        </a:cubicBez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37" name="Freeform: Shape 136">
                    <a:extLst>
                      <a:ext uri="{FF2B5EF4-FFF2-40B4-BE49-F238E27FC236}">
                        <a16:creationId xmlns:a16="http://schemas.microsoft.com/office/drawing/2014/main" id="{A6CD08EC-9D15-4854-9A94-D257229D4C6F}"/>
                      </a:ext>
                    </a:extLst>
                  </p:cNvPr>
                  <p:cNvSpPr/>
                  <p:nvPr/>
                </p:nvSpPr>
                <p:spPr>
                  <a:xfrm>
                    <a:off x="6184485" y="4041903"/>
                    <a:ext cx="2326" cy="2326"/>
                  </a:xfrm>
                  <a:custGeom>
                    <a:avLst/>
                    <a:gdLst>
                      <a:gd name="connsiteX0" fmla="*/ 1093 w 0"/>
                      <a:gd name="connsiteY0" fmla="*/ 0 h 0"/>
                      <a:gd name="connsiteX1" fmla="*/ 791 w 0"/>
                      <a:gd name="connsiteY1" fmla="*/ 0 h 0"/>
                      <a:gd name="connsiteX2" fmla="*/ 465 w 0"/>
                      <a:gd name="connsiteY2" fmla="*/ 0 h 0"/>
                      <a:gd name="connsiteX3" fmla="*/ 140 w 0"/>
                      <a:gd name="connsiteY3" fmla="*/ 0 h 0"/>
                      <a:gd name="connsiteX4" fmla="*/ 0 w 0"/>
                      <a:gd name="connsiteY4" fmla="*/ 0 h 0"/>
                      <a:gd name="connsiteX5" fmla="*/ 814 w 0"/>
                      <a:gd name="connsiteY5" fmla="*/ 791 h 0"/>
                      <a:gd name="connsiteX6" fmla="*/ 814 w 0"/>
                      <a:gd name="connsiteY6" fmla="*/ 814 h 0"/>
                      <a:gd name="connsiteX7" fmla="*/ 1675 w 0"/>
                      <a:gd name="connsiteY7" fmla="*/ 0 h 0"/>
                      <a:gd name="connsiteX8" fmla="*/ 1372 w 0"/>
                      <a:gd name="connsiteY8" fmla="*/ 0 h 0"/>
                      <a:gd name="connsiteX9" fmla="*/ 1093 w 0"/>
                      <a:gd name="connsiteY9" fmla="*/ 0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>
                        <a:moveTo>
                          <a:pt x="1093" y="0"/>
                        </a:moveTo>
                        <a:cubicBezTo>
                          <a:pt x="1000" y="0"/>
                          <a:pt x="884" y="0"/>
                          <a:pt x="791" y="0"/>
                        </a:cubicBezTo>
                        <a:cubicBezTo>
                          <a:pt x="698" y="0"/>
                          <a:pt x="558" y="0"/>
                          <a:pt x="465" y="0"/>
                        </a:cubicBezTo>
                        <a:cubicBezTo>
                          <a:pt x="372" y="0"/>
                          <a:pt x="256" y="0"/>
                          <a:pt x="140" y="0"/>
                        </a:cubicBezTo>
                        <a:cubicBezTo>
                          <a:pt x="93" y="0"/>
                          <a:pt x="47" y="0"/>
                          <a:pt x="0" y="0"/>
                        </a:cubicBezTo>
                        <a:cubicBezTo>
                          <a:pt x="302" y="116"/>
                          <a:pt x="605" y="372"/>
                          <a:pt x="814" y="791"/>
                        </a:cubicBezTo>
                        <a:lnTo>
                          <a:pt x="814" y="814"/>
                        </a:lnTo>
                        <a:cubicBezTo>
                          <a:pt x="1093" y="535"/>
                          <a:pt x="1372" y="279"/>
                          <a:pt x="1675" y="0"/>
                        </a:cubicBezTo>
                        <a:cubicBezTo>
                          <a:pt x="1582" y="0"/>
                          <a:pt x="1465" y="0"/>
                          <a:pt x="1372" y="0"/>
                        </a:cubicBezTo>
                        <a:cubicBezTo>
                          <a:pt x="1303" y="0"/>
                          <a:pt x="1186" y="0"/>
                          <a:pt x="1093" y="0"/>
                        </a:cubicBez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38" name="Freeform: Shape 137">
                    <a:extLst>
                      <a:ext uri="{FF2B5EF4-FFF2-40B4-BE49-F238E27FC236}">
                        <a16:creationId xmlns:a16="http://schemas.microsoft.com/office/drawing/2014/main" id="{FC26DECA-8A35-4B32-A965-0FA506C5B158}"/>
                      </a:ext>
                    </a:extLst>
                  </p:cNvPr>
                  <p:cNvSpPr/>
                  <p:nvPr/>
                </p:nvSpPr>
                <p:spPr>
                  <a:xfrm>
                    <a:off x="6185935" y="4040275"/>
                    <a:ext cx="2326" cy="2326"/>
                  </a:xfrm>
                  <a:custGeom>
                    <a:avLst/>
                    <a:gdLst>
                      <a:gd name="connsiteX0" fmla="*/ 15 w 0"/>
                      <a:gd name="connsiteY0" fmla="*/ 768 h 0"/>
                      <a:gd name="connsiteX1" fmla="*/ 15 w 0"/>
                      <a:gd name="connsiteY1" fmla="*/ 768 h 0"/>
                      <a:gd name="connsiteX2" fmla="*/ 39 w 0"/>
                      <a:gd name="connsiteY2" fmla="*/ 0 h 0"/>
                      <a:gd name="connsiteX3" fmla="*/ 15 w 0"/>
                      <a:gd name="connsiteY3" fmla="*/ 768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>
                        <a:moveTo>
                          <a:pt x="15" y="768"/>
                        </a:moveTo>
                        <a:lnTo>
                          <a:pt x="15" y="768"/>
                        </a:lnTo>
                        <a:cubicBezTo>
                          <a:pt x="-8" y="512"/>
                          <a:pt x="-8" y="256"/>
                          <a:pt x="39" y="0"/>
                        </a:cubicBezTo>
                        <a:cubicBezTo>
                          <a:pt x="-8" y="233"/>
                          <a:pt x="-8" y="512"/>
                          <a:pt x="15" y="768"/>
                        </a:cubicBez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39" name="Freeform: Shape 138">
                    <a:extLst>
                      <a:ext uri="{FF2B5EF4-FFF2-40B4-BE49-F238E27FC236}">
                        <a16:creationId xmlns:a16="http://schemas.microsoft.com/office/drawing/2014/main" id="{22F4778C-2885-4838-96E7-645377461351}"/>
                      </a:ext>
                    </a:extLst>
                  </p:cNvPr>
                  <p:cNvSpPr/>
                  <p:nvPr/>
                </p:nvSpPr>
                <p:spPr>
                  <a:xfrm>
                    <a:off x="6181786" y="4043857"/>
                    <a:ext cx="2326" cy="2326"/>
                  </a:xfrm>
                  <a:custGeom>
                    <a:avLst/>
                    <a:gdLst>
                      <a:gd name="connsiteX0" fmla="*/ 93 w 0"/>
                      <a:gd name="connsiteY0" fmla="*/ 0 h 0"/>
                      <a:gd name="connsiteX1" fmla="*/ 0 w 0"/>
                      <a:gd name="connsiteY1" fmla="*/ 372 h 0"/>
                      <a:gd name="connsiteX2" fmla="*/ 93 w 0"/>
                      <a:gd name="connsiteY2" fmla="*/ 0 h 0"/>
                      <a:gd name="connsiteX3" fmla="*/ 93 w 0"/>
                      <a:gd name="connsiteY3" fmla="*/ 0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>
                        <a:moveTo>
                          <a:pt x="93" y="0"/>
                        </a:moveTo>
                        <a:cubicBezTo>
                          <a:pt x="47" y="116"/>
                          <a:pt x="23" y="256"/>
                          <a:pt x="0" y="372"/>
                        </a:cubicBezTo>
                        <a:cubicBezTo>
                          <a:pt x="23" y="256"/>
                          <a:pt x="47" y="116"/>
                          <a:pt x="93" y="0"/>
                        </a:cubicBezTo>
                        <a:lnTo>
                          <a:pt x="93" y="0"/>
                        </a:ln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40" name="Freeform: Shape 139">
                    <a:extLst>
                      <a:ext uri="{FF2B5EF4-FFF2-40B4-BE49-F238E27FC236}">
                        <a16:creationId xmlns:a16="http://schemas.microsoft.com/office/drawing/2014/main" id="{B3EA3E3B-9502-464C-A0C1-89C8A023F420}"/>
                      </a:ext>
                    </a:extLst>
                  </p:cNvPr>
                  <p:cNvSpPr/>
                  <p:nvPr/>
                </p:nvSpPr>
                <p:spPr>
                  <a:xfrm>
                    <a:off x="6178181" y="4051254"/>
                    <a:ext cx="2326" cy="2326"/>
                  </a:xfrm>
                  <a:custGeom>
                    <a:avLst/>
                    <a:gdLst>
                      <a:gd name="connsiteX0" fmla="*/ 0 w 0"/>
                      <a:gd name="connsiteY0" fmla="*/ 0 h 0"/>
                      <a:gd name="connsiteX1" fmla="*/ 23 w 0"/>
                      <a:gd name="connsiteY1" fmla="*/ 23 h 0"/>
                      <a:gd name="connsiteX2" fmla="*/ 23 w 0"/>
                      <a:gd name="connsiteY2" fmla="*/ 23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>
                        <a:moveTo>
                          <a:pt x="0" y="0"/>
                        </a:moveTo>
                        <a:lnTo>
                          <a:pt x="23" y="23"/>
                        </a:lnTo>
                        <a:lnTo>
                          <a:pt x="23" y="23"/>
                        </a:ln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41" name="Freeform: Shape 140">
                    <a:extLst>
                      <a:ext uri="{FF2B5EF4-FFF2-40B4-BE49-F238E27FC236}">
                        <a16:creationId xmlns:a16="http://schemas.microsoft.com/office/drawing/2014/main" id="{FCE909CC-CDC4-4AFB-A3D5-52A9530270F8}"/>
                      </a:ext>
                    </a:extLst>
                  </p:cNvPr>
                  <p:cNvSpPr/>
                  <p:nvPr/>
                </p:nvSpPr>
                <p:spPr>
                  <a:xfrm>
                    <a:off x="6168271" y="4067119"/>
                    <a:ext cx="2326" cy="2326"/>
                  </a:xfrm>
                  <a:custGeom>
                    <a:avLst/>
                    <a:gdLst>
                      <a:gd name="connsiteX0" fmla="*/ 0 w 0"/>
                      <a:gd name="connsiteY0" fmla="*/ 372 h 0"/>
                      <a:gd name="connsiteX1" fmla="*/ 23 w 0"/>
                      <a:gd name="connsiteY1" fmla="*/ 512 h 0"/>
                      <a:gd name="connsiteX2" fmla="*/ 23 w 0"/>
                      <a:gd name="connsiteY2" fmla="*/ 535 h 0"/>
                      <a:gd name="connsiteX3" fmla="*/ 0 w 0"/>
                      <a:gd name="connsiteY3" fmla="*/ 0 h 0"/>
                      <a:gd name="connsiteX4" fmla="*/ 0 w 0"/>
                      <a:gd name="connsiteY4" fmla="*/ 372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>
                        <a:moveTo>
                          <a:pt x="0" y="372"/>
                        </a:moveTo>
                        <a:cubicBezTo>
                          <a:pt x="0" y="419"/>
                          <a:pt x="0" y="465"/>
                          <a:pt x="23" y="512"/>
                        </a:cubicBezTo>
                        <a:lnTo>
                          <a:pt x="23" y="535"/>
                        </a:lnTo>
                        <a:cubicBezTo>
                          <a:pt x="0" y="372"/>
                          <a:pt x="0" y="186"/>
                          <a:pt x="0" y="0"/>
                        </a:cubicBezTo>
                        <a:cubicBezTo>
                          <a:pt x="0" y="140"/>
                          <a:pt x="0" y="256"/>
                          <a:pt x="0" y="372"/>
                        </a:cubicBez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42" name="Freeform: Shape 141">
                    <a:extLst>
                      <a:ext uri="{FF2B5EF4-FFF2-40B4-BE49-F238E27FC236}">
                        <a16:creationId xmlns:a16="http://schemas.microsoft.com/office/drawing/2014/main" id="{44815CC7-F91B-49DA-8271-704C52324A2E}"/>
                      </a:ext>
                    </a:extLst>
                  </p:cNvPr>
                  <p:cNvSpPr/>
                  <p:nvPr/>
                </p:nvSpPr>
                <p:spPr>
                  <a:xfrm>
                    <a:off x="6171179" y="4061815"/>
                    <a:ext cx="2326" cy="2326"/>
                  </a:xfrm>
                  <a:custGeom>
                    <a:avLst/>
                    <a:gdLst>
                      <a:gd name="connsiteX0" fmla="*/ 23 w 0"/>
                      <a:gd name="connsiteY0" fmla="*/ 93 h 0"/>
                      <a:gd name="connsiteX1" fmla="*/ 23 w 0"/>
                      <a:gd name="connsiteY1" fmla="*/ 93 h 0"/>
                      <a:gd name="connsiteX2" fmla="*/ 0 w 0"/>
                      <a:gd name="connsiteY2" fmla="*/ 0 h 0"/>
                      <a:gd name="connsiteX3" fmla="*/ 23 w 0"/>
                      <a:gd name="connsiteY3" fmla="*/ 93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>
                        <a:moveTo>
                          <a:pt x="23" y="93"/>
                        </a:moveTo>
                        <a:lnTo>
                          <a:pt x="23" y="93"/>
                        </a:lnTo>
                        <a:cubicBezTo>
                          <a:pt x="0" y="70"/>
                          <a:pt x="0" y="23"/>
                          <a:pt x="0" y="0"/>
                        </a:cubicBezTo>
                        <a:cubicBezTo>
                          <a:pt x="0" y="23"/>
                          <a:pt x="0" y="70"/>
                          <a:pt x="23" y="93"/>
                        </a:cubicBez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43" name="Freeform: Shape 142">
                    <a:extLst>
                      <a:ext uri="{FF2B5EF4-FFF2-40B4-BE49-F238E27FC236}">
                        <a16:creationId xmlns:a16="http://schemas.microsoft.com/office/drawing/2014/main" id="{BCD30882-1916-4BD8-8BF3-BA3247A1050D}"/>
                      </a:ext>
                    </a:extLst>
                  </p:cNvPr>
                  <p:cNvSpPr/>
                  <p:nvPr/>
                </p:nvSpPr>
                <p:spPr>
                  <a:xfrm>
                    <a:off x="6171039" y="4059628"/>
                    <a:ext cx="2326" cy="2326"/>
                  </a:xfrm>
                  <a:custGeom>
                    <a:avLst/>
                    <a:gdLst>
                      <a:gd name="connsiteX0" fmla="*/ 0 w 0"/>
                      <a:gd name="connsiteY0" fmla="*/ 768 h 0"/>
                      <a:gd name="connsiteX1" fmla="*/ 0 w 0"/>
                      <a:gd name="connsiteY1" fmla="*/ 768 h 0"/>
                      <a:gd name="connsiteX2" fmla="*/ 233 w 0"/>
                      <a:gd name="connsiteY2" fmla="*/ 0 h 0"/>
                      <a:gd name="connsiteX3" fmla="*/ 0 w 0"/>
                      <a:gd name="connsiteY3" fmla="*/ 768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>
                        <a:moveTo>
                          <a:pt x="0" y="768"/>
                        </a:moveTo>
                        <a:lnTo>
                          <a:pt x="0" y="768"/>
                        </a:lnTo>
                        <a:cubicBezTo>
                          <a:pt x="47" y="488"/>
                          <a:pt x="116" y="233"/>
                          <a:pt x="233" y="0"/>
                        </a:cubicBezTo>
                        <a:cubicBezTo>
                          <a:pt x="116" y="233"/>
                          <a:pt x="23" y="488"/>
                          <a:pt x="0" y="768"/>
                        </a:cubicBez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44" name="Freeform: Shape 143">
                    <a:extLst>
                      <a:ext uri="{FF2B5EF4-FFF2-40B4-BE49-F238E27FC236}">
                        <a16:creationId xmlns:a16="http://schemas.microsoft.com/office/drawing/2014/main" id="{0DA8E40F-93CF-4F55-A22D-C43C6B2A67EA}"/>
                      </a:ext>
                    </a:extLst>
                  </p:cNvPr>
                  <p:cNvSpPr/>
                  <p:nvPr/>
                </p:nvSpPr>
                <p:spPr>
                  <a:xfrm>
                    <a:off x="6199093" y="4032598"/>
                    <a:ext cx="2326" cy="2326"/>
                  </a:xfrm>
                  <a:custGeom>
                    <a:avLst/>
                    <a:gdLst>
                      <a:gd name="connsiteX0" fmla="*/ 163 w 0"/>
                      <a:gd name="connsiteY0" fmla="*/ 372 h 0"/>
                      <a:gd name="connsiteX1" fmla="*/ 163 w 0"/>
                      <a:gd name="connsiteY1" fmla="*/ 419 h 0"/>
                      <a:gd name="connsiteX2" fmla="*/ 1140 w 0"/>
                      <a:gd name="connsiteY2" fmla="*/ 0 h 0"/>
                      <a:gd name="connsiteX3" fmla="*/ 0 w 0"/>
                      <a:gd name="connsiteY3" fmla="*/ 0 h 0"/>
                      <a:gd name="connsiteX4" fmla="*/ 163 w 0"/>
                      <a:gd name="connsiteY4" fmla="*/ 372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>
                        <a:moveTo>
                          <a:pt x="163" y="372"/>
                        </a:moveTo>
                        <a:cubicBezTo>
                          <a:pt x="163" y="372"/>
                          <a:pt x="163" y="395"/>
                          <a:pt x="163" y="419"/>
                        </a:cubicBezTo>
                        <a:cubicBezTo>
                          <a:pt x="488" y="279"/>
                          <a:pt x="814" y="140"/>
                          <a:pt x="1140" y="0"/>
                        </a:cubicBezTo>
                        <a:lnTo>
                          <a:pt x="0" y="0"/>
                        </a:lnTo>
                        <a:cubicBezTo>
                          <a:pt x="70" y="116"/>
                          <a:pt x="116" y="233"/>
                          <a:pt x="163" y="372"/>
                        </a:cubicBez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45" name="Freeform: Shape 144">
                    <a:extLst>
                      <a:ext uri="{FF2B5EF4-FFF2-40B4-BE49-F238E27FC236}">
                        <a16:creationId xmlns:a16="http://schemas.microsoft.com/office/drawing/2014/main" id="{F9B9DB95-3763-43E9-BEA6-63C4AC9EDA85}"/>
                      </a:ext>
                    </a:extLst>
                  </p:cNvPr>
                  <p:cNvSpPr/>
                  <p:nvPr/>
                </p:nvSpPr>
                <p:spPr>
                  <a:xfrm>
                    <a:off x="6169574" y="4063792"/>
                    <a:ext cx="2326" cy="2326"/>
                  </a:xfrm>
                  <a:custGeom>
                    <a:avLst/>
                    <a:gdLst>
                      <a:gd name="connsiteX0" fmla="*/ 209 w 0"/>
                      <a:gd name="connsiteY0" fmla="*/ 0 h 0"/>
                      <a:gd name="connsiteX1" fmla="*/ 0 w 0"/>
                      <a:gd name="connsiteY1" fmla="*/ 116 h 0"/>
                      <a:gd name="connsiteX2" fmla="*/ 0 w 0"/>
                      <a:gd name="connsiteY2" fmla="*/ 116 h 0"/>
                      <a:gd name="connsiteX3" fmla="*/ 209 w 0"/>
                      <a:gd name="connsiteY3" fmla="*/ 0 h 0"/>
                      <a:gd name="connsiteX4" fmla="*/ 209 w 0"/>
                      <a:gd name="connsiteY4" fmla="*/ 0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>
                        <a:moveTo>
                          <a:pt x="209" y="0"/>
                        </a:moveTo>
                        <a:cubicBezTo>
                          <a:pt x="140" y="46"/>
                          <a:pt x="70" y="46"/>
                          <a:pt x="0" y="116"/>
                        </a:cubicBezTo>
                        <a:lnTo>
                          <a:pt x="0" y="116"/>
                        </a:lnTo>
                        <a:cubicBezTo>
                          <a:pt x="70" y="70"/>
                          <a:pt x="140" y="46"/>
                          <a:pt x="209" y="0"/>
                        </a:cubicBezTo>
                        <a:lnTo>
                          <a:pt x="209" y="0"/>
                        </a:ln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46" name="Freeform: Shape 145">
                    <a:extLst>
                      <a:ext uri="{FF2B5EF4-FFF2-40B4-BE49-F238E27FC236}">
                        <a16:creationId xmlns:a16="http://schemas.microsoft.com/office/drawing/2014/main" id="{DB75BF18-47EF-459C-B2A6-EDDEB3D44C44}"/>
                      </a:ext>
                    </a:extLst>
                  </p:cNvPr>
                  <p:cNvSpPr/>
                  <p:nvPr/>
                </p:nvSpPr>
                <p:spPr>
                  <a:xfrm>
                    <a:off x="6168434" y="4064723"/>
                    <a:ext cx="2326" cy="2326"/>
                  </a:xfrm>
                  <a:custGeom>
                    <a:avLst/>
                    <a:gdLst>
                      <a:gd name="connsiteX0" fmla="*/ 535 w 0"/>
                      <a:gd name="connsiteY0" fmla="*/ 0 h 0"/>
                      <a:gd name="connsiteX1" fmla="*/ 535 w 0"/>
                      <a:gd name="connsiteY1" fmla="*/ 0 h 0"/>
                      <a:gd name="connsiteX2" fmla="*/ 0 w 0"/>
                      <a:gd name="connsiteY2" fmla="*/ 1326 h 0"/>
                      <a:gd name="connsiteX3" fmla="*/ 535 w 0"/>
                      <a:gd name="connsiteY3" fmla="*/ 0 h 0"/>
                      <a:gd name="connsiteX4" fmla="*/ 535 w 0"/>
                      <a:gd name="connsiteY4" fmla="*/ 0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>
                        <a:moveTo>
                          <a:pt x="535" y="0"/>
                        </a:moveTo>
                        <a:lnTo>
                          <a:pt x="535" y="0"/>
                        </a:lnTo>
                        <a:cubicBezTo>
                          <a:pt x="349" y="465"/>
                          <a:pt x="163" y="907"/>
                          <a:pt x="0" y="1326"/>
                        </a:cubicBezTo>
                        <a:cubicBezTo>
                          <a:pt x="186" y="907"/>
                          <a:pt x="349" y="442"/>
                          <a:pt x="535" y="0"/>
                        </a:cubicBezTo>
                        <a:lnTo>
                          <a:pt x="535" y="0"/>
                        </a:ln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47" name="Freeform: Shape 146">
                    <a:extLst>
                      <a:ext uri="{FF2B5EF4-FFF2-40B4-BE49-F238E27FC236}">
                        <a16:creationId xmlns:a16="http://schemas.microsoft.com/office/drawing/2014/main" id="{7C670F8E-C8FC-49EC-97E1-C26866109ED9}"/>
                      </a:ext>
                    </a:extLst>
                  </p:cNvPr>
                  <p:cNvSpPr/>
                  <p:nvPr/>
                </p:nvSpPr>
                <p:spPr>
                  <a:xfrm>
                    <a:off x="6172249" y="4057721"/>
                    <a:ext cx="2326" cy="2326"/>
                  </a:xfrm>
                  <a:custGeom>
                    <a:avLst/>
                    <a:gdLst>
                      <a:gd name="connsiteX0" fmla="*/ 209 w 0"/>
                      <a:gd name="connsiteY0" fmla="*/ 0 h 0"/>
                      <a:gd name="connsiteX1" fmla="*/ 0 w 0"/>
                      <a:gd name="connsiteY1" fmla="*/ 186 h 0"/>
                      <a:gd name="connsiteX2" fmla="*/ 0 w 0"/>
                      <a:gd name="connsiteY2" fmla="*/ 186 h 0"/>
                      <a:gd name="connsiteX3" fmla="*/ 209 w 0"/>
                      <a:gd name="connsiteY3" fmla="*/ 0 h 0"/>
                      <a:gd name="connsiteX4" fmla="*/ 209 w 0"/>
                      <a:gd name="connsiteY4" fmla="*/ 0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>
                        <a:moveTo>
                          <a:pt x="209" y="0"/>
                        </a:moveTo>
                        <a:cubicBezTo>
                          <a:pt x="140" y="47"/>
                          <a:pt x="70" y="116"/>
                          <a:pt x="0" y="186"/>
                        </a:cubicBezTo>
                        <a:lnTo>
                          <a:pt x="0" y="186"/>
                        </a:lnTo>
                        <a:cubicBezTo>
                          <a:pt x="70" y="116"/>
                          <a:pt x="140" y="47"/>
                          <a:pt x="209" y="0"/>
                        </a:cubicBezTo>
                        <a:lnTo>
                          <a:pt x="209" y="0"/>
                        </a:ln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48" name="Freeform: Shape 147">
                    <a:extLst>
                      <a:ext uri="{FF2B5EF4-FFF2-40B4-BE49-F238E27FC236}">
                        <a16:creationId xmlns:a16="http://schemas.microsoft.com/office/drawing/2014/main" id="{884C7570-8139-4699-9224-E8CDA176AABA}"/>
                      </a:ext>
                    </a:extLst>
                  </p:cNvPr>
                  <p:cNvSpPr/>
                  <p:nvPr/>
                </p:nvSpPr>
                <p:spPr>
                  <a:xfrm>
                    <a:off x="6171272" y="4058209"/>
                    <a:ext cx="2326" cy="2326"/>
                  </a:xfrm>
                  <a:custGeom>
                    <a:avLst/>
                    <a:gdLst>
                      <a:gd name="connsiteX0" fmla="*/ 744 w 0"/>
                      <a:gd name="connsiteY0" fmla="*/ 0 h 0"/>
                      <a:gd name="connsiteX1" fmla="*/ 628 w 0"/>
                      <a:gd name="connsiteY1" fmla="*/ 163 h 0"/>
                      <a:gd name="connsiteX2" fmla="*/ 0 w 0"/>
                      <a:gd name="connsiteY2" fmla="*/ 1396 h 0"/>
                      <a:gd name="connsiteX3" fmla="*/ 628 w 0"/>
                      <a:gd name="connsiteY3" fmla="*/ 163 h 0"/>
                      <a:gd name="connsiteX4" fmla="*/ 744 w 0"/>
                      <a:gd name="connsiteY4" fmla="*/ 0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>
                        <a:moveTo>
                          <a:pt x="744" y="0"/>
                        </a:moveTo>
                        <a:cubicBezTo>
                          <a:pt x="698" y="70"/>
                          <a:pt x="675" y="116"/>
                          <a:pt x="628" y="163"/>
                        </a:cubicBezTo>
                        <a:cubicBezTo>
                          <a:pt x="419" y="582"/>
                          <a:pt x="209" y="977"/>
                          <a:pt x="0" y="1396"/>
                        </a:cubicBezTo>
                        <a:cubicBezTo>
                          <a:pt x="209" y="977"/>
                          <a:pt x="419" y="582"/>
                          <a:pt x="628" y="163"/>
                        </a:cubicBezTo>
                        <a:cubicBezTo>
                          <a:pt x="651" y="116"/>
                          <a:pt x="698" y="70"/>
                          <a:pt x="744" y="0"/>
                        </a:cubicBez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49" name="Freeform: Shape 148">
                    <a:extLst>
                      <a:ext uri="{FF2B5EF4-FFF2-40B4-BE49-F238E27FC236}">
                        <a16:creationId xmlns:a16="http://schemas.microsoft.com/office/drawing/2014/main" id="{C2DB4FCC-EA84-4871-BF7E-FC88C77710C0}"/>
                      </a:ext>
                    </a:extLst>
                  </p:cNvPr>
                  <p:cNvSpPr/>
                  <p:nvPr/>
                </p:nvSpPr>
                <p:spPr>
                  <a:xfrm>
                    <a:off x="6172830" y="4057479"/>
                    <a:ext cx="2326" cy="2326"/>
                  </a:xfrm>
                  <a:custGeom>
                    <a:avLst/>
                    <a:gdLst>
                      <a:gd name="connsiteX0" fmla="*/ 0 w 0"/>
                      <a:gd name="connsiteY0" fmla="*/ 56 h 0"/>
                      <a:gd name="connsiteX1" fmla="*/ 0 w 0"/>
                      <a:gd name="connsiteY1" fmla="*/ 56 h 0"/>
                      <a:gd name="connsiteX2" fmla="*/ 326 w 0"/>
                      <a:gd name="connsiteY2" fmla="*/ 9 h 0"/>
                      <a:gd name="connsiteX3" fmla="*/ 0 w 0"/>
                      <a:gd name="connsiteY3" fmla="*/ 56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>
                        <a:moveTo>
                          <a:pt x="0" y="56"/>
                        </a:moveTo>
                        <a:lnTo>
                          <a:pt x="0" y="56"/>
                        </a:lnTo>
                        <a:cubicBezTo>
                          <a:pt x="116" y="9"/>
                          <a:pt x="209" y="9"/>
                          <a:pt x="326" y="9"/>
                        </a:cubicBezTo>
                        <a:cubicBezTo>
                          <a:pt x="209" y="-14"/>
                          <a:pt x="116" y="9"/>
                          <a:pt x="0" y="56"/>
                        </a:cubicBez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50" name="Freeform: Shape 149">
                    <a:extLst>
                      <a:ext uri="{FF2B5EF4-FFF2-40B4-BE49-F238E27FC236}">
                        <a16:creationId xmlns:a16="http://schemas.microsoft.com/office/drawing/2014/main" id="{5D7F8CF9-73E9-44F4-94D3-BF202468B5B5}"/>
                      </a:ext>
                    </a:extLst>
                  </p:cNvPr>
                  <p:cNvSpPr/>
                  <p:nvPr/>
                </p:nvSpPr>
                <p:spPr>
                  <a:xfrm>
                    <a:off x="6168248" y="4066072"/>
                    <a:ext cx="2326" cy="2326"/>
                  </a:xfrm>
                  <a:custGeom>
                    <a:avLst/>
                    <a:gdLst>
                      <a:gd name="connsiteX0" fmla="*/ 23 w 0"/>
                      <a:gd name="connsiteY0" fmla="*/ 675 h 0"/>
                      <a:gd name="connsiteX1" fmla="*/ 0 w 0"/>
                      <a:gd name="connsiteY1" fmla="*/ 791 h 0"/>
                      <a:gd name="connsiteX2" fmla="*/ 186 w 0"/>
                      <a:gd name="connsiteY2" fmla="*/ 0 h 0"/>
                      <a:gd name="connsiteX3" fmla="*/ 23 w 0"/>
                      <a:gd name="connsiteY3" fmla="*/ 675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>
                        <a:moveTo>
                          <a:pt x="23" y="675"/>
                        </a:moveTo>
                        <a:cubicBezTo>
                          <a:pt x="23" y="721"/>
                          <a:pt x="23" y="744"/>
                          <a:pt x="0" y="791"/>
                        </a:cubicBezTo>
                        <a:cubicBezTo>
                          <a:pt x="23" y="512"/>
                          <a:pt x="93" y="256"/>
                          <a:pt x="186" y="0"/>
                        </a:cubicBezTo>
                        <a:cubicBezTo>
                          <a:pt x="116" y="209"/>
                          <a:pt x="47" y="442"/>
                          <a:pt x="23" y="675"/>
                        </a:cubicBez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51" name="Freeform: Shape 150">
                    <a:extLst>
                      <a:ext uri="{FF2B5EF4-FFF2-40B4-BE49-F238E27FC236}">
                        <a16:creationId xmlns:a16="http://schemas.microsoft.com/office/drawing/2014/main" id="{CB825A3D-5870-4C5C-9A22-B67AFAD7F9F1}"/>
                      </a:ext>
                    </a:extLst>
                  </p:cNvPr>
                  <p:cNvSpPr/>
                  <p:nvPr/>
                </p:nvSpPr>
                <p:spPr>
                  <a:xfrm>
                    <a:off x="6207351" y="4029970"/>
                    <a:ext cx="2326" cy="2326"/>
                  </a:xfrm>
                  <a:custGeom>
                    <a:avLst/>
                    <a:gdLst>
                      <a:gd name="connsiteX0" fmla="*/ 2070 w 2326"/>
                      <a:gd name="connsiteY0" fmla="*/ 47 h 0"/>
                      <a:gd name="connsiteX1" fmla="*/ 0 w 2326"/>
                      <a:gd name="connsiteY1" fmla="*/ 419 h 0"/>
                      <a:gd name="connsiteX2" fmla="*/ 2070 w 2326"/>
                      <a:gd name="connsiteY2" fmla="*/ 47 h 0"/>
                      <a:gd name="connsiteX3" fmla="*/ 2396 w 2326"/>
                      <a:gd name="connsiteY3" fmla="*/ 0 h 0"/>
                      <a:gd name="connsiteX4" fmla="*/ 2070 w 2326"/>
                      <a:gd name="connsiteY4" fmla="*/ 0 h 0"/>
                      <a:gd name="connsiteX5" fmla="*/ 2070 w 2326"/>
                      <a:gd name="connsiteY5" fmla="*/ 47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2326">
                        <a:moveTo>
                          <a:pt x="2070" y="47"/>
                        </a:moveTo>
                        <a:cubicBezTo>
                          <a:pt x="1372" y="163"/>
                          <a:pt x="675" y="256"/>
                          <a:pt x="0" y="419"/>
                        </a:cubicBezTo>
                        <a:cubicBezTo>
                          <a:pt x="675" y="279"/>
                          <a:pt x="1372" y="163"/>
                          <a:pt x="2070" y="47"/>
                        </a:cubicBezTo>
                        <a:cubicBezTo>
                          <a:pt x="2163" y="47"/>
                          <a:pt x="2280" y="23"/>
                          <a:pt x="2396" y="0"/>
                        </a:cubicBezTo>
                        <a:lnTo>
                          <a:pt x="2070" y="0"/>
                        </a:lnTo>
                        <a:lnTo>
                          <a:pt x="2070" y="47"/>
                        </a:ln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52" name="Freeform: Shape 151">
                    <a:extLst>
                      <a:ext uri="{FF2B5EF4-FFF2-40B4-BE49-F238E27FC236}">
                        <a16:creationId xmlns:a16="http://schemas.microsoft.com/office/drawing/2014/main" id="{E04B94E9-7F41-466D-B58F-4C12AD87656B}"/>
                      </a:ext>
                    </a:extLst>
                  </p:cNvPr>
                  <p:cNvSpPr/>
                  <p:nvPr/>
                </p:nvSpPr>
                <p:spPr>
                  <a:xfrm>
                    <a:off x="6171411" y="4046323"/>
                    <a:ext cx="9305" cy="2326"/>
                  </a:xfrm>
                  <a:custGeom>
                    <a:avLst/>
                    <a:gdLst>
                      <a:gd name="connsiteX0" fmla="*/ 8653 w 9304"/>
                      <a:gd name="connsiteY0" fmla="*/ 186 h 0"/>
                      <a:gd name="connsiteX1" fmla="*/ 8653 w 9304"/>
                      <a:gd name="connsiteY1" fmla="*/ 186 h 0"/>
                      <a:gd name="connsiteX2" fmla="*/ 9816 w 9304"/>
                      <a:gd name="connsiteY2" fmla="*/ 907 h 0"/>
                      <a:gd name="connsiteX3" fmla="*/ 9816 w 9304"/>
                      <a:gd name="connsiteY3" fmla="*/ 930 h 0"/>
                      <a:gd name="connsiteX4" fmla="*/ 10607 w 9304"/>
                      <a:gd name="connsiteY4" fmla="*/ 0 h 0"/>
                      <a:gd name="connsiteX5" fmla="*/ 9374 w 9304"/>
                      <a:gd name="connsiteY5" fmla="*/ 0 h 0"/>
                      <a:gd name="connsiteX6" fmla="*/ 8095 w 9304"/>
                      <a:gd name="connsiteY6" fmla="*/ 0 h 0"/>
                      <a:gd name="connsiteX7" fmla="*/ 6769 w 9304"/>
                      <a:gd name="connsiteY7" fmla="*/ 0 h 0"/>
                      <a:gd name="connsiteX8" fmla="*/ 5397 w 9304"/>
                      <a:gd name="connsiteY8" fmla="*/ 0 h 0"/>
                      <a:gd name="connsiteX9" fmla="*/ 4048 w 9304"/>
                      <a:gd name="connsiteY9" fmla="*/ 0 h 0"/>
                      <a:gd name="connsiteX10" fmla="*/ 2698 w 9304"/>
                      <a:gd name="connsiteY10" fmla="*/ 0 h 0"/>
                      <a:gd name="connsiteX11" fmla="*/ 1396 w 9304"/>
                      <a:gd name="connsiteY11" fmla="*/ 0 h 0"/>
                      <a:gd name="connsiteX12" fmla="*/ 163 w 9304"/>
                      <a:gd name="connsiteY12" fmla="*/ 0 h 0"/>
                      <a:gd name="connsiteX13" fmla="*/ 0 w 9304"/>
                      <a:gd name="connsiteY13" fmla="*/ 209 h 0"/>
                      <a:gd name="connsiteX14" fmla="*/ 8653 w 9304"/>
                      <a:gd name="connsiteY14" fmla="*/ 209 h 0"/>
                      <a:gd name="connsiteX15" fmla="*/ 8653 w 9304"/>
                      <a:gd name="connsiteY15" fmla="*/ 186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</a:cxnLst>
                    <a:rect l="l" t="t" r="r" b="b"/>
                    <a:pathLst>
                      <a:path w="9304">
                        <a:moveTo>
                          <a:pt x="8653" y="186"/>
                        </a:moveTo>
                        <a:lnTo>
                          <a:pt x="8653" y="186"/>
                        </a:lnTo>
                        <a:cubicBezTo>
                          <a:pt x="9072" y="186"/>
                          <a:pt x="9491" y="419"/>
                          <a:pt x="9816" y="907"/>
                        </a:cubicBezTo>
                        <a:lnTo>
                          <a:pt x="9816" y="930"/>
                        </a:lnTo>
                        <a:cubicBezTo>
                          <a:pt x="10096" y="605"/>
                          <a:pt x="10351" y="302"/>
                          <a:pt x="10607" y="0"/>
                        </a:cubicBezTo>
                        <a:cubicBezTo>
                          <a:pt x="10235" y="0"/>
                          <a:pt x="9747" y="0"/>
                          <a:pt x="9374" y="0"/>
                        </a:cubicBezTo>
                        <a:cubicBezTo>
                          <a:pt x="9002" y="0"/>
                          <a:pt x="8467" y="0"/>
                          <a:pt x="8095" y="0"/>
                        </a:cubicBezTo>
                        <a:cubicBezTo>
                          <a:pt x="7700" y="0"/>
                          <a:pt x="7165" y="0"/>
                          <a:pt x="6769" y="0"/>
                        </a:cubicBezTo>
                        <a:cubicBezTo>
                          <a:pt x="6350" y="0"/>
                          <a:pt x="5815" y="0"/>
                          <a:pt x="5397" y="0"/>
                        </a:cubicBezTo>
                        <a:cubicBezTo>
                          <a:pt x="5001" y="0"/>
                          <a:pt x="4443" y="0"/>
                          <a:pt x="4048" y="0"/>
                        </a:cubicBezTo>
                        <a:cubicBezTo>
                          <a:pt x="3652" y="0"/>
                          <a:pt x="3094" y="0"/>
                          <a:pt x="2698" y="0"/>
                        </a:cubicBezTo>
                        <a:cubicBezTo>
                          <a:pt x="2303" y="0"/>
                          <a:pt x="1791" y="0"/>
                          <a:pt x="1396" y="0"/>
                        </a:cubicBezTo>
                        <a:cubicBezTo>
                          <a:pt x="1024" y="0"/>
                          <a:pt x="535" y="0"/>
                          <a:pt x="163" y="0"/>
                        </a:cubicBezTo>
                        <a:cubicBezTo>
                          <a:pt x="116" y="70"/>
                          <a:pt x="70" y="140"/>
                          <a:pt x="0" y="209"/>
                        </a:cubicBezTo>
                        <a:lnTo>
                          <a:pt x="8653" y="209"/>
                        </a:lnTo>
                        <a:lnTo>
                          <a:pt x="8653" y="186"/>
                        </a:ln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53" name="Freeform: Shape 152">
                    <a:extLst>
                      <a:ext uri="{FF2B5EF4-FFF2-40B4-BE49-F238E27FC236}">
                        <a16:creationId xmlns:a16="http://schemas.microsoft.com/office/drawing/2014/main" id="{123C04CA-057F-4223-A634-5B130494A6BE}"/>
                      </a:ext>
                    </a:extLst>
                  </p:cNvPr>
                  <p:cNvSpPr/>
                  <p:nvPr/>
                </p:nvSpPr>
                <p:spPr>
                  <a:xfrm>
                    <a:off x="6204210" y="4030854"/>
                    <a:ext cx="2326" cy="2326"/>
                  </a:xfrm>
                  <a:custGeom>
                    <a:avLst/>
                    <a:gdLst>
                      <a:gd name="connsiteX0" fmla="*/ 70 w 0"/>
                      <a:gd name="connsiteY0" fmla="*/ 256 h 0"/>
                      <a:gd name="connsiteX1" fmla="*/ 70 w 0"/>
                      <a:gd name="connsiteY1" fmla="*/ 279 h 0"/>
                      <a:gd name="connsiteX2" fmla="*/ 1093 w 0"/>
                      <a:gd name="connsiteY2" fmla="*/ 0 h 0"/>
                      <a:gd name="connsiteX3" fmla="*/ 0 w 0"/>
                      <a:gd name="connsiteY3" fmla="*/ 0 h 0"/>
                      <a:gd name="connsiteX4" fmla="*/ 70 w 0"/>
                      <a:gd name="connsiteY4" fmla="*/ 256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>
                        <a:moveTo>
                          <a:pt x="70" y="256"/>
                        </a:moveTo>
                        <a:lnTo>
                          <a:pt x="70" y="279"/>
                        </a:lnTo>
                        <a:cubicBezTo>
                          <a:pt x="419" y="186"/>
                          <a:pt x="744" y="93"/>
                          <a:pt x="1093" y="0"/>
                        </a:cubicBezTo>
                        <a:cubicBezTo>
                          <a:pt x="768" y="0"/>
                          <a:pt x="349" y="0"/>
                          <a:pt x="0" y="0"/>
                        </a:cubicBezTo>
                        <a:cubicBezTo>
                          <a:pt x="23" y="93"/>
                          <a:pt x="47" y="163"/>
                          <a:pt x="70" y="256"/>
                        </a:cubicBez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54" name="Freeform: Shape 153">
                    <a:extLst>
                      <a:ext uri="{FF2B5EF4-FFF2-40B4-BE49-F238E27FC236}">
                        <a16:creationId xmlns:a16="http://schemas.microsoft.com/office/drawing/2014/main" id="{634AF092-856F-4E99-89D7-B09E31DE46BD}"/>
                      </a:ext>
                    </a:extLst>
                  </p:cNvPr>
                  <p:cNvSpPr/>
                  <p:nvPr/>
                </p:nvSpPr>
                <p:spPr>
                  <a:xfrm>
                    <a:off x="6163898" y="4056767"/>
                    <a:ext cx="9305" cy="2326"/>
                  </a:xfrm>
                  <a:custGeom>
                    <a:avLst/>
                    <a:gdLst>
                      <a:gd name="connsiteX0" fmla="*/ 10165 w 9304"/>
                      <a:gd name="connsiteY0" fmla="*/ 1117 h 0"/>
                      <a:gd name="connsiteX1" fmla="*/ 10165 w 9304"/>
                      <a:gd name="connsiteY1" fmla="*/ 1117 h 0"/>
                      <a:gd name="connsiteX2" fmla="*/ 10817 w 9304"/>
                      <a:gd name="connsiteY2" fmla="*/ 0 h 0"/>
                      <a:gd name="connsiteX3" fmla="*/ 395 w 9304"/>
                      <a:gd name="connsiteY3" fmla="*/ 0 h 0"/>
                      <a:gd name="connsiteX4" fmla="*/ 0 w 9304"/>
                      <a:gd name="connsiteY4" fmla="*/ 698 h 0"/>
                      <a:gd name="connsiteX5" fmla="*/ 9235 w 9304"/>
                      <a:gd name="connsiteY5" fmla="*/ 698 h 0"/>
                      <a:gd name="connsiteX6" fmla="*/ 10165 w 9304"/>
                      <a:gd name="connsiteY6" fmla="*/ 1117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304">
                        <a:moveTo>
                          <a:pt x="10165" y="1117"/>
                        </a:moveTo>
                        <a:lnTo>
                          <a:pt x="10165" y="1117"/>
                        </a:lnTo>
                        <a:cubicBezTo>
                          <a:pt x="10398" y="744"/>
                          <a:pt x="10607" y="372"/>
                          <a:pt x="10817" y="0"/>
                        </a:cubicBezTo>
                        <a:lnTo>
                          <a:pt x="395" y="0"/>
                        </a:lnTo>
                        <a:cubicBezTo>
                          <a:pt x="256" y="233"/>
                          <a:pt x="140" y="465"/>
                          <a:pt x="0" y="698"/>
                        </a:cubicBezTo>
                        <a:lnTo>
                          <a:pt x="9235" y="698"/>
                        </a:lnTo>
                        <a:cubicBezTo>
                          <a:pt x="9584" y="698"/>
                          <a:pt x="9886" y="837"/>
                          <a:pt x="10165" y="1117"/>
                        </a:cubicBez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55" name="Freeform: Shape 154">
                    <a:extLst>
                      <a:ext uri="{FF2B5EF4-FFF2-40B4-BE49-F238E27FC236}">
                        <a16:creationId xmlns:a16="http://schemas.microsoft.com/office/drawing/2014/main" id="{6156C5B9-9838-4ED7-9B30-1BEE93288FE3}"/>
                      </a:ext>
                    </a:extLst>
                  </p:cNvPr>
                  <p:cNvSpPr/>
                  <p:nvPr/>
                </p:nvSpPr>
                <p:spPr>
                  <a:xfrm>
                    <a:off x="6167434" y="4051277"/>
                    <a:ext cx="9305" cy="2326"/>
                  </a:xfrm>
                  <a:custGeom>
                    <a:avLst/>
                    <a:gdLst>
                      <a:gd name="connsiteX0" fmla="*/ 8979 w 9304"/>
                      <a:gd name="connsiteY0" fmla="*/ 465 h 0"/>
                      <a:gd name="connsiteX1" fmla="*/ 8979 w 9304"/>
                      <a:gd name="connsiteY1" fmla="*/ 465 h 0"/>
                      <a:gd name="connsiteX2" fmla="*/ 10026 w 9304"/>
                      <a:gd name="connsiteY2" fmla="*/ 1024 h 0"/>
                      <a:gd name="connsiteX3" fmla="*/ 10026 w 9304"/>
                      <a:gd name="connsiteY3" fmla="*/ 1047 h 0"/>
                      <a:gd name="connsiteX4" fmla="*/ 10398 w 9304"/>
                      <a:gd name="connsiteY4" fmla="*/ 535 h 0"/>
                      <a:gd name="connsiteX5" fmla="*/ 10747 w 9304"/>
                      <a:gd name="connsiteY5" fmla="*/ 0 h 0"/>
                      <a:gd name="connsiteX6" fmla="*/ 10607 w 9304"/>
                      <a:gd name="connsiteY6" fmla="*/ 0 h 0"/>
                      <a:gd name="connsiteX7" fmla="*/ 10445 w 9304"/>
                      <a:gd name="connsiteY7" fmla="*/ 0 h 0"/>
                      <a:gd name="connsiteX8" fmla="*/ 10282 w 9304"/>
                      <a:gd name="connsiteY8" fmla="*/ 0 h 0"/>
                      <a:gd name="connsiteX9" fmla="*/ 10142 w 9304"/>
                      <a:gd name="connsiteY9" fmla="*/ 0 h 0"/>
                      <a:gd name="connsiteX10" fmla="*/ 9979 w 9304"/>
                      <a:gd name="connsiteY10" fmla="*/ 0 h 0"/>
                      <a:gd name="connsiteX11" fmla="*/ 9816 w 9304"/>
                      <a:gd name="connsiteY11" fmla="*/ 0 h 0"/>
                      <a:gd name="connsiteX12" fmla="*/ 9654 w 9304"/>
                      <a:gd name="connsiteY12" fmla="*/ 0 h 0"/>
                      <a:gd name="connsiteX13" fmla="*/ 9491 w 9304"/>
                      <a:gd name="connsiteY13" fmla="*/ 0 h 0"/>
                      <a:gd name="connsiteX14" fmla="*/ 9165 w 9304"/>
                      <a:gd name="connsiteY14" fmla="*/ 0 h 0"/>
                      <a:gd name="connsiteX15" fmla="*/ 8839 w 9304"/>
                      <a:gd name="connsiteY15" fmla="*/ 0 h 0"/>
                      <a:gd name="connsiteX16" fmla="*/ 8514 w 9304"/>
                      <a:gd name="connsiteY16" fmla="*/ 0 h 0"/>
                      <a:gd name="connsiteX17" fmla="*/ 8188 w 9304"/>
                      <a:gd name="connsiteY17" fmla="*/ 0 h 0"/>
                      <a:gd name="connsiteX18" fmla="*/ 7862 w 9304"/>
                      <a:gd name="connsiteY18" fmla="*/ 0 h 0"/>
                      <a:gd name="connsiteX19" fmla="*/ 7537 w 9304"/>
                      <a:gd name="connsiteY19" fmla="*/ 0 h 0"/>
                      <a:gd name="connsiteX20" fmla="*/ 7211 w 9304"/>
                      <a:gd name="connsiteY20" fmla="*/ 0 h 0"/>
                      <a:gd name="connsiteX21" fmla="*/ 6862 w 9304"/>
                      <a:gd name="connsiteY21" fmla="*/ 0 h 0"/>
                      <a:gd name="connsiteX22" fmla="*/ 6699 w 9304"/>
                      <a:gd name="connsiteY22" fmla="*/ 0 h 0"/>
                      <a:gd name="connsiteX23" fmla="*/ 6537 w 9304"/>
                      <a:gd name="connsiteY23" fmla="*/ 0 h 0"/>
                      <a:gd name="connsiteX24" fmla="*/ 6374 w 9304"/>
                      <a:gd name="connsiteY24" fmla="*/ 0 h 0"/>
                      <a:gd name="connsiteX25" fmla="*/ 6211 w 9304"/>
                      <a:gd name="connsiteY25" fmla="*/ 0 h 0"/>
                      <a:gd name="connsiteX26" fmla="*/ 6048 w 9304"/>
                      <a:gd name="connsiteY26" fmla="*/ 0 h 0"/>
                      <a:gd name="connsiteX27" fmla="*/ 5885 w 9304"/>
                      <a:gd name="connsiteY27" fmla="*/ 0 h 0"/>
                      <a:gd name="connsiteX28" fmla="*/ 5722 w 9304"/>
                      <a:gd name="connsiteY28" fmla="*/ 0 h 0"/>
                      <a:gd name="connsiteX29" fmla="*/ 5560 w 9304"/>
                      <a:gd name="connsiteY29" fmla="*/ 0 h 0"/>
                      <a:gd name="connsiteX30" fmla="*/ 4885 w 9304"/>
                      <a:gd name="connsiteY30" fmla="*/ 0 h 0"/>
                      <a:gd name="connsiteX31" fmla="*/ 4210 w 9304"/>
                      <a:gd name="connsiteY31" fmla="*/ 0 h 0"/>
                      <a:gd name="connsiteX32" fmla="*/ 3536 w 9304"/>
                      <a:gd name="connsiteY32" fmla="*/ 0 h 0"/>
                      <a:gd name="connsiteX33" fmla="*/ 2861 w 9304"/>
                      <a:gd name="connsiteY33" fmla="*/ 0 h 0"/>
                      <a:gd name="connsiteX34" fmla="*/ 2210 w 9304"/>
                      <a:gd name="connsiteY34" fmla="*/ 0 h 0"/>
                      <a:gd name="connsiteX35" fmla="*/ 1559 w 9304"/>
                      <a:gd name="connsiteY35" fmla="*/ 0 h 0"/>
                      <a:gd name="connsiteX36" fmla="*/ 930 w 9304"/>
                      <a:gd name="connsiteY36" fmla="*/ 0 h 0"/>
                      <a:gd name="connsiteX37" fmla="*/ 326 w 9304"/>
                      <a:gd name="connsiteY37" fmla="*/ 0 h 0"/>
                      <a:gd name="connsiteX38" fmla="*/ 0 w 9304"/>
                      <a:gd name="connsiteY38" fmla="*/ 465 h 0"/>
                      <a:gd name="connsiteX39" fmla="*/ 8979 w 9304"/>
                      <a:gd name="connsiteY39" fmla="*/ 465 h 0"/>
                      <a:gd name="connsiteX40" fmla="*/ 8979 w 9304"/>
                      <a:gd name="connsiteY40" fmla="*/ 465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</a:cxnLst>
                    <a:rect l="l" t="t" r="r" b="b"/>
                    <a:pathLst>
                      <a:path w="9304">
                        <a:moveTo>
                          <a:pt x="8979" y="465"/>
                        </a:moveTo>
                        <a:lnTo>
                          <a:pt x="8979" y="465"/>
                        </a:lnTo>
                        <a:cubicBezTo>
                          <a:pt x="9351" y="465"/>
                          <a:pt x="9723" y="651"/>
                          <a:pt x="10026" y="1024"/>
                        </a:cubicBezTo>
                        <a:lnTo>
                          <a:pt x="10026" y="1047"/>
                        </a:lnTo>
                        <a:cubicBezTo>
                          <a:pt x="10142" y="884"/>
                          <a:pt x="10258" y="698"/>
                          <a:pt x="10398" y="535"/>
                        </a:cubicBezTo>
                        <a:cubicBezTo>
                          <a:pt x="10514" y="349"/>
                          <a:pt x="10631" y="186"/>
                          <a:pt x="10747" y="0"/>
                        </a:cubicBezTo>
                        <a:cubicBezTo>
                          <a:pt x="10700" y="0"/>
                          <a:pt x="10654" y="0"/>
                          <a:pt x="10607" y="0"/>
                        </a:cubicBezTo>
                        <a:cubicBezTo>
                          <a:pt x="10561" y="0"/>
                          <a:pt x="10491" y="0"/>
                          <a:pt x="10445" y="0"/>
                        </a:cubicBezTo>
                        <a:cubicBezTo>
                          <a:pt x="10398" y="0"/>
                          <a:pt x="10328" y="0"/>
                          <a:pt x="10282" y="0"/>
                        </a:cubicBezTo>
                        <a:cubicBezTo>
                          <a:pt x="10235" y="0"/>
                          <a:pt x="10165" y="0"/>
                          <a:pt x="10142" y="0"/>
                        </a:cubicBezTo>
                        <a:cubicBezTo>
                          <a:pt x="10096" y="0"/>
                          <a:pt x="10026" y="0"/>
                          <a:pt x="9979" y="0"/>
                        </a:cubicBezTo>
                        <a:cubicBezTo>
                          <a:pt x="9933" y="0"/>
                          <a:pt x="9863" y="0"/>
                          <a:pt x="9816" y="0"/>
                        </a:cubicBezTo>
                        <a:cubicBezTo>
                          <a:pt x="9770" y="0"/>
                          <a:pt x="9700" y="0"/>
                          <a:pt x="9654" y="0"/>
                        </a:cubicBezTo>
                        <a:cubicBezTo>
                          <a:pt x="9607" y="0"/>
                          <a:pt x="9537" y="0"/>
                          <a:pt x="9491" y="0"/>
                        </a:cubicBezTo>
                        <a:cubicBezTo>
                          <a:pt x="9398" y="0"/>
                          <a:pt x="9281" y="0"/>
                          <a:pt x="9165" y="0"/>
                        </a:cubicBezTo>
                        <a:cubicBezTo>
                          <a:pt x="9049" y="0"/>
                          <a:pt x="8933" y="0"/>
                          <a:pt x="8839" y="0"/>
                        </a:cubicBezTo>
                        <a:cubicBezTo>
                          <a:pt x="8723" y="0"/>
                          <a:pt x="8607" y="0"/>
                          <a:pt x="8514" y="0"/>
                        </a:cubicBezTo>
                        <a:cubicBezTo>
                          <a:pt x="8397" y="0"/>
                          <a:pt x="8281" y="0"/>
                          <a:pt x="8188" y="0"/>
                        </a:cubicBezTo>
                        <a:cubicBezTo>
                          <a:pt x="8095" y="0"/>
                          <a:pt x="7955" y="0"/>
                          <a:pt x="7862" y="0"/>
                        </a:cubicBezTo>
                        <a:cubicBezTo>
                          <a:pt x="7769" y="0"/>
                          <a:pt x="7630" y="0"/>
                          <a:pt x="7537" y="0"/>
                        </a:cubicBezTo>
                        <a:cubicBezTo>
                          <a:pt x="7444" y="0"/>
                          <a:pt x="7304" y="0"/>
                          <a:pt x="7211" y="0"/>
                        </a:cubicBezTo>
                        <a:cubicBezTo>
                          <a:pt x="7118" y="0"/>
                          <a:pt x="6979" y="0"/>
                          <a:pt x="6862" y="0"/>
                        </a:cubicBezTo>
                        <a:cubicBezTo>
                          <a:pt x="6816" y="0"/>
                          <a:pt x="6746" y="0"/>
                          <a:pt x="6699" y="0"/>
                        </a:cubicBezTo>
                        <a:cubicBezTo>
                          <a:pt x="6630" y="0"/>
                          <a:pt x="6583" y="0"/>
                          <a:pt x="6537" y="0"/>
                        </a:cubicBezTo>
                        <a:cubicBezTo>
                          <a:pt x="6490" y="0"/>
                          <a:pt x="6420" y="0"/>
                          <a:pt x="6374" y="0"/>
                        </a:cubicBezTo>
                        <a:cubicBezTo>
                          <a:pt x="6327" y="0"/>
                          <a:pt x="6257" y="0"/>
                          <a:pt x="6211" y="0"/>
                        </a:cubicBezTo>
                        <a:cubicBezTo>
                          <a:pt x="6164" y="0"/>
                          <a:pt x="6095" y="0"/>
                          <a:pt x="6048" y="0"/>
                        </a:cubicBezTo>
                        <a:cubicBezTo>
                          <a:pt x="6002" y="0"/>
                          <a:pt x="5932" y="0"/>
                          <a:pt x="5885" y="0"/>
                        </a:cubicBezTo>
                        <a:cubicBezTo>
                          <a:pt x="5839" y="0"/>
                          <a:pt x="5769" y="0"/>
                          <a:pt x="5722" y="0"/>
                        </a:cubicBezTo>
                        <a:cubicBezTo>
                          <a:pt x="5676" y="0"/>
                          <a:pt x="5606" y="0"/>
                          <a:pt x="5560" y="0"/>
                        </a:cubicBezTo>
                        <a:cubicBezTo>
                          <a:pt x="5350" y="0"/>
                          <a:pt x="5071" y="0"/>
                          <a:pt x="4885" y="0"/>
                        </a:cubicBezTo>
                        <a:cubicBezTo>
                          <a:pt x="4676" y="0"/>
                          <a:pt x="4396" y="0"/>
                          <a:pt x="4210" y="0"/>
                        </a:cubicBezTo>
                        <a:cubicBezTo>
                          <a:pt x="4001" y="0"/>
                          <a:pt x="3722" y="0"/>
                          <a:pt x="3536" y="0"/>
                        </a:cubicBezTo>
                        <a:cubicBezTo>
                          <a:pt x="3326" y="0"/>
                          <a:pt x="3071" y="0"/>
                          <a:pt x="2861" y="0"/>
                        </a:cubicBezTo>
                        <a:cubicBezTo>
                          <a:pt x="2675" y="0"/>
                          <a:pt x="2419" y="0"/>
                          <a:pt x="2210" y="0"/>
                        </a:cubicBezTo>
                        <a:cubicBezTo>
                          <a:pt x="2024" y="0"/>
                          <a:pt x="1768" y="0"/>
                          <a:pt x="1559" y="0"/>
                        </a:cubicBezTo>
                        <a:cubicBezTo>
                          <a:pt x="1372" y="0"/>
                          <a:pt x="1140" y="0"/>
                          <a:pt x="930" y="0"/>
                        </a:cubicBezTo>
                        <a:cubicBezTo>
                          <a:pt x="768" y="0"/>
                          <a:pt x="512" y="0"/>
                          <a:pt x="326" y="0"/>
                        </a:cubicBezTo>
                        <a:cubicBezTo>
                          <a:pt x="233" y="163"/>
                          <a:pt x="116" y="326"/>
                          <a:pt x="0" y="465"/>
                        </a:cubicBezTo>
                        <a:lnTo>
                          <a:pt x="8979" y="465"/>
                        </a:lnTo>
                        <a:lnTo>
                          <a:pt x="8979" y="465"/>
                        </a:ln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56" name="Freeform: Shape 155">
                    <a:extLst>
                      <a:ext uri="{FF2B5EF4-FFF2-40B4-BE49-F238E27FC236}">
                        <a16:creationId xmlns:a16="http://schemas.microsoft.com/office/drawing/2014/main" id="{320995D9-0075-4305-84D8-83B968E80CC3}"/>
                      </a:ext>
                    </a:extLst>
                  </p:cNvPr>
                  <p:cNvSpPr/>
                  <p:nvPr/>
                </p:nvSpPr>
                <p:spPr>
                  <a:xfrm>
                    <a:off x="6168387" y="4067933"/>
                    <a:ext cx="2326" cy="2326"/>
                  </a:xfrm>
                  <a:custGeom>
                    <a:avLst/>
                    <a:gdLst>
                      <a:gd name="connsiteX0" fmla="*/ 23 w 0"/>
                      <a:gd name="connsiteY0" fmla="*/ 93 h 0"/>
                      <a:gd name="connsiteX1" fmla="*/ 116 w 0"/>
                      <a:gd name="connsiteY1" fmla="*/ 326 h 0"/>
                      <a:gd name="connsiteX2" fmla="*/ 0 w 0"/>
                      <a:gd name="connsiteY2" fmla="*/ 0 h 0"/>
                      <a:gd name="connsiteX3" fmla="*/ 23 w 0"/>
                      <a:gd name="connsiteY3" fmla="*/ 93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>
                        <a:moveTo>
                          <a:pt x="23" y="93"/>
                        </a:moveTo>
                        <a:cubicBezTo>
                          <a:pt x="47" y="186"/>
                          <a:pt x="93" y="256"/>
                          <a:pt x="116" y="326"/>
                        </a:cubicBezTo>
                        <a:cubicBezTo>
                          <a:pt x="70" y="209"/>
                          <a:pt x="23" y="116"/>
                          <a:pt x="0" y="0"/>
                        </a:cubicBezTo>
                        <a:cubicBezTo>
                          <a:pt x="0" y="46"/>
                          <a:pt x="0" y="70"/>
                          <a:pt x="23" y="93"/>
                        </a:cubicBez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57" name="Freeform: Shape 156">
                    <a:extLst>
                      <a:ext uri="{FF2B5EF4-FFF2-40B4-BE49-F238E27FC236}">
                        <a16:creationId xmlns:a16="http://schemas.microsoft.com/office/drawing/2014/main" id="{DBB3A4A1-4857-4B36-9208-D9F3701C0A52}"/>
                      </a:ext>
                    </a:extLst>
                  </p:cNvPr>
                  <p:cNvSpPr/>
                  <p:nvPr/>
                </p:nvSpPr>
                <p:spPr>
                  <a:xfrm>
                    <a:off x="6168690" y="4068631"/>
                    <a:ext cx="2326" cy="2326"/>
                  </a:xfrm>
                  <a:custGeom>
                    <a:avLst/>
                    <a:gdLst>
                      <a:gd name="connsiteX0" fmla="*/ 23 w 0"/>
                      <a:gd name="connsiteY0" fmla="*/ 47 h 0"/>
                      <a:gd name="connsiteX1" fmla="*/ 349 w 0"/>
                      <a:gd name="connsiteY1" fmla="*/ 442 h 0"/>
                      <a:gd name="connsiteX2" fmla="*/ 0 w 0"/>
                      <a:gd name="connsiteY2" fmla="*/ 0 h 0"/>
                      <a:gd name="connsiteX3" fmla="*/ 23 w 0"/>
                      <a:gd name="connsiteY3" fmla="*/ 47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>
                        <a:moveTo>
                          <a:pt x="23" y="47"/>
                        </a:moveTo>
                        <a:cubicBezTo>
                          <a:pt x="116" y="186"/>
                          <a:pt x="233" y="326"/>
                          <a:pt x="349" y="442"/>
                        </a:cubicBezTo>
                        <a:cubicBezTo>
                          <a:pt x="209" y="326"/>
                          <a:pt x="93" y="163"/>
                          <a:pt x="0" y="0"/>
                        </a:cubicBezTo>
                        <a:cubicBezTo>
                          <a:pt x="0" y="0"/>
                          <a:pt x="0" y="23"/>
                          <a:pt x="23" y="47"/>
                        </a:cubicBez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58" name="Freeform: Shape 157">
                    <a:extLst>
                      <a:ext uri="{FF2B5EF4-FFF2-40B4-BE49-F238E27FC236}">
                        <a16:creationId xmlns:a16="http://schemas.microsoft.com/office/drawing/2014/main" id="{508ADC25-1C33-429D-AE5B-F3201833E9ED}"/>
                      </a:ext>
                    </a:extLst>
                  </p:cNvPr>
                  <p:cNvSpPr/>
                  <p:nvPr/>
                </p:nvSpPr>
                <p:spPr>
                  <a:xfrm>
                    <a:off x="6200349" y="4030900"/>
                    <a:ext cx="2326" cy="2326"/>
                  </a:xfrm>
                  <a:custGeom>
                    <a:avLst/>
                    <a:gdLst>
                      <a:gd name="connsiteX0" fmla="*/ 23 w 0"/>
                      <a:gd name="connsiteY0" fmla="*/ 0 h 0"/>
                      <a:gd name="connsiteX1" fmla="*/ 0 w 0"/>
                      <a:gd name="connsiteY1" fmla="*/ 116 h 0"/>
                      <a:gd name="connsiteX2" fmla="*/ 0 w 0"/>
                      <a:gd name="connsiteY2" fmla="*/ 116 h 0"/>
                      <a:gd name="connsiteX3" fmla="*/ 23 w 0"/>
                      <a:gd name="connsiteY3" fmla="*/ 0 h 0"/>
                      <a:gd name="connsiteX4" fmla="*/ 23 w 0"/>
                      <a:gd name="connsiteY4" fmla="*/ 0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>
                        <a:moveTo>
                          <a:pt x="23" y="0"/>
                        </a:moveTo>
                        <a:cubicBezTo>
                          <a:pt x="23" y="23"/>
                          <a:pt x="0" y="70"/>
                          <a:pt x="0" y="116"/>
                        </a:cubicBezTo>
                        <a:lnTo>
                          <a:pt x="0" y="116"/>
                        </a:lnTo>
                        <a:cubicBezTo>
                          <a:pt x="23" y="70"/>
                          <a:pt x="23" y="23"/>
                          <a:pt x="23" y="0"/>
                        </a:cubicBezTo>
                        <a:lnTo>
                          <a:pt x="23" y="0"/>
                        </a:ln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59" name="Freeform: Shape 158">
                    <a:extLst>
                      <a:ext uri="{FF2B5EF4-FFF2-40B4-BE49-F238E27FC236}">
                        <a16:creationId xmlns:a16="http://schemas.microsoft.com/office/drawing/2014/main" id="{B3F06035-5372-48C4-BEC2-591882B6F714}"/>
                      </a:ext>
                    </a:extLst>
                  </p:cNvPr>
                  <p:cNvSpPr/>
                  <p:nvPr/>
                </p:nvSpPr>
                <p:spPr>
                  <a:xfrm>
                    <a:off x="6168225" y="4134322"/>
                    <a:ext cx="2326" cy="2326"/>
                  </a:xfrm>
                  <a:custGeom>
                    <a:avLst/>
                    <a:gdLst>
                      <a:gd name="connsiteX0" fmla="*/ 0 w 0"/>
                      <a:gd name="connsiteY0" fmla="*/ 512 h 0"/>
                      <a:gd name="connsiteX1" fmla="*/ 0 w 0"/>
                      <a:gd name="connsiteY1" fmla="*/ 512 h 0"/>
                      <a:gd name="connsiteX2" fmla="*/ 442 w 0"/>
                      <a:gd name="connsiteY2" fmla="*/ 0 h 0"/>
                      <a:gd name="connsiteX3" fmla="*/ 0 w 0"/>
                      <a:gd name="connsiteY3" fmla="*/ 512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>
                        <a:moveTo>
                          <a:pt x="0" y="512"/>
                        </a:moveTo>
                        <a:lnTo>
                          <a:pt x="0" y="512"/>
                        </a:lnTo>
                        <a:cubicBezTo>
                          <a:pt x="116" y="302"/>
                          <a:pt x="279" y="140"/>
                          <a:pt x="442" y="0"/>
                        </a:cubicBezTo>
                        <a:cubicBezTo>
                          <a:pt x="279" y="140"/>
                          <a:pt x="140" y="302"/>
                          <a:pt x="0" y="512"/>
                        </a:cubicBez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60" name="Freeform: Shape 159">
                    <a:extLst>
                      <a:ext uri="{FF2B5EF4-FFF2-40B4-BE49-F238E27FC236}">
                        <a16:creationId xmlns:a16="http://schemas.microsoft.com/office/drawing/2014/main" id="{CC4820FB-ADEF-4DD3-AC6A-0E71F4EC13C7}"/>
                      </a:ext>
                    </a:extLst>
                  </p:cNvPr>
                  <p:cNvSpPr/>
                  <p:nvPr/>
                </p:nvSpPr>
                <p:spPr>
                  <a:xfrm>
                    <a:off x="6194557" y="4169005"/>
                    <a:ext cx="2326" cy="2326"/>
                  </a:xfrm>
                  <a:custGeom>
                    <a:avLst/>
                    <a:gdLst>
                      <a:gd name="connsiteX0" fmla="*/ 0 w 0"/>
                      <a:gd name="connsiteY0" fmla="*/ 0 h 0"/>
                      <a:gd name="connsiteX1" fmla="*/ 0 w 0"/>
                      <a:gd name="connsiteY1" fmla="*/ 0 h 0"/>
                      <a:gd name="connsiteX2" fmla="*/ 0 w 0"/>
                      <a:gd name="connsiteY2" fmla="*/ 0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61" name="Freeform: Shape 160">
                    <a:extLst>
                      <a:ext uri="{FF2B5EF4-FFF2-40B4-BE49-F238E27FC236}">
                        <a16:creationId xmlns:a16="http://schemas.microsoft.com/office/drawing/2014/main" id="{A6A5B904-6153-4139-8EFB-A60EAA1529BF}"/>
                      </a:ext>
                    </a:extLst>
                  </p:cNvPr>
                  <p:cNvSpPr/>
                  <p:nvPr/>
                </p:nvSpPr>
                <p:spPr>
                  <a:xfrm>
                    <a:off x="6194650" y="4170889"/>
                    <a:ext cx="2326" cy="2326"/>
                  </a:xfrm>
                  <a:custGeom>
                    <a:avLst/>
                    <a:gdLst>
                      <a:gd name="connsiteX0" fmla="*/ 256 w 0"/>
                      <a:gd name="connsiteY0" fmla="*/ 512 h 0"/>
                      <a:gd name="connsiteX1" fmla="*/ 256 w 0"/>
                      <a:gd name="connsiteY1" fmla="*/ 512 h 0"/>
                      <a:gd name="connsiteX2" fmla="*/ 0 w 0"/>
                      <a:gd name="connsiteY2" fmla="*/ 0 h 0"/>
                      <a:gd name="connsiteX3" fmla="*/ 256 w 0"/>
                      <a:gd name="connsiteY3" fmla="*/ 512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>
                        <a:moveTo>
                          <a:pt x="256" y="512"/>
                        </a:moveTo>
                        <a:lnTo>
                          <a:pt x="256" y="512"/>
                        </a:lnTo>
                        <a:cubicBezTo>
                          <a:pt x="140" y="349"/>
                          <a:pt x="70" y="186"/>
                          <a:pt x="0" y="0"/>
                        </a:cubicBezTo>
                        <a:cubicBezTo>
                          <a:pt x="70" y="186"/>
                          <a:pt x="140" y="349"/>
                          <a:pt x="256" y="512"/>
                        </a:cubicBez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62" name="Freeform: Shape 161">
                    <a:extLst>
                      <a:ext uri="{FF2B5EF4-FFF2-40B4-BE49-F238E27FC236}">
                        <a16:creationId xmlns:a16="http://schemas.microsoft.com/office/drawing/2014/main" id="{635DD516-7A49-49BB-839A-FEE73C45A5E3}"/>
                      </a:ext>
                    </a:extLst>
                  </p:cNvPr>
                  <p:cNvSpPr/>
                  <p:nvPr/>
                </p:nvSpPr>
                <p:spPr>
                  <a:xfrm>
                    <a:off x="6203373" y="4173053"/>
                    <a:ext cx="2326" cy="2326"/>
                  </a:xfrm>
                  <a:custGeom>
                    <a:avLst/>
                    <a:gdLst>
                      <a:gd name="connsiteX0" fmla="*/ 0 w 0"/>
                      <a:gd name="connsiteY0" fmla="*/ 326 h 0"/>
                      <a:gd name="connsiteX1" fmla="*/ 1093 w 0"/>
                      <a:gd name="connsiteY1" fmla="*/ 326 h 0"/>
                      <a:gd name="connsiteX2" fmla="*/ 582 w 0"/>
                      <a:gd name="connsiteY2" fmla="*/ 163 h 0"/>
                      <a:gd name="connsiteX3" fmla="*/ 93 w 0"/>
                      <a:gd name="connsiteY3" fmla="*/ 0 h 0"/>
                      <a:gd name="connsiteX4" fmla="*/ 93 w 0"/>
                      <a:gd name="connsiteY4" fmla="*/ 0 h 0"/>
                      <a:gd name="connsiteX5" fmla="*/ 93 w 0"/>
                      <a:gd name="connsiteY5" fmla="*/ 46 h 0"/>
                      <a:gd name="connsiteX6" fmla="*/ 0 w 0"/>
                      <a:gd name="connsiteY6" fmla="*/ 326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>
                        <a:moveTo>
                          <a:pt x="0" y="326"/>
                        </a:moveTo>
                        <a:lnTo>
                          <a:pt x="1093" y="326"/>
                        </a:lnTo>
                        <a:cubicBezTo>
                          <a:pt x="930" y="279"/>
                          <a:pt x="768" y="209"/>
                          <a:pt x="582" y="163"/>
                        </a:cubicBezTo>
                        <a:cubicBezTo>
                          <a:pt x="419" y="116"/>
                          <a:pt x="256" y="70"/>
                          <a:pt x="93" y="0"/>
                        </a:cubicBezTo>
                        <a:lnTo>
                          <a:pt x="93" y="0"/>
                        </a:lnTo>
                        <a:lnTo>
                          <a:pt x="93" y="46"/>
                        </a:lnTo>
                        <a:cubicBezTo>
                          <a:pt x="70" y="140"/>
                          <a:pt x="23" y="233"/>
                          <a:pt x="0" y="326"/>
                        </a:cubicBez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63" name="Freeform: Shape 162">
                    <a:extLst>
                      <a:ext uri="{FF2B5EF4-FFF2-40B4-BE49-F238E27FC236}">
                        <a16:creationId xmlns:a16="http://schemas.microsoft.com/office/drawing/2014/main" id="{06B6C93B-7F92-416A-9FF4-E372CEFFD868}"/>
                      </a:ext>
                    </a:extLst>
                  </p:cNvPr>
                  <p:cNvSpPr/>
                  <p:nvPr/>
                </p:nvSpPr>
                <p:spPr>
                  <a:xfrm>
                    <a:off x="6194952" y="4171447"/>
                    <a:ext cx="2326" cy="2326"/>
                  </a:xfrm>
                  <a:custGeom>
                    <a:avLst/>
                    <a:gdLst>
                      <a:gd name="connsiteX0" fmla="*/ 0 w 0"/>
                      <a:gd name="connsiteY0" fmla="*/ 0 h 0"/>
                      <a:gd name="connsiteX1" fmla="*/ 93 w 0"/>
                      <a:gd name="connsiteY1" fmla="*/ 93 h 0"/>
                      <a:gd name="connsiteX2" fmla="*/ 93 w 0"/>
                      <a:gd name="connsiteY2" fmla="*/ 93 h 0"/>
                      <a:gd name="connsiteX3" fmla="*/ 0 w 0"/>
                      <a:gd name="connsiteY3" fmla="*/ 0 h 0"/>
                      <a:gd name="connsiteX4" fmla="*/ 0 w 0"/>
                      <a:gd name="connsiteY4" fmla="*/ 0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>
                        <a:moveTo>
                          <a:pt x="0" y="0"/>
                        </a:moveTo>
                        <a:cubicBezTo>
                          <a:pt x="23" y="46"/>
                          <a:pt x="70" y="46"/>
                          <a:pt x="93" y="93"/>
                        </a:cubicBezTo>
                        <a:lnTo>
                          <a:pt x="93" y="93"/>
                        </a:lnTo>
                        <a:cubicBezTo>
                          <a:pt x="70" y="70"/>
                          <a:pt x="23" y="46"/>
                          <a:pt x="0" y="0"/>
                        </a:cubicBez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64" name="Freeform: Shape 163">
                    <a:extLst>
                      <a:ext uri="{FF2B5EF4-FFF2-40B4-BE49-F238E27FC236}">
                        <a16:creationId xmlns:a16="http://schemas.microsoft.com/office/drawing/2014/main" id="{81E4476A-18A5-4FBB-B48E-7C0364F986BD}"/>
                      </a:ext>
                    </a:extLst>
                  </p:cNvPr>
                  <p:cNvSpPr/>
                  <p:nvPr/>
                </p:nvSpPr>
                <p:spPr>
                  <a:xfrm>
                    <a:off x="6199442" y="4171541"/>
                    <a:ext cx="2326" cy="2326"/>
                  </a:xfrm>
                  <a:custGeom>
                    <a:avLst/>
                    <a:gdLst>
                      <a:gd name="connsiteX0" fmla="*/ 0 w 0"/>
                      <a:gd name="connsiteY0" fmla="*/ 0 h 0"/>
                      <a:gd name="connsiteX1" fmla="*/ 1977 w 0"/>
                      <a:gd name="connsiteY1" fmla="*/ 814 h 0"/>
                      <a:gd name="connsiteX2" fmla="*/ 0 w 0"/>
                      <a:gd name="connsiteY2" fmla="*/ 0 h 0"/>
                      <a:gd name="connsiteX3" fmla="*/ 0 w 0"/>
                      <a:gd name="connsiteY3" fmla="*/ 0 h 0"/>
                      <a:gd name="connsiteX4" fmla="*/ 0 w 0"/>
                      <a:gd name="connsiteY4" fmla="*/ 0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>
                        <a:moveTo>
                          <a:pt x="0" y="0"/>
                        </a:moveTo>
                        <a:cubicBezTo>
                          <a:pt x="651" y="279"/>
                          <a:pt x="1326" y="558"/>
                          <a:pt x="1977" y="814"/>
                        </a:cubicBezTo>
                        <a:cubicBezTo>
                          <a:pt x="1326" y="558"/>
                          <a:pt x="675" y="302"/>
                          <a:pt x="0" y="0"/>
                        </a:cubicBez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65" name="Freeform: Shape 164">
                    <a:extLst>
                      <a:ext uri="{FF2B5EF4-FFF2-40B4-BE49-F238E27FC236}">
                        <a16:creationId xmlns:a16="http://schemas.microsoft.com/office/drawing/2014/main" id="{F94302B3-5A85-47FD-9D11-7A3B6A7FFA97}"/>
                      </a:ext>
                    </a:extLst>
                  </p:cNvPr>
                  <p:cNvSpPr/>
                  <p:nvPr/>
                </p:nvSpPr>
                <p:spPr>
                  <a:xfrm>
                    <a:off x="6189788" y="4167493"/>
                    <a:ext cx="2326" cy="2326"/>
                  </a:xfrm>
                  <a:custGeom>
                    <a:avLst/>
                    <a:gdLst>
                      <a:gd name="connsiteX0" fmla="*/ 0 w 0"/>
                      <a:gd name="connsiteY0" fmla="*/ 0 h 0"/>
                      <a:gd name="connsiteX1" fmla="*/ 186 w 0"/>
                      <a:gd name="connsiteY1" fmla="*/ 489 h 0"/>
                      <a:gd name="connsiteX2" fmla="*/ 186 w 0"/>
                      <a:gd name="connsiteY2" fmla="*/ 489 h 0"/>
                      <a:gd name="connsiteX3" fmla="*/ 0 w 0"/>
                      <a:gd name="connsiteY3" fmla="*/ 0 h 0"/>
                      <a:gd name="connsiteX4" fmla="*/ 0 w 0"/>
                      <a:gd name="connsiteY4" fmla="*/ 0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>
                        <a:moveTo>
                          <a:pt x="0" y="0"/>
                        </a:moveTo>
                        <a:cubicBezTo>
                          <a:pt x="47" y="163"/>
                          <a:pt x="116" y="326"/>
                          <a:pt x="186" y="489"/>
                        </a:cubicBezTo>
                        <a:lnTo>
                          <a:pt x="186" y="489"/>
                        </a:lnTo>
                        <a:cubicBezTo>
                          <a:pt x="116" y="349"/>
                          <a:pt x="47" y="186"/>
                          <a:pt x="0" y="0"/>
                        </a:cubicBez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66" name="Freeform: Shape 165">
                    <a:extLst>
                      <a:ext uri="{FF2B5EF4-FFF2-40B4-BE49-F238E27FC236}">
                        <a16:creationId xmlns:a16="http://schemas.microsoft.com/office/drawing/2014/main" id="{44CC91FC-3661-41ED-9915-38D9DBFFF306}"/>
                      </a:ext>
                    </a:extLst>
                  </p:cNvPr>
                  <p:cNvSpPr/>
                  <p:nvPr/>
                </p:nvSpPr>
                <p:spPr>
                  <a:xfrm>
                    <a:off x="6196488" y="4170122"/>
                    <a:ext cx="2326" cy="2326"/>
                  </a:xfrm>
                  <a:custGeom>
                    <a:avLst/>
                    <a:gdLst>
                      <a:gd name="connsiteX0" fmla="*/ 1954 w 2326"/>
                      <a:gd name="connsiteY0" fmla="*/ 1024 h 0"/>
                      <a:gd name="connsiteX1" fmla="*/ 1791 w 2326"/>
                      <a:gd name="connsiteY1" fmla="*/ 1442 h 0"/>
                      <a:gd name="connsiteX2" fmla="*/ 2954 w 2326"/>
                      <a:gd name="connsiteY2" fmla="*/ 1442 h 0"/>
                      <a:gd name="connsiteX3" fmla="*/ 1977 w 2326"/>
                      <a:gd name="connsiteY3" fmla="*/ 1000 h 0"/>
                      <a:gd name="connsiteX4" fmla="*/ 0 w 2326"/>
                      <a:gd name="connsiteY4" fmla="*/ 0 h 0"/>
                      <a:gd name="connsiteX5" fmla="*/ 1977 w 2326"/>
                      <a:gd name="connsiteY5" fmla="*/ 1000 h 0"/>
                      <a:gd name="connsiteX6" fmla="*/ 1954 w 2326"/>
                      <a:gd name="connsiteY6" fmla="*/ 1024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2326">
                        <a:moveTo>
                          <a:pt x="1954" y="1024"/>
                        </a:moveTo>
                        <a:cubicBezTo>
                          <a:pt x="1907" y="1186"/>
                          <a:pt x="1838" y="1303"/>
                          <a:pt x="1791" y="1442"/>
                        </a:cubicBezTo>
                        <a:lnTo>
                          <a:pt x="2954" y="1442"/>
                        </a:lnTo>
                        <a:cubicBezTo>
                          <a:pt x="2629" y="1303"/>
                          <a:pt x="2303" y="1140"/>
                          <a:pt x="1977" y="1000"/>
                        </a:cubicBezTo>
                        <a:cubicBezTo>
                          <a:pt x="1326" y="675"/>
                          <a:pt x="651" y="349"/>
                          <a:pt x="0" y="0"/>
                        </a:cubicBezTo>
                        <a:cubicBezTo>
                          <a:pt x="651" y="349"/>
                          <a:pt x="1303" y="675"/>
                          <a:pt x="1977" y="1000"/>
                        </a:cubicBezTo>
                        <a:lnTo>
                          <a:pt x="1954" y="1024"/>
                        </a:ln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67" name="Freeform: Shape 166">
                    <a:extLst>
                      <a:ext uri="{FF2B5EF4-FFF2-40B4-BE49-F238E27FC236}">
                        <a16:creationId xmlns:a16="http://schemas.microsoft.com/office/drawing/2014/main" id="{80B2352C-A0E3-405B-9CF3-60891DF1E70C}"/>
                      </a:ext>
                    </a:extLst>
                  </p:cNvPr>
                  <p:cNvSpPr/>
                  <p:nvPr/>
                </p:nvSpPr>
                <p:spPr>
                  <a:xfrm>
                    <a:off x="6193324" y="4168423"/>
                    <a:ext cx="2326" cy="2326"/>
                  </a:xfrm>
                  <a:custGeom>
                    <a:avLst/>
                    <a:gdLst>
                      <a:gd name="connsiteX0" fmla="*/ 0 w 0"/>
                      <a:gd name="connsiteY0" fmla="*/ 582 h 0"/>
                      <a:gd name="connsiteX1" fmla="*/ 1233 w 0"/>
                      <a:gd name="connsiteY1" fmla="*/ 582 h 0"/>
                      <a:gd name="connsiteX2" fmla="*/ 279 w 0"/>
                      <a:gd name="connsiteY2" fmla="*/ 0 h 0"/>
                      <a:gd name="connsiteX3" fmla="*/ 279 w 0"/>
                      <a:gd name="connsiteY3" fmla="*/ 23 h 0"/>
                      <a:gd name="connsiteX4" fmla="*/ 0 w 0"/>
                      <a:gd name="connsiteY4" fmla="*/ 582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>
                        <a:moveTo>
                          <a:pt x="0" y="582"/>
                        </a:moveTo>
                        <a:lnTo>
                          <a:pt x="1233" y="582"/>
                        </a:lnTo>
                        <a:cubicBezTo>
                          <a:pt x="907" y="395"/>
                          <a:pt x="605" y="186"/>
                          <a:pt x="279" y="0"/>
                        </a:cubicBezTo>
                        <a:lnTo>
                          <a:pt x="279" y="23"/>
                        </a:lnTo>
                        <a:cubicBezTo>
                          <a:pt x="209" y="233"/>
                          <a:pt x="116" y="419"/>
                          <a:pt x="0" y="582"/>
                        </a:cubicBez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68" name="Freeform: Shape 167">
                    <a:extLst>
                      <a:ext uri="{FF2B5EF4-FFF2-40B4-BE49-F238E27FC236}">
                        <a16:creationId xmlns:a16="http://schemas.microsoft.com/office/drawing/2014/main" id="{6F19AC74-B415-41A6-9176-83C73EB3729D}"/>
                      </a:ext>
                    </a:extLst>
                  </p:cNvPr>
                  <p:cNvSpPr/>
                  <p:nvPr/>
                </p:nvSpPr>
                <p:spPr>
                  <a:xfrm>
                    <a:off x="6190556" y="4168772"/>
                    <a:ext cx="2326" cy="2326"/>
                  </a:xfrm>
                  <a:custGeom>
                    <a:avLst/>
                    <a:gdLst>
                      <a:gd name="connsiteX0" fmla="*/ 302 w 0"/>
                      <a:gd name="connsiteY0" fmla="*/ 233 h 0"/>
                      <a:gd name="connsiteX1" fmla="*/ 302 w 0"/>
                      <a:gd name="connsiteY1" fmla="*/ 233 h 0"/>
                      <a:gd name="connsiteX2" fmla="*/ 0 w 0"/>
                      <a:gd name="connsiteY2" fmla="*/ 0 h 0"/>
                      <a:gd name="connsiteX3" fmla="*/ 302 w 0"/>
                      <a:gd name="connsiteY3" fmla="*/ 233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>
                        <a:moveTo>
                          <a:pt x="302" y="233"/>
                        </a:moveTo>
                        <a:lnTo>
                          <a:pt x="302" y="233"/>
                        </a:lnTo>
                        <a:cubicBezTo>
                          <a:pt x="209" y="163"/>
                          <a:pt x="93" y="93"/>
                          <a:pt x="0" y="0"/>
                        </a:cubicBezTo>
                        <a:cubicBezTo>
                          <a:pt x="116" y="70"/>
                          <a:pt x="209" y="163"/>
                          <a:pt x="302" y="233"/>
                        </a:cubicBez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69" name="Freeform: Shape 168">
                    <a:extLst>
                      <a:ext uri="{FF2B5EF4-FFF2-40B4-BE49-F238E27FC236}">
                        <a16:creationId xmlns:a16="http://schemas.microsoft.com/office/drawing/2014/main" id="{802DAA5F-1F05-47A7-AD20-A9E62C4A4494}"/>
                      </a:ext>
                    </a:extLst>
                  </p:cNvPr>
                  <p:cNvSpPr/>
                  <p:nvPr/>
                </p:nvSpPr>
                <p:spPr>
                  <a:xfrm>
                    <a:off x="6189718" y="4165772"/>
                    <a:ext cx="2326" cy="2326"/>
                  </a:xfrm>
                  <a:custGeom>
                    <a:avLst/>
                    <a:gdLst>
                      <a:gd name="connsiteX0" fmla="*/ 163 w 0"/>
                      <a:gd name="connsiteY0" fmla="*/ 0 h 0"/>
                      <a:gd name="connsiteX1" fmla="*/ 163 w 0"/>
                      <a:gd name="connsiteY1" fmla="*/ 0 h 0"/>
                      <a:gd name="connsiteX2" fmla="*/ 163 w 0"/>
                      <a:gd name="connsiteY2" fmla="*/ 23 h 0"/>
                      <a:gd name="connsiteX3" fmla="*/ 0 w 0"/>
                      <a:gd name="connsiteY3" fmla="*/ 837 h 0"/>
                      <a:gd name="connsiteX4" fmla="*/ 0 w 0"/>
                      <a:gd name="connsiteY4" fmla="*/ 837 h 0"/>
                      <a:gd name="connsiteX5" fmla="*/ 163 w 0"/>
                      <a:gd name="connsiteY5" fmla="*/ 23 h 0"/>
                      <a:gd name="connsiteX6" fmla="*/ 163 w 0"/>
                      <a:gd name="connsiteY6" fmla="*/ 0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>
                        <a:moveTo>
                          <a:pt x="163" y="0"/>
                        </a:moveTo>
                        <a:lnTo>
                          <a:pt x="163" y="0"/>
                        </a:lnTo>
                        <a:lnTo>
                          <a:pt x="163" y="23"/>
                        </a:lnTo>
                        <a:cubicBezTo>
                          <a:pt x="70" y="279"/>
                          <a:pt x="23" y="558"/>
                          <a:pt x="0" y="837"/>
                        </a:cubicBezTo>
                        <a:lnTo>
                          <a:pt x="0" y="837"/>
                        </a:lnTo>
                        <a:cubicBezTo>
                          <a:pt x="23" y="558"/>
                          <a:pt x="70" y="279"/>
                          <a:pt x="163" y="23"/>
                        </a:cubicBezTo>
                        <a:lnTo>
                          <a:pt x="163" y="0"/>
                        </a:ln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70" name="Freeform: Shape 169">
                    <a:extLst>
                      <a:ext uri="{FF2B5EF4-FFF2-40B4-BE49-F238E27FC236}">
                        <a16:creationId xmlns:a16="http://schemas.microsoft.com/office/drawing/2014/main" id="{A2B07325-B9E4-4446-B940-AA5F7EE5F59E}"/>
                      </a:ext>
                    </a:extLst>
                  </p:cNvPr>
                  <p:cNvSpPr/>
                  <p:nvPr/>
                </p:nvSpPr>
                <p:spPr>
                  <a:xfrm>
                    <a:off x="6204466" y="4173960"/>
                    <a:ext cx="2326" cy="2326"/>
                  </a:xfrm>
                  <a:custGeom>
                    <a:avLst/>
                    <a:gdLst>
                      <a:gd name="connsiteX0" fmla="*/ 0 w 0"/>
                      <a:gd name="connsiteY0" fmla="*/ 0 h 0"/>
                      <a:gd name="connsiteX1" fmla="*/ 23 w 0"/>
                      <a:gd name="connsiteY1" fmla="*/ 186 h 0"/>
                      <a:gd name="connsiteX2" fmla="*/ 0 w 0"/>
                      <a:gd name="connsiteY2" fmla="*/ 0 h 0"/>
                      <a:gd name="connsiteX3" fmla="*/ 0 w 0"/>
                      <a:gd name="connsiteY3" fmla="*/ 0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>
                        <a:moveTo>
                          <a:pt x="0" y="0"/>
                        </a:moveTo>
                        <a:cubicBezTo>
                          <a:pt x="0" y="70"/>
                          <a:pt x="23" y="140"/>
                          <a:pt x="23" y="186"/>
                        </a:cubicBezTo>
                        <a:cubicBezTo>
                          <a:pt x="0" y="140"/>
                          <a:pt x="0" y="70"/>
                          <a:pt x="0" y="0"/>
                        </a:cubicBez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71" name="Freeform: Shape 170">
                    <a:extLst>
                      <a:ext uri="{FF2B5EF4-FFF2-40B4-BE49-F238E27FC236}">
                        <a16:creationId xmlns:a16="http://schemas.microsoft.com/office/drawing/2014/main" id="{2D8AE61B-AEA6-4F90-9E59-44EA5AC2C76C}"/>
                      </a:ext>
                    </a:extLst>
                  </p:cNvPr>
                  <p:cNvSpPr/>
                  <p:nvPr/>
                </p:nvSpPr>
                <p:spPr>
                  <a:xfrm>
                    <a:off x="6199395" y="4172355"/>
                    <a:ext cx="2326" cy="2326"/>
                  </a:xfrm>
                  <a:custGeom>
                    <a:avLst/>
                    <a:gdLst>
                      <a:gd name="connsiteX0" fmla="*/ 0 w 0"/>
                      <a:gd name="connsiteY0" fmla="*/ 70 h 0"/>
                      <a:gd name="connsiteX1" fmla="*/ 0 w 0"/>
                      <a:gd name="connsiteY1" fmla="*/ 70 h 0"/>
                      <a:gd name="connsiteX2" fmla="*/ 0 w 0"/>
                      <a:gd name="connsiteY2" fmla="*/ 0 h 0"/>
                      <a:gd name="connsiteX3" fmla="*/ 0 w 0"/>
                      <a:gd name="connsiteY3" fmla="*/ 70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>
                        <a:moveTo>
                          <a:pt x="0" y="70"/>
                        </a:moveTo>
                        <a:lnTo>
                          <a:pt x="0" y="70"/>
                        </a:lnTo>
                        <a:cubicBezTo>
                          <a:pt x="0" y="47"/>
                          <a:pt x="0" y="23"/>
                          <a:pt x="0" y="0"/>
                        </a:cubicBezTo>
                        <a:cubicBezTo>
                          <a:pt x="0" y="0"/>
                          <a:pt x="0" y="47"/>
                          <a:pt x="0" y="70"/>
                        </a:cubicBez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72" name="Freeform: Shape 171">
                    <a:extLst>
                      <a:ext uri="{FF2B5EF4-FFF2-40B4-BE49-F238E27FC236}">
                        <a16:creationId xmlns:a16="http://schemas.microsoft.com/office/drawing/2014/main" id="{52D611F1-65FE-4916-A97F-490F41DB3F1B}"/>
                      </a:ext>
                    </a:extLst>
                  </p:cNvPr>
                  <p:cNvSpPr/>
                  <p:nvPr/>
                </p:nvSpPr>
                <p:spPr>
                  <a:xfrm>
                    <a:off x="6204536" y="4174495"/>
                    <a:ext cx="2326" cy="2326"/>
                  </a:xfrm>
                  <a:custGeom>
                    <a:avLst/>
                    <a:gdLst>
                      <a:gd name="connsiteX0" fmla="*/ 0 w 0"/>
                      <a:gd name="connsiteY0" fmla="*/ 23 h 0"/>
                      <a:gd name="connsiteX1" fmla="*/ 0 w 0"/>
                      <a:gd name="connsiteY1" fmla="*/ 23 h 0"/>
                      <a:gd name="connsiteX2" fmla="*/ 0 w 0"/>
                      <a:gd name="connsiteY2" fmla="*/ 0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>
                        <a:moveTo>
                          <a:pt x="0" y="23"/>
                        </a:moveTo>
                        <a:lnTo>
                          <a:pt x="0" y="23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73" name="Freeform: Shape 172">
                    <a:extLst>
                      <a:ext uri="{FF2B5EF4-FFF2-40B4-BE49-F238E27FC236}">
                        <a16:creationId xmlns:a16="http://schemas.microsoft.com/office/drawing/2014/main" id="{5A1926C1-DD52-44D7-9700-19BCE3E1BE37}"/>
                      </a:ext>
                    </a:extLst>
                  </p:cNvPr>
                  <p:cNvSpPr/>
                  <p:nvPr/>
                </p:nvSpPr>
                <p:spPr>
                  <a:xfrm>
                    <a:off x="6160385" y="4139486"/>
                    <a:ext cx="9305" cy="2326"/>
                  </a:xfrm>
                  <a:custGeom>
                    <a:avLst/>
                    <a:gdLst>
                      <a:gd name="connsiteX0" fmla="*/ 10305 w 9304"/>
                      <a:gd name="connsiteY0" fmla="*/ 0 h 0"/>
                      <a:gd name="connsiteX1" fmla="*/ 10305 w 9304"/>
                      <a:gd name="connsiteY1" fmla="*/ 0 h 0"/>
                      <a:gd name="connsiteX2" fmla="*/ 10305 w 9304"/>
                      <a:gd name="connsiteY2" fmla="*/ 0 h 0"/>
                      <a:gd name="connsiteX3" fmla="*/ 9514 w 9304"/>
                      <a:gd name="connsiteY3" fmla="*/ 302 h 0"/>
                      <a:gd name="connsiteX4" fmla="*/ 9514 w 9304"/>
                      <a:gd name="connsiteY4" fmla="*/ 302 h 0"/>
                      <a:gd name="connsiteX5" fmla="*/ 9514 w 9304"/>
                      <a:gd name="connsiteY5" fmla="*/ 302 h 0"/>
                      <a:gd name="connsiteX6" fmla="*/ 0 w 9304"/>
                      <a:gd name="connsiteY6" fmla="*/ 302 h 0"/>
                      <a:gd name="connsiteX7" fmla="*/ 419 w 9304"/>
                      <a:gd name="connsiteY7" fmla="*/ 1233 h 0"/>
                      <a:gd name="connsiteX8" fmla="*/ 10840 w 9304"/>
                      <a:gd name="connsiteY8" fmla="*/ 1233 h 0"/>
                      <a:gd name="connsiteX9" fmla="*/ 10305 w 9304"/>
                      <a:gd name="connsiteY9" fmla="*/ 0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9304">
                        <a:moveTo>
                          <a:pt x="10305" y="0"/>
                        </a:moveTo>
                        <a:lnTo>
                          <a:pt x="10305" y="0"/>
                        </a:lnTo>
                        <a:lnTo>
                          <a:pt x="10305" y="0"/>
                        </a:lnTo>
                        <a:cubicBezTo>
                          <a:pt x="10049" y="209"/>
                          <a:pt x="9770" y="302"/>
                          <a:pt x="9514" y="302"/>
                        </a:cubicBezTo>
                        <a:lnTo>
                          <a:pt x="9514" y="302"/>
                        </a:lnTo>
                        <a:lnTo>
                          <a:pt x="9514" y="302"/>
                        </a:lnTo>
                        <a:lnTo>
                          <a:pt x="0" y="302"/>
                        </a:lnTo>
                        <a:cubicBezTo>
                          <a:pt x="140" y="628"/>
                          <a:pt x="256" y="930"/>
                          <a:pt x="419" y="1233"/>
                        </a:cubicBezTo>
                        <a:lnTo>
                          <a:pt x="10840" y="1233"/>
                        </a:lnTo>
                        <a:cubicBezTo>
                          <a:pt x="10654" y="814"/>
                          <a:pt x="10468" y="419"/>
                          <a:pt x="10305" y="0"/>
                        </a:cubicBez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74" name="Freeform: Shape 173">
                    <a:extLst>
                      <a:ext uri="{FF2B5EF4-FFF2-40B4-BE49-F238E27FC236}">
                        <a16:creationId xmlns:a16="http://schemas.microsoft.com/office/drawing/2014/main" id="{4D163543-DCAC-4EA3-AF39-2524A885D7E1}"/>
                      </a:ext>
                    </a:extLst>
                  </p:cNvPr>
                  <p:cNvSpPr/>
                  <p:nvPr/>
                </p:nvSpPr>
                <p:spPr>
                  <a:xfrm>
                    <a:off x="6204466" y="4173378"/>
                    <a:ext cx="2326" cy="2326"/>
                  </a:xfrm>
                  <a:custGeom>
                    <a:avLst/>
                    <a:gdLst>
                      <a:gd name="connsiteX0" fmla="*/ 0 w 0"/>
                      <a:gd name="connsiteY0" fmla="*/ 0 h 0"/>
                      <a:gd name="connsiteX1" fmla="*/ 0 w 0"/>
                      <a:gd name="connsiteY1" fmla="*/ 23 h 0"/>
                      <a:gd name="connsiteX2" fmla="*/ 0 w 0"/>
                      <a:gd name="connsiteY2" fmla="*/ 0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>
                        <a:moveTo>
                          <a:pt x="0" y="0"/>
                        </a:moveTo>
                        <a:lnTo>
                          <a:pt x="0" y="23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75" name="Freeform: Shape 174">
                    <a:extLst>
                      <a:ext uri="{FF2B5EF4-FFF2-40B4-BE49-F238E27FC236}">
                        <a16:creationId xmlns:a16="http://schemas.microsoft.com/office/drawing/2014/main" id="{BD41E3D4-7957-4C87-96CC-8AEBF3EFA2C3}"/>
                      </a:ext>
                    </a:extLst>
                  </p:cNvPr>
                  <p:cNvSpPr/>
                  <p:nvPr/>
                </p:nvSpPr>
                <p:spPr>
                  <a:xfrm>
                    <a:off x="6199465" y="4172890"/>
                    <a:ext cx="2326" cy="2326"/>
                  </a:xfrm>
                  <a:custGeom>
                    <a:avLst/>
                    <a:gdLst>
                      <a:gd name="connsiteX0" fmla="*/ 0 w 0"/>
                      <a:gd name="connsiteY0" fmla="*/ 0 h 0"/>
                      <a:gd name="connsiteX1" fmla="*/ 23 w 0"/>
                      <a:gd name="connsiteY1" fmla="*/ 70 h 0"/>
                      <a:gd name="connsiteX2" fmla="*/ 0 w 0"/>
                      <a:gd name="connsiteY2" fmla="*/ 0 h 0"/>
                      <a:gd name="connsiteX3" fmla="*/ 0 w 0"/>
                      <a:gd name="connsiteY3" fmla="*/ 0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>
                        <a:moveTo>
                          <a:pt x="0" y="0"/>
                        </a:moveTo>
                        <a:cubicBezTo>
                          <a:pt x="0" y="23"/>
                          <a:pt x="23" y="46"/>
                          <a:pt x="23" y="70"/>
                        </a:cubicBezTo>
                        <a:cubicBezTo>
                          <a:pt x="0" y="46"/>
                          <a:pt x="0" y="23"/>
                          <a:pt x="0" y="0"/>
                        </a:cubicBez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76" name="Freeform: Shape 175">
                    <a:extLst>
                      <a:ext uri="{FF2B5EF4-FFF2-40B4-BE49-F238E27FC236}">
                        <a16:creationId xmlns:a16="http://schemas.microsoft.com/office/drawing/2014/main" id="{D30D5CA7-5019-41AD-972A-B7DB3908800E}"/>
                      </a:ext>
                    </a:extLst>
                  </p:cNvPr>
                  <p:cNvSpPr/>
                  <p:nvPr/>
                </p:nvSpPr>
                <p:spPr>
                  <a:xfrm>
                    <a:off x="6208560" y="4174309"/>
                    <a:ext cx="2326" cy="2326"/>
                  </a:xfrm>
                  <a:custGeom>
                    <a:avLst/>
                    <a:gdLst>
                      <a:gd name="connsiteX0" fmla="*/ 0 w 0"/>
                      <a:gd name="connsiteY0" fmla="*/ 209 h 0"/>
                      <a:gd name="connsiteX1" fmla="*/ 1024 w 0"/>
                      <a:gd name="connsiteY1" fmla="*/ 209 h 0"/>
                      <a:gd name="connsiteX2" fmla="*/ 1024 w 0"/>
                      <a:gd name="connsiteY2" fmla="*/ 209 h 0"/>
                      <a:gd name="connsiteX3" fmla="*/ 1024 w 0"/>
                      <a:gd name="connsiteY3" fmla="*/ 209 h 0"/>
                      <a:gd name="connsiteX4" fmla="*/ 1024 w 0"/>
                      <a:gd name="connsiteY4" fmla="*/ 163 h 0"/>
                      <a:gd name="connsiteX5" fmla="*/ 70 w 0"/>
                      <a:gd name="connsiteY5" fmla="*/ 0 h 0"/>
                      <a:gd name="connsiteX6" fmla="*/ 70 w 0"/>
                      <a:gd name="connsiteY6" fmla="*/ 0 h 0"/>
                      <a:gd name="connsiteX7" fmla="*/ 70 w 0"/>
                      <a:gd name="connsiteY7" fmla="*/ 46 h 0"/>
                      <a:gd name="connsiteX8" fmla="*/ 0 w 0"/>
                      <a:gd name="connsiteY8" fmla="*/ 209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>
                        <a:moveTo>
                          <a:pt x="0" y="209"/>
                        </a:moveTo>
                        <a:lnTo>
                          <a:pt x="1024" y="209"/>
                        </a:lnTo>
                        <a:lnTo>
                          <a:pt x="1024" y="209"/>
                        </a:lnTo>
                        <a:lnTo>
                          <a:pt x="1024" y="209"/>
                        </a:lnTo>
                        <a:lnTo>
                          <a:pt x="1024" y="163"/>
                        </a:lnTo>
                        <a:cubicBezTo>
                          <a:pt x="698" y="116"/>
                          <a:pt x="372" y="70"/>
                          <a:pt x="70" y="0"/>
                        </a:cubicBezTo>
                        <a:lnTo>
                          <a:pt x="70" y="0"/>
                        </a:lnTo>
                        <a:lnTo>
                          <a:pt x="70" y="46"/>
                        </a:lnTo>
                        <a:cubicBezTo>
                          <a:pt x="23" y="93"/>
                          <a:pt x="0" y="140"/>
                          <a:pt x="0" y="209"/>
                        </a:cubicBez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77" name="Freeform: Shape 176">
                    <a:extLst>
                      <a:ext uri="{FF2B5EF4-FFF2-40B4-BE49-F238E27FC236}">
                        <a16:creationId xmlns:a16="http://schemas.microsoft.com/office/drawing/2014/main" id="{43FEB9F8-3AFD-4EFB-A0C8-61A28F4A4B26}"/>
                      </a:ext>
                    </a:extLst>
                  </p:cNvPr>
                  <p:cNvSpPr/>
                  <p:nvPr/>
                </p:nvSpPr>
                <p:spPr>
                  <a:xfrm>
                    <a:off x="6199395" y="4172494"/>
                    <a:ext cx="2326" cy="2326"/>
                  </a:xfrm>
                  <a:custGeom>
                    <a:avLst/>
                    <a:gdLst>
                      <a:gd name="connsiteX0" fmla="*/ 0 w 0"/>
                      <a:gd name="connsiteY0" fmla="*/ 0 h 0"/>
                      <a:gd name="connsiteX1" fmla="*/ 0 w 0"/>
                      <a:gd name="connsiteY1" fmla="*/ 0 h 0"/>
                      <a:gd name="connsiteX2" fmla="*/ 0 w 0"/>
                      <a:gd name="connsiteY2" fmla="*/ 0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78" name="Freeform: Shape 177">
                    <a:extLst>
                      <a:ext uri="{FF2B5EF4-FFF2-40B4-BE49-F238E27FC236}">
                        <a16:creationId xmlns:a16="http://schemas.microsoft.com/office/drawing/2014/main" id="{FAA294E2-D99B-4C64-9E16-CF0874E6B8C2}"/>
                      </a:ext>
                    </a:extLst>
                  </p:cNvPr>
                  <p:cNvSpPr/>
                  <p:nvPr/>
                </p:nvSpPr>
                <p:spPr>
                  <a:xfrm>
                    <a:off x="6199605" y="4173332"/>
                    <a:ext cx="2326" cy="2326"/>
                  </a:xfrm>
                  <a:custGeom>
                    <a:avLst/>
                    <a:gdLst>
                      <a:gd name="connsiteX0" fmla="*/ 0 w 0"/>
                      <a:gd name="connsiteY0" fmla="*/ 0 h 0"/>
                      <a:gd name="connsiteX1" fmla="*/ 23 w 0"/>
                      <a:gd name="connsiteY1" fmla="*/ 23 h 0"/>
                      <a:gd name="connsiteX2" fmla="*/ 23 w 0"/>
                      <a:gd name="connsiteY2" fmla="*/ 46 h 0"/>
                      <a:gd name="connsiteX3" fmla="*/ 0 w 0"/>
                      <a:gd name="connsiteY3" fmla="*/ 0 h 0"/>
                      <a:gd name="connsiteX4" fmla="*/ 0 w 0"/>
                      <a:gd name="connsiteY4" fmla="*/ 0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>
                        <a:moveTo>
                          <a:pt x="0" y="0"/>
                        </a:moveTo>
                        <a:cubicBezTo>
                          <a:pt x="0" y="23"/>
                          <a:pt x="23" y="23"/>
                          <a:pt x="23" y="23"/>
                        </a:cubicBezTo>
                        <a:lnTo>
                          <a:pt x="23" y="46"/>
                        </a:lnTo>
                        <a:cubicBezTo>
                          <a:pt x="23" y="46"/>
                          <a:pt x="23" y="0"/>
                          <a:pt x="0" y="0"/>
                        </a:cubicBez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79" name="Freeform: Shape 178">
                    <a:extLst>
                      <a:ext uri="{FF2B5EF4-FFF2-40B4-BE49-F238E27FC236}">
                        <a16:creationId xmlns:a16="http://schemas.microsoft.com/office/drawing/2014/main" id="{5A386402-C939-4091-B058-5FD5C5712A44}"/>
                      </a:ext>
                    </a:extLst>
                  </p:cNvPr>
                  <p:cNvSpPr/>
                  <p:nvPr/>
                </p:nvSpPr>
                <p:spPr>
                  <a:xfrm>
                    <a:off x="6194441" y="4169400"/>
                    <a:ext cx="2326" cy="2326"/>
                  </a:xfrm>
                  <a:custGeom>
                    <a:avLst/>
                    <a:gdLst>
                      <a:gd name="connsiteX0" fmla="*/ 0 w 0"/>
                      <a:gd name="connsiteY0" fmla="*/ 442 h 0"/>
                      <a:gd name="connsiteX1" fmla="*/ 0 w 0"/>
                      <a:gd name="connsiteY1" fmla="*/ 442 h 0"/>
                      <a:gd name="connsiteX2" fmla="*/ 47 w 0"/>
                      <a:gd name="connsiteY2" fmla="*/ 0 h 0"/>
                      <a:gd name="connsiteX3" fmla="*/ 0 w 0"/>
                      <a:gd name="connsiteY3" fmla="*/ 442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>
                        <a:moveTo>
                          <a:pt x="0" y="442"/>
                        </a:moveTo>
                        <a:lnTo>
                          <a:pt x="0" y="442"/>
                        </a:lnTo>
                        <a:cubicBezTo>
                          <a:pt x="0" y="302"/>
                          <a:pt x="47" y="140"/>
                          <a:pt x="47" y="0"/>
                        </a:cubicBezTo>
                        <a:cubicBezTo>
                          <a:pt x="47" y="163"/>
                          <a:pt x="0" y="302"/>
                          <a:pt x="0" y="442"/>
                        </a:cubicBez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80" name="Freeform: Shape 179">
                    <a:extLst>
                      <a:ext uri="{FF2B5EF4-FFF2-40B4-BE49-F238E27FC236}">
                        <a16:creationId xmlns:a16="http://schemas.microsoft.com/office/drawing/2014/main" id="{DD1169CA-93C1-4FA5-9B54-E4CBE016DCCE}"/>
                      </a:ext>
                    </a:extLst>
                  </p:cNvPr>
                  <p:cNvSpPr/>
                  <p:nvPr/>
                </p:nvSpPr>
                <p:spPr>
                  <a:xfrm>
                    <a:off x="6177576" y="4152303"/>
                    <a:ext cx="2326" cy="2326"/>
                  </a:xfrm>
                  <a:custGeom>
                    <a:avLst/>
                    <a:gdLst>
                      <a:gd name="connsiteX0" fmla="*/ 1140 w 0"/>
                      <a:gd name="connsiteY0" fmla="*/ 1605 h 0"/>
                      <a:gd name="connsiteX1" fmla="*/ 605 w 0"/>
                      <a:gd name="connsiteY1" fmla="*/ 861 h 0"/>
                      <a:gd name="connsiteX2" fmla="*/ 0 w 0"/>
                      <a:gd name="connsiteY2" fmla="*/ 0 h 0"/>
                      <a:gd name="connsiteX3" fmla="*/ 0 w 0"/>
                      <a:gd name="connsiteY3" fmla="*/ 0 h 0"/>
                      <a:gd name="connsiteX4" fmla="*/ 0 w 0"/>
                      <a:gd name="connsiteY4" fmla="*/ 0 h 0"/>
                      <a:gd name="connsiteX5" fmla="*/ 1140 w 0"/>
                      <a:gd name="connsiteY5" fmla="*/ 1605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>
                        <a:moveTo>
                          <a:pt x="1140" y="1605"/>
                        </a:moveTo>
                        <a:cubicBezTo>
                          <a:pt x="977" y="1349"/>
                          <a:pt x="791" y="1117"/>
                          <a:pt x="605" y="861"/>
                        </a:cubicBezTo>
                        <a:cubicBezTo>
                          <a:pt x="395" y="582"/>
                          <a:pt x="186" y="279"/>
                          <a:pt x="0" y="0"/>
                        </a:cubicBezTo>
                        <a:lnTo>
                          <a:pt x="0" y="0"/>
                        </a:lnTo>
                        <a:lnTo>
                          <a:pt x="0" y="0"/>
                        </a:lnTo>
                        <a:cubicBezTo>
                          <a:pt x="395" y="558"/>
                          <a:pt x="768" y="1093"/>
                          <a:pt x="1140" y="1605"/>
                        </a:cubicBez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81" name="Freeform: Shape 180">
                    <a:extLst>
                      <a:ext uri="{FF2B5EF4-FFF2-40B4-BE49-F238E27FC236}">
                        <a16:creationId xmlns:a16="http://schemas.microsoft.com/office/drawing/2014/main" id="{7FB2F4CA-73AC-4455-967D-B13CE2F96544}"/>
                      </a:ext>
                    </a:extLst>
                  </p:cNvPr>
                  <p:cNvSpPr/>
                  <p:nvPr/>
                </p:nvSpPr>
                <p:spPr>
                  <a:xfrm>
                    <a:off x="6177273" y="4152326"/>
                    <a:ext cx="2326" cy="2326"/>
                  </a:xfrm>
                  <a:custGeom>
                    <a:avLst/>
                    <a:gdLst>
                      <a:gd name="connsiteX0" fmla="*/ 0 w 0"/>
                      <a:gd name="connsiteY0" fmla="*/ 675 h 0"/>
                      <a:gd name="connsiteX1" fmla="*/ 0 w 0"/>
                      <a:gd name="connsiteY1" fmla="*/ 675 h 0"/>
                      <a:gd name="connsiteX2" fmla="*/ 302 w 0"/>
                      <a:gd name="connsiteY2" fmla="*/ 0 h 0"/>
                      <a:gd name="connsiteX3" fmla="*/ 0 w 0"/>
                      <a:gd name="connsiteY3" fmla="*/ 675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>
                        <a:moveTo>
                          <a:pt x="0" y="675"/>
                        </a:moveTo>
                        <a:lnTo>
                          <a:pt x="0" y="675"/>
                        </a:lnTo>
                        <a:cubicBezTo>
                          <a:pt x="70" y="442"/>
                          <a:pt x="163" y="209"/>
                          <a:pt x="302" y="0"/>
                        </a:cubicBezTo>
                        <a:cubicBezTo>
                          <a:pt x="163" y="209"/>
                          <a:pt x="70" y="442"/>
                          <a:pt x="0" y="675"/>
                        </a:cubicBez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82" name="Freeform: Shape 181">
                    <a:extLst>
                      <a:ext uri="{FF2B5EF4-FFF2-40B4-BE49-F238E27FC236}">
                        <a16:creationId xmlns:a16="http://schemas.microsoft.com/office/drawing/2014/main" id="{72F8B9CB-946E-4116-8448-E62BA7A80F33}"/>
                      </a:ext>
                    </a:extLst>
                  </p:cNvPr>
                  <p:cNvSpPr/>
                  <p:nvPr/>
                </p:nvSpPr>
                <p:spPr>
                  <a:xfrm>
                    <a:off x="6181135" y="4157397"/>
                    <a:ext cx="2326" cy="2326"/>
                  </a:xfrm>
                  <a:custGeom>
                    <a:avLst/>
                    <a:gdLst>
                      <a:gd name="connsiteX0" fmla="*/ 70 w 0"/>
                      <a:gd name="connsiteY0" fmla="*/ 326 h 0"/>
                      <a:gd name="connsiteX1" fmla="*/ 70 w 0"/>
                      <a:gd name="connsiteY1" fmla="*/ 372 h 0"/>
                      <a:gd name="connsiteX2" fmla="*/ 0 w 0"/>
                      <a:gd name="connsiteY2" fmla="*/ 605 h 0"/>
                      <a:gd name="connsiteX3" fmla="*/ 233 w 0"/>
                      <a:gd name="connsiteY3" fmla="*/ 0 h 0"/>
                      <a:gd name="connsiteX4" fmla="*/ 70 w 0"/>
                      <a:gd name="connsiteY4" fmla="*/ 326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>
                        <a:moveTo>
                          <a:pt x="70" y="326"/>
                        </a:moveTo>
                        <a:cubicBezTo>
                          <a:pt x="70" y="326"/>
                          <a:pt x="70" y="349"/>
                          <a:pt x="70" y="372"/>
                        </a:cubicBezTo>
                        <a:cubicBezTo>
                          <a:pt x="47" y="442"/>
                          <a:pt x="23" y="535"/>
                          <a:pt x="0" y="605"/>
                        </a:cubicBezTo>
                        <a:cubicBezTo>
                          <a:pt x="70" y="395"/>
                          <a:pt x="116" y="186"/>
                          <a:pt x="233" y="0"/>
                        </a:cubicBezTo>
                        <a:cubicBezTo>
                          <a:pt x="163" y="93"/>
                          <a:pt x="93" y="209"/>
                          <a:pt x="70" y="326"/>
                        </a:cubicBez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83" name="Freeform: Shape 182">
                    <a:extLst>
                      <a:ext uri="{FF2B5EF4-FFF2-40B4-BE49-F238E27FC236}">
                        <a16:creationId xmlns:a16="http://schemas.microsoft.com/office/drawing/2014/main" id="{EF679461-3248-41EE-9790-1FCCA55F960C}"/>
                      </a:ext>
                    </a:extLst>
                  </p:cNvPr>
                  <p:cNvSpPr/>
                  <p:nvPr/>
                </p:nvSpPr>
                <p:spPr>
                  <a:xfrm>
                    <a:off x="6183624" y="4161026"/>
                    <a:ext cx="2326" cy="2326"/>
                  </a:xfrm>
                  <a:custGeom>
                    <a:avLst/>
                    <a:gdLst>
                      <a:gd name="connsiteX0" fmla="*/ 0 w 0"/>
                      <a:gd name="connsiteY0" fmla="*/ 837 h 0"/>
                      <a:gd name="connsiteX1" fmla="*/ 1861 w 0"/>
                      <a:gd name="connsiteY1" fmla="*/ 837 h 0"/>
                      <a:gd name="connsiteX2" fmla="*/ 1024 w 0"/>
                      <a:gd name="connsiteY2" fmla="*/ 0 h 0"/>
                      <a:gd name="connsiteX3" fmla="*/ 1024 w 0"/>
                      <a:gd name="connsiteY3" fmla="*/ 23 h 0"/>
                      <a:gd name="connsiteX4" fmla="*/ 0 w 0"/>
                      <a:gd name="connsiteY4" fmla="*/ 837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>
                        <a:moveTo>
                          <a:pt x="0" y="837"/>
                        </a:moveTo>
                        <a:lnTo>
                          <a:pt x="1861" y="837"/>
                        </a:lnTo>
                        <a:cubicBezTo>
                          <a:pt x="1582" y="558"/>
                          <a:pt x="1303" y="279"/>
                          <a:pt x="1024" y="0"/>
                        </a:cubicBezTo>
                        <a:cubicBezTo>
                          <a:pt x="1024" y="0"/>
                          <a:pt x="1024" y="23"/>
                          <a:pt x="1024" y="23"/>
                        </a:cubicBezTo>
                        <a:cubicBezTo>
                          <a:pt x="744" y="489"/>
                          <a:pt x="372" y="768"/>
                          <a:pt x="0" y="837"/>
                        </a:cubicBez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84" name="Freeform: Shape 183">
                    <a:extLst>
                      <a:ext uri="{FF2B5EF4-FFF2-40B4-BE49-F238E27FC236}">
                        <a16:creationId xmlns:a16="http://schemas.microsoft.com/office/drawing/2014/main" id="{472894C5-D75B-4C8A-898B-D7364E13397F}"/>
                      </a:ext>
                    </a:extLst>
                  </p:cNvPr>
                  <p:cNvSpPr/>
                  <p:nvPr/>
                </p:nvSpPr>
                <p:spPr>
                  <a:xfrm>
                    <a:off x="6173784" y="4147511"/>
                    <a:ext cx="2326" cy="2326"/>
                  </a:xfrm>
                  <a:custGeom>
                    <a:avLst/>
                    <a:gdLst>
                      <a:gd name="connsiteX0" fmla="*/ 0 w 0"/>
                      <a:gd name="connsiteY0" fmla="*/ 0 h 0"/>
                      <a:gd name="connsiteX1" fmla="*/ 0 w 0"/>
                      <a:gd name="connsiteY1" fmla="*/ 0 h 0"/>
                      <a:gd name="connsiteX2" fmla="*/ 0 w 0"/>
                      <a:gd name="connsiteY2" fmla="*/ 0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85" name="Freeform: Shape 184">
                    <a:extLst>
                      <a:ext uri="{FF2B5EF4-FFF2-40B4-BE49-F238E27FC236}">
                        <a16:creationId xmlns:a16="http://schemas.microsoft.com/office/drawing/2014/main" id="{0CBC64D0-A427-4118-87F3-6E5B5CE83869}"/>
                      </a:ext>
                    </a:extLst>
                  </p:cNvPr>
                  <p:cNvSpPr/>
                  <p:nvPr/>
                </p:nvSpPr>
                <p:spPr>
                  <a:xfrm>
                    <a:off x="6189881" y="4165748"/>
                    <a:ext cx="2326" cy="2326"/>
                  </a:xfrm>
                  <a:custGeom>
                    <a:avLst/>
                    <a:gdLst>
                      <a:gd name="connsiteX0" fmla="*/ 3722 w 2326"/>
                      <a:gd name="connsiteY0" fmla="*/ 2652 h 2326"/>
                      <a:gd name="connsiteX1" fmla="*/ 1838 w 2326"/>
                      <a:gd name="connsiteY1" fmla="*/ 1372 h 2326"/>
                      <a:gd name="connsiteX2" fmla="*/ 0 w 2326"/>
                      <a:gd name="connsiteY2" fmla="*/ 0 h 2326"/>
                      <a:gd name="connsiteX3" fmla="*/ 0 w 2326"/>
                      <a:gd name="connsiteY3" fmla="*/ 0 h 2326"/>
                      <a:gd name="connsiteX4" fmla="*/ 3722 w 2326"/>
                      <a:gd name="connsiteY4" fmla="*/ 2652 h 232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326" h="2326">
                        <a:moveTo>
                          <a:pt x="3722" y="2652"/>
                        </a:moveTo>
                        <a:cubicBezTo>
                          <a:pt x="3094" y="2233"/>
                          <a:pt x="2466" y="1814"/>
                          <a:pt x="1838" y="1372"/>
                        </a:cubicBezTo>
                        <a:cubicBezTo>
                          <a:pt x="1210" y="931"/>
                          <a:pt x="605" y="465"/>
                          <a:pt x="0" y="0"/>
                        </a:cubicBezTo>
                        <a:lnTo>
                          <a:pt x="0" y="0"/>
                        </a:lnTo>
                        <a:cubicBezTo>
                          <a:pt x="1210" y="954"/>
                          <a:pt x="2466" y="1838"/>
                          <a:pt x="3722" y="2652"/>
                        </a:cubicBez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86" name="Freeform: Shape 185">
                    <a:extLst>
                      <a:ext uri="{FF2B5EF4-FFF2-40B4-BE49-F238E27FC236}">
                        <a16:creationId xmlns:a16="http://schemas.microsoft.com/office/drawing/2014/main" id="{D5290850-BFC5-4600-BFD9-94A159E7E274}"/>
                      </a:ext>
                    </a:extLst>
                  </p:cNvPr>
                  <p:cNvSpPr/>
                  <p:nvPr/>
                </p:nvSpPr>
                <p:spPr>
                  <a:xfrm>
                    <a:off x="6166829" y="4151233"/>
                    <a:ext cx="9305" cy="2326"/>
                  </a:xfrm>
                  <a:custGeom>
                    <a:avLst/>
                    <a:gdLst>
                      <a:gd name="connsiteX0" fmla="*/ 10770 w 9304"/>
                      <a:gd name="connsiteY0" fmla="*/ 1070 h 0"/>
                      <a:gd name="connsiteX1" fmla="*/ 10072 w 9304"/>
                      <a:gd name="connsiteY1" fmla="*/ 0 h 0"/>
                      <a:gd name="connsiteX2" fmla="*/ 10072 w 9304"/>
                      <a:gd name="connsiteY2" fmla="*/ 0 h 0"/>
                      <a:gd name="connsiteX3" fmla="*/ 10049 w 9304"/>
                      <a:gd name="connsiteY3" fmla="*/ 23 h 0"/>
                      <a:gd name="connsiteX4" fmla="*/ 9026 w 9304"/>
                      <a:gd name="connsiteY4" fmla="*/ 558 h 0"/>
                      <a:gd name="connsiteX5" fmla="*/ 0 w 9304"/>
                      <a:gd name="connsiteY5" fmla="*/ 558 h 0"/>
                      <a:gd name="connsiteX6" fmla="*/ 326 w 9304"/>
                      <a:gd name="connsiteY6" fmla="*/ 1070 h 0"/>
                      <a:gd name="connsiteX7" fmla="*/ 10770 w 9304"/>
                      <a:gd name="connsiteY7" fmla="*/ 1070 h 0"/>
                      <a:gd name="connsiteX8" fmla="*/ 10770 w 9304"/>
                      <a:gd name="connsiteY8" fmla="*/ 1070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9304">
                        <a:moveTo>
                          <a:pt x="10770" y="1070"/>
                        </a:moveTo>
                        <a:cubicBezTo>
                          <a:pt x="10538" y="721"/>
                          <a:pt x="10305" y="372"/>
                          <a:pt x="10072" y="0"/>
                        </a:cubicBezTo>
                        <a:lnTo>
                          <a:pt x="10072" y="0"/>
                        </a:lnTo>
                        <a:lnTo>
                          <a:pt x="10049" y="23"/>
                        </a:lnTo>
                        <a:cubicBezTo>
                          <a:pt x="9747" y="395"/>
                          <a:pt x="9398" y="558"/>
                          <a:pt x="9026" y="558"/>
                        </a:cubicBezTo>
                        <a:lnTo>
                          <a:pt x="0" y="558"/>
                        </a:lnTo>
                        <a:cubicBezTo>
                          <a:pt x="93" y="721"/>
                          <a:pt x="209" y="884"/>
                          <a:pt x="326" y="1070"/>
                        </a:cubicBezTo>
                        <a:lnTo>
                          <a:pt x="10770" y="1070"/>
                        </a:lnTo>
                        <a:lnTo>
                          <a:pt x="10770" y="1070"/>
                        </a:ln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87" name="Freeform: Shape 186">
                    <a:extLst>
                      <a:ext uri="{FF2B5EF4-FFF2-40B4-BE49-F238E27FC236}">
                        <a16:creationId xmlns:a16="http://schemas.microsoft.com/office/drawing/2014/main" id="{C66C79D3-C967-4785-A7E4-A1492A426426}"/>
                      </a:ext>
                    </a:extLst>
                  </p:cNvPr>
                  <p:cNvSpPr/>
                  <p:nvPr/>
                </p:nvSpPr>
                <p:spPr>
                  <a:xfrm>
                    <a:off x="6163479" y="4145580"/>
                    <a:ext cx="9305" cy="2326"/>
                  </a:xfrm>
                  <a:custGeom>
                    <a:avLst/>
                    <a:gdLst>
                      <a:gd name="connsiteX0" fmla="*/ 582 w 9304"/>
                      <a:gd name="connsiteY0" fmla="*/ 1163 h 0"/>
                      <a:gd name="connsiteX1" fmla="*/ 744 w 9304"/>
                      <a:gd name="connsiteY1" fmla="*/ 1163 h 0"/>
                      <a:gd name="connsiteX2" fmla="*/ 907 w 9304"/>
                      <a:gd name="connsiteY2" fmla="*/ 1163 h 0"/>
                      <a:gd name="connsiteX3" fmla="*/ 1070 w 9304"/>
                      <a:gd name="connsiteY3" fmla="*/ 1163 h 0"/>
                      <a:gd name="connsiteX4" fmla="*/ 1233 w 9304"/>
                      <a:gd name="connsiteY4" fmla="*/ 1163 h 0"/>
                      <a:gd name="connsiteX5" fmla="*/ 1396 w 9304"/>
                      <a:gd name="connsiteY5" fmla="*/ 1163 h 0"/>
                      <a:gd name="connsiteX6" fmla="*/ 1559 w 9304"/>
                      <a:gd name="connsiteY6" fmla="*/ 1163 h 0"/>
                      <a:gd name="connsiteX7" fmla="*/ 2512 w 9304"/>
                      <a:gd name="connsiteY7" fmla="*/ 1163 h 0"/>
                      <a:gd name="connsiteX8" fmla="*/ 3513 w 9304"/>
                      <a:gd name="connsiteY8" fmla="*/ 1163 h 0"/>
                      <a:gd name="connsiteX9" fmla="*/ 4536 w 9304"/>
                      <a:gd name="connsiteY9" fmla="*/ 1163 h 0"/>
                      <a:gd name="connsiteX10" fmla="*/ 5560 w 9304"/>
                      <a:gd name="connsiteY10" fmla="*/ 1163 h 0"/>
                      <a:gd name="connsiteX11" fmla="*/ 6583 w 9304"/>
                      <a:gd name="connsiteY11" fmla="*/ 1163 h 0"/>
                      <a:gd name="connsiteX12" fmla="*/ 7607 w 9304"/>
                      <a:gd name="connsiteY12" fmla="*/ 1163 h 0"/>
                      <a:gd name="connsiteX13" fmla="*/ 8607 w 9304"/>
                      <a:gd name="connsiteY13" fmla="*/ 1163 h 0"/>
                      <a:gd name="connsiteX14" fmla="*/ 9561 w 9304"/>
                      <a:gd name="connsiteY14" fmla="*/ 1163 h 0"/>
                      <a:gd name="connsiteX15" fmla="*/ 9723 w 9304"/>
                      <a:gd name="connsiteY15" fmla="*/ 1163 h 0"/>
                      <a:gd name="connsiteX16" fmla="*/ 9886 w 9304"/>
                      <a:gd name="connsiteY16" fmla="*/ 1163 h 0"/>
                      <a:gd name="connsiteX17" fmla="*/ 10049 w 9304"/>
                      <a:gd name="connsiteY17" fmla="*/ 1163 h 0"/>
                      <a:gd name="connsiteX18" fmla="*/ 10212 w 9304"/>
                      <a:gd name="connsiteY18" fmla="*/ 1163 h 0"/>
                      <a:gd name="connsiteX19" fmla="*/ 10375 w 9304"/>
                      <a:gd name="connsiteY19" fmla="*/ 1163 h 0"/>
                      <a:gd name="connsiteX20" fmla="*/ 10538 w 9304"/>
                      <a:gd name="connsiteY20" fmla="*/ 1163 h 0"/>
                      <a:gd name="connsiteX21" fmla="*/ 10677 w 9304"/>
                      <a:gd name="connsiteY21" fmla="*/ 1163 h 0"/>
                      <a:gd name="connsiteX22" fmla="*/ 10840 w 9304"/>
                      <a:gd name="connsiteY22" fmla="*/ 1163 h 0"/>
                      <a:gd name="connsiteX23" fmla="*/ 10212 w 9304"/>
                      <a:gd name="connsiteY23" fmla="*/ 0 h 0"/>
                      <a:gd name="connsiteX24" fmla="*/ 10189 w 9304"/>
                      <a:gd name="connsiteY24" fmla="*/ 23 h 0"/>
                      <a:gd name="connsiteX25" fmla="*/ 9281 w 9304"/>
                      <a:gd name="connsiteY25" fmla="*/ 419 h 0"/>
                      <a:gd name="connsiteX26" fmla="*/ 9281 w 9304"/>
                      <a:gd name="connsiteY26" fmla="*/ 419 h 0"/>
                      <a:gd name="connsiteX27" fmla="*/ 9281 w 9304"/>
                      <a:gd name="connsiteY27" fmla="*/ 419 h 0"/>
                      <a:gd name="connsiteX28" fmla="*/ 0 w 9304"/>
                      <a:gd name="connsiteY28" fmla="*/ 419 h 0"/>
                      <a:gd name="connsiteX29" fmla="*/ 395 w 9304"/>
                      <a:gd name="connsiteY29" fmla="*/ 1163 h 0"/>
                      <a:gd name="connsiteX30" fmla="*/ 558 w 9304"/>
                      <a:gd name="connsiteY30" fmla="*/ 1163 h 0"/>
                      <a:gd name="connsiteX31" fmla="*/ 582 w 9304"/>
                      <a:gd name="connsiteY31" fmla="*/ 1163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</a:cxnLst>
                    <a:rect l="l" t="t" r="r" b="b"/>
                    <a:pathLst>
                      <a:path w="9304">
                        <a:moveTo>
                          <a:pt x="582" y="1163"/>
                        </a:moveTo>
                        <a:cubicBezTo>
                          <a:pt x="628" y="1163"/>
                          <a:pt x="675" y="1163"/>
                          <a:pt x="744" y="1163"/>
                        </a:cubicBezTo>
                        <a:cubicBezTo>
                          <a:pt x="791" y="1163"/>
                          <a:pt x="837" y="1163"/>
                          <a:pt x="907" y="1163"/>
                        </a:cubicBezTo>
                        <a:cubicBezTo>
                          <a:pt x="954" y="1163"/>
                          <a:pt x="1024" y="1163"/>
                          <a:pt x="1070" y="1163"/>
                        </a:cubicBezTo>
                        <a:cubicBezTo>
                          <a:pt x="1117" y="1163"/>
                          <a:pt x="1186" y="1163"/>
                          <a:pt x="1233" y="1163"/>
                        </a:cubicBezTo>
                        <a:cubicBezTo>
                          <a:pt x="1279" y="1163"/>
                          <a:pt x="1349" y="1163"/>
                          <a:pt x="1396" y="1163"/>
                        </a:cubicBezTo>
                        <a:cubicBezTo>
                          <a:pt x="1442" y="1163"/>
                          <a:pt x="1512" y="1163"/>
                          <a:pt x="1559" y="1163"/>
                        </a:cubicBezTo>
                        <a:cubicBezTo>
                          <a:pt x="1838" y="1163"/>
                          <a:pt x="2233" y="1163"/>
                          <a:pt x="2512" y="1163"/>
                        </a:cubicBezTo>
                        <a:cubicBezTo>
                          <a:pt x="2815" y="1163"/>
                          <a:pt x="3210" y="1163"/>
                          <a:pt x="3513" y="1163"/>
                        </a:cubicBezTo>
                        <a:cubicBezTo>
                          <a:pt x="3815" y="1163"/>
                          <a:pt x="4210" y="1163"/>
                          <a:pt x="4536" y="1163"/>
                        </a:cubicBezTo>
                        <a:cubicBezTo>
                          <a:pt x="4838" y="1163"/>
                          <a:pt x="5257" y="1163"/>
                          <a:pt x="5560" y="1163"/>
                        </a:cubicBezTo>
                        <a:cubicBezTo>
                          <a:pt x="5862" y="1163"/>
                          <a:pt x="6281" y="1163"/>
                          <a:pt x="6583" y="1163"/>
                        </a:cubicBezTo>
                        <a:cubicBezTo>
                          <a:pt x="6885" y="1163"/>
                          <a:pt x="7281" y="1163"/>
                          <a:pt x="7607" y="1163"/>
                        </a:cubicBezTo>
                        <a:cubicBezTo>
                          <a:pt x="7909" y="1163"/>
                          <a:pt x="8304" y="1163"/>
                          <a:pt x="8607" y="1163"/>
                        </a:cubicBezTo>
                        <a:cubicBezTo>
                          <a:pt x="8909" y="1163"/>
                          <a:pt x="9281" y="1163"/>
                          <a:pt x="9561" y="1163"/>
                        </a:cubicBezTo>
                        <a:cubicBezTo>
                          <a:pt x="9607" y="1163"/>
                          <a:pt x="9677" y="1163"/>
                          <a:pt x="9723" y="1163"/>
                        </a:cubicBezTo>
                        <a:cubicBezTo>
                          <a:pt x="9770" y="1163"/>
                          <a:pt x="9840" y="1163"/>
                          <a:pt x="9886" y="1163"/>
                        </a:cubicBezTo>
                        <a:cubicBezTo>
                          <a:pt x="9933" y="1163"/>
                          <a:pt x="10003" y="1163"/>
                          <a:pt x="10049" y="1163"/>
                        </a:cubicBezTo>
                        <a:cubicBezTo>
                          <a:pt x="10096" y="1163"/>
                          <a:pt x="10165" y="1163"/>
                          <a:pt x="10212" y="1163"/>
                        </a:cubicBezTo>
                        <a:cubicBezTo>
                          <a:pt x="10258" y="1163"/>
                          <a:pt x="10305" y="1163"/>
                          <a:pt x="10375" y="1163"/>
                        </a:cubicBezTo>
                        <a:cubicBezTo>
                          <a:pt x="10421" y="1163"/>
                          <a:pt x="10468" y="1163"/>
                          <a:pt x="10538" y="1163"/>
                        </a:cubicBezTo>
                        <a:cubicBezTo>
                          <a:pt x="10584" y="1163"/>
                          <a:pt x="10654" y="1163"/>
                          <a:pt x="10677" y="1163"/>
                        </a:cubicBezTo>
                        <a:cubicBezTo>
                          <a:pt x="10724" y="1163"/>
                          <a:pt x="10793" y="1163"/>
                          <a:pt x="10840" y="1163"/>
                        </a:cubicBezTo>
                        <a:cubicBezTo>
                          <a:pt x="10631" y="791"/>
                          <a:pt x="10421" y="395"/>
                          <a:pt x="10212" y="0"/>
                        </a:cubicBezTo>
                        <a:lnTo>
                          <a:pt x="10189" y="23"/>
                        </a:lnTo>
                        <a:cubicBezTo>
                          <a:pt x="9909" y="302"/>
                          <a:pt x="9584" y="419"/>
                          <a:pt x="9281" y="419"/>
                        </a:cubicBezTo>
                        <a:lnTo>
                          <a:pt x="9281" y="419"/>
                        </a:lnTo>
                        <a:lnTo>
                          <a:pt x="9281" y="419"/>
                        </a:lnTo>
                        <a:lnTo>
                          <a:pt x="0" y="419"/>
                        </a:lnTo>
                        <a:cubicBezTo>
                          <a:pt x="140" y="675"/>
                          <a:pt x="279" y="907"/>
                          <a:pt x="395" y="1163"/>
                        </a:cubicBezTo>
                        <a:cubicBezTo>
                          <a:pt x="442" y="1163"/>
                          <a:pt x="512" y="1163"/>
                          <a:pt x="558" y="1163"/>
                        </a:cubicBezTo>
                        <a:cubicBezTo>
                          <a:pt x="488" y="1163"/>
                          <a:pt x="535" y="1163"/>
                          <a:pt x="582" y="1163"/>
                        </a:cubicBez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88" name="Freeform: Shape 187">
                    <a:extLst>
                      <a:ext uri="{FF2B5EF4-FFF2-40B4-BE49-F238E27FC236}">
                        <a16:creationId xmlns:a16="http://schemas.microsoft.com/office/drawing/2014/main" id="{CF196D71-4E30-4A7C-83A0-1CB6E6F885B9}"/>
                      </a:ext>
                    </a:extLst>
                  </p:cNvPr>
                  <p:cNvSpPr/>
                  <p:nvPr/>
                </p:nvSpPr>
                <p:spPr>
                  <a:xfrm>
                    <a:off x="6170510" y="4142207"/>
                    <a:ext cx="2326" cy="2326"/>
                  </a:xfrm>
                  <a:custGeom>
                    <a:avLst/>
                    <a:gdLst>
                      <a:gd name="connsiteX0" fmla="*/ 17 w 0"/>
                      <a:gd name="connsiteY0" fmla="*/ 0 h 0"/>
                      <a:gd name="connsiteX1" fmla="*/ 17 w 0"/>
                      <a:gd name="connsiteY1" fmla="*/ 651 h 0"/>
                      <a:gd name="connsiteX2" fmla="*/ 17 w 0"/>
                      <a:gd name="connsiteY2" fmla="*/ 0 h 0"/>
                      <a:gd name="connsiteX3" fmla="*/ 17 w 0"/>
                      <a:gd name="connsiteY3" fmla="*/ 0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>
                        <a:moveTo>
                          <a:pt x="17" y="0"/>
                        </a:moveTo>
                        <a:cubicBezTo>
                          <a:pt x="-6" y="209"/>
                          <a:pt x="-6" y="442"/>
                          <a:pt x="17" y="651"/>
                        </a:cubicBezTo>
                        <a:cubicBezTo>
                          <a:pt x="-6" y="419"/>
                          <a:pt x="-6" y="209"/>
                          <a:pt x="17" y="0"/>
                        </a:cubicBezTo>
                        <a:lnTo>
                          <a:pt x="17" y="0"/>
                        </a:ln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89" name="Freeform: Shape 188">
                    <a:extLst>
                      <a:ext uri="{FF2B5EF4-FFF2-40B4-BE49-F238E27FC236}">
                        <a16:creationId xmlns:a16="http://schemas.microsoft.com/office/drawing/2014/main" id="{2C56BB5F-C442-4DC8-B3FD-EC5C33F4D1FE}"/>
                      </a:ext>
                    </a:extLst>
                  </p:cNvPr>
                  <p:cNvSpPr/>
                  <p:nvPr/>
                </p:nvSpPr>
                <p:spPr>
                  <a:xfrm>
                    <a:off x="6170760" y="4156397"/>
                    <a:ext cx="9305" cy="2326"/>
                  </a:xfrm>
                  <a:custGeom>
                    <a:avLst/>
                    <a:gdLst>
                      <a:gd name="connsiteX0" fmla="*/ 10607 w 9304"/>
                      <a:gd name="connsiteY0" fmla="*/ 977 h 0"/>
                      <a:gd name="connsiteX1" fmla="*/ 9840 w 9304"/>
                      <a:gd name="connsiteY1" fmla="*/ 0 h 0"/>
                      <a:gd name="connsiteX2" fmla="*/ 9840 w 9304"/>
                      <a:gd name="connsiteY2" fmla="*/ 0 h 0"/>
                      <a:gd name="connsiteX3" fmla="*/ 9840 w 9304"/>
                      <a:gd name="connsiteY3" fmla="*/ 23 h 0"/>
                      <a:gd name="connsiteX4" fmla="*/ 8700 w 9304"/>
                      <a:gd name="connsiteY4" fmla="*/ 721 h 0"/>
                      <a:gd name="connsiteX5" fmla="*/ 8700 w 9304"/>
                      <a:gd name="connsiteY5" fmla="*/ 721 h 0"/>
                      <a:gd name="connsiteX6" fmla="*/ 8700 w 9304"/>
                      <a:gd name="connsiteY6" fmla="*/ 721 h 0"/>
                      <a:gd name="connsiteX7" fmla="*/ 0 w 9304"/>
                      <a:gd name="connsiteY7" fmla="*/ 721 h 0"/>
                      <a:gd name="connsiteX8" fmla="*/ 209 w 9304"/>
                      <a:gd name="connsiteY8" fmla="*/ 977 h 0"/>
                      <a:gd name="connsiteX9" fmla="*/ 209 w 9304"/>
                      <a:gd name="connsiteY9" fmla="*/ 977 h 0"/>
                      <a:gd name="connsiteX10" fmla="*/ 10607 w 9304"/>
                      <a:gd name="connsiteY10" fmla="*/ 977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9304">
                        <a:moveTo>
                          <a:pt x="10607" y="977"/>
                        </a:moveTo>
                        <a:cubicBezTo>
                          <a:pt x="10351" y="651"/>
                          <a:pt x="10096" y="326"/>
                          <a:pt x="9840" y="0"/>
                        </a:cubicBezTo>
                        <a:lnTo>
                          <a:pt x="9840" y="0"/>
                        </a:lnTo>
                        <a:lnTo>
                          <a:pt x="9840" y="23"/>
                        </a:lnTo>
                        <a:cubicBezTo>
                          <a:pt x="9537" y="488"/>
                          <a:pt x="9119" y="721"/>
                          <a:pt x="8700" y="721"/>
                        </a:cubicBezTo>
                        <a:lnTo>
                          <a:pt x="8700" y="721"/>
                        </a:lnTo>
                        <a:lnTo>
                          <a:pt x="8700" y="721"/>
                        </a:lnTo>
                        <a:lnTo>
                          <a:pt x="0" y="721"/>
                        </a:lnTo>
                        <a:cubicBezTo>
                          <a:pt x="70" y="791"/>
                          <a:pt x="140" y="884"/>
                          <a:pt x="209" y="977"/>
                        </a:cubicBezTo>
                        <a:lnTo>
                          <a:pt x="209" y="977"/>
                        </a:lnTo>
                        <a:lnTo>
                          <a:pt x="10607" y="977"/>
                        </a:ln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90" name="Freeform: Shape 189">
                    <a:extLst>
                      <a:ext uri="{FF2B5EF4-FFF2-40B4-BE49-F238E27FC236}">
                        <a16:creationId xmlns:a16="http://schemas.microsoft.com/office/drawing/2014/main" id="{8833A0C0-908E-4654-AA03-6431F8658EBF}"/>
                      </a:ext>
                    </a:extLst>
                  </p:cNvPr>
                  <p:cNvSpPr/>
                  <p:nvPr/>
                </p:nvSpPr>
                <p:spPr>
                  <a:xfrm>
                    <a:off x="6185252" y="4162445"/>
                    <a:ext cx="2326" cy="2326"/>
                  </a:xfrm>
                  <a:custGeom>
                    <a:avLst/>
                    <a:gdLst>
                      <a:gd name="connsiteX0" fmla="*/ 0 w 0"/>
                      <a:gd name="connsiteY0" fmla="*/ 233 h 0"/>
                      <a:gd name="connsiteX1" fmla="*/ 0 w 0"/>
                      <a:gd name="connsiteY1" fmla="*/ 233 h 0"/>
                      <a:gd name="connsiteX2" fmla="*/ 70 w 0"/>
                      <a:gd name="connsiteY2" fmla="*/ 0 h 0"/>
                      <a:gd name="connsiteX3" fmla="*/ 0 w 0"/>
                      <a:gd name="connsiteY3" fmla="*/ 233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>
                        <a:moveTo>
                          <a:pt x="0" y="233"/>
                        </a:moveTo>
                        <a:lnTo>
                          <a:pt x="0" y="233"/>
                        </a:lnTo>
                        <a:cubicBezTo>
                          <a:pt x="0" y="163"/>
                          <a:pt x="47" y="70"/>
                          <a:pt x="70" y="0"/>
                        </a:cubicBezTo>
                        <a:cubicBezTo>
                          <a:pt x="47" y="70"/>
                          <a:pt x="0" y="163"/>
                          <a:pt x="0" y="233"/>
                        </a:cubicBez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91" name="Freeform: Shape 190">
                    <a:extLst>
                      <a:ext uri="{FF2B5EF4-FFF2-40B4-BE49-F238E27FC236}">
                        <a16:creationId xmlns:a16="http://schemas.microsoft.com/office/drawing/2014/main" id="{74AAC27A-3BF6-4F2E-BE22-A1759A77D487}"/>
                      </a:ext>
                    </a:extLst>
                  </p:cNvPr>
                  <p:cNvSpPr/>
                  <p:nvPr/>
                </p:nvSpPr>
                <p:spPr>
                  <a:xfrm>
                    <a:off x="6181042" y="4158305"/>
                    <a:ext cx="2326" cy="2326"/>
                  </a:xfrm>
                  <a:custGeom>
                    <a:avLst/>
                    <a:gdLst>
                      <a:gd name="connsiteX0" fmla="*/ 0 w 0"/>
                      <a:gd name="connsiteY0" fmla="*/ 93 h 0"/>
                      <a:gd name="connsiteX1" fmla="*/ 0 w 0"/>
                      <a:gd name="connsiteY1" fmla="*/ 209 h 0"/>
                      <a:gd name="connsiteX2" fmla="*/ 0 w 0"/>
                      <a:gd name="connsiteY2" fmla="*/ 488 h 0"/>
                      <a:gd name="connsiteX3" fmla="*/ 23 w 0"/>
                      <a:gd name="connsiteY3" fmla="*/ 0 h 0"/>
                      <a:gd name="connsiteX4" fmla="*/ 0 w 0"/>
                      <a:gd name="connsiteY4" fmla="*/ 93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>
                        <a:moveTo>
                          <a:pt x="0" y="93"/>
                        </a:moveTo>
                        <a:cubicBezTo>
                          <a:pt x="0" y="140"/>
                          <a:pt x="0" y="163"/>
                          <a:pt x="0" y="209"/>
                        </a:cubicBezTo>
                        <a:cubicBezTo>
                          <a:pt x="0" y="302"/>
                          <a:pt x="0" y="395"/>
                          <a:pt x="0" y="488"/>
                        </a:cubicBezTo>
                        <a:cubicBezTo>
                          <a:pt x="0" y="326"/>
                          <a:pt x="0" y="163"/>
                          <a:pt x="23" y="0"/>
                        </a:cubicBezTo>
                        <a:cubicBezTo>
                          <a:pt x="0" y="46"/>
                          <a:pt x="0" y="70"/>
                          <a:pt x="0" y="93"/>
                        </a:cubicBez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92" name="Freeform: Shape 191">
                    <a:extLst>
                      <a:ext uri="{FF2B5EF4-FFF2-40B4-BE49-F238E27FC236}">
                        <a16:creationId xmlns:a16="http://schemas.microsoft.com/office/drawing/2014/main" id="{869CB6AC-B248-4535-8572-A3E0D2B7EAEF}"/>
                      </a:ext>
                    </a:extLst>
                  </p:cNvPr>
                  <p:cNvSpPr/>
                  <p:nvPr/>
                </p:nvSpPr>
                <p:spPr>
                  <a:xfrm>
                    <a:off x="6188486" y="4165027"/>
                    <a:ext cx="2326" cy="2326"/>
                  </a:xfrm>
                  <a:custGeom>
                    <a:avLst/>
                    <a:gdLst>
                      <a:gd name="connsiteX0" fmla="*/ 0 w 0"/>
                      <a:gd name="connsiteY0" fmla="*/ 721 h 0"/>
                      <a:gd name="connsiteX1" fmla="*/ 1396 w 0"/>
                      <a:gd name="connsiteY1" fmla="*/ 721 h 0"/>
                      <a:gd name="connsiteX2" fmla="*/ 488 w 0"/>
                      <a:gd name="connsiteY2" fmla="*/ 0 h 0"/>
                      <a:gd name="connsiteX3" fmla="*/ 488 w 0"/>
                      <a:gd name="connsiteY3" fmla="*/ 23 h 0"/>
                      <a:gd name="connsiteX4" fmla="*/ 0 w 0"/>
                      <a:gd name="connsiteY4" fmla="*/ 721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>
                        <a:moveTo>
                          <a:pt x="0" y="721"/>
                        </a:moveTo>
                        <a:lnTo>
                          <a:pt x="1396" y="721"/>
                        </a:lnTo>
                        <a:cubicBezTo>
                          <a:pt x="1093" y="489"/>
                          <a:pt x="791" y="256"/>
                          <a:pt x="488" y="0"/>
                        </a:cubicBezTo>
                        <a:lnTo>
                          <a:pt x="488" y="23"/>
                        </a:lnTo>
                        <a:cubicBezTo>
                          <a:pt x="372" y="326"/>
                          <a:pt x="186" y="558"/>
                          <a:pt x="0" y="721"/>
                        </a:cubicBez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93" name="Freeform: Shape 192">
                    <a:extLst>
                      <a:ext uri="{FF2B5EF4-FFF2-40B4-BE49-F238E27FC236}">
                        <a16:creationId xmlns:a16="http://schemas.microsoft.com/office/drawing/2014/main" id="{7B5FBD7F-A65F-46FA-BD65-5098B9BA6359}"/>
                      </a:ext>
                    </a:extLst>
                  </p:cNvPr>
                  <p:cNvSpPr/>
                  <p:nvPr/>
                </p:nvSpPr>
                <p:spPr>
                  <a:xfrm>
                    <a:off x="6185508" y="4164399"/>
                    <a:ext cx="2326" cy="2326"/>
                  </a:xfrm>
                  <a:custGeom>
                    <a:avLst/>
                    <a:gdLst>
                      <a:gd name="connsiteX0" fmla="*/ 0 w 0"/>
                      <a:gd name="connsiteY0" fmla="*/ 0 h 0"/>
                      <a:gd name="connsiteX1" fmla="*/ 140 w 0"/>
                      <a:gd name="connsiteY1" fmla="*/ 186 h 0"/>
                      <a:gd name="connsiteX2" fmla="*/ 0 w 0"/>
                      <a:gd name="connsiteY2" fmla="*/ 0 h 0"/>
                      <a:gd name="connsiteX3" fmla="*/ 0 w 0"/>
                      <a:gd name="connsiteY3" fmla="*/ 0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>
                        <a:moveTo>
                          <a:pt x="0" y="0"/>
                        </a:moveTo>
                        <a:cubicBezTo>
                          <a:pt x="47" y="70"/>
                          <a:pt x="93" y="116"/>
                          <a:pt x="140" y="186"/>
                        </a:cubicBezTo>
                        <a:cubicBezTo>
                          <a:pt x="93" y="116"/>
                          <a:pt x="47" y="70"/>
                          <a:pt x="0" y="0"/>
                        </a:cubicBez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94" name="Freeform: Shape 193">
                    <a:extLst>
                      <a:ext uri="{FF2B5EF4-FFF2-40B4-BE49-F238E27FC236}">
                        <a16:creationId xmlns:a16="http://schemas.microsoft.com/office/drawing/2014/main" id="{A52D0503-E9A2-4A24-84D3-642835977788}"/>
                      </a:ext>
                    </a:extLst>
                  </p:cNvPr>
                  <p:cNvSpPr/>
                  <p:nvPr/>
                </p:nvSpPr>
                <p:spPr>
                  <a:xfrm>
                    <a:off x="6185202" y="4162771"/>
                    <a:ext cx="2326" cy="2326"/>
                  </a:xfrm>
                  <a:custGeom>
                    <a:avLst/>
                    <a:gdLst>
                      <a:gd name="connsiteX0" fmla="*/ 27 w 0"/>
                      <a:gd name="connsiteY0" fmla="*/ 0 h 0"/>
                      <a:gd name="connsiteX1" fmla="*/ 27 w 0"/>
                      <a:gd name="connsiteY1" fmla="*/ 744 h 0"/>
                      <a:gd name="connsiteX2" fmla="*/ 27 w 0"/>
                      <a:gd name="connsiteY2" fmla="*/ 744 h 0"/>
                      <a:gd name="connsiteX3" fmla="*/ 27 w 0"/>
                      <a:gd name="connsiteY3" fmla="*/ 0 h 0"/>
                      <a:gd name="connsiteX4" fmla="*/ 27 w 0"/>
                      <a:gd name="connsiteY4" fmla="*/ 0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>
                        <a:moveTo>
                          <a:pt x="27" y="0"/>
                        </a:moveTo>
                        <a:cubicBezTo>
                          <a:pt x="-20" y="256"/>
                          <a:pt x="4" y="489"/>
                          <a:pt x="27" y="744"/>
                        </a:cubicBezTo>
                        <a:lnTo>
                          <a:pt x="27" y="744"/>
                        </a:lnTo>
                        <a:cubicBezTo>
                          <a:pt x="4" y="512"/>
                          <a:pt x="4" y="256"/>
                          <a:pt x="27" y="0"/>
                        </a:cubicBezTo>
                        <a:lnTo>
                          <a:pt x="27" y="0"/>
                        </a:ln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95" name="Freeform: Shape 194">
                    <a:extLst>
                      <a:ext uri="{FF2B5EF4-FFF2-40B4-BE49-F238E27FC236}">
                        <a16:creationId xmlns:a16="http://schemas.microsoft.com/office/drawing/2014/main" id="{CC98FB25-C7EC-40D5-9D3B-13BDC8C1E79F}"/>
                      </a:ext>
                    </a:extLst>
                  </p:cNvPr>
                  <p:cNvSpPr/>
                  <p:nvPr/>
                </p:nvSpPr>
                <p:spPr>
                  <a:xfrm>
                    <a:off x="6181228" y="4159886"/>
                    <a:ext cx="2326" cy="2326"/>
                  </a:xfrm>
                  <a:custGeom>
                    <a:avLst/>
                    <a:gdLst>
                      <a:gd name="connsiteX0" fmla="*/ 23 w 0"/>
                      <a:gd name="connsiteY0" fmla="*/ 70 h 0"/>
                      <a:gd name="connsiteX1" fmla="*/ 349 w 0"/>
                      <a:gd name="connsiteY1" fmla="*/ 605 h 0"/>
                      <a:gd name="connsiteX2" fmla="*/ 0 w 0"/>
                      <a:gd name="connsiteY2" fmla="*/ 0 h 0"/>
                      <a:gd name="connsiteX3" fmla="*/ 23 w 0"/>
                      <a:gd name="connsiteY3" fmla="*/ 70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>
                        <a:moveTo>
                          <a:pt x="23" y="70"/>
                        </a:moveTo>
                        <a:cubicBezTo>
                          <a:pt x="116" y="279"/>
                          <a:pt x="233" y="465"/>
                          <a:pt x="349" y="605"/>
                        </a:cubicBezTo>
                        <a:cubicBezTo>
                          <a:pt x="186" y="442"/>
                          <a:pt x="93" y="209"/>
                          <a:pt x="0" y="0"/>
                        </a:cubicBezTo>
                        <a:cubicBezTo>
                          <a:pt x="23" y="46"/>
                          <a:pt x="23" y="70"/>
                          <a:pt x="23" y="70"/>
                        </a:cubicBez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96" name="Freeform: Shape 195">
                    <a:extLst>
                      <a:ext uri="{FF2B5EF4-FFF2-40B4-BE49-F238E27FC236}">
                        <a16:creationId xmlns:a16="http://schemas.microsoft.com/office/drawing/2014/main" id="{6053F0C1-5912-4963-86F4-1A86FD05924F}"/>
                      </a:ext>
                    </a:extLst>
                  </p:cNvPr>
                  <p:cNvSpPr/>
                  <p:nvPr/>
                </p:nvSpPr>
                <p:spPr>
                  <a:xfrm>
                    <a:off x="6181032" y="4159096"/>
                    <a:ext cx="2326" cy="2326"/>
                  </a:xfrm>
                  <a:custGeom>
                    <a:avLst/>
                    <a:gdLst>
                      <a:gd name="connsiteX0" fmla="*/ 10 w 0"/>
                      <a:gd name="connsiteY0" fmla="*/ 70 h 0"/>
                      <a:gd name="connsiteX1" fmla="*/ 33 w 0"/>
                      <a:gd name="connsiteY1" fmla="*/ 186 h 0"/>
                      <a:gd name="connsiteX2" fmla="*/ 126 w 0"/>
                      <a:gd name="connsiteY2" fmla="*/ 512 h 0"/>
                      <a:gd name="connsiteX3" fmla="*/ 33 w 0"/>
                      <a:gd name="connsiteY3" fmla="*/ 0 h 0"/>
                      <a:gd name="connsiteX4" fmla="*/ 10 w 0"/>
                      <a:gd name="connsiteY4" fmla="*/ 70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>
                        <a:moveTo>
                          <a:pt x="10" y="70"/>
                        </a:moveTo>
                        <a:cubicBezTo>
                          <a:pt x="10" y="116"/>
                          <a:pt x="10" y="163"/>
                          <a:pt x="33" y="186"/>
                        </a:cubicBezTo>
                        <a:cubicBezTo>
                          <a:pt x="56" y="302"/>
                          <a:pt x="103" y="395"/>
                          <a:pt x="126" y="512"/>
                        </a:cubicBezTo>
                        <a:cubicBezTo>
                          <a:pt x="79" y="349"/>
                          <a:pt x="33" y="186"/>
                          <a:pt x="33" y="0"/>
                        </a:cubicBezTo>
                        <a:cubicBezTo>
                          <a:pt x="10" y="23"/>
                          <a:pt x="-14" y="46"/>
                          <a:pt x="10" y="70"/>
                        </a:cubicBez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97" name="Freeform: Shape 196">
                    <a:extLst>
                      <a:ext uri="{FF2B5EF4-FFF2-40B4-BE49-F238E27FC236}">
                        <a16:creationId xmlns:a16="http://schemas.microsoft.com/office/drawing/2014/main" id="{09D22B91-843D-4B66-95DF-498F29223128}"/>
                      </a:ext>
                    </a:extLst>
                  </p:cNvPr>
                  <p:cNvSpPr/>
                  <p:nvPr/>
                </p:nvSpPr>
                <p:spPr>
                  <a:xfrm>
                    <a:off x="6182438" y="4161445"/>
                    <a:ext cx="2326" cy="2326"/>
                  </a:xfrm>
                  <a:custGeom>
                    <a:avLst/>
                    <a:gdLst>
                      <a:gd name="connsiteX0" fmla="*/ 395 w 0"/>
                      <a:gd name="connsiteY0" fmla="*/ 302 h 0"/>
                      <a:gd name="connsiteX1" fmla="*/ 0 w 0"/>
                      <a:gd name="connsiteY1" fmla="*/ 0 h 0"/>
                      <a:gd name="connsiteX2" fmla="*/ 395 w 0"/>
                      <a:gd name="connsiteY2" fmla="*/ 302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>
                        <a:moveTo>
                          <a:pt x="395" y="302"/>
                        </a:moveTo>
                        <a:cubicBezTo>
                          <a:pt x="256" y="233"/>
                          <a:pt x="116" y="140"/>
                          <a:pt x="0" y="0"/>
                        </a:cubicBezTo>
                        <a:cubicBezTo>
                          <a:pt x="116" y="140"/>
                          <a:pt x="233" y="233"/>
                          <a:pt x="395" y="302"/>
                        </a:cubicBez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98" name="Freeform: Shape 197">
                    <a:extLst>
                      <a:ext uri="{FF2B5EF4-FFF2-40B4-BE49-F238E27FC236}">
                        <a16:creationId xmlns:a16="http://schemas.microsoft.com/office/drawing/2014/main" id="{CD23A811-2012-42DB-9CE6-C194A53714A0}"/>
                      </a:ext>
                    </a:extLst>
                  </p:cNvPr>
                  <p:cNvSpPr/>
                  <p:nvPr/>
                </p:nvSpPr>
                <p:spPr>
                  <a:xfrm>
                    <a:off x="6183205" y="4161864"/>
                    <a:ext cx="2326" cy="2326"/>
                  </a:xfrm>
                  <a:custGeom>
                    <a:avLst/>
                    <a:gdLst>
                      <a:gd name="connsiteX0" fmla="*/ 0 w 0"/>
                      <a:gd name="connsiteY0" fmla="*/ 0 h 0"/>
                      <a:gd name="connsiteX1" fmla="*/ 0 w 0"/>
                      <a:gd name="connsiteY1" fmla="*/ 0 h 0"/>
                      <a:gd name="connsiteX2" fmla="*/ 0 w 0"/>
                      <a:gd name="connsiteY2" fmla="*/ 0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99" name="Freeform: Shape 198">
                    <a:extLst>
                      <a:ext uri="{FF2B5EF4-FFF2-40B4-BE49-F238E27FC236}">
                        <a16:creationId xmlns:a16="http://schemas.microsoft.com/office/drawing/2014/main" id="{6AB53312-7275-4535-A5FE-83D1626B87D9}"/>
                      </a:ext>
                    </a:extLst>
                  </p:cNvPr>
                  <p:cNvSpPr/>
                  <p:nvPr/>
                </p:nvSpPr>
                <p:spPr>
                  <a:xfrm>
                    <a:off x="6168039" y="4137323"/>
                    <a:ext cx="2326" cy="2326"/>
                  </a:xfrm>
                  <a:custGeom>
                    <a:avLst/>
                    <a:gdLst>
                      <a:gd name="connsiteX0" fmla="*/ 0 w 0"/>
                      <a:gd name="connsiteY0" fmla="*/ 0 h 0"/>
                      <a:gd name="connsiteX1" fmla="*/ 512 w 0"/>
                      <a:gd name="connsiteY1" fmla="*/ 1326 h 0"/>
                      <a:gd name="connsiteX2" fmla="*/ 1093 w 0"/>
                      <a:gd name="connsiteY2" fmla="*/ 2187 h 0"/>
                      <a:gd name="connsiteX3" fmla="*/ 512 w 0"/>
                      <a:gd name="connsiteY3" fmla="*/ 1326 h 0"/>
                      <a:gd name="connsiteX4" fmla="*/ 0 w 0"/>
                      <a:gd name="connsiteY4" fmla="*/ 0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>
                        <a:moveTo>
                          <a:pt x="0" y="0"/>
                        </a:moveTo>
                        <a:cubicBezTo>
                          <a:pt x="163" y="442"/>
                          <a:pt x="326" y="884"/>
                          <a:pt x="512" y="1326"/>
                        </a:cubicBezTo>
                        <a:cubicBezTo>
                          <a:pt x="651" y="1698"/>
                          <a:pt x="861" y="1977"/>
                          <a:pt x="1093" y="2187"/>
                        </a:cubicBezTo>
                        <a:cubicBezTo>
                          <a:pt x="861" y="2001"/>
                          <a:pt x="651" y="1698"/>
                          <a:pt x="512" y="1326"/>
                        </a:cubicBezTo>
                        <a:cubicBezTo>
                          <a:pt x="326" y="884"/>
                          <a:pt x="140" y="442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00" name="Freeform: Shape 199">
                    <a:extLst>
                      <a:ext uri="{FF2B5EF4-FFF2-40B4-BE49-F238E27FC236}">
                        <a16:creationId xmlns:a16="http://schemas.microsoft.com/office/drawing/2014/main" id="{AC02EC73-B5D2-4B6B-8D6C-6F08BB2A18EE}"/>
                      </a:ext>
                    </a:extLst>
                  </p:cNvPr>
                  <p:cNvSpPr/>
                  <p:nvPr/>
                </p:nvSpPr>
                <p:spPr>
                  <a:xfrm>
                    <a:off x="6164596" y="4120574"/>
                    <a:ext cx="2326" cy="2326"/>
                  </a:xfrm>
                  <a:custGeom>
                    <a:avLst/>
                    <a:gdLst>
                      <a:gd name="connsiteX0" fmla="*/ 0 w 0"/>
                      <a:gd name="connsiteY0" fmla="*/ 349 h 0"/>
                      <a:gd name="connsiteX1" fmla="*/ 465 w 0"/>
                      <a:gd name="connsiteY1" fmla="*/ 0 h 0"/>
                      <a:gd name="connsiteX2" fmla="*/ 0 w 0"/>
                      <a:gd name="connsiteY2" fmla="*/ 349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>
                        <a:moveTo>
                          <a:pt x="0" y="349"/>
                        </a:moveTo>
                        <a:cubicBezTo>
                          <a:pt x="140" y="209"/>
                          <a:pt x="279" y="70"/>
                          <a:pt x="465" y="0"/>
                        </a:cubicBezTo>
                        <a:cubicBezTo>
                          <a:pt x="279" y="70"/>
                          <a:pt x="116" y="186"/>
                          <a:pt x="0" y="349"/>
                        </a:cubicBez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01" name="Freeform: Shape 200">
                    <a:extLst>
                      <a:ext uri="{FF2B5EF4-FFF2-40B4-BE49-F238E27FC236}">
                        <a16:creationId xmlns:a16="http://schemas.microsoft.com/office/drawing/2014/main" id="{362A5725-C0D0-434E-AD54-109D2A3A8DA8}"/>
                      </a:ext>
                    </a:extLst>
                  </p:cNvPr>
                  <p:cNvSpPr/>
                  <p:nvPr/>
                </p:nvSpPr>
                <p:spPr>
                  <a:xfrm>
                    <a:off x="6155873" y="4120551"/>
                    <a:ext cx="9305" cy="6979"/>
                  </a:xfrm>
                  <a:custGeom>
                    <a:avLst/>
                    <a:gdLst>
                      <a:gd name="connsiteX0" fmla="*/ 10421 w 9304"/>
                      <a:gd name="connsiteY0" fmla="*/ 5653 h 6978"/>
                      <a:gd name="connsiteX1" fmla="*/ 9212 w 9304"/>
                      <a:gd name="connsiteY1" fmla="*/ 0 h 6978"/>
                      <a:gd name="connsiteX2" fmla="*/ 10421 w 9304"/>
                      <a:gd name="connsiteY2" fmla="*/ 5653 h 6978"/>
                      <a:gd name="connsiteX3" fmla="*/ 10421 w 9304"/>
                      <a:gd name="connsiteY3" fmla="*/ 5653 h 6978"/>
                      <a:gd name="connsiteX4" fmla="*/ 9933 w 9304"/>
                      <a:gd name="connsiteY4" fmla="*/ 5769 h 6978"/>
                      <a:gd name="connsiteX5" fmla="*/ 9933 w 9304"/>
                      <a:gd name="connsiteY5" fmla="*/ 5769 h 6978"/>
                      <a:gd name="connsiteX6" fmla="*/ 0 w 9304"/>
                      <a:gd name="connsiteY6" fmla="*/ 5769 h 6978"/>
                      <a:gd name="connsiteX7" fmla="*/ 326 w 9304"/>
                      <a:gd name="connsiteY7" fmla="*/ 7025 h 6978"/>
                      <a:gd name="connsiteX8" fmla="*/ 10770 w 9304"/>
                      <a:gd name="connsiteY8" fmla="*/ 7025 h 6978"/>
                      <a:gd name="connsiteX9" fmla="*/ 10421 w 9304"/>
                      <a:gd name="connsiteY9" fmla="*/ 5653 h 697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9304" h="6978">
                        <a:moveTo>
                          <a:pt x="10421" y="5653"/>
                        </a:moveTo>
                        <a:cubicBezTo>
                          <a:pt x="9956" y="3815"/>
                          <a:pt x="9561" y="1931"/>
                          <a:pt x="9212" y="0"/>
                        </a:cubicBezTo>
                        <a:cubicBezTo>
                          <a:pt x="9561" y="1931"/>
                          <a:pt x="9956" y="3815"/>
                          <a:pt x="10421" y="5653"/>
                        </a:cubicBezTo>
                        <a:lnTo>
                          <a:pt x="10421" y="5653"/>
                        </a:lnTo>
                        <a:cubicBezTo>
                          <a:pt x="10235" y="5722"/>
                          <a:pt x="10072" y="5769"/>
                          <a:pt x="9933" y="5769"/>
                        </a:cubicBezTo>
                        <a:lnTo>
                          <a:pt x="9933" y="5769"/>
                        </a:lnTo>
                        <a:lnTo>
                          <a:pt x="0" y="5769"/>
                        </a:lnTo>
                        <a:cubicBezTo>
                          <a:pt x="116" y="6188"/>
                          <a:pt x="209" y="6606"/>
                          <a:pt x="326" y="7025"/>
                        </a:cubicBezTo>
                        <a:lnTo>
                          <a:pt x="10770" y="7025"/>
                        </a:lnTo>
                        <a:cubicBezTo>
                          <a:pt x="10654" y="6560"/>
                          <a:pt x="10538" y="6118"/>
                          <a:pt x="10421" y="5653"/>
                        </a:cubicBez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02" name="Freeform: Shape 201">
                    <a:extLst>
                      <a:ext uri="{FF2B5EF4-FFF2-40B4-BE49-F238E27FC236}">
                        <a16:creationId xmlns:a16="http://schemas.microsoft.com/office/drawing/2014/main" id="{47DB01C4-29E3-4F72-BE78-365C3CDE880C}"/>
                      </a:ext>
                    </a:extLst>
                  </p:cNvPr>
                  <p:cNvSpPr/>
                  <p:nvPr/>
                </p:nvSpPr>
                <p:spPr>
                  <a:xfrm>
                    <a:off x="6163968" y="4121621"/>
                    <a:ext cx="2326" cy="2326"/>
                  </a:xfrm>
                  <a:custGeom>
                    <a:avLst/>
                    <a:gdLst>
                      <a:gd name="connsiteX0" fmla="*/ 163 w 0"/>
                      <a:gd name="connsiteY0" fmla="*/ 0 h 0"/>
                      <a:gd name="connsiteX1" fmla="*/ 0 w 0"/>
                      <a:gd name="connsiteY1" fmla="*/ 744 h 0"/>
                      <a:gd name="connsiteX2" fmla="*/ 0 w 0"/>
                      <a:gd name="connsiteY2" fmla="*/ 744 h 0"/>
                      <a:gd name="connsiteX3" fmla="*/ 163 w 0"/>
                      <a:gd name="connsiteY3" fmla="*/ 0 h 0"/>
                      <a:gd name="connsiteX4" fmla="*/ 163 w 0"/>
                      <a:gd name="connsiteY4" fmla="*/ 0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>
                        <a:moveTo>
                          <a:pt x="163" y="0"/>
                        </a:moveTo>
                        <a:cubicBezTo>
                          <a:pt x="70" y="233"/>
                          <a:pt x="0" y="489"/>
                          <a:pt x="0" y="744"/>
                        </a:cubicBezTo>
                        <a:lnTo>
                          <a:pt x="0" y="744"/>
                        </a:lnTo>
                        <a:cubicBezTo>
                          <a:pt x="0" y="489"/>
                          <a:pt x="47" y="233"/>
                          <a:pt x="163" y="0"/>
                        </a:cubicBezTo>
                        <a:lnTo>
                          <a:pt x="163" y="0"/>
                        </a:ln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03" name="Freeform: Shape 202">
                    <a:extLst>
                      <a:ext uri="{FF2B5EF4-FFF2-40B4-BE49-F238E27FC236}">
                        <a16:creationId xmlns:a16="http://schemas.microsoft.com/office/drawing/2014/main" id="{17A3D791-6E45-4684-901E-E34C7E3D4CBC}"/>
                      </a:ext>
                    </a:extLst>
                  </p:cNvPr>
                  <p:cNvSpPr/>
                  <p:nvPr/>
                </p:nvSpPr>
                <p:spPr>
                  <a:xfrm>
                    <a:off x="6154407" y="4113340"/>
                    <a:ext cx="9305" cy="6979"/>
                  </a:xfrm>
                  <a:custGeom>
                    <a:avLst/>
                    <a:gdLst>
                      <a:gd name="connsiteX0" fmla="*/ 10421 w 9304"/>
                      <a:gd name="connsiteY0" fmla="*/ 5792 h 6978"/>
                      <a:gd name="connsiteX1" fmla="*/ 9607 w 9304"/>
                      <a:gd name="connsiteY1" fmla="*/ 0 h 6978"/>
                      <a:gd name="connsiteX2" fmla="*/ 9607 w 9304"/>
                      <a:gd name="connsiteY2" fmla="*/ 0 h 6978"/>
                      <a:gd name="connsiteX3" fmla="*/ 10421 w 9304"/>
                      <a:gd name="connsiteY3" fmla="*/ 5792 h 6978"/>
                      <a:gd name="connsiteX4" fmla="*/ 10421 w 9304"/>
                      <a:gd name="connsiteY4" fmla="*/ 5792 h 6978"/>
                      <a:gd name="connsiteX5" fmla="*/ 10072 w 9304"/>
                      <a:gd name="connsiteY5" fmla="*/ 5862 h 6978"/>
                      <a:gd name="connsiteX6" fmla="*/ 0 w 9304"/>
                      <a:gd name="connsiteY6" fmla="*/ 5862 h 6978"/>
                      <a:gd name="connsiteX7" fmla="*/ 233 w 9304"/>
                      <a:gd name="connsiteY7" fmla="*/ 7211 h 6978"/>
                      <a:gd name="connsiteX8" fmla="*/ 10654 w 9304"/>
                      <a:gd name="connsiteY8" fmla="*/ 7211 h 6978"/>
                      <a:gd name="connsiteX9" fmla="*/ 10421 w 9304"/>
                      <a:gd name="connsiteY9" fmla="*/ 5792 h 697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9304" h="6978">
                        <a:moveTo>
                          <a:pt x="10421" y="5792"/>
                        </a:moveTo>
                        <a:cubicBezTo>
                          <a:pt x="10096" y="3908"/>
                          <a:pt x="9840" y="1977"/>
                          <a:pt x="9607" y="0"/>
                        </a:cubicBezTo>
                        <a:lnTo>
                          <a:pt x="9607" y="0"/>
                        </a:lnTo>
                        <a:cubicBezTo>
                          <a:pt x="9840" y="1977"/>
                          <a:pt x="10096" y="3908"/>
                          <a:pt x="10421" y="5792"/>
                        </a:cubicBezTo>
                        <a:cubicBezTo>
                          <a:pt x="10421" y="5815"/>
                          <a:pt x="10398" y="5815"/>
                          <a:pt x="10421" y="5792"/>
                        </a:cubicBezTo>
                        <a:cubicBezTo>
                          <a:pt x="10282" y="5839"/>
                          <a:pt x="10165" y="5862"/>
                          <a:pt x="10072" y="5862"/>
                        </a:cubicBezTo>
                        <a:lnTo>
                          <a:pt x="0" y="5862"/>
                        </a:lnTo>
                        <a:cubicBezTo>
                          <a:pt x="70" y="6304"/>
                          <a:pt x="163" y="6769"/>
                          <a:pt x="233" y="7211"/>
                        </a:cubicBezTo>
                        <a:lnTo>
                          <a:pt x="10654" y="7211"/>
                        </a:lnTo>
                        <a:cubicBezTo>
                          <a:pt x="10584" y="6746"/>
                          <a:pt x="10491" y="6281"/>
                          <a:pt x="10421" y="5792"/>
                        </a:cubicBez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04" name="Freeform: Shape 203">
                    <a:extLst>
                      <a:ext uri="{FF2B5EF4-FFF2-40B4-BE49-F238E27FC236}">
                        <a16:creationId xmlns:a16="http://schemas.microsoft.com/office/drawing/2014/main" id="{300F57C2-9695-411F-8DEA-7AE06532F370}"/>
                      </a:ext>
                    </a:extLst>
                  </p:cNvPr>
                  <p:cNvSpPr/>
                  <p:nvPr/>
                </p:nvSpPr>
                <p:spPr>
                  <a:xfrm>
                    <a:off x="6165805" y="4128111"/>
                    <a:ext cx="2326" cy="2326"/>
                  </a:xfrm>
                  <a:custGeom>
                    <a:avLst/>
                    <a:gdLst>
                      <a:gd name="connsiteX0" fmla="*/ 279 w 0"/>
                      <a:gd name="connsiteY0" fmla="*/ 0 h 0"/>
                      <a:gd name="connsiteX1" fmla="*/ 0 w 0"/>
                      <a:gd name="connsiteY1" fmla="*/ 605 h 0"/>
                      <a:gd name="connsiteX2" fmla="*/ 0 w 0"/>
                      <a:gd name="connsiteY2" fmla="*/ 605 h 0"/>
                      <a:gd name="connsiteX3" fmla="*/ 279 w 0"/>
                      <a:gd name="connsiteY3" fmla="*/ 0 h 0"/>
                      <a:gd name="connsiteX4" fmla="*/ 279 w 0"/>
                      <a:gd name="connsiteY4" fmla="*/ 0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>
                        <a:moveTo>
                          <a:pt x="279" y="0"/>
                        </a:moveTo>
                        <a:cubicBezTo>
                          <a:pt x="163" y="163"/>
                          <a:pt x="70" y="372"/>
                          <a:pt x="0" y="605"/>
                        </a:cubicBezTo>
                        <a:lnTo>
                          <a:pt x="0" y="605"/>
                        </a:lnTo>
                        <a:cubicBezTo>
                          <a:pt x="70" y="372"/>
                          <a:pt x="140" y="163"/>
                          <a:pt x="279" y="0"/>
                        </a:cubicBezTo>
                        <a:lnTo>
                          <a:pt x="279" y="0"/>
                        </a:ln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05" name="Freeform: Shape 204">
                    <a:extLst>
                      <a:ext uri="{FF2B5EF4-FFF2-40B4-BE49-F238E27FC236}">
                        <a16:creationId xmlns:a16="http://schemas.microsoft.com/office/drawing/2014/main" id="{9FDF8374-337C-47A0-8086-63F4181D4A32}"/>
                      </a:ext>
                    </a:extLst>
                  </p:cNvPr>
                  <p:cNvSpPr/>
                  <p:nvPr/>
                </p:nvSpPr>
                <p:spPr>
                  <a:xfrm>
                    <a:off x="6157873" y="4132996"/>
                    <a:ext cx="9305" cy="2326"/>
                  </a:xfrm>
                  <a:custGeom>
                    <a:avLst/>
                    <a:gdLst>
                      <a:gd name="connsiteX0" fmla="*/ 10375 w 9304"/>
                      <a:gd name="connsiteY0" fmla="*/ 0 h 0"/>
                      <a:gd name="connsiteX1" fmla="*/ 10351 w 9304"/>
                      <a:gd name="connsiteY1" fmla="*/ 23 h 0"/>
                      <a:gd name="connsiteX2" fmla="*/ 9723 w 9304"/>
                      <a:gd name="connsiteY2" fmla="*/ 209 h 0"/>
                      <a:gd name="connsiteX3" fmla="*/ 0 w 9304"/>
                      <a:gd name="connsiteY3" fmla="*/ 209 h 0"/>
                      <a:gd name="connsiteX4" fmla="*/ 372 w 9304"/>
                      <a:gd name="connsiteY4" fmla="*/ 1326 h 0"/>
                      <a:gd name="connsiteX5" fmla="*/ 10793 w 9304"/>
                      <a:gd name="connsiteY5" fmla="*/ 1326 h 0"/>
                      <a:gd name="connsiteX6" fmla="*/ 10375 w 9304"/>
                      <a:gd name="connsiteY6" fmla="*/ 0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304">
                        <a:moveTo>
                          <a:pt x="10375" y="0"/>
                        </a:moveTo>
                        <a:lnTo>
                          <a:pt x="10351" y="23"/>
                        </a:lnTo>
                        <a:cubicBezTo>
                          <a:pt x="10142" y="140"/>
                          <a:pt x="9933" y="209"/>
                          <a:pt x="9723" y="209"/>
                        </a:cubicBezTo>
                        <a:lnTo>
                          <a:pt x="0" y="209"/>
                        </a:lnTo>
                        <a:cubicBezTo>
                          <a:pt x="140" y="582"/>
                          <a:pt x="256" y="954"/>
                          <a:pt x="372" y="1326"/>
                        </a:cubicBezTo>
                        <a:lnTo>
                          <a:pt x="10793" y="1326"/>
                        </a:lnTo>
                        <a:cubicBezTo>
                          <a:pt x="10654" y="884"/>
                          <a:pt x="10514" y="442"/>
                          <a:pt x="10375" y="0"/>
                        </a:cubicBez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06" name="Freeform: Shape 205">
                    <a:extLst>
                      <a:ext uri="{FF2B5EF4-FFF2-40B4-BE49-F238E27FC236}">
                        <a16:creationId xmlns:a16="http://schemas.microsoft.com/office/drawing/2014/main" id="{086642A5-1B77-4267-9379-99FFF23D4581}"/>
                      </a:ext>
                    </a:extLst>
                  </p:cNvPr>
                  <p:cNvSpPr/>
                  <p:nvPr/>
                </p:nvSpPr>
                <p:spPr>
                  <a:xfrm>
                    <a:off x="6166643" y="4127553"/>
                    <a:ext cx="2326" cy="2326"/>
                  </a:xfrm>
                  <a:custGeom>
                    <a:avLst/>
                    <a:gdLst>
                      <a:gd name="connsiteX0" fmla="*/ 1233 w 0"/>
                      <a:gd name="connsiteY0" fmla="*/ 4164 h 2326"/>
                      <a:gd name="connsiteX1" fmla="*/ 1047 w 0"/>
                      <a:gd name="connsiteY1" fmla="*/ 3512 h 2326"/>
                      <a:gd name="connsiteX2" fmla="*/ 0 w 0"/>
                      <a:gd name="connsiteY2" fmla="*/ 0 h 2326"/>
                      <a:gd name="connsiteX3" fmla="*/ 0 w 0"/>
                      <a:gd name="connsiteY3" fmla="*/ 0 h 2326"/>
                      <a:gd name="connsiteX4" fmla="*/ 0 w 0"/>
                      <a:gd name="connsiteY4" fmla="*/ 0 h 2326"/>
                      <a:gd name="connsiteX5" fmla="*/ 1233 w 0"/>
                      <a:gd name="connsiteY5" fmla="*/ 4164 h 232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h="2326">
                        <a:moveTo>
                          <a:pt x="1233" y="4164"/>
                        </a:moveTo>
                        <a:cubicBezTo>
                          <a:pt x="1163" y="3954"/>
                          <a:pt x="1117" y="3745"/>
                          <a:pt x="1047" y="3512"/>
                        </a:cubicBezTo>
                        <a:cubicBezTo>
                          <a:pt x="675" y="2349"/>
                          <a:pt x="302" y="1186"/>
                          <a:pt x="0" y="0"/>
                        </a:cubicBezTo>
                        <a:lnTo>
                          <a:pt x="0" y="0"/>
                        </a:lnTo>
                        <a:lnTo>
                          <a:pt x="0" y="0"/>
                        </a:lnTo>
                        <a:cubicBezTo>
                          <a:pt x="372" y="1419"/>
                          <a:pt x="791" y="2791"/>
                          <a:pt x="1233" y="4164"/>
                        </a:cubicBez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07" name="Freeform: Shape 206">
                    <a:extLst>
                      <a:ext uri="{FF2B5EF4-FFF2-40B4-BE49-F238E27FC236}">
                        <a16:creationId xmlns:a16="http://schemas.microsoft.com/office/drawing/2014/main" id="{7F089BEB-9AB8-4933-BA09-53165426D865}"/>
                      </a:ext>
                    </a:extLst>
                  </p:cNvPr>
                  <p:cNvSpPr/>
                  <p:nvPr/>
                </p:nvSpPr>
                <p:spPr>
                  <a:xfrm>
                    <a:off x="6166108" y="4127948"/>
                    <a:ext cx="2326" cy="2326"/>
                  </a:xfrm>
                  <a:custGeom>
                    <a:avLst/>
                    <a:gdLst>
                      <a:gd name="connsiteX0" fmla="*/ 0 w 0"/>
                      <a:gd name="connsiteY0" fmla="*/ 116 h 0"/>
                      <a:gd name="connsiteX1" fmla="*/ 0 w 0"/>
                      <a:gd name="connsiteY1" fmla="*/ 116 h 0"/>
                      <a:gd name="connsiteX2" fmla="*/ 116 w 0"/>
                      <a:gd name="connsiteY2" fmla="*/ 0 h 0"/>
                      <a:gd name="connsiteX3" fmla="*/ 0 w 0"/>
                      <a:gd name="connsiteY3" fmla="*/ 116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>
                        <a:moveTo>
                          <a:pt x="0" y="116"/>
                        </a:moveTo>
                        <a:lnTo>
                          <a:pt x="0" y="116"/>
                        </a:lnTo>
                        <a:cubicBezTo>
                          <a:pt x="23" y="70"/>
                          <a:pt x="70" y="47"/>
                          <a:pt x="116" y="0"/>
                        </a:cubicBezTo>
                        <a:cubicBezTo>
                          <a:pt x="70" y="47"/>
                          <a:pt x="23" y="70"/>
                          <a:pt x="0" y="116"/>
                        </a:cubicBez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08" name="Freeform: Shape 207">
                    <a:extLst>
                      <a:ext uri="{FF2B5EF4-FFF2-40B4-BE49-F238E27FC236}">
                        <a16:creationId xmlns:a16="http://schemas.microsoft.com/office/drawing/2014/main" id="{91E7B2CC-0800-4A5A-B716-AB206CCC9EE1}"/>
                      </a:ext>
                    </a:extLst>
                  </p:cNvPr>
                  <p:cNvSpPr/>
                  <p:nvPr/>
                </p:nvSpPr>
                <p:spPr>
                  <a:xfrm>
                    <a:off x="6153453" y="4111781"/>
                    <a:ext cx="9305" cy="2326"/>
                  </a:xfrm>
                  <a:custGeom>
                    <a:avLst/>
                    <a:gdLst>
                      <a:gd name="connsiteX0" fmla="*/ 10561 w 9304"/>
                      <a:gd name="connsiteY0" fmla="*/ 1558 h 0"/>
                      <a:gd name="connsiteX1" fmla="*/ 10421 w 9304"/>
                      <a:gd name="connsiteY1" fmla="*/ 116 h 0"/>
                      <a:gd name="connsiteX2" fmla="*/ 10421 w 9304"/>
                      <a:gd name="connsiteY2" fmla="*/ 0 h 0"/>
                      <a:gd name="connsiteX3" fmla="*/ 10421 w 9304"/>
                      <a:gd name="connsiteY3" fmla="*/ 116 h 0"/>
                      <a:gd name="connsiteX4" fmla="*/ 10398 w 9304"/>
                      <a:gd name="connsiteY4" fmla="*/ 116 h 0"/>
                      <a:gd name="connsiteX5" fmla="*/ 10235 w 9304"/>
                      <a:gd name="connsiteY5" fmla="*/ 116 h 0"/>
                      <a:gd name="connsiteX6" fmla="*/ 10235 w 9304"/>
                      <a:gd name="connsiteY6" fmla="*/ 116 h 0"/>
                      <a:gd name="connsiteX7" fmla="*/ 0 w 9304"/>
                      <a:gd name="connsiteY7" fmla="*/ 116 h 0"/>
                      <a:gd name="connsiteX8" fmla="*/ 140 w 9304"/>
                      <a:gd name="connsiteY8" fmla="*/ 1535 h 0"/>
                      <a:gd name="connsiteX9" fmla="*/ 10561 w 9304"/>
                      <a:gd name="connsiteY9" fmla="*/ 1535 h 0"/>
                      <a:gd name="connsiteX10" fmla="*/ 10561 w 9304"/>
                      <a:gd name="connsiteY10" fmla="*/ 1558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9304">
                        <a:moveTo>
                          <a:pt x="10561" y="1558"/>
                        </a:moveTo>
                        <a:cubicBezTo>
                          <a:pt x="10514" y="1093"/>
                          <a:pt x="10468" y="605"/>
                          <a:pt x="10421" y="116"/>
                        </a:cubicBezTo>
                        <a:cubicBezTo>
                          <a:pt x="10421" y="70"/>
                          <a:pt x="10421" y="46"/>
                          <a:pt x="10421" y="0"/>
                        </a:cubicBezTo>
                        <a:cubicBezTo>
                          <a:pt x="10421" y="46"/>
                          <a:pt x="10421" y="70"/>
                          <a:pt x="10421" y="116"/>
                        </a:cubicBezTo>
                        <a:lnTo>
                          <a:pt x="10398" y="116"/>
                        </a:lnTo>
                        <a:lnTo>
                          <a:pt x="10235" y="116"/>
                        </a:lnTo>
                        <a:lnTo>
                          <a:pt x="10235" y="116"/>
                        </a:lnTo>
                        <a:lnTo>
                          <a:pt x="0" y="116"/>
                        </a:lnTo>
                        <a:cubicBezTo>
                          <a:pt x="47" y="605"/>
                          <a:pt x="93" y="1070"/>
                          <a:pt x="140" y="1535"/>
                        </a:cubicBezTo>
                        <a:lnTo>
                          <a:pt x="10561" y="1535"/>
                        </a:lnTo>
                        <a:lnTo>
                          <a:pt x="10561" y="1558"/>
                        </a:ln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09" name="Freeform: Shape 208">
                    <a:extLst>
                      <a:ext uri="{FF2B5EF4-FFF2-40B4-BE49-F238E27FC236}">
                        <a16:creationId xmlns:a16="http://schemas.microsoft.com/office/drawing/2014/main" id="{44F10DAD-AAC1-43CB-B530-EE4EAF71EC5B}"/>
                      </a:ext>
                    </a:extLst>
                  </p:cNvPr>
                  <p:cNvSpPr/>
                  <p:nvPr/>
                </p:nvSpPr>
                <p:spPr>
                  <a:xfrm>
                    <a:off x="6163037" y="4098755"/>
                    <a:ext cx="2326" cy="2326"/>
                  </a:xfrm>
                  <a:custGeom>
                    <a:avLst/>
                    <a:gdLst>
                      <a:gd name="connsiteX0" fmla="*/ 70 w 0"/>
                      <a:gd name="connsiteY0" fmla="*/ 0 h 0"/>
                      <a:gd name="connsiteX1" fmla="*/ 0 w 0"/>
                      <a:gd name="connsiteY1" fmla="*/ 23 h 0"/>
                      <a:gd name="connsiteX2" fmla="*/ 70 w 0"/>
                      <a:gd name="connsiteY2" fmla="*/ 0 h 0"/>
                      <a:gd name="connsiteX3" fmla="*/ 70 w 0"/>
                      <a:gd name="connsiteY3" fmla="*/ 0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>
                        <a:moveTo>
                          <a:pt x="70" y="0"/>
                        </a:moveTo>
                        <a:cubicBezTo>
                          <a:pt x="47" y="0"/>
                          <a:pt x="23" y="23"/>
                          <a:pt x="0" y="23"/>
                        </a:cubicBezTo>
                        <a:cubicBezTo>
                          <a:pt x="23" y="23"/>
                          <a:pt x="23" y="0"/>
                          <a:pt x="70" y="0"/>
                        </a:cubicBezTo>
                        <a:lnTo>
                          <a:pt x="70" y="0"/>
                        </a:ln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10" name="Freeform: Shape 209">
                    <a:extLst>
                      <a:ext uri="{FF2B5EF4-FFF2-40B4-BE49-F238E27FC236}">
                        <a16:creationId xmlns:a16="http://schemas.microsoft.com/office/drawing/2014/main" id="{2239A9EE-2462-4EE1-ABA7-05389372575C}"/>
                      </a:ext>
                    </a:extLst>
                  </p:cNvPr>
                  <p:cNvSpPr/>
                  <p:nvPr/>
                </p:nvSpPr>
                <p:spPr>
                  <a:xfrm>
                    <a:off x="6162339" y="4099336"/>
                    <a:ext cx="2326" cy="2326"/>
                  </a:xfrm>
                  <a:custGeom>
                    <a:avLst/>
                    <a:gdLst>
                      <a:gd name="connsiteX0" fmla="*/ 0 w 0"/>
                      <a:gd name="connsiteY0" fmla="*/ 0 h 0"/>
                      <a:gd name="connsiteX1" fmla="*/ 0 w 0"/>
                      <a:gd name="connsiteY1" fmla="*/ 0 h 0"/>
                      <a:gd name="connsiteX2" fmla="*/ 0 w 0"/>
                      <a:gd name="connsiteY2" fmla="*/ 0 h 0"/>
                      <a:gd name="connsiteX3" fmla="*/ 0 w 0"/>
                      <a:gd name="connsiteY3" fmla="*/ 0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11" name="Freeform: Shape 210">
                    <a:extLst>
                      <a:ext uri="{FF2B5EF4-FFF2-40B4-BE49-F238E27FC236}">
                        <a16:creationId xmlns:a16="http://schemas.microsoft.com/office/drawing/2014/main" id="{7327A8A0-7B7C-4420-91D8-45250B018136}"/>
                      </a:ext>
                    </a:extLst>
                  </p:cNvPr>
                  <p:cNvSpPr/>
                  <p:nvPr/>
                </p:nvSpPr>
                <p:spPr>
                  <a:xfrm>
                    <a:off x="6162967" y="4104407"/>
                    <a:ext cx="2326" cy="2326"/>
                  </a:xfrm>
                  <a:custGeom>
                    <a:avLst/>
                    <a:gdLst>
                      <a:gd name="connsiteX0" fmla="*/ 23 w 0"/>
                      <a:gd name="connsiteY0" fmla="*/ 23 h 0"/>
                      <a:gd name="connsiteX1" fmla="*/ 23 w 0"/>
                      <a:gd name="connsiteY1" fmla="*/ 23 h 0"/>
                      <a:gd name="connsiteX2" fmla="*/ 0 w 0"/>
                      <a:gd name="connsiteY2" fmla="*/ 0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>
                        <a:moveTo>
                          <a:pt x="23" y="23"/>
                        </a:moveTo>
                        <a:lnTo>
                          <a:pt x="23" y="23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12" name="Freeform: Shape 211">
                    <a:extLst>
                      <a:ext uri="{FF2B5EF4-FFF2-40B4-BE49-F238E27FC236}">
                        <a16:creationId xmlns:a16="http://schemas.microsoft.com/office/drawing/2014/main" id="{48AFC5D7-6891-4800-B802-E0E6419BBDDD}"/>
                      </a:ext>
                    </a:extLst>
                  </p:cNvPr>
                  <p:cNvSpPr/>
                  <p:nvPr/>
                </p:nvSpPr>
                <p:spPr>
                  <a:xfrm>
                    <a:off x="6167843" y="4135671"/>
                    <a:ext cx="2326" cy="2326"/>
                  </a:xfrm>
                  <a:custGeom>
                    <a:avLst/>
                    <a:gdLst>
                      <a:gd name="connsiteX0" fmla="*/ 56 w 0"/>
                      <a:gd name="connsiteY0" fmla="*/ 0 h 0"/>
                      <a:gd name="connsiteX1" fmla="*/ 9 w 0"/>
                      <a:gd name="connsiteY1" fmla="*/ 768 h 0"/>
                      <a:gd name="connsiteX2" fmla="*/ 9 w 0"/>
                      <a:gd name="connsiteY2" fmla="*/ 768 h 0"/>
                      <a:gd name="connsiteX3" fmla="*/ 56 w 0"/>
                      <a:gd name="connsiteY3" fmla="*/ 0 h 0"/>
                      <a:gd name="connsiteX4" fmla="*/ 56 w 0"/>
                      <a:gd name="connsiteY4" fmla="*/ 0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>
                        <a:moveTo>
                          <a:pt x="56" y="0"/>
                        </a:moveTo>
                        <a:cubicBezTo>
                          <a:pt x="9" y="256"/>
                          <a:pt x="-14" y="512"/>
                          <a:pt x="9" y="768"/>
                        </a:cubicBezTo>
                        <a:lnTo>
                          <a:pt x="9" y="768"/>
                        </a:lnTo>
                        <a:cubicBezTo>
                          <a:pt x="-14" y="512"/>
                          <a:pt x="9" y="233"/>
                          <a:pt x="56" y="0"/>
                        </a:cubicBezTo>
                        <a:lnTo>
                          <a:pt x="56" y="0"/>
                        </a:ln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13" name="Freeform: Shape 212">
                    <a:extLst>
                      <a:ext uri="{FF2B5EF4-FFF2-40B4-BE49-F238E27FC236}">
                        <a16:creationId xmlns:a16="http://schemas.microsoft.com/office/drawing/2014/main" id="{46A6A925-9B2E-456F-BB8C-DBCB54A006D8}"/>
                      </a:ext>
                    </a:extLst>
                  </p:cNvPr>
                  <p:cNvSpPr/>
                  <p:nvPr/>
                </p:nvSpPr>
                <p:spPr>
                  <a:xfrm>
                    <a:off x="6153035" y="4104524"/>
                    <a:ext cx="9305" cy="2326"/>
                  </a:xfrm>
                  <a:custGeom>
                    <a:avLst/>
                    <a:gdLst>
                      <a:gd name="connsiteX0" fmla="*/ 10468 w 9304"/>
                      <a:gd name="connsiteY0" fmla="*/ 1512 h 0"/>
                      <a:gd name="connsiteX1" fmla="*/ 10445 w 9304"/>
                      <a:gd name="connsiteY1" fmla="*/ 1023 h 0"/>
                      <a:gd name="connsiteX2" fmla="*/ 10421 w 9304"/>
                      <a:gd name="connsiteY2" fmla="*/ 0 h 0"/>
                      <a:gd name="connsiteX3" fmla="*/ 10421 w 9304"/>
                      <a:gd name="connsiteY3" fmla="*/ 0 h 0"/>
                      <a:gd name="connsiteX4" fmla="*/ 10398 w 9304"/>
                      <a:gd name="connsiteY4" fmla="*/ 0 h 0"/>
                      <a:gd name="connsiteX5" fmla="*/ 10398 w 9304"/>
                      <a:gd name="connsiteY5" fmla="*/ 0 h 0"/>
                      <a:gd name="connsiteX6" fmla="*/ 10398 w 9304"/>
                      <a:gd name="connsiteY6" fmla="*/ 0 h 0"/>
                      <a:gd name="connsiteX7" fmla="*/ 0 w 9304"/>
                      <a:gd name="connsiteY7" fmla="*/ 0 h 0"/>
                      <a:gd name="connsiteX8" fmla="*/ 47 w 9304"/>
                      <a:gd name="connsiteY8" fmla="*/ 1512 h 0"/>
                      <a:gd name="connsiteX9" fmla="*/ 47 w 9304"/>
                      <a:gd name="connsiteY9" fmla="*/ 1512 h 0"/>
                      <a:gd name="connsiteX10" fmla="*/ 10468 w 9304"/>
                      <a:gd name="connsiteY10" fmla="*/ 1512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9304">
                        <a:moveTo>
                          <a:pt x="10468" y="1512"/>
                        </a:moveTo>
                        <a:cubicBezTo>
                          <a:pt x="10468" y="1349"/>
                          <a:pt x="10468" y="1186"/>
                          <a:pt x="10445" y="1023"/>
                        </a:cubicBezTo>
                        <a:cubicBezTo>
                          <a:pt x="10445" y="675"/>
                          <a:pt x="10421" y="326"/>
                          <a:pt x="10421" y="0"/>
                        </a:cubicBezTo>
                        <a:lnTo>
                          <a:pt x="10421" y="0"/>
                        </a:lnTo>
                        <a:cubicBezTo>
                          <a:pt x="10421" y="0"/>
                          <a:pt x="10421" y="0"/>
                          <a:pt x="10398" y="0"/>
                        </a:cubicBezTo>
                        <a:lnTo>
                          <a:pt x="10398" y="0"/>
                        </a:lnTo>
                        <a:lnTo>
                          <a:pt x="10398" y="0"/>
                        </a:lnTo>
                        <a:lnTo>
                          <a:pt x="0" y="0"/>
                        </a:lnTo>
                        <a:cubicBezTo>
                          <a:pt x="0" y="512"/>
                          <a:pt x="23" y="1023"/>
                          <a:pt x="47" y="1512"/>
                        </a:cubicBezTo>
                        <a:lnTo>
                          <a:pt x="47" y="1512"/>
                        </a:lnTo>
                        <a:lnTo>
                          <a:pt x="10468" y="1512"/>
                        </a:ln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14" name="Freeform: Shape 213">
                    <a:extLst>
                      <a:ext uri="{FF2B5EF4-FFF2-40B4-BE49-F238E27FC236}">
                        <a16:creationId xmlns:a16="http://schemas.microsoft.com/office/drawing/2014/main" id="{C551432B-6966-4B1C-A5AE-532E8BEAFDDC}"/>
                      </a:ext>
                    </a:extLst>
                  </p:cNvPr>
                  <p:cNvSpPr/>
                  <p:nvPr/>
                </p:nvSpPr>
                <p:spPr>
                  <a:xfrm>
                    <a:off x="6153058" y="4097243"/>
                    <a:ext cx="9305" cy="2326"/>
                  </a:xfrm>
                  <a:custGeom>
                    <a:avLst/>
                    <a:gdLst>
                      <a:gd name="connsiteX0" fmla="*/ 10398 w 9304"/>
                      <a:gd name="connsiteY0" fmla="*/ 1442 h 0"/>
                      <a:gd name="connsiteX1" fmla="*/ 10398 w 9304"/>
                      <a:gd name="connsiteY1" fmla="*/ 1442 h 0"/>
                      <a:gd name="connsiteX2" fmla="*/ 10491 w 9304"/>
                      <a:gd name="connsiteY2" fmla="*/ 0 h 0"/>
                      <a:gd name="connsiteX3" fmla="*/ 70 w 9304"/>
                      <a:gd name="connsiteY3" fmla="*/ 0 h 0"/>
                      <a:gd name="connsiteX4" fmla="*/ 23 w 9304"/>
                      <a:gd name="connsiteY4" fmla="*/ 814 h 0"/>
                      <a:gd name="connsiteX5" fmla="*/ 0 w 9304"/>
                      <a:gd name="connsiteY5" fmla="*/ 1465 h 0"/>
                      <a:gd name="connsiteX6" fmla="*/ 10375 w 9304"/>
                      <a:gd name="connsiteY6" fmla="*/ 1465 h 0"/>
                      <a:gd name="connsiteX7" fmla="*/ 10398 w 9304"/>
                      <a:gd name="connsiteY7" fmla="*/ 1465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9304">
                        <a:moveTo>
                          <a:pt x="10398" y="1442"/>
                        </a:moveTo>
                        <a:lnTo>
                          <a:pt x="10398" y="1442"/>
                        </a:lnTo>
                        <a:cubicBezTo>
                          <a:pt x="10445" y="954"/>
                          <a:pt x="10468" y="465"/>
                          <a:pt x="10491" y="0"/>
                        </a:cubicBezTo>
                        <a:lnTo>
                          <a:pt x="70" y="0"/>
                        </a:lnTo>
                        <a:cubicBezTo>
                          <a:pt x="47" y="279"/>
                          <a:pt x="47" y="535"/>
                          <a:pt x="23" y="814"/>
                        </a:cubicBezTo>
                        <a:cubicBezTo>
                          <a:pt x="23" y="1024"/>
                          <a:pt x="0" y="1256"/>
                          <a:pt x="0" y="1465"/>
                        </a:cubicBezTo>
                        <a:lnTo>
                          <a:pt x="10375" y="1465"/>
                        </a:lnTo>
                        <a:lnTo>
                          <a:pt x="10398" y="1465"/>
                        </a:ln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15" name="Freeform: Shape 214">
                    <a:extLst>
                      <a:ext uri="{FF2B5EF4-FFF2-40B4-BE49-F238E27FC236}">
                        <a16:creationId xmlns:a16="http://schemas.microsoft.com/office/drawing/2014/main" id="{85E738C4-5CA6-4633-B74F-3E2BA727D8CC}"/>
                      </a:ext>
                    </a:extLst>
                  </p:cNvPr>
                  <p:cNvSpPr/>
                  <p:nvPr/>
                </p:nvSpPr>
                <p:spPr>
                  <a:xfrm>
                    <a:off x="6163223" y="4098685"/>
                    <a:ext cx="2326" cy="2326"/>
                  </a:xfrm>
                  <a:custGeom>
                    <a:avLst/>
                    <a:gdLst>
                      <a:gd name="connsiteX0" fmla="*/ 0 w 0"/>
                      <a:gd name="connsiteY0" fmla="*/ 46 h 0"/>
                      <a:gd name="connsiteX1" fmla="*/ 0 w 0"/>
                      <a:gd name="connsiteY1" fmla="*/ 46 h 0"/>
                      <a:gd name="connsiteX2" fmla="*/ 209 w 0"/>
                      <a:gd name="connsiteY2" fmla="*/ 0 h 0"/>
                      <a:gd name="connsiteX3" fmla="*/ 0 w 0"/>
                      <a:gd name="connsiteY3" fmla="*/ 46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>
                        <a:moveTo>
                          <a:pt x="0" y="46"/>
                        </a:moveTo>
                        <a:lnTo>
                          <a:pt x="0" y="46"/>
                        </a:lnTo>
                        <a:cubicBezTo>
                          <a:pt x="70" y="23"/>
                          <a:pt x="116" y="0"/>
                          <a:pt x="209" y="0"/>
                        </a:cubicBezTo>
                        <a:cubicBezTo>
                          <a:pt x="140" y="0"/>
                          <a:pt x="70" y="23"/>
                          <a:pt x="0" y="46"/>
                        </a:cubicBez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16" name="Freeform: Shape 215">
                    <a:extLst>
                      <a:ext uri="{FF2B5EF4-FFF2-40B4-BE49-F238E27FC236}">
                        <a16:creationId xmlns:a16="http://schemas.microsoft.com/office/drawing/2014/main" id="{343B5452-2A21-405C-9372-98B2E7E86D5A}"/>
                      </a:ext>
                    </a:extLst>
                  </p:cNvPr>
                  <p:cNvSpPr/>
                  <p:nvPr/>
                </p:nvSpPr>
                <p:spPr>
                  <a:xfrm>
                    <a:off x="6167945" y="4135276"/>
                    <a:ext cx="2326" cy="2326"/>
                  </a:xfrm>
                  <a:custGeom>
                    <a:avLst/>
                    <a:gdLst>
                      <a:gd name="connsiteX0" fmla="*/ 0 w 0"/>
                      <a:gd name="connsiteY0" fmla="*/ 279 h 0"/>
                      <a:gd name="connsiteX1" fmla="*/ 0 w 0"/>
                      <a:gd name="connsiteY1" fmla="*/ 279 h 0"/>
                      <a:gd name="connsiteX2" fmla="*/ 116 w 0"/>
                      <a:gd name="connsiteY2" fmla="*/ 0 h 0"/>
                      <a:gd name="connsiteX3" fmla="*/ 0 w 0"/>
                      <a:gd name="connsiteY3" fmla="*/ 279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>
                        <a:moveTo>
                          <a:pt x="0" y="279"/>
                        </a:moveTo>
                        <a:lnTo>
                          <a:pt x="0" y="279"/>
                        </a:lnTo>
                        <a:cubicBezTo>
                          <a:pt x="23" y="186"/>
                          <a:pt x="70" y="93"/>
                          <a:pt x="116" y="0"/>
                        </a:cubicBezTo>
                        <a:cubicBezTo>
                          <a:pt x="47" y="93"/>
                          <a:pt x="23" y="186"/>
                          <a:pt x="0" y="279"/>
                        </a:cubicBezTo>
                        <a:close/>
                      </a:path>
                    </a:pathLst>
                  </a:custGeom>
                  <a:solidFill>
                    <a:srgbClr val="EA803A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17" name="Freeform: Shape 216">
                    <a:extLst>
                      <a:ext uri="{FF2B5EF4-FFF2-40B4-BE49-F238E27FC236}">
                        <a16:creationId xmlns:a16="http://schemas.microsoft.com/office/drawing/2014/main" id="{8B70DABD-1215-4D3A-9F61-469A938C3C93}"/>
                      </a:ext>
                    </a:extLst>
                  </p:cNvPr>
                  <p:cNvSpPr/>
                  <p:nvPr/>
                </p:nvSpPr>
                <p:spPr>
                  <a:xfrm>
                    <a:off x="6266017" y="4102221"/>
                    <a:ext cx="2326" cy="2326"/>
                  </a:xfrm>
                  <a:custGeom>
                    <a:avLst/>
                    <a:gdLst>
                      <a:gd name="connsiteX0" fmla="*/ 70 w 0"/>
                      <a:gd name="connsiteY0" fmla="*/ 0 h 2326"/>
                      <a:gd name="connsiteX1" fmla="*/ 0 w 0"/>
                      <a:gd name="connsiteY1" fmla="*/ 3675 h 2326"/>
                      <a:gd name="connsiteX2" fmla="*/ 0 w 0"/>
                      <a:gd name="connsiteY2" fmla="*/ 3675 h 2326"/>
                      <a:gd name="connsiteX3" fmla="*/ 23 w 0"/>
                      <a:gd name="connsiteY3" fmla="*/ 3675 h 2326"/>
                      <a:gd name="connsiteX4" fmla="*/ 0 w 0"/>
                      <a:gd name="connsiteY4" fmla="*/ 3675 h 2326"/>
                      <a:gd name="connsiteX5" fmla="*/ 70 w 0"/>
                      <a:gd name="connsiteY5" fmla="*/ 0 h 232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h="2326">
                        <a:moveTo>
                          <a:pt x="70" y="0"/>
                        </a:moveTo>
                        <a:cubicBezTo>
                          <a:pt x="70" y="1233"/>
                          <a:pt x="47" y="2466"/>
                          <a:pt x="0" y="3675"/>
                        </a:cubicBezTo>
                        <a:lnTo>
                          <a:pt x="0" y="3675"/>
                        </a:lnTo>
                        <a:lnTo>
                          <a:pt x="23" y="3675"/>
                        </a:lnTo>
                        <a:lnTo>
                          <a:pt x="0" y="3675"/>
                        </a:lnTo>
                        <a:cubicBezTo>
                          <a:pt x="47" y="2466"/>
                          <a:pt x="70" y="1256"/>
                          <a:pt x="70" y="0"/>
                        </a:cubicBezTo>
                        <a:close/>
                      </a:path>
                    </a:pathLst>
                  </a:custGeom>
                  <a:solidFill>
                    <a:srgbClr val="F19439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18" name="Freeform: Shape 217">
                    <a:extLst>
                      <a:ext uri="{FF2B5EF4-FFF2-40B4-BE49-F238E27FC236}">
                        <a16:creationId xmlns:a16="http://schemas.microsoft.com/office/drawing/2014/main" id="{E79C1601-79CB-4ECA-908F-1BCBF5EAC7E3}"/>
                      </a:ext>
                    </a:extLst>
                  </p:cNvPr>
                  <p:cNvSpPr/>
                  <p:nvPr/>
                </p:nvSpPr>
                <p:spPr>
                  <a:xfrm>
                    <a:off x="6261202" y="4102221"/>
                    <a:ext cx="2326" cy="2326"/>
                  </a:xfrm>
                  <a:custGeom>
                    <a:avLst/>
                    <a:gdLst>
                      <a:gd name="connsiteX0" fmla="*/ 70 w 0"/>
                      <a:gd name="connsiteY0" fmla="*/ 0 h 2326"/>
                      <a:gd name="connsiteX1" fmla="*/ 0 w 0"/>
                      <a:gd name="connsiteY1" fmla="*/ 3675 h 2326"/>
                      <a:gd name="connsiteX2" fmla="*/ 0 w 0"/>
                      <a:gd name="connsiteY2" fmla="*/ 3675 h 2326"/>
                      <a:gd name="connsiteX3" fmla="*/ 70 w 0"/>
                      <a:gd name="connsiteY3" fmla="*/ 0 h 2326"/>
                      <a:gd name="connsiteX4" fmla="*/ 70 w 0"/>
                      <a:gd name="connsiteY4" fmla="*/ 0 h 232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h="2326">
                        <a:moveTo>
                          <a:pt x="70" y="0"/>
                        </a:moveTo>
                        <a:cubicBezTo>
                          <a:pt x="70" y="1233"/>
                          <a:pt x="46" y="2466"/>
                          <a:pt x="0" y="3675"/>
                        </a:cubicBezTo>
                        <a:lnTo>
                          <a:pt x="0" y="3675"/>
                        </a:lnTo>
                        <a:cubicBezTo>
                          <a:pt x="46" y="2466"/>
                          <a:pt x="70" y="1256"/>
                          <a:pt x="70" y="0"/>
                        </a:cubicBezTo>
                        <a:lnTo>
                          <a:pt x="70" y="0"/>
                        </a:lnTo>
                        <a:close/>
                      </a:path>
                    </a:pathLst>
                  </a:custGeom>
                  <a:solidFill>
                    <a:srgbClr val="F19439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19" name="Freeform: Shape 218">
                    <a:extLst>
                      <a:ext uri="{FF2B5EF4-FFF2-40B4-BE49-F238E27FC236}">
                        <a16:creationId xmlns:a16="http://schemas.microsoft.com/office/drawing/2014/main" id="{10204CBC-7E93-4F70-B36D-1126E9C06F2A}"/>
                      </a:ext>
                    </a:extLst>
                  </p:cNvPr>
                  <p:cNvSpPr/>
                  <p:nvPr/>
                </p:nvSpPr>
                <p:spPr>
                  <a:xfrm>
                    <a:off x="6265505" y="4113223"/>
                    <a:ext cx="2326" cy="2326"/>
                  </a:xfrm>
                  <a:custGeom>
                    <a:avLst/>
                    <a:gdLst>
                      <a:gd name="connsiteX0" fmla="*/ 0 w 0"/>
                      <a:gd name="connsiteY0" fmla="*/ 0 h 0"/>
                      <a:gd name="connsiteX1" fmla="*/ 0 w 0"/>
                      <a:gd name="connsiteY1" fmla="*/ 23 h 0"/>
                      <a:gd name="connsiteX2" fmla="*/ 233 w 0"/>
                      <a:gd name="connsiteY2" fmla="*/ 23 h 0"/>
                      <a:gd name="connsiteX3" fmla="*/ 23 w 0"/>
                      <a:gd name="connsiteY3" fmla="*/ 0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>
                        <a:moveTo>
                          <a:pt x="0" y="0"/>
                        </a:moveTo>
                        <a:lnTo>
                          <a:pt x="0" y="23"/>
                        </a:lnTo>
                        <a:lnTo>
                          <a:pt x="233" y="23"/>
                        </a:lnTo>
                        <a:lnTo>
                          <a:pt x="23" y="0"/>
                        </a:lnTo>
                        <a:close/>
                      </a:path>
                    </a:pathLst>
                  </a:custGeom>
                  <a:solidFill>
                    <a:srgbClr val="F19439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20" name="Freeform: Shape 219">
                    <a:extLst>
                      <a:ext uri="{FF2B5EF4-FFF2-40B4-BE49-F238E27FC236}">
                        <a16:creationId xmlns:a16="http://schemas.microsoft.com/office/drawing/2014/main" id="{315B4B19-F098-4F96-B293-1640047C3217}"/>
                      </a:ext>
                    </a:extLst>
                  </p:cNvPr>
                  <p:cNvSpPr/>
                  <p:nvPr/>
                </p:nvSpPr>
                <p:spPr>
                  <a:xfrm>
                    <a:off x="6260620" y="4107361"/>
                    <a:ext cx="2326" cy="4652"/>
                  </a:xfrm>
                  <a:custGeom>
                    <a:avLst/>
                    <a:gdLst>
                      <a:gd name="connsiteX0" fmla="*/ 0 w 0"/>
                      <a:gd name="connsiteY0" fmla="*/ 5885 h 4652"/>
                      <a:gd name="connsiteX1" fmla="*/ 0 w 0"/>
                      <a:gd name="connsiteY1" fmla="*/ 5885 h 4652"/>
                      <a:gd name="connsiteX2" fmla="*/ 512 w 0"/>
                      <a:gd name="connsiteY2" fmla="*/ 0 h 4652"/>
                      <a:gd name="connsiteX3" fmla="*/ 512 w 0"/>
                      <a:gd name="connsiteY3" fmla="*/ 0 h 4652"/>
                      <a:gd name="connsiteX4" fmla="*/ 0 w 0"/>
                      <a:gd name="connsiteY4" fmla="*/ 5885 h 46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h="4652">
                        <a:moveTo>
                          <a:pt x="0" y="5885"/>
                        </a:moveTo>
                        <a:lnTo>
                          <a:pt x="0" y="5885"/>
                        </a:lnTo>
                        <a:cubicBezTo>
                          <a:pt x="233" y="3954"/>
                          <a:pt x="395" y="1977"/>
                          <a:pt x="512" y="0"/>
                        </a:cubicBezTo>
                        <a:lnTo>
                          <a:pt x="512" y="0"/>
                        </a:lnTo>
                        <a:cubicBezTo>
                          <a:pt x="395" y="2000"/>
                          <a:pt x="233" y="3954"/>
                          <a:pt x="0" y="5885"/>
                        </a:cubicBezTo>
                        <a:close/>
                      </a:path>
                    </a:pathLst>
                  </a:custGeom>
                  <a:solidFill>
                    <a:srgbClr val="F19439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21" name="Freeform: Shape 220">
                    <a:extLst>
                      <a:ext uri="{FF2B5EF4-FFF2-40B4-BE49-F238E27FC236}">
                        <a16:creationId xmlns:a16="http://schemas.microsoft.com/office/drawing/2014/main" id="{D7A03671-E594-4ED6-B9EC-13EEB058631F}"/>
                      </a:ext>
                    </a:extLst>
                  </p:cNvPr>
                  <p:cNvSpPr/>
                  <p:nvPr/>
                </p:nvSpPr>
                <p:spPr>
                  <a:xfrm>
                    <a:off x="6264458" y="4120435"/>
                    <a:ext cx="2326" cy="2326"/>
                  </a:xfrm>
                  <a:custGeom>
                    <a:avLst/>
                    <a:gdLst>
                      <a:gd name="connsiteX0" fmla="*/ 23 w 0"/>
                      <a:gd name="connsiteY0" fmla="*/ 0 h 0"/>
                      <a:gd name="connsiteX1" fmla="*/ 23 w 0"/>
                      <a:gd name="connsiteY1" fmla="*/ 0 h 0"/>
                      <a:gd name="connsiteX2" fmla="*/ 0 w 0"/>
                      <a:gd name="connsiteY2" fmla="*/ 70 h 0"/>
                      <a:gd name="connsiteX3" fmla="*/ 372 w 0"/>
                      <a:gd name="connsiteY3" fmla="*/ 70 h 0"/>
                      <a:gd name="connsiteX4" fmla="*/ 23 w 0"/>
                      <a:gd name="connsiteY4" fmla="*/ 0 h 0"/>
                      <a:gd name="connsiteX5" fmla="*/ 23 w 0"/>
                      <a:gd name="connsiteY5" fmla="*/ 0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>
                        <a:moveTo>
                          <a:pt x="23" y="0"/>
                        </a:moveTo>
                        <a:lnTo>
                          <a:pt x="23" y="0"/>
                        </a:lnTo>
                        <a:cubicBezTo>
                          <a:pt x="23" y="23"/>
                          <a:pt x="0" y="46"/>
                          <a:pt x="0" y="70"/>
                        </a:cubicBezTo>
                        <a:lnTo>
                          <a:pt x="372" y="70"/>
                        </a:lnTo>
                        <a:cubicBezTo>
                          <a:pt x="279" y="46"/>
                          <a:pt x="163" y="46"/>
                          <a:pt x="23" y="0"/>
                        </a:cubicBezTo>
                        <a:lnTo>
                          <a:pt x="23" y="0"/>
                        </a:lnTo>
                        <a:close/>
                      </a:path>
                    </a:pathLst>
                  </a:custGeom>
                  <a:solidFill>
                    <a:srgbClr val="F19439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22" name="Freeform: Shape 221">
                    <a:extLst>
                      <a:ext uri="{FF2B5EF4-FFF2-40B4-BE49-F238E27FC236}">
                        <a16:creationId xmlns:a16="http://schemas.microsoft.com/office/drawing/2014/main" id="{E9099928-DF80-4BED-8986-7B13DAD11370}"/>
                      </a:ext>
                    </a:extLst>
                  </p:cNvPr>
                  <p:cNvSpPr/>
                  <p:nvPr/>
                </p:nvSpPr>
                <p:spPr>
                  <a:xfrm>
                    <a:off x="6264458" y="4114689"/>
                    <a:ext cx="2326" cy="4652"/>
                  </a:xfrm>
                  <a:custGeom>
                    <a:avLst/>
                    <a:gdLst>
                      <a:gd name="connsiteX0" fmla="*/ 0 w 0"/>
                      <a:gd name="connsiteY0" fmla="*/ 5746 h 4652"/>
                      <a:gd name="connsiteX1" fmla="*/ 884 w 0"/>
                      <a:gd name="connsiteY1" fmla="*/ 0 h 4652"/>
                      <a:gd name="connsiteX2" fmla="*/ 884 w 0"/>
                      <a:gd name="connsiteY2" fmla="*/ 0 h 4652"/>
                      <a:gd name="connsiteX3" fmla="*/ 0 w 0"/>
                      <a:gd name="connsiteY3" fmla="*/ 5746 h 4652"/>
                      <a:gd name="connsiteX4" fmla="*/ 0 w 0"/>
                      <a:gd name="connsiteY4" fmla="*/ 5746 h 46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h="4652">
                        <a:moveTo>
                          <a:pt x="0" y="5746"/>
                        </a:moveTo>
                        <a:cubicBezTo>
                          <a:pt x="349" y="3861"/>
                          <a:pt x="651" y="1931"/>
                          <a:pt x="884" y="0"/>
                        </a:cubicBezTo>
                        <a:lnTo>
                          <a:pt x="884" y="0"/>
                        </a:lnTo>
                        <a:cubicBezTo>
                          <a:pt x="651" y="1931"/>
                          <a:pt x="349" y="3838"/>
                          <a:pt x="0" y="5746"/>
                        </a:cubicBezTo>
                        <a:lnTo>
                          <a:pt x="0" y="5746"/>
                        </a:lnTo>
                        <a:close/>
                      </a:path>
                    </a:pathLst>
                  </a:custGeom>
                  <a:solidFill>
                    <a:srgbClr val="F19439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23" name="Freeform: Shape 222">
                    <a:extLst>
                      <a:ext uri="{FF2B5EF4-FFF2-40B4-BE49-F238E27FC236}">
                        <a16:creationId xmlns:a16="http://schemas.microsoft.com/office/drawing/2014/main" id="{9F25B129-1645-49E8-863E-C757E7AF1816}"/>
                      </a:ext>
                    </a:extLst>
                  </p:cNvPr>
                  <p:cNvSpPr/>
                  <p:nvPr/>
                </p:nvSpPr>
                <p:spPr>
                  <a:xfrm>
                    <a:off x="6259457" y="4114666"/>
                    <a:ext cx="2326" cy="4652"/>
                  </a:xfrm>
                  <a:custGeom>
                    <a:avLst/>
                    <a:gdLst>
                      <a:gd name="connsiteX0" fmla="*/ 0 w 0"/>
                      <a:gd name="connsiteY0" fmla="*/ 5815 h 4652"/>
                      <a:gd name="connsiteX1" fmla="*/ 0 w 0"/>
                      <a:gd name="connsiteY1" fmla="*/ 5815 h 4652"/>
                      <a:gd name="connsiteX2" fmla="*/ 977 w 0"/>
                      <a:gd name="connsiteY2" fmla="*/ 0 h 4652"/>
                      <a:gd name="connsiteX3" fmla="*/ 977 w 0"/>
                      <a:gd name="connsiteY3" fmla="*/ 0 h 4652"/>
                      <a:gd name="connsiteX4" fmla="*/ 0 w 0"/>
                      <a:gd name="connsiteY4" fmla="*/ 5815 h 46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h="4652">
                        <a:moveTo>
                          <a:pt x="0" y="5815"/>
                        </a:moveTo>
                        <a:lnTo>
                          <a:pt x="0" y="5815"/>
                        </a:lnTo>
                        <a:cubicBezTo>
                          <a:pt x="395" y="3908"/>
                          <a:pt x="721" y="1954"/>
                          <a:pt x="977" y="0"/>
                        </a:cubicBezTo>
                        <a:lnTo>
                          <a:pt x="977" y="0"/>
                        </a:lnTo>
                        <a:cubicBezTo>
                          <a:pt x="721" y="1977"/>
                          <a:pt x="395" y="3908"/>
                          <a:pt x="0" y="5815"/>
                        </a:cubicBezTo>
                        <a:close/>
                      </a:path>
                    </a:pathLst>
                  </a:custGeom>
                  <a:solidFill>
                    <a:srgbClr val="F19439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24" name="Freeform: Shape 223">
                    <a:extLst>
                      <a:ext uri="{FF2B5EF4-FFF2-40B4-BE49-F238E27FC236}">
                        <a16:creationId xmlns:a16="http://schemas.microsoft.com/office/drawing/2014/main" id="{D6F912A1-51F4-4CC5-ACD8-FE0318DA9388}"/>
                      </a:ext>
                    </a:extLst>
                  </p:cNvPr>
                  <p:cNvSpPr/>
                  <p:nvPr/>
                </p:nvSpPr>
                <p:spPr>
                  <a:xfrm>
                    <a:off x="6262877" y="4127460"/>
                    <a:ext cx="2326" cy="2326"/>
                  </a:xfrm>
                  <a:custGeom>
                    <a:avLst/>
                    <a:gdLst>
                      <a:gd name="connsiteX0" fmla="*/ 46 w 0"/>
                      <a:gd name="connsiteY0" fmla="*/ 0 h 0"/>
                      <a:gd name="connsiteX1" fmla="*/ 46 w 0"/>
                      <a:gd name="connsiteY1" fmla="*/ 0 h 0"/>
                      <a:gd name="connsiteX2" fmla="*/ 0 w 0"/>
                      <a:gd name="connsiteY2" fmla="*/ 140 h 0"/>
                      <a:gd name="connsiteX3" fmla="*/ 558 w 0"/>
                      <a:gd name="connsiteY3" fmla="*/ 140 h 0"/>
                      <a:gd name="connsiteX4" fmla="*/ 46 w 0"/>
                      <a:gd name="connsiteY4" fmla="*/ 0 h 0"/>
                      <a:gd name="connsiteX5" fmla="*/ 46 w 0"/>
                      <a:gd name="connsiteY5" fmla="*/ 0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>
                        <a:moveTo>
                          <a:pt x="46" y="0"/>
                        </a:moveTo>
                        <a:lnTo>
                          <a:pt x="46" y="0"/>
                        </a:lnTo>
                        <a:cubicBezTo>
                          <a:pt x="23" y="46"/>
                          <a:pt x="23" y="93"/>
                          <a:pt x="0" y="140"/>
                        </a:cubicBezTo>
                        <a:cubicBezTo>
                          <a:pt x="186" y="140"/>
                          <a:pt x="395" y="140"/>
                          <a:pt x="558" y="140"/>
                        </a:cubicBezTo>
                        <a:cubicBezTo>
                          <a:pt x="395" y="116"/>
                          <a:pt x="233" y="70"/>
                          <a:pt x="46" y="0"/>
                        </a:cubicBezTo>
                        <a:lnTo>
                          <a:pt x="46" y="0"/>
                        </a:lnTo>
                        <a:close/>
                      </a:path>
                    </a:pathLst>
                  </a:custGeom>
                  <a:solidFill>
                    <a:srgbClr val="F19439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25" name="Freeform: Shape 224">
                    <a:extLst>
                      <a:ext uri="{FF2B5EF4-FFF2-40B4-BE49-F238E27FC236}">
                        <a16:creationId xmlns:a16="http://schemas.microsoft.com/office/drawing/2014/main" id="{89ADCD1E-A650-4725-A52A-E2D91E20D24A}"/>
                      </a:ext>
                    </a:extLst>
                  </p:cNvPr>
                  <p:cNvSpPr/>
                  <p:nvPr/>
                </p:nvSpPr>
                <p:spPr>
                  <a:xfrm>
                    <a:off x="6260783" y="4134205"/>
                    <a:ext cx="2326" cy="2326"/>
                  </a:xfrm>
                  <a:custGeom>
                    <a:avLst/>
                    <a:gdLst>
                      <a:gd name="connsiteX0" fmla="*/ 70 w 0"/>
                      <a:gd name="connsiteY0" fmla="*/ 0 h 0"/>
                      <a:gd name="connsiteX1" fmla="*/ 0 w 0"/>
                      <a:gd name="connsiteY1" fmla="*/ 209 h 0"/>
                      <a:gd name="connsiteX2" fmla="*/ 744 w 0"/>
                      <a:gd name="connsiteY2" fmla="*/ 209 h 0"/>
                      <a:gd name="connsiteX3" fmla="*/ 93 w 0"/>
                      <a:gd name="connsiteY3" fmla="*/ 0 h 0"/>
                      <a:gd name="connsiteX4" fmla="*/ 70 w 0"/>
                      <a:gd name="connsiteY4" fmla="*/ 0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>
                        <a:moveTo>
                          <a:pt x="70" y="0"/>
                        </a:moveTo>
                        <a:cubicBezTo>
                          <a:pt x="47" y="70"/>
                          <a:pt x="23" y="140"/>
                          <a:pt x="0" y="209"/>
                        </a:cubicBezTo>
                        <a:lnTo>
                          <a:pt x="744" y="209"/>
                        </a:lnTo>
                        <a:cubicBezTo>
                          <a:pt x="535" y="209"/>
                          <a:pt x="302" y="140"/>
                          <a:pt x="93" y="0"/>
                        </a:cubicBezTo>
                        <a:lnTo>
                          <a:pt x="70" y="0"/>
                        </a:lnTo>
                        <a:close/>
                      </a:path>
                    </a:pathLst>
                  </a:custGeom>
                  <a:solidFill>
                    <a:srgbClr val="F19439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26" name="Freeform: Shape 225">
                    <a:extLst>
                      <a:ext uri="{FF2B5EF4-FFF2-40B4-BE49-F238E27FC236}">
                        <a16:creationId xmlns:a16="http://schemas.microsoft.com/office/drawing/2014/main" id="{420F22C6-BA04-4A84-A6BF-0DB9A109EBC1}"/>
                      </a:ext>
                    </a:extLst>
                  </p:cNvPr>
                  <p:cNvSpPr/>
                  <p:nvPr/>
                </p:nvSpPr>
                <p:spPr>
                  <a:xfrm>
                    <a:off x="6259573" y="4064560"/>
                    <a:ext cx="2326" cy="2326"/>
                  </a:xfrm>
                  <a:custGeom>
                    <a:avLst/>
                    <a:gdLst>
                      <a:gd name="connsiteX0" fmla="*/ 0 w 0"/>
                      <a:gd name="connsiteY0" fmla="*/ 0 h 0"/>
                      <a:gd name="connsiteX1" fmla="*/ 0 w 0"/>
                      <a:gd name="connsiteY1" fmla="*/ 0 h 0"/>
                      <a:gd name="connsiteX2" fmla="*/ 0 w 0"/>
                      <a:gd name="connsiteY2" fmla="*/ 0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F19439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27" name="Freeform: Shape 226">
                    <a:extLst>
                      <a:ext uri="{FF2B5EF4-FFF2-40B4-BE49-F238E27FC236}">
                        <a16:creationId xmlns:a16="http://schemas.microsoft.com/office/drawing/2014/main" id="{64F08E37-CB3A-4813-9B5F-6B6A93C5EFCE}"/>
                      </a:ext>
                    </a:extLst>
                  </p:cNvPr>
                  <p:cNvSpPr/>
                  <p:nvPr/>
                </p:nvSpPr>
                <p:spPr>
                  <a:xfrm>
                    <a:off x="6258666" y="4064537"/>
                    <a:ext cx="2326" cy="2326"/>
                  </a:xfrm>
                  <a:custGeom>
                    <a:avLst/>
                    <a:gdLst>
                      <a:gd name="connsiteX0" fmla="*/ 140 w 0"/>
                      <a:gd name="connsiteY0" fmla="*/ 302 h 0"/>
                      <a:gd name="connsiteX1" fmla="*/ 140 w 0"/>
                      <a:gd name="connsiteY1" fmla="*/ 302 h 0"/>
                      <a:gd name="connsiteX2" fmla="*/ 302 w 0"/>
                      <a:gd name="connsiteY2" fmla="*/ 186 h 0"/>
                      <a:gd name="connsiteX3" fmla="*/ 907 w 0"/>
                      <a:gd name="connsiteY3" fmla="*/ 0 h 0"/>
                      <a:gd name="connsiteX4" fmla="*/ 0 w 0"/>
                      <a:gd name="connsiteY4" fmla="*/ 0 h 0"/>
                      <a:gd name="connsiteX5" fmla="*/ 140 w 0"/>
                      <a:gd name="connsiteY5" fmla="*/ 302 h 0"/>
                      <a:gd name="connsiteX6" fmla="*/ 140 w 0"/>
                      <a:gd name="connsiteY6" fmla="*/ 302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>
                        <a:moveTo>
                          <a:pt x="140" y="302"/>
                        </a:moveTo>
                        <a:lnTo>
                          <a:pt x="140" y="302"/>
                        </a:lnTo>
                        <a:cubicBezTo>
                          <a:pt x="209" y="256"/>
                          <a:pt x="256" y="233"/>
                          <a:pt x="302" y="186"/>
                        </a:cubicBezTo>
                        <a:cubicBezTo>
                          <a:pt x="489" y="70"/>
                          <a:pt x="675" y="0"/>
                          <a:pt x="907" y="0"/>
                        </a:cubicBezTo>
                        <a:lnTo>
                          <a:pt x="0" y="0"/>
                        </a:lnTo>
                        <a:cubicBezTo>
                          <a:pt x="23" y="116"/>
                          <a:pt x="70" y="209"/>
                          <a:pt x="140" y="302"/>
                        </a:cubicBezTo>
                        <a:lnTo>
                          <a:pt x="140" y="302"/>
                        </a:lnTo>
                        <a:close/>
                      </a:path>
                    </a:pathLst>
                  </a:custGeom>
                  <a:solidFill>
                    <a:srgbClr val="F19439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28" name="Freeform: Shape 227">
                    <a:extLst>
                      <a:ext uri="{FF2B5EF4-FFF2-40B4-BE49-F238E27FC236}">
                        <a16:creationId xmlns:a16="http://schemas.microsoft.com/office/drawing/2014/main" id="{B45846F8-48AE-4D23-985B-FCBAD70E9E46}"/>
                      </a:ext>
                    </a:extLst>
                  </p:cNvPr>
                  <p:cNvSpPr/>
                  <p:nvPr/>
                </p:nvSpPr>
                <p:spPr>
                  <a:xfrm>
                    <a:off x="6258782" y="4064862"/>
                    <a:ext cx="2326" cy="4652"/>
                  </a:xfrm>
                  <a:custGeom>
                    <a:avLst/>
                    <a:gdLst>
                      <a:gd name="connsiteX0" fmla="*/ 2001 w 0"/>
                      <a:gd name="connsiteY0" fmla="*/ 5164 h 4652"/>
                      <a:gd name="connsiteX1" fmla="*/ 2001 w 0"/>
                      <a:gd name="connsiteY1" fmla="*/ 5164 h 4652"/>
                      <a:gd name="connsiteX2" fmla="*/ 0 w 0"/>
                      <a:gd name="connsiteY2" fmla="*/ 0 h 4652"/>
                      <a:gd name="connsiteX3" fmla="*/ 2001 w 0"/>
                      <a:gd name="connsiteY3" fmla="*/ 5164 h 46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h="4652">
                        <a:moveTo>
                          <a:pt x="2001" y="5164"/>
                        </a:moveTo>
                        <a:lnTo>
                          <a:pt x="2001" y="5164"/>
                        </a:lnTo>
                        <a:cubicBezTo>
                          <a:pt x="1372" y="3396"/>
                          <a:pt x="721" y="1675"/>
                          <a:pt x="0" y="0"/>
                        </a:cubicBezTo>
                        <a:cubicBezTo>
                          <a:pt x="721" y="1675"/>
                          <a:pt x="1372" y="3419"/>
                          <a:pt x="2001" y="5164"/>
                        </a:cubicBezTo>
                        <a:close/>
                      </a:path>
                    </a:pathLst>
                  </a:custGeom>
                  <a:solidFill>
                    <a:srgbClr val="F19439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29" name="Freeform: Shape 228">
                    <a:extLst>
                      <a:ext uri="{FF2B5EF4-FFF2-40B4-BE49-F238E27FC236}">
                        <a16:creationId xmlns:a16="http://schemas.microsoft.com/office/drawing/2014/main" id="{3C892670-BDD4-4D70-8F8E-64F250C845E0}"/>
                      </a:ext>
                    </a:extLst>
                  </p:cNvPr>
                  <p:cNvSpPr/>
                  <p:nvPr/>
                </p:nvSpPr>
                <p:spPr>
                  <a:xfrm>
                    <a:off x="6255689" y="4058372"/>
                    <a:ext cx="2326" cy="2326"/>
                  </a:xfrm>
                  <a:custGeom>
                    <a:avLst/>
                    <a:gdLst>
                      <a:gd name="connsiteX0" fmla="*/ 233 w 0"/>
                      <a:gd name="connsiteY0" fmla="*/ 372 h 0"/>
                      <a:gd name="connsiteX1" fmla="*/ 582 w 0"/>
                      <a:gd name="connsiteY1" fmla="*/ 140 h 0"/>
                      <a:gd name="connsiteX2" fmla="*/ 582 w 0"/>
                      <a:gd name="connsiteY2" fmla="*/ 140 h 0"/>
                      <a:gd name="connsiteX3" fmla="*/ 721 w 0"/>
                      <a:gd name="connsiteY3" fmla="*/ 70 h 0"/>
                      <a:gd name="connsiteX4" fmla="*/ 721 w 0"/>
                      <a:gd name="connsiteY4" fmla="*/ 70 h 0"/>
                      <a:gd name="connsiteX5" fmla="*/ 977 w 0"/>
                      <a:gd name="connsiteY5" fmla="*/ 23 h 0"/>
                      <a:gd name="connsiteX6" fmla="*/ 1140 w 0"/>
                      <a:gd name="connsiteY6" fmla="*/ 0 h 0"/>
                      <a:gd name="connsiteX7" fmla="*/ 0 w 0"/>
                      <a:gd name="connsiteY7" fmla="*/ 0 h 0"/>
                      <a:gd name="connsiteX8" fmla="*/ 233 w 0"/>
                      <a:gd name="connsiteY8" fmla="*/ 442 h 0"/>
                      <a:gd name="connsiteX9" fmla="*/ 233 w 0"/>
                      <a:gd name="connsiteY9" fmla="*/ 372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>
                        <a:moveTo>
                          <a:pt x="233" y="372"/>
                        </a:moveTo>
                        <a:cubicBezTo>
                          <a:pt x="326" y="256"/>
                          <a:pt x="442" y="186"/>
                          <a:pt x="582" y="140"/>
                        </a:cubicBezTo>
                        <a:lnTo>
                          <a:pt x="582" y="140"/>
                        </a:lnTo>
                        <a:cubicBezTo>
                          <a:pt x="628" y="116"/>
                          <a:pt x="675" y="93"/>
                          <a:pt x="721" y="70"/>
                        </a:cubicBezTo>
                        <a:lnTo>
                          <a:pt x="721" y="70"/>
                        </a:lnTo>
                        <a:cubicBezTo>
                          <a:pt x="791" y="47"/>
                          <a:pt x="884" y="23"/>
                          <a:pt x="977" y="23"/>
                        </a:cubicBezTo>
                        <a:cubicBezTo>
                          <a:pt x="1024" y="23"/>
                          <a:pt x="1070" y="0"/>
                          <a:pt x="1140" y="0"/>
                        </a:cubicBezTo>
                        <a:lnTo>
                          <a:pt x="0" y="0"/>
                        </a:lnTo>
                        <a:cubicBezTo>
                          <a:pt x="70" y="140"/>
                          <a:pt x="163" y="279"/>
                          <a:pt x="233" y="442"/>
                        </a:cubicBezTo>
                        <a:cubicBezTo>
                          <a:pt x="209" y="395"/>
                          <a:pt x="209" y="372"/>
                          <a:pt x="233" y="372"/>
                        </a:cubicBezTo>
                        <a:close/>
                      </a:path>
                    </a:pathLst>
                  </a:custGeom>
                  <a:solidFill>
                    <a:srgbClr val="F19439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30" name="Freeform: Shape 229">
                    <a:extLst>
                      <a:ext uri="{FF2B5EF4-FFF2-40B4-BE49-F238E27FC236}">
                        <a16:creationId xmlns:a16="http://schemas.microsoft.com/office/drawing/2014/main" id="{766BE5CC-42C1-41D9-9618-D034ED1453BD}"/>
                      </a:ext>
                    </a:extLst>
                  </p:cNvPr>
                  <p:cNvSpPr/>
                  <p:nvPr/>
                </p:nvSpPr>
                <p:spPr>
                  <a:xfrm>
                    <a:off x="6255875" y="4058768"/>
                    <a:ext cx="2326" cy="4652"/>
                  </a:xfrm>
                  <a:custGeom>
                    <a:avLst/>
                    <a:gdLst>
                      <a:gd name="connsiteX0" fmla="*/ 2373 w 2326"/>
                      <a:gd name="connsiteY0" fmla="*/ 4862 h 4652"/>
                      <a:gd name="connsiteX1" fmla="*/ 2373 w 2326"/>
                      <a:gd name="connsiteY1" fmla="*/ 4862 h 4652"/>
                      <a:gd name="connsiteX2" fmla="*/ 2373 w 2326"/>
                      <a:gd name="connsiteY2" fmla="*/ 4862 h 4652"/>
                      <a:gd name="connsiteX3" fmla="*/ 0 w 2326"/>
                      <a:gd name="connsiteY3" fmla="*/ 0 h 4652"/>
                      <a:gd name="connsiteX4" fmla="*/ 2373 w 2326"/>
                      <a:gd name="connsiteY4" fmla="*/ 4862 h 46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326" h="4652">
                        <a:moveTo>
                          <a:pt x="2373" y="4862"/>
                        </a:moveTo>
                        <a:lnTo>
                          <a:pt x="2373" y="4862"/>
                        </a:lnTo>
                        <a:lnTo>
                          <a:pt x="2373" y="4862"/>
                        </a:lnTo>
                        <a:cubicBezTo>
                          <a:pt x="1628" y="3210"/>
                          <a:pt x="837" y="1582"/>
                          <a:pt x="0" y="0"/>
                        </a:cubicBezTo>
                        <a:cubicBezTo>
                          <a:pt x="837" y="1559"/>
                          <a:pt x="1628" y="3187"/>
                          <a:pt x="2373" y="4862"/>
                        </a:cubicBezTo>
                        <a:close/>
                      </a:path>
                    </a:pathLst>
                  </a:custGeom>
                  <a:solidFill>
                    <a:srgbClr val="F19439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31" name="Freeform: Shape 230">
                    <a:extLst>
                      <a:ext uri="{FF2B5EF4-FFF2-40B4-BE49-F238E27FC236}">
                        <a16:creationId xmlns:a16="http://schemas.microsoft.com/office/drawing/2014/main" id="{8D94EDFE-8E64-4DA0-927B-35DC5D87A58F}"/>
                      </a:ext>
                    </a:extLst>
                  </p:cNvPr>
                  <p:cNvSpPr/>
                  <p:nvPr/>
                </p:nvSpPr>
                <p:spPr>
                  <a:xfrm>
                    <a:off x="6256805" y="4058349"/>
                    <a:ext cx="2326" cy="2326"/>
                  </a:xfrm>
                  <a:custGeom>
                    <a:avLst/>
                    <a:gdLst>
                      <a:gd name="connsiteX0" fmla="*/ 0 w 0"/>
                      <a:gd name="connsiteY0" fmla="*/ 0 h 0"/>
                      <a:gd name="connsiteX1" fmla="*/ 0 w 0"/>
                      <a:gd name="connsiteY1" fmla="*/ 0 h 0"/>
                      <a:gd name="connsiteX2" fmla="*/ 0 w 0"/>
                      <a:gd name="connsiteY2" fmla="*/ 0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F19439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32" name="Freeform: Shape 231">
                    <a:extLst>
                      <a:ext uri="{FF2B5EF4-FFF2-40B4-BE49-F238E27FC236}">
                        <a16:creationId xmlns:a16="http://schemas.microsoft.com/office/drawing/2014/main" id="{EB53D0D5-3292-499A-9C45-A6FD9058137C}"/>
                      </a:ext>
                    </a:extLst>
                  </p:cNvPr>
                  <p:cNvSpPr/>
                  <p:nvPr/>
                </p:nvSpPr>
                <p:spPr>
                  <a:xfrm>
                    <a:off x="6255107" y="4146674"/>
                    <a:ext cx="2326" cy="2326"/>
                  </a:xfrm>
                  <a:custGeom>
                    <a:avLst/>
                    <a:gdLst>
                      <a:gd name="connsiteX0" fmla="*/ 256 w 0"/>
                      <a:gd name="connsiteY0" fmla="*/ 0 h 0"/>
                      <a:gd name="connsiteX1" fmla="*/ 0 w 0"/>
                      <a:gd name="connsiteY1" fmla="*/ 442 h 0"/>
                      <a:gd name="connsiteX2" fmla="*/ 1186 w 0"/>
                      <a:gd name="connsiteY2" fmla="*/ 442 h 0"/>
                      <a:gd name="connsiteX3" fmla="*/ 256 w 0"/>
                      <a:gd name="connsiteY3" fmla="*/ 0 h 0"/>
                      <a:gd name="connsiteX4" fmla="*/ 256 w 0"/>
                      <a:gd name="connsiteY4" fmla="*/ 0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>
                        <a:moveTo>
                          <a:pt x="256" y="0"/>
                        </a:moveTo>
                        <a:cubicBezTo>
                          <a:pt x="186" y="163"/>
                          <a:pt x="93" y="302"/>
                          <a:pt x="0" y="442"/>
                        </a:cubicBezTo>
                        <a:lnTo>
                          <a:pt x="1186" y="442"/>
                        </a:lnTo>
                        <a:cubicBezTo>
                          <a:pt x="861" y="442"/>
                          <a:pt x="535" y="302"/>
                          <a:pt x="256" y="0"/>
                        </a:cubicBezTo>
                        <a:lnTo>
                          <a:pt x="256" y="0"/>
                        </a:lnTo>
                        <a:close/>
                      </a:path>
                    </a:pathLst>
                  </a:custGeom>
                  <a:solidFill>
                    <a:srgbClr val="F19439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33" name="Freeform: Shape 232">
                    <a:extLst>
                      <a:ext uri="{FF2B5EF4-FFF2-40B4-BE49-F238E27FC236}">
                        <a16:creationId xmlns:a16="http://schemas.microsoft.com/office/drawing/2014/main" id="{34720700-89AF-4489-A098-A3E04D4A846A}"/>
                      </a:ext>
                    </a:extLst>
                  </p:cNvPr>
                  <p:cNvSpPr/>
                  <p:nvPr/>
                </p:nvSpPr>
                <p:spPr>
                  <a:xfrm>
                    <a:off x="6255247" y="4057605"/>
                    <a:ext cx="2326" cy="2326"/>
                  </a:xfrm>
                  <a:custGeom>
                    <a:avLst/>
                    <a:gdLst>
                      <a:gd name="connsiteX0" fmla="*/ 0 w 0"/>
                      <a:gd name="connsiteY0" fmla="*/ 0 h 0"/>
                      <a:gd name="connsiteX1" fmla="*/ 0 w 0"/>
                      <a:gd name="connsiteY1" fmla="*/ 0 h 0"/>
                      <a:gd name="connsiteX2" fmla="*/ 0 w 0"/>
                      <a:gd name="connsiteY2" fmla="*/ 0 h 0"/>
                      <a:gd name="connsiteX3" fmla="*/ 0 w 0"/>
                      <a:gd name="connsiteY3" fmla="*/ 0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F19439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34" name="Freeform: Shape 233">
                    <a:extLst>
                      <a:ext uri="{FF2B5EF4-FFF2-40B4-BE49-F238E27FC236}">
                        <a16:creationId xmlns:a16="http://schemas.microsoft.com/office/drawing/2014/main" id="{69D65847-4E62-442A-9B77-231D9A72235A}"/>
                      </a:ext>
                    </a:extLst>
                  </p:cNvPr>
                  <p:cNvSpPr/>
                  <p:nvPr/>
                </p:nvSpPr>
                <p:spPr>
                  <a:xfrm>
                    <a:off x="6252199" y="4052534"/>
                    <a:ext cx="2326" cy="2326"/>
                  </a:xfrm>
                  <a:custGeom>
                    <a:avLst/>
                    <a:gdLst>
                      <a:gd name="connsiteX0" fmla="*/ 395 w 0"/>
                      <a:gd name="connsiteY0" fmla="*/ 535 h 0"/>
                      <a:gd name="connsiteX1" fmla="*/ 512 w 0"/>
                      <a:gd name="connsiteY1" fmla="*/ 442 h 0"/>
                      <a:gd name="connsiteX2" fmla="*/ 930 w 0"/>
                      <a:gd name="connsiteY2" fmla="*/ 116 h 0"/>
                      <a:gd name="connsiteX3" fmla="*/ 930 w 0"/>
                      <a:gd name="connsiteY3" fmla="*/ 116 h 0"/>
                      <a:gd name="connsiteX4" fmla="*/ 1419 w 0"/>
                      <a:gd name="connsiteY4" fmla="*/ 0 h 0"/>
                      <a:gd name="connsiteX5" fmla="*/ 0 w 0"/>
                      <a:gd name="connsiteY5" fmla="*/ 0 h 0"/>
                      <a:gd name="connsiteX6" fmla="*/ 395 w 0"/>
                      <a:gd name="connsiteY6" fmla="*/ 558 h 0"/>
                      <a:gd name="connsiteX7" fmla="*/ 395 w 0"/>
                      <a:gd name="connsiteY7" fmla="*/ 535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>
                        <a:moveTo>
                          <a:pt x="395" y="535"/>
                        </a:moveTo>
                        <a:cubicBezTo>
                          <a:pt x="442" y="488"/>
                          <a:pt x="489" y="488"/>
                          <a:pt x="512" y="442"/>
                        </a:cubicBezTo>
                        <a:cubicBezTo>
                          <a:pt x="651" y="302"/>
                          <a:pt x="791" y="186"/>
                          <a:pt x="930" y="116"/>
                        </a:cubicBezTo>
                        <a:lnTo>
                          <a:pt x="930" y="116"/>
                        </a:lnTo>
                        <a:cubicBezTo>
                          <a:pt x="1093" y="46"/>
                          <a:pt x="1256" y="0"/>
                          <a:pt x="1419" y="0"/>
                        </a:cubicBezTo>
                        <a:lnTo>
                          <a:pt x="0" y="0"/>
                        </a:lnTo>
                        <a:cubicBezTo>
                          <a:pt x="116" y="186"/>
                          <a:pt x="256" y="372"/>
                          <a:pt x="395" y="558"/>
                        </a:cubicBezTo>
                        <a:lnTo>
                          <a:pt x="395" y="535"/>
                        </a:lnTo>
                        <a:close/>
                      </a:path>
                    </a:pathLst>
                  </a:custGeom>
                  <a:solidFill>
                    <a:srgbClr val="F19439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35" name="Freeform: Shape 234">
                    <a:extLst>
                      <a:ext uri="{FF2B5EF4-FFF2-40B4-BE49-F238E27FC236}">
                        <a16:creationId xmlns:a16="http://schemas.microsoft.com/office/drawing/2014/main" id="{5FCAAA58-A077-44A6-84A2-2BAD63917A50}"/>
                      </a:ext>
                    </a:extLst>
                  </p:cNvPr>
                  <p:cNvSpPr/>
                  <p:nvPr/>
                </p:nvSpPr>
                <p:spPr>
                  <a:xfrm>
                    <a:off x="6248291" y="4047253"/>
                    <a:ext cx="2326" cy="2326"/>
                  </a:xfrm>
                  <a:custGeom>
                    <a:avLst/>
                    <a:gdLst>
                      <a:gd name="connsiteX0" fmla="*/ 582 w 0"/>
                      <a:gd name="connsiteY0" fmla="*/ 675 h 0"/>
                      <a:gd name="connsiteX1" fmla="*/ 954 w 0"/>
                      <a:gd name="connsiteY1" fmla="*/ 279 h 0"/>
                      <a:gd name="connsiteX2" fmla="*/ 954 w 0"/>
                      <a:gd name="connsiteY2" fmla="*/ 279 h 0"/>
                      <a:gd name="connsiteX3" fmla="*/ 977 w 0"/>
                      <a:gd name="connsiteY3" fmla="*/ 279 h 0"/>
                      <a:gd name="connsiteX4" fmla="*/ 1303 w 0"/>
                      <a:gd name="connsiteY4" fmla="*/ 93 h 0"/>
                      <a:gd name="connsiteX5" fmla="*/ 1303 w 0"/>
                      <a:gd name="connsiteY5" fmla="*/ 93 h 0"/>
                      <a:gd name="connsiteX6" fmla="*/ 1419 w 0"/>
                      <a:gd name="connsiteY6" fmla="*/ 47 h 0"/>
                      <a:gd name="connsiteX7" fmla="*/ 1419 w 0"/>
                      <a:gd name="connsiteY7" fmla="*/ 47 h 0"/>
                      <a:gd name="connsiteX8" fmla="*/ 1745 w 0"/>
                      <a:gd name="connsiteY8" fmla="*/ 0 h 0"/>
                      <a:gd name="connsiteX9" fmla="*/ 0 w 0"/>
                      <a:gd name="connsiteY9" fmla="*/ 0 h 0"/>
                      <a:gd name="connsiteX10" fmla="*/ 582 w 0"/>
                      <a:gd name="connsiteY10" fmla="*/ 675 h 0"/>
                      <a:gd name="connsiteX11" fmla="*/ 582 w 0"/>
                      <a:gd name="connsiteY11" fmla="*/ 675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</a:cxnLst>
                    <a:rect l="l" t="t" r="r" b="b"/>
                    <a:pathLst>
                      <a:path>
                        <a:moveTo>
                          <a:pt x="582" y="675"/>
                        </a:moveTo>
                        <a:cubicBezTo>
                          <a:pt x="698" y="512"/>
                          <a:pt x="814" y="372"/>
                          <a:pt x="954" y="279"/>
                        </a:cubicBezTo>
                        <a:lnTo>
                          <a:pt x="954" y="279"/>
                        </a:lnTo>
                        <a:lnTo>
                          <a:pt x="977" y="279"/>
                        </a:lnTo>
                        <a:cubicBezTo>
                          <a:pt x="1070" y="209"/>
                          <a:pt x="1186" y="140"/>
                          <a:pt x="1303" y="93"/>
                        </a:cubicBezTo>
                        <a:lnTo>
                          <a:pt x="1303" y="93"/>
                        </a:lnTo>
                        <a:cubicBezTo>
                          <a:pt x="1349" y="93"/>
                          <a:pt x="1372" y="70"/>
                          <a:pt x="1419" y="47"/>
                        </a:cubicBezTo>
                        <a:lnTo>
                          <a:pt x="1419" y="47"/>
                        </a:lnTo>
                        <a:cubicBezTo>
                          <a:pt x="1535" y="0"/>
                          <a:pt x="1628" y="0"/>
                          <a:pt x="1745" y="0"/>
                        </a:cubicBezTo>
                        <a:lnTo>
                          <a:pt x="0" y="0"/>
                        </a:lnTo>
                        <a:cubicBezTo>
                          <a:pt x="163" y="233"/>
                          <a:pt x="372" y="465"/>
                          <a:pt x="582" y="675"/>
                        </a:cubicBezTo>
                        <a:lnTo>
                          <a:pt x="582" y="675"/>
                        </a:lnTo>
                        <a:close/>
                      </a:path>
                    </a:pathLst>
                  </a:custGeom>
                  <a:solidFill>
                    <a:srgbClr val="F19439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36" name="Freeform: Shape 235">
                    <a:extLst>
                      <a:ext uri="{FF2B5EF4-FFF2-40B4-BE49-F238E27FC236}">
                        <a16:creationId xmlns:a16="http://schemas.microsoft.com/office/drawing/2014/main" id="{C4C1E4A2-2B05-43BE-870D-F50E8D74B187}"/>
                      </a:ext>
                    </a:extLst>
                  </p:cNvPr>
                  <p:cNvSpPr/>
                  <p:nvPr/>
                </p:nvSpPr>
                <p:spPr>
                  <a:xfrm>
                    <a:off x="6263156" y="4078005"/>
                    <a:ext cx="2326" cy="2326"/>
                  </a:xfrm>
                  <a:custGeom>
                    <a:avLst/>
                    <a:gdLst>
                      <a:gd name="connsiteX0" fmla="*/ 70 w 0"/>
                      <a:gd name="connsiteY0" fmla="*/ 116 h 0"/>
                      <a:gd name="connsiteX1" fmla="*/ 535 w 0"/>
                      <a:gd name="connsiteY1" fmla="*/ 0 h 0"/>
                      <a:gd name="connsiteX2" fmla="*/ 0 w 0"/>
                      <a:gd name="connsiteY2" fmla="*/ 0 h 0"/>
                      <a:gd name="connsiteX3" fmla="*/ 23 w 0"/>
                      <a:gd name="connsiteY3" fmla="*/ 116 h 0"/>
                      <a:gd name="connsiteX4" fmla="*/ 70 w 0"/>
                      <a:gd name="connsiteY4" fmla="*/ 116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>
                        <a:moveTo>
                          <a:pt x="70" y="116"/>
                        </a:moveTo>
                        <a:cubicBezTo>
                          <a:pt x="233" y="47"/>
                          <a:pt x="395" y="0"/>
                          <a:pt x="535" y="0"/>
                        </a:cubicBezTo>
                        <a:lnTo>
                          <a:pt x="0" y="0"/>
                        </a:lnTo>
                        <a:cubicBezTo>
                          <a:pt x="0" y="47"/>
                          <a:pt x="23" y="70"/>
                          <a:pt x="23" y="116"/>
                        </a:cubicBezTo>
                        <a:lnTo>
                          <a:pt x="70" y="116"/>
                        </a:lnTo>
                        <a:close/>
                      </a:path>
                    </a:pathLst>
                  </a:custGeom>
                  <a:solidFill>
                    <a:srgbClr val="F19439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37" name="Freeform: Shape 236">
                    <a:extLst>
                      <a:ext uri="{FF2B5EF4-FFF2-40B4-BE49-F238E27FC236}">
                        <a16:creationId xmlns:a16="http://schemas.microsoft.com/office/drawing/2014/main" id="{C96C0BF9-BA58-46CE-B8CA-9079F85119AC}"/>
                      </a:ext>
                    </a:extLst>
                  </p:cNvPr>
                  <p:cNvSpPr/>
                  <p:nvPr/>
                </p:nvSpPr>
                <p:spPr>
                  <a:xfrm>
                    <a:off x="6264412" y="4083774"/>
                    <a:ext cx="2326" cy="2326"/>
                  </a:xfrm>
                  <a:custGeom>
                    <a:avLst/>
                    <a:gdLst>
                      <a:gd name="connsiteX0" fmla="*/ 0 w 0"/>
                      <a:gd name="connsiteY0" fmla="*/ 0 h 0"/>
                      <a:gd name="connsiteX1" fmla="*/ 0 w 0"/>
                      <a:gd name="connsiteY1" fmla="*/ 0 h 0"/>
                      <a:gd name="connsiteX2" fmla="*/ 0 w 0"/>
                      <a:gd name="connsiteY2" fmla="*/ 0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F19439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38" name="Freeform: Shape 237">
                    <a:extLst>
                      <a:ext uri="{FF2B5EF4-FFF2-40B4-BE49-F238E27FC236}">
                        <a16:creationId xmlns:a16="http://schemas.microsoft.com/office/drawing/2014/main" id="{603997E8-712A-43B9-982D-A8F51585885A}"/>
                      </a:ext>
                    </a:extLst>
                  </p:cNvPr>
                  <p:cNvSpPr/>
                  <p:nvPr/>
                </p:nvSpPr>
                <p:spPr>
                  <a:xfrm>
                    <a:off x="6261155" y="4071143"/>
                    <a:ext cx="2326" cy="2326"/>
                  </a:xfrm>
                  <a:custGeom>
                    <a:avLst/>
                    <a:gdLst>
                      <a:gd name="connsiteX0" fmla="*/ 93 w 0"/>
                      <a:gd name="connsiteY0" fmla="*/ 163 h 0"/>
                      <a:gd name="connsiteX1" fmla="*/ 675 w 0"/>
                      <a:gd name="connsiteY1" fmla="*/ 0 h 0"/>
                      <a:gd name="connsiteX2" fmla="*/ 698 w 0"/>
                      <a:gd name="connsiteY2" fmla="*/ 0 h 0"/>
                      <a:gd name="connsiteX3" fmla="*/ 0 w 0"/>
                      <a:gd name="connsiteY3" fmla="*/ 0 h 0"/>
                      <a:gd name="connsiteX4" fmla="*/ 93 w 0"/>
                      <a:gd name="connsiteY4" fmla="*/ 163 h 0"/>
                      <a:gd name="connsiteX5" fmla="*/ 93 w 0"/>
                      <a:gd name="connsiteY5" fmla="*/ 163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>
                        <a:moveTo>
                          <a:pt x="93" y="163"/>
                        </a:moveTo>
                        <a:cubicBezTo>
                          <a:pt x="279" y="46"/>
                          <a:pt x="489" y="0"/>
                          <a:pt x="675" y="0"/>
                        </a:cubicBezTo>
                        <a:cubicBezTo>
                          <a:pt x="698" y="0"/>
                          <a:pt x="698" y="0"/>
                          <a:pt x="698" y="0"/>
                        </a:cubicBezTo>
                        <a:lnTo>
                          <a:pt x="0" y="0"/>
                        </a:lnTo>
                        <a:cubicBezTo>
                          <a:pt x="23" y="46"/>
                          <a:pt x="47" y="116"/>
                          <a:pt x="93" y="163"/>
                        </a:cubicBezTo>
                        <a:cubicBezTo>
                          <a:pt x="70" y="186"/>
                          <a:pt x="93" y="186"/>
                          <a:pt x="93" y="163"/>
                        </a:cubicBezTo>
                        <a:close/>
                      </a:path>
                    </a:pathLst>
                  </a:custGeom>
                  <a:solidFill>
                    <a:srgbClr val="F19439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39" name="Freeform: Shape 238">
                    <a:extLst>
                      <a:ext uri="{FF2B5EF4-FFF2-40B4-BE49-F238E27FC236}">
                        <a16:creationId xmlns:a16="http://schemas.microsoft.com/office/drawing/2014/main" id="{6E8E22D4-21D4-4F3E-99D3-D584462ECC88}"/>
                      </a:ext>
                    </a:extLst>
                  </p:cNvPr>
                  <p:cNvSpPr/>
                  <p:nvPr/>
                </p:nvSpPr>
                <p:spPr>
                  <a:xfrm>
                    <a:off x="6261225" y="4071352"/>
                    <a:ext cx="2326" cy="4652"/>
                  </a:xfrm>
                  <a:custGeom>
                    <a:avLst/>
                    <a:gdLst>
                      <a:gd name="connsiteX0" fmla="*/ 1628 w 0"/>
                      <a:gd name="connsiteY0" fmla="*/ 5420 h 4652"/>
                      <a:gd name="connsiteX1" fmla="*/ 1628 w 0"/>
                      <a:gd name="connsiteY1" fmla="*/ 5420 h 4652"/>
                      <a:gd name="connsiteX2" fmla="*/ 1628 w 0"/>
                      <a:gd name="connsiteY2" fmla="*/ 5420 h 4652"/>
                      <a:gd name="connsiteX3" fmla="*/ 0 w 0"/>
                      <a:gd name="connsiteY3" fmla="*/ 0 h 4652"/>
                      <a:gd name="connsiteX4" fmla="*/ 1628 w 0"/>
                      <a:gd name="connsiteY4" fmla="*/ 5420 h 46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h="4652">
                        <a:moveTo>
                          <a:pt x="1628" y="5420"/>
                        </a:moveTo>
                        <a:lnTo>
                          <a:pt x="1628" y="5420"/>
                        </a:lnTo>
                        <a:lnTo>
                          <a:pt x="1628" y="5420"/>
                        </a:lnTo>
                        <a:cubicBezTo>
                          <a:pt x="1140" y="3582"/>
                          <a:pt x="605" y="1768"/>
                          <a:pt x="0" y="0"/>
                        </a:cubicBezTo>
                        <a:cubicBezTo>
                          <a:pt x="605" y="1745"/>
                          <a:pt x="1140" y="3559"/>
                          <a:pt x="1628" y="5420"/>
                        </a:cubicBezTo>
                        <a:close/>
                      </a:path>
                    </a:pathLst>
                  </a:custGeom>
                  <a:solidFill>
                    <a:srgbClr val="F19439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40" name="Freeform: Shape 239">
                    <a:extLst>
                      <a:ext uri="{FF2B5EF4-FFF2-40B4-BE49-F238E27FC236}">
                        <a16:creationId xmlns:a16="http://schemas.microsoft.com/office/drawing/2014/main" id="{EA4E8DAC-ED0E-4677-9D31-683B8B0F1D3A}"/>
                      </a:ext>
                    </a:extLst>
                  </p:cNvPr>
                  <p:cNvSpPr/>
                  <p:nvPr/>
                </p:nvSpPr>
                <p:spPr>
                  <a:xfrm>
                    <a:off x="6262853" y="4076772"/>
                    <a:ext cx="2326" cy="2326"/>
                  </a:xfrm>
                  <a:custGeom>
                    <a:avLst/>
                    <a:gdLst>
                      <a:gd name="connsiteX0" fmla="*/ 0 w 0"/>
                      <a:gd name="connsiteY0" fmla="*/ 0 h 0"/>
                      <a:gd name="connsiteX1" fmla="*/ 0 w 0"/>
                      <a:gd name="connsiteY1" fmla="*/ 0 h 0"/>
                      <a:gd name="connsiteX2" fmla="*/ 0 w 0"/>
                      <a:gd name="connsiteY2" fmla="*/ 0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F19439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41" name="Freeform: Shape 240">
                    <a:extLst>
                      <a:ext uri="{FF2B5EF4-FFF2-40B4-BE49-F238E27FC236}">
                        <a16:creationId xmlns:a16="http://schemas.microsoft.com/office/drawing/2014/main" id="{4BEBF459-CCA7-48F1-ADCC-7685228BE45F}"/>
                      </a:ext>
                    </a:extLst>
                  </p:cNvPr>
                  <p:cNvSpPr/>
                  <p:nvPr/>
                </p:nvSpPr>
                <p:spPr>
                  <a:xfrm>
                    <a:off x="6258178" y="4135531"/>
                    <a:ext cx="2326" cy="4652"/>
                  </a:xfrm>
                  <a:custGeom>
                    <a:avLst/>
                    <a:gdLst>
                      <a:gd name="connsiteX0" fmla="*/ 0 w 0"/>
                      <a:gd name="connsiteY0" fmla="*/ 5420 h 4652"/>
                      <a:gd name="connsiteX1" fmla="*/ 954 w 0"/>
                      <a:gd name="connsiteY1" fmla="*/ 5420 h 4652"/>
                      <a:gd name="connsiteX2" fmla="*/ 163 w 0"/>
                      <a:gd name="connsiteY2" fmla="*/ 5141 h 4652"/>
                      <a:gd name="connsiteX3" fmla="*/ 140 w 0"/>
                      <a:gd name="connsiteY3" fmla="*/ 5118 h 4652"/>
                      <a:gd name="connsiteX4" fmla="*/ 2210 w 0"/>
                      <a:gd name="connsiteY4" fmla="*/ 0 h 4652"/>
                      <a:gd name="connsiteX5" fmla="*/ 2210 w 0"/>
                      <a:gd name="connsiteY5" fmla="*/ 0 h 4652"/>
                      <a:gd name="connsiteX6" fmla="*/ 140 w 0"/>
                      <a:gd name="connsiteY6" fmla="*/ 5118 h 4652"/>
                      <a:gd name="connsiteX7" fmla="*/ 0 w 0"/>
                      <a:gd name="connsiteY7" fmla="*/ 5420 h 46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h="4652">
                        <a:moveTo>
                          <a:pt x="0" y="5420"/>
                        </a:moveTo>
                        <a:lnTo>
                          <a:pt x="954" y="5420"/>
                        </a:lnTo>
                        <a:cubicBezTo>
                          <a:pt x="675" y="5420"/>
                          <a:pt x="419" y="5327"/>
                          <a:pt x="163" y="5141"/>
                        </a:cubicBezTo>
                        <a:lnTo>
                          <a:pt x="140" y="5118"/>
                        </a:lnTo>
                        <a:cubicBezTo>
                          <a:pt x="884" y="3466"/>
                          <a:pt x="1559" y="1745"/>
                          <a:pt x="2210" y="0"/>
                        </a:cubicBezTo>
                        <a:lnTo>
                          <a:pt x="2210" y="0"/>
                        </a:lnTo>
                        <a:cubicBezTo>
                          <a:pt x="1559" y="1745"/>
                          <a:pt x="884" y="3466"/>
                          <a:pt x="140" y="5118"/>
                        </a:cubicBezTo>
                        <a:cubicBezTo>
                          <a:pt x="116" y="5211"/>
                          <a:pt x="47" y="5327"/>
                          <a:pt x="0" y="5420"/>
                        </a:cubicBezTo>
                        <a:close/>
                      </a:path>
                    </a:pathLst>
                  </a:custGeom>
                  <a:solidFill>
                    <a:srgbClr val="F19439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42" name="Freeform: Shape 241">
                    <a:extLst>
                      <a:ext uri="{FF2B5EF4-FFF2-40B4-BE49-F238E27FC236}">
                        <a16:creationId xmlns:a16="http://schemas.microsoft.com/office/drawing/2014/main" id="{C477B07C-FDA4-4F28-9F62-45FEA7B4B33F}"/>
                      </a:ext>
                    </a:extLst>
                  </p:cNvPr>
                  <p:cNvSpPr/>
                  <p:nvPr/>
                </p:nvSpPr>
                <p:spPr>
                  <a:xfrm>
                    <a:off x="6259131" y="4140951"/>
                    <a:ext cx="2326" cy="2326"/>
                  </a:xfrm>
                  <a:custGeom>
                    <a:avLst/>
                    <a:gdLst>
                      <a:gd name="connsiteX0" fmla="*/ 0 w 0"/>
                      <a:gd name="connsiteY0" fmla="*/ 0 h 0"/>
                      <a:gd name="connsiteX1" fmla="*/ 0 w 0"/>
                      <a:gd name="connsiteY1" fmla="*/ 0 h 0"/>
                      <a:gd name="connsiteX2" fmla="*/ 0 w 0"/>
                      <a:gd name="connsiteY2" fmla="*/ 0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F19439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43" name="Freeform: Shape 242">
                    <a:extLst>
                      <a:ext uri="{FF2B5EF4-FFF2-40B4-BE49-F238E27FC236}">
                        <a16:creationId xmlns:a16="http://schemas.microsoft.com/office/drawing/2014/main" id="{E09A2D05-F08D-4B54-96FC-BE73C21033E5}"/>
                      </a:ext>
                    </a:extLst>
                  </p:cNvPr>
                  <p:cNvSpPr/>
                  <p:nvPr/>
                </p:nvSpPr>
                <p:spPr>
                  <a:xfrm>
                    <a:off x="6253037" y="4152838"/>
                    <a:ext cx="2326" cy="2326"/>
                  </a:xfrm>
                  <a:custGeom>
                    <a:avLst/>
                    <a:gdLst>
                      <a:gd name="connsiteX0" fmla="*/ 0 w 0"/>
                      <a:gd name="connsiteY0" fmla="*/ 0 h 0"/>
                      <a:gd name="connsiteX1" fmla="*/ 0 w 0"/>
                      <a:gd name="connsiteY1" fmla="*/ 0 h 0"/>
                      <a:gd name="connsiteX2" fmla="*/ 0 w 0"/>
                      <a:gd name="connsiteY2" fmla="*/ 0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F19439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44" name="Freeform: Shape 243">
                    <a:extLst>
                      <a:ext uri="{FF2B5EF4-FFF2-40B4-BE49-F238E27FC236}">
                        <a16:creationId xmlns:a16="http://schemas.microsoft.com/office/drawing/2014/main" id="{F71DED9B-3BE7-4F80-9719-F4472368D876}"/>
                      </a:ext>
                    </a:extLst>
                  </p:cNvPr>
                  <p:cNvSpPr/>
                  <p:nvPr/>
                </p:nvSpPr>
                <p:spPr>
                  <a:xfrm>
                    <a:off x="6251548" y="4152233"/>
                    <a:ext cx="2326" cy="2326"/>
                  </a:xfrm>
                  <a:custGeom>
                    <a:avLst/>
                    <a:gdLst>
                      <a:gd name="connsiteX0" fmla="*/ 419 w 0"/>
                      <a:gd name="connsiteY0" fmla="*/ 0 h 0"/>
                      <a:gd name="connsiteX1" fmla="*/ 419 w 0"/>
                      <a:gd name="connsiteY1" fmla="*/ 0 h 0"/>
                      <a:gd name="connsiteX2" fmla="*/ 0 w 0"/>
                      <a:gd name="connsiteY2" fmla="*/ 605 h 0"/>
                      <a:gd name="connsiteX3" fmla="*/ 1465 w 0"/>
                      <a:gd name="connsiteY3" fmla="*/ 605 h 0"/>
                      <a:gd name="connsiteX4" fmla="*/ 419 w 0"/>
                      <a:gd name="connsiteY4" fmla="*/ 47 h 0"/>
                      <a:gd name="connsiteX5" fmla="*/ 419 w 0"/>
                      <a:gd name="connsiteY5" fmla="*/ 0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>
                        <a:moveTo>
                          <a:pt x="419" y="0"/>
                        </a:moveTo>
                        <a:lnTo>
                          <a:pt x="419" y="0"/>
                        </a:lnTo>
                        <a:cubicBezTo>
                          <a:pt x="279" y="209"/>
                          <a:pt x="140" y="395"/>
                          <a:pt x="0" y="605"/>
                        </a:cubicBezTo>
                        <a:lnTo>
                          <a:pt x="1465" y="605"/>
                        </a:lnTo>
                        <a:cubicBezTo>
                          <a:pt x="1093" y="605"/>
                          <a:pt x="721" y="419"/>
                          <a:pt x="419" y="47"/>
                        </a:cubicBezTo>
                        <a:cubicBezTo>
                          <a:pt x="442" y="47"/>
                          <a:pt x="442" y="23"/>
                          <a:pt x="419" y="0"/>
                        </a:cubicBezTo>
                        <a:close/>
                      </a:path>
                    </a:pathLst>
                  </a:custGeom>
                  <a:solidFill>
                    <a:srgbClr val="F19439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45" name="Freeform: Shape 244">
                    <a:extLst>
                      <a:ext uri="{FF2B5EF4-FFF2-40B4-BE49-F238E27FC236}">
                        <a16:creationId xmlns:a16="http://schemas.microsoft.com/office/drawing/2014/main" id="{A55BA30C-3320-4969-B35C-93313F87FB74}"/>
                      </a:ext>
                    </a:extLst>
                  </p:cNvPr>
                  <p:cNvSpPr/>
                  <p:nvPr/>
                </p:nvSpPr>
                <p:spPr>
                  <a:xfrm>
                    <a:off x="6254735" y="4147814"/>
                    <a:ext cx="2326" cy="2326"/>
                  </a:xfrm>
                  <a:custGeom>
                    <a:avLst/>
                    <a:gdLst>
                      <a:gd name="connsiteX0" fmla="*/ 0 w 0"/>
                      <a:gd name="connsiteY0" fmla="*/ 0 h 0"/>
                      <a:gd name="connsiteX1" fmla="*/ 0 w 0"/>
                      <a:gd name="connsiteY1" fmla="*/ 0 h 0"/>
                      <a:gd name="connsiteX2" fmla="*/ 0 w 0"/>
                      <a:gd name="connsiteY2" fmla="*/ 0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F19439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46" name="Freeform: Shape 245">
                    <a:extLst>
                      <a:ext uri="{FF2B5EF4-FFF2-40B4-BE49-F238E27FC236}">
                        <a16:creationId xmlns:a16="http://schemas.microsoft.com/office/drawing/2014/main" id="{47219F7C-FB48-4C25-B098-D07F234BC636}"/>
                      </a:ext>
                    </a:extLst>
                  </p:cNvPr>
                  <p:cNvSpPr/>
                  <p:nvPr/>
                </p:nvSpPr>
                <p:spPr>
                  <a:xfrm>
                    <a:off x="6251246" y="4153303"/>
                    <a:ext cx="2326" cy="2326"/>
                  </a:xfrm>
                  <a:custGeom>
                    <a:avLst/>
                    <a:gdLst>
                      <a:gd name="connsiteX0" fmla="*/ 0 w 0"/>
                      <a:gd name="connsiteY0" fmla="*/ 0 h 0"/>
                      <a:gd name="connsiteX1" fmla="*/ 0 w 0"/>
                      <a:gd name="connsiteY1" fmla="*/ 0 h 0"/>
                      <a:gd name="connsiteX2" fmla="*/ 0 w 0"/>
                      <a:gd name="connsiteY2" fmla="*/ 0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F19439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47" name="Freeform: Shape 246">
                    <a:extLst>
                      <a:ext uri="{FF2B5EF4-FFF2-40B4-BE49-F238E27FC236}">
                        <a16:creationId xmlns:a16="http://schemas.microsoft.com/office/drawing/2014/main" id="{8757C5A5-E54F-4A3C-AF16-5DC841B424AA}"/>
                      </a:ext>
                    </a:extLst>
                  </p:cNvPr>
                  <p:cNvSpPr/>
                  <p:nvPr/>
                </p:nvSpPr>
                <p:spPr>
                  <a:xfrm>
                    <a:off x="6247570" y="4157304"/>
                    <a:ext cx="2326" cy="2326"/>
                  </a:xfrm>
                  <a:custGeom>
                    <a:avLst/>
                    <a:gdLst>
                      <a:gd name="connsiteX0" fmla="*/ 651 w 0"/>
                      <a:gd name="connsiteY0" fmla="*/ 23 h 0"/>
                      <a:gd name="connsiteX1" fmla="*/ 651 w 0"/>
                      <a:gd name="connsiteY1" fmla="*/ 0 h 0"/>
                      <a:gd name="connsiteX2" fmla="*/ 651 w 0"/>
                      <a:gd name="connsiteY2" fmla="*/ 0 h 0"/>
                      <a:gd name="connsiteX3" fmla="*/ 651 w 0"/>
                      <a:gd name="connsiteY3" fmla="*/ 0 h 0"/>
                      <a:gd name="connsiteX4" fmla="*/ 628 w 0"/>
                      <a:gd name="connsiteY4" fmla="*/ 0 h 0"/>
                      <a:gd name="connsiteX5" fmla="*/ 0 w 0"/>
                      <a:gd name="connsiteY5" fmla="*/ 744 h 0"/>
                      <a:gd name="connsiteX6" fmla="*/ 1791 w 0"/>
                      <a:gd name="connsiteY6" fmla="*/ 744 h 0"/>
                      <a:gd name="connsiteX7" fmla="*/ 651 w 0"/>
                      <a:gd name="connsiteY7" fmla="*/ 23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>
                        <a:moveTo>
                          <a:pt x="651" y="23"/>
                        </a:moveTo>
                        <a:lnTo>
                          <a:pt x="651" y="0"/>
                        </a:lnTo>
                        <a:lnTo>
                          <a:pt x="651" y="0"/>
                        </a:lnTo>
                        <a:lnTo>
                          <a:pt x="651" y="0"/>
                        </a:lnTo>
                        <a:lnTo>
                          <a:pt x="628" y="0"/>
                        </a:lnTo>
                        <a:cubicBezTo>
                          <a:pt x="419" y="256"/>
                          <a:pt x="209" y="489"/>
                          <a:pt x="0" y="744"/>
                        </a:cubicBezTo>
                        <a:lnTo>
                          <a:pt x="1791" y="744"/>
                        </a:lnTo>
                        <a:cubicBezTo>
                          <a:pt x="1372" y="744"/>
                          <a:pt x="954" y="512"/>
                          <a:pt x="651" y="23"/>
                        </a:cubicBezTo>
                        <a:close/>
                      </a:path>
                    </a:pathLst>
                  </a:custGeom>
                  <a:solidFill>
                    <a:srgbClr val="F19439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48" name="Freeform: Shape 247">
                    <a:extLst>
                      <a:ext uri="{FF2B5EF4-FFF2-40B4-BE49-F238E27FC236}">
                        <a16:creationId xmlns:a16="http://schemas.microsoft.com/office/drawing/2014/main" id="{63F5BE76-4C69-4C6F-881E-E85B17D55F20}"/>
                      </a:ext>
                    </a:extLst>
                  </p:cNvPr>
                  <p:cNvSpPr/>
                  <p:nvPr/>
                </p:nvSpPr>
                <p:spPr>
                  <a:xfrm>
                    <a:off x="6245384" y="4162724"/>
                    <a:ext cx="2326" cy="2326"/>
                  </a:xfrm>
                  <a:custGeom>
                    <a:avLst/>
                    <a:gdLst>
                      <a:gd name="connsiteX0" fmla="*/ 0 w 0"/>
                      <a:gd name="connsiteY0" fmla="*/ 0 h 0"/>
                      <a:gd name="connsiteX1" fmla="*/ 0 w 0"/>
                      <a:gd name="connsiteY1" fmla="*/ 0 h 0"/>
                      <a:gd name="connsiteX2" fmla="*/ 0 w 0"/>
                      <a:gd name="connsiteY2" fmla="*/ 0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F19439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49" name="Freeform: Shape 248">
                    <a:extLst>
                      <a:ext uri="{FF2B5EF4-FFF2-40B4-BE49-F238E27FC236}">
                        <a16:creationId xmlns:a16="http://schemas.microsoft.com/office/drawing/2014/main" id="{1921CE3C-9E8D-474D-B5E2-1146E9CA1626}"/>
                      </a:ext>
                    </a:extLst>
                  </p:cNvPr>
                  <p:cNvSpPr/>
                  <p:nvPr/>
                </p:nvSpPr>
                <p:spPr>
                  <a:xfrm>
                    <a:off x="6243220" y="4161817"/>
                    <a:ext cx="2326" cy="2326"/>
                  </a:xfrm>
                  <a:custGeom>
                    <a:avLst/>
                    <a:gdLst>
                      <a:gd name="connsiteX0" fmla="*/ 1140 w 0"/>
                      <a:gd name="connsiteY0" fmla="*/ 419 h 0"/>
                      <a:gd name="connsiteX1" fmla="*/ 884 w 0"/>
                      <a:gd name="connsiteY1" fmla="*/ 23 h 0"/>
                      <a:gd name="connsiteX2" fmla="*/ 861 w 0"/>
                      <a:gd name="connsiteY2" fmla="*/ 0 h 0"/>
                      <a:gd name="connsiteX3" fmla="*/ 0 w 0"/>
                      <a:gd name="connsiteY3" fmla="*/ 814 h 0"/>
                      <a:gd name="connsiteX4" fmla="*/ 23 w 0"/>
                      <a:gd name="connsiteY4" fmla="*/ 837 h 0"/>
                      <a:gd name="connsiteX5" fmla="*/ 23 w 0"/>
                      <a:gd name="connsiteY5" fmla="*/ 907 h 0"/>
                      <a:gd name="connsiteX6" fmla="*/ 2117 w 0"/>
                      <a:gd name="connsiteY6" fmla="*/ 907 h 0"/>
                      <a:gd name="connsiteX7" fmla="*/ 1419 w 0"/>
                      <a:gd name="connsiteY7" fmla="*/ 675 h 0"/>
                      <a:gd name="connsiteX8" fmla="*/ 1140 w 0"/>
                      <a:gd name="connsiteY8" fmla="*/ 419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>
                        <a:moveTo>
                          <a:pt x="1140" y="419"/>
                        </a:moveTo>
                        <a:cubicBezTo>
                          <a:pt x="1047" y="302"/>
                          <a:pt x="954" y="186"/>
                          <a:pt x="884" y="23"/>
                        </a:cubicBezTo>
                        <a:cubicBezTo>
                          <a:pt x="884" y="23"/>
                          <a:pt x="884" y="0"/>
                          <a:pt x="861" y="0"/>
                        </a:cubicBezTo>
                        <a:cubicBezTo>
                          <a:pt x="582" y="279"/>
                          <a:pt x="302" y="558"/>
                          <a:pt x="0" y="814"/>
                        </a:cubicBezTo>
                        <a:cubicBezTo>
                          <a:pt x="0" y="814"/>
                          <a:pt x="0" y="837"/>
                          <a:pt x="23" y="837"/>
                        </a:cubicBezTo>
                        <a:cubicBezTo>
                          <a:pt x="23" y="861"/>
                          <a:pt x="23" y="884"/>
                          <a:pt x="23" y="907"/>
                        </a:cubicBezTo>
                        <a:lnTo>
                          <a:pt x="2117" y="907"/>
                        </a:lnTo>
                        <a:cubicBezTo>
                          <a:pt x="1884" y="907"/>
                          <a:pt x="1628" y="837"/>
                          <a:pt x="1419" y="675"/>
                        </a:cubicBezTo>
                        <a:cubicBezTo>
                          <a:pt x="1349" y="628"/>
                          <a:pt x="1256" y="512"/>
                          <a:pt x="1140" y="419"/>
                        </a:cubicBezTo>
                        <a:close/>
                      </a:path>
                    </a:pathLst>
                  </a:custGeom>
                  <a:solidFill>
                    <a:srgbClr val="F19439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50" name="Freeform: Shape 249">
                    <a:extLst>
                      <a:ext uri="{FF2B5EF4-FFF2-40B4-BE49-F238E27FC236}">
                        <a16:creationId xmlns:a16="http://schemas.microsoft.com/office/drawing/2014/main" id="{0C420CCF-949F-4465-BF8D-96D245DC32E2}"/>
                      </a:ext>
                    </a:extLst>
                  </p:cNvPr>
                  <p:cNvSpPr/>
                  <p:nvPr/>
                </p:nvSpPr>
                <p:spPr>
                  <a:xfrm>
                    <a:off x="6170597" y="4157467"/>
                    <a:ext cx="44197" cy="18609"/>
                  </a:xfrm>
                  <a:custGeom>
                    <a:avLst/>
                    <a:gdLst>
                      <a:gd name="connsiteX0" fmla="*/ 45337 w 44197"/>
                      <a:gd name="connsiteY0" fmla="*/ 19447 h 18609"/>
                      <a:gd name="connsiteX1" fmla="*/ 45337 w 44197"/>
                      <a:gd name="connsiteY1" fmla="*/ 19447 h 18609"/>
                      <a:gd name="connsiteX2" fmla="*/ 44872 w 44197"/>
                      <a:gd name="connsiteY2" fmla="*/ 19121 h 18609"/>
                      <a:gd name="connsiteX3" fmla="*/ 44849 w 44197"/>
                      <a:gd name="connsiteY3" fmla="*/ 19098 h 18609"/>
                      <a:gd name="connsiteX4" fmla="*/ 44849 w 44197"/>
                      <a:gd name="connsiteY4" fmla="*/ 19098 h 18609"/>
                      <a:gd name="connsiteX5" fmla="*/ 44244 w 44197"/>
                      <a:gd name="connsiteY5" fmla="*/ 17423 h 18609"/>
                      <a:gd name="connsiteX6" fmla="*/ 44244 w 44197"/>
                      <a:gd name="connsiteY6" fmla="*/ 17377 h 18609"/>
                      <a:gd name="connsiteX7" fmla="*/ 43220 w 44197"/>
                      <a:gd name="connsiteY7" fmla="*/ 17377 h 18609"/>
                      <a:gd name="connsiteX8" fmla="*/ 43220 w 44197"/>
                      <a:gd name="connsiteY8" fmla="*/ 17423 h 18609"/>
                      <a:gd name="connsiteX9" fmla="*/ 41662 w 44197"/>
                      <a:gd name="connsiteY9" fmla="*/ 19517 h 18609"/>
                      <a:gd name="connsiteX10" fmla="*/ 41592 w 44197"/>
                      <a:gd name="connsiteY10" fmla="*/ 19517 h 18609"/>
                      <a:gd name="connsiteX11" fmla="*/ 40522 w 44197"/>
                      <a:gd name="connsiteY11" fmla="*/ 19424 h 18609"/>
                      <a:gd name="connsiteX12" fmla="*/ 39080 w 44197"/>
                      <a:gd name="connsiteY12" fmla="*/ 17051 h 18609"/>
                      <a:gd name="connsiteX13" fmla="*/ 39080 w 44197"/>
                      <a:gd name="connsiteY13" fmla="*/ 17028 h 18609"/>
                      <a:gd name="connsiteX14" fmla="*/ 39033 w 44197"/>
                      <a:gd name="connsiteY14" fmla="*/ 17004 h 18609"/>
                      <a:gd name="connsiteX15" fmla="*/ 39033 w 44197"/>
                      <a:gd name="connsiteY15" fmla="*/ 17051 h 18609"/>
                      <a:gd name="connsiteX16" fmla="*/ 39033 w 44197"/>
                      <a:gd name="connsiteY16" fmla="*/ 17051 h 18609"/>
                      <a:gd name="connsiteX17" fmla="*/ 39033 w 44197"/>
                      <a:gd name="connsiteY17" fmla="*/ 17051 h 18609"/>
                      <a:gd name="connsiteX18" fmla="*/ 38010 w 44197"/>
                      <a:gd name="connsiteY18" fmla="*/ 17051 h 18609"/>
                      <a:gd name="connsiteX19" fmla="*/ 36498 w 44197"/>
                      <a:gd name="connsiteY19" fmla="*/ 18772 h 18609"/>
                      <a:gd name="connsiteX20" fmla="*/ 36265 w 44197"/>
                      <a:gd name="connsiteY20" fmla="*/ 18749 h 18609"/>
                      <a:gd name="connsiteX21" fmla="*/ 35195 w 44197"/>
                      <a:gd name="connsiteY21" fmla="*/ 18516 h 18609"/>
                      <a:gd name="connsiteX22" fmla="*/ 33985 w 44197"/>
                      <a:gd name="connsiteY22" fmla="*/ 17051 h 18609"/>
                      <a:gd name="connsiteX23" fmla="*/ 33985 w 44197"/>
                      <a:gd name="connsiteY23" fmla="*/ 17051 h 18609"/>
                      <a:gd name="connsiteX24" fmla="*/ 33985 w 44197"/>
                      <a:gd name="connsiteY24" fmla="*/ 17028 h 18609"/>
                      <a:gd name="connsiteX25" fmla="*/ 33916 w 44197"/>
                      <a:gd name="connsiteY25" fmla="*/ 16679 h 18609"/>
                      <a:gd name="connsiteX26" fmla="*/ 33892 w 44197"/>
                      <a:gd name="connsiteY26" fmla="*/ 16493 h 18609"/>
                      <a:gd name="connsiteX27" fmla="*/ 33892 w 44197"/>
                      <a:gd name="connsiteY27" fmla="*/ 16493 h 18609"/>
                      <a:gd name="connsiteX28" fmla="*/ 33916 w 44197"/>
                      <a:gd name="connsiteY28" fmla="*/ 15958 h 18609"/>
                      <a:gd name="connsiteX29" fmla="*/ 33916 w 44197"/>
                      <a:gd name="connsiteY29" fmla="*/ 15934 h 18609"/>
                      <a:gd name="connsiteX30" fmla="*/ 33916 w 44197"/>
                      <a:gd name="connsiteY30" fmla="*/ 15911 h 18609"/>
                      <a:gd name="connsiteX31" fmla="*/ 32822 w 44197"/>
                      <a:gd name="connsiteY31" fmla="*/ 15911 h 18609"/>
                      <a:gd name="connsiteX32" fmla="*/ 31380 w 44197"/>
                      <a:gd name="connsiteY32" fmla="*/ 17307 h 18609"/>
                      <a:gd name="connsiteX33" fmla="*/ 31008 w 44197"/>
                      <a:gd name="connsiteY33" fmla="*/ 17237 h 18609"/>
                      <a:gd name="connsiteX34" fmla="*/ 29961 w 44197"/>
                      <a:gd name="connsiteY34" fmla="*/ 16842 h 18609"/>
                      <a:gd name="connsiteX35" fmla="*/ 29077 w 44197"/>
                      <a:gd name="connsiteY35" fmla="*/ 15911 h 18609"/>
                      <a:gd name="connsiteX36" fmla="*/ 29077 w 44197"/>
                      <a:gd name="connsiteY36" fmla="*/ 15911 h 18609"/>
                      <a:gd name="connsiteX37" fmla="*/ 29054 w 44197"/>
                      <a:gd name="connsiteY37" fmla="*/ 15865 h 18609"/>
                      <a:gd name="connsiteX38" fmla="*/ 29054 w 44197"/>
                      <a:gd name="connsiteY38" fmla="*/ 15865 h 18609"/>
                      <a:gd name="connsiteX39" fmla="*/ 28938 w 44197"/>
                      <a:gd name="connsiteY39" fmla="*/ 15492 h 18609"/>
                      <a:gd name="connsiteX40" fmla="*/ 28914 w 44197"/>
                      <a:gd name="connsiteY40" fmla="*/ 15423 h 18609"/>
                      <a:gd name="connsiteX41" fmla="*/ 28914 w 44197"/>
                      <a:gd name="connsiteY41" fmla="*/ 15423 h 18609"/>
                      <a:gd name="connsiteX42" fmla="*/ 28845 w 44197"/>
                      <a:gd name="connsiteY42" fmla="*/ 15050 h 18609"/>
                      <a:gd name="connsiteX43" fmla="*/ 28845 w 44197"/>
                      <a:gd name="connsiteY43" fmla="*/ 15050 h 18609"/>
                      <a:gd name="connsiteX44" fmla="*/ 28845 w 44197"/>
                      <a:gd name="connsiteY44" fmla="*/ 15050 h 18609"/>
                      <a:gd name="connsiteX45" fmla="*/ 28845 w 44197"/>
                      <a:gd name="connsiteY45" fmla="*/ 14981 h 18609"/>
                      <a:gd name="connsiteX46" fmla="*/ 28845 w 44197"/>
                      <a:gd name="connsiteY46" fmla="*/ 14981 h 18609"/>
                      <a:gd name="connsiteX47" fmla="*/ 28845 w 44197"/>
                      <a:gd name="connsiteY47" fmla="*/ 14911 h 18609"/>
                      <a:gd name="connsiteX48" fmla="*/ 28891 w 44197"/>
                      <a:gd name="connsiteY48" fmla="*/ 14120 h 18609"/>
                      <a:gd name="connsiteX49" fmla="*/ 28891 w 44197"/>
                      <a:gd name="connsiteY49" fmla="*/ 14097 h 18609"/>
                      <a:gd name="connsiteX50" fmla="*/ 28891 w 44197"/>
                      <a:gd name="connsiteY50" fmla="*/ 14097 h 18609"/>
                      <a:gd name="connsiteX51" fmla="*/ 27728 w 44197"/>
                      <a:gd name="connsiteY51" fmla="*/ 14097 h 18609"/>
                      <a:gd name="connsiteX52" fmla="*/ 26425 w 44197"/>
                      <a:gd name="connsiteY52" fmla="*/ 15143 h 18609"/>
                      <a:gd name="connsiteX53" fmla="*/ 25890 w 44197"/>
                      <a:gd name="connsiteY53" fmla="*/ 14981 h 18609"/>
                      <a:gd name="connsiteX54" fmla="*/ 24867 w 44197"/>
                      <a:gd name="connsiteY54" fmla="*/ 14446 h 18609"/>
                      <a:gd name="connsiteX55" fmla="*/ 24495 w 44197"/>
                      <a:gd name="connsiteY55" fmla="*/ 14097 h 18609"/>
                      <a:gd name="connsiteX56" fmla="*/ 24495 w 44197"/>
                      <a:gd name="connsiteY56" fmla="*/ 14097 h 18609"/>
                      <a:gd name="connsiteX57" fmla="*/ 24402 w 44197"/>
                      <a:gd name="connsiteY57" fmla="*/ 14004 h 18609"/>
                      <a:gd name="connsiteX58" fmla="*/ 24402 w 44197"/>
                      <a:gd name="connsiteY58" fmla="*/ 14004 h 18609"/>
                      <a:gd name="connsiteX59" fmla="*/ 24355 w 44197"/>
                      <a:gd name="connsiteY59" fmla="*/ 13957 h 18609"/>
                      <a:gd name="connsiteX60" fmla="*/ 24355 w 44197"/>
                      <a:gd name="connsiteY60" fmla="*/ 13957 h 18609"/>
                      <a:gd name="connsiteX61" fmla="*/ 24099 w 44197"/>
                      <a:gd name="connsiteY61" fmla="*/ 13445 h 18609"/>
                      <a:gd name="connsiteX62" fmla="*/ 23890 w 44197"/>
                      <a:gd name="connsiteY62" fmla="*/ 12399 h 18609"/>
                      <a:gd name="connsiteX63" fmla="*/ 23890 w 44197"/>
                      <a:gd name="connsiteY63" fmla="*/ 12399 h 18609"/>
                      <a:gd name="connsiteX64" fmla="*/ 23936 w 44197"/>
                      <a:gd name="connsiteY64" fmla="*/ 11957 h 18609"/>
                      <a:gd name="connsiteX65" fmla="*/ 23983 w 44197"/>
                      <a:gd name="connsiteY65" fmla="*/ 11584 h 18609"/>
                      <a:gd name="connsiteX66" fmla="*/ 23983 w 44197"/>
                      <a:gd name="connsiteY66" fmla="*/ 11561 h 18609"/>
                      <a:gd name="connsiteX67" fmla="*/ 23983 w 44197"/>
                      <a:gd name="connsiteY67" fmla="*/ 11561 h 18609"/>
                      <a:gd name="connsiteX68" fmla="*/ 22750 w 44197"/>
                      <a:gd name="connsiteY68" fmla="*/ 11561 h 18609"/>
                      <a:gd name="connsiteX69" fmla="*/ 21633 w 44197"/>
                      <a:gd name="connsiteY69" fmla="*/ 12236 h 18609"/>
                      <a:gd name="connsiteX70" fmla="*/ 20936 w 44197"/>
                      <a:gd name="connsiteY70" fmla="*/ 12026 h 18609"/>
                      <a:gd name="connsiteX71" fmla="*/ 20284 w 44197"/>
                      <a:gd name="connsiteY71" fmla="*/ 11561 h 18609"/>
                      <a:gd name="connsiteX72" fmla="*/ 20284 w 44197"/>
                      <a:gd name="connsiteY72" fmla="*/ 11561 h 18609"/>
                      <a:gd name="connsiteX73" fmla="*/ 19982 w 44197"/>
                      <a:gd name="connsiteY73" fmla="*/ 11328 h 18609"/>
                      <a:gd name="connsiteX74" fmla="*/ 19400 w 44197"/>
                      <a:gd name="connsiteY74" fmla="*/ 10561 h 18609"/>
                      <a:gd name="connsiteX75" fmla="*/ 19400 w 44197"/>
                      <a:gd name="connsiteY75" fmla="*/ 10561 h 18609"/>
                      <a:gd name="connsiteX76" fmla="*/ 19214 w 44197"/>
                      <a:gd name="connsiteY76" fmla="*/ 10072 h 18609"/>
                      <a:gd name="connsiteX77" fmla="*/ 19214 w 44197"/>
                      <a:gd name="connsiteY77" fmla="*/ 10072 h 18609"/>
                      <a:gd name="connsiteX78" fmla="*/ 19144 w 44197"/>
                      <a:gd name="connsiteY78" fmla="*/ 9165 h 18609"/>
                      <a:gd name="connsiteX79" fmla="*/ 19144 w 44197"/>
                      <a:gd name="connsiteY79" fmla="*/ 9165 h 18609"/>
                      <a:gd name="connsiteX80" fmla="*/ 19307 w 44197"/>
                      <a:gd name="connsiteY80" fmla="*/ 8351 h 18609"/>
                      <a:gd name="connsiteX81" fmla="*/ 19307 w 44197"/>
                      <a:gd name="connsiteY81" fmla="*/ 8328 h 18609"/>
                      <a:gd name="connsiteX82" fmla="*/ 19307 w 44197"/>
                      <a:gd name="connsiteY82" fmla="*/ 8328 h 18609"/>
                      <a:gd name="connsiteX83" fmla="*/ 19307 w 44197"/>
                      <a:gd name="connsiteY83" fmla="*/ 8328 h 18609"/>
                      <a:gd name="connsiteX84" fmla="*/ 17912 w 44197"/>
                      <a:gd name="connsiteY84" fmla="*/ 8328 h 18609"/>
                      <a:gd name="connsiteX85" fmla="*/ 17074 w 44197"/>
                      <a:gd name="connsiteY85" fmla="*/ 8700 h 18609"/>
                      <a:gd name="connsiteX86" fmla="*/ 16260 w 44197"/>
                      <a:gd name="connsiteY86" fmla="*/ 8351 h 18609"/>
                      <a:gd name="connsiteX87" fmla="*/ 15353 w 44197"/>
                      <a:gd name="connsiteY87" fmla="*/ 7537 h 18609"/>
                      <a:gd name="connsiteX88" fmla="*/ 15074 w 44197"/>
                      <a:gd name="connsiteY88" fmla="*/ 7165 h 18609"/>
                      <a:gd name="connsiteX89" fmla="*/ 14934 w 44197"/>
                      <a:gd name="connsiteY89" fmla="*/ 6979 h 18609"/>
                      <a:gd name="connsiteX90" fmla="*/ 14934 w 44197"/>
                      <a:gd name="connsiteY90" fmla="*/ 6979 h 18609"/>
                      <a:gd name="connsiteX91" fmla="*/ 14655 w 44197"/>
                      <a:gd name="connsiteY91" fmla="*/ 6095 h 18609"/>
                      <a:gd name="connsiteX92" fmla="*/ 14655 w 44197"/>
                      <a:gd name="connsiteY92" fmla="*/ 6095 h 18609"/>
                      <a:gd name="connsiteX93" fmla="*/ 14655 w 44197"/>
                      <a:gd name="connsiteY93" fmla="*/ 5350 h 18609"/>
                      <a:gd name="connsiteX94" fmla="*/ 14655 w 44197"/>
                      <a:gd name="connsiteY94" fmla="*/ 5350 h 18609"/>
                      <a:gd name="connsiteX95" fmla="*/ 14655 w 44197"/>
                      <a:gd name="connsiteY95" fmla="*/ 5234 h 18609"/>
                      <a:gd name="connsiteX96" fmla="*/ 14655 w 44197"/>
                      <a:gd name="connsiteY96" fmla="*/ 5234 h 18609"/>
                      <a:gd name="connsiteX97" fmla="*/ 14725 w 44197"/>
                      <a:gd name="connsiteY97" fmla="*/ 5001 h 18609"/>
                      <a:gd name="connsiteX98" fmla="*/ 14887 w 44197"/>
                      <a:gd name="connsiteY98" fmla="*/ 4466 h 18609"/>
                      <a:gd name="connsiteX99" fmla="*/ 14887 w 44197"/>
                      <a:gd name="connsiteY99" fmla="*/ 4443 h 18609"/>
                      <a:gd name="connsiteX100" fmla="*/ 13027 w 44197"/>
                      <a:gd name="connsiteY100" fmla="*/ 4443 h 18609"/>
                      <a:gd name="connsiteX101" fmla="*/ 12794 w 44197"/>
                      <a:gd name="connsiteY101" fmla="*/ 4489 h 18609"/>
                      <a:gd name="connsiteX102" fmla="*/ 12631 w 44197"/>
                      <a:gd name="connsiteY102" fmla="*/ 4443 h 18609"/>
                      <a:gd name="connsiteX103" fmla="*/ 12631 w 44197"/>
                      <a:gd name="connsiteY103" fmla="*/ 4443 h 18609"/>
                      <a:gd name="connsiteX104" fmla="*/ 12631 w 44197"/>
                      <a:gd name="connsiteY104" fmla="*/ 4443 h 18609"/>
                      <a:gd name="connsiteX105" fmla="*/ 12236 w 44197"/>
                      <a:gd name="connsiteY105" fmla="*/ 4327 h 18609"/>
                      <a:gd name="connsiteX106" fmla="*/ 11840 w 44197"/>
                      <a:gd name="connsiteY106" fmla="*/ 4024 h 18609"/>
                      <a:gd name="connsiteX107" fmla="*/ 11003 w 44197"/>
                      <a:gd name="connsiteY107" fmla="*/ 3094 h 18609"/>
                      <a:gd name="connsiteX108" fmla="*/ 10677 w 44197"/>
                      <a:gd name="connsiteY108" fmla="*/ 2559 h 18609"/>
                      <a:gd name="connsiteX109" fmla="*/ 10654 w 44197"/>
                      <a:gd name="connsiteY109" fmla="*/ 2512 h 18609"/>
                      <a:gd name="connsiteX110" fmla="*/ 10561 w 44197"/>
                      <a:gd name="connsiteY110" fmla="*/ 2233 h 18609"/>
                      <a:gd name="connsiteX111" fmla="*/ 10468 w 44197"/>
                      <a:gd name="connsiteY111" fmla="*/ 1907 h 18609"/>
                      <a:gd name="connsiteX112" fmla="*/ 10445 w 44197"/>
                      <a:gd name="connsiteY112" fmla="*/ 1791 h 18609"/>
                      <a:gd name="connsiteX113" fmla="*/ 10445 w 44197"/>
                      <a:gd name="connsiteY113" fmla="*/ 1745 h 18609"/>
                      <a:gd name="connsiteX114" fmla="*/ 10445 w 44197"/>
                      <a:gd name="connsiteY114" fmla="*/ 1442 h 18609"/>
                      <a:gd name="connsiteX115" fmla="*/ 10445 w 44197"/>
                      <a:gd name="connsiteY115" fmla="*/ 1163 h 18609"/>
                      <a:gd name="connsiteX116" fmla="*/ 10445 w 44197"/>
                      <a:gd name="connsiteY116" fmla="*/ 1047 h 18609"/>
                      <a:gd name="connsiteX117" fmla="*/ 10468 w 44197"/>
                      <a:gd name="connsiteY117" fmla="*/ 954 h 18609"/>
                      <a:gd name="connsiteX118" fmla="*/ 10538 w 44197"/>
                      <a:gd name="connsiteY118" fmla="*/ 628 h 18609"/>
                      <a:gd name="connsiteX119" fmla="*/ 10607 w 44197"/>
                      <a:gd name="connsiteY119" fmla="*/ 395 h 18609"/>
                      <a:gd name="connsiteX120" fmla="*/ 10607 w 44197"/>
                      <a:gd name="connsiteY120" fmla="*/ 372 h 18609"/>
                      <a:gd name="connsiteX121" fmla="*/ 10770 w 44197"/>
                      <a:gd name="connsiteY121" fmla="*/ 23 h 18609"/>
                      <a:gd name="connsiteX122" fmla="*/ 10770 w 44197"/>
                      <a:gd name="connsiteY122" fmla="*/ 23 h 18609"/>
                      <a:gd name="connsiteX123" fmla="*/ 10770 w 44197"/>
                      <a:gd name="connsiteY123" fmla="*/ 0 h 18609"/>
                      <a:gd name="connsiteX124" fmla="*/ 10770 w 44197"/>
                      <a:gd name="connsiteY124" fmla="*/ 0 h 18609"/>
                      <a:gd name="connsiteX125" fmla="*/ 349 w 44197"/>
                      <a:gd name="connsiteY125" fmla="*/ 0 h 18609"/>
                      <a:gd name="connsiteX126" fmla="*/ 349 w 44197"/>
                      <a:gd name="connsiteY126" fmla="*/ 0 h 18609"/>
                      <a:gd name="connsiteX127" fmla="*/ 326 w 44197"/>
                      <a:gd name="connsiteY127" fmla="*/ 0 h 18609"/>
                      <a:gd name="connsiteX128" fmla="*/ 163 w 44197"/>
                      <a:gd name="connsiteY128" fmla="*/ 326 h 18609"/>
                      <a:gd name="connsiteX129" fmla="*/ 163 w 44197"/>
                      <a:gd name="connsiteY129" fmla="*/ 326 h 18609"/>
                      <a:gd name="connsiteX130" fmla="*/ 163 w 44197"/>
                      <a:gd name="connsiteY130" fmla="*/ 326 h 18609"/>
                      <a:gd name="connsiteX131" fmla="*/ 163 w 44197"/>
                      <a:gd name="connsiteY131" fmla="*/ 349 h 18609"/>
                      <a:gd name="connsiteX132" fmla="*/ 47 w 44197"/>
                      <a:gd name="connsiteY132" fmla="*/ 814 h 18609"/>
                      <a:gd name="connsiteX133" fmla="*/ 23 w 44197"/>
                      <a:gd name="connsiteY133" fmla="*/ 977 h 18609"/>
                      <a:gd name="connsiteX134" fmla="*/ 0 w 44197"/>
                      <a:gd name="connsiteY134" fmla="*/ 1093 h 18609"/>
                      <a:gd name="connsiteX135" fmla="*/ 0 w 44197"/>
                      <a:gd name="connsiteY135" fmla="*/ 1233 h 18609"/>
                      <a:gd name="connsiteX136" fmla="*/ 0 w 44197"/>
                      <a:gd name="connsiteY136" fmla="*/ 1652 h 18609"/>
                      <a:gd name="connsiteX137" fmla="*/ 23 w 44197"/>
                      <a:gd name="connsiteY137" fmla="*/ 1745 h 18609"/>
                      <a:gd name="connsiteX138" fmla="*/ 47 w 44197"/>
                      <a:gd name="connsiteY138" fmla="*/ 1861 h 18609"/>
                      <a:gd name="connsiteX139" fmla="*/ 93 w 44197"/>
                      <a:gd name="connsiteY139" fmla="*/ 2094 h 18609"/>
                      <a:gd name="connsiteX140" fmla="*/ 186 w 44197"/>
                      <a:gd name="connsiteY140" fmla="*/ 2349 h 18609"/>
                      <a:gd name="connsiteX141" fmla="*/ 256 w 44197"/>
                      <a:gd name="connsiteY141" fmla="*/ 2536 h 18609"/>
                      <a:gd name="connsiteX142" fmla="*/ 582 w 44197"/>
                      <a:gd name="connsiteY142" fmla="*/ 3071 h 18609"/>
                      <a:gd name="connsiteX143" fmla="*/ 1419 w 44197"/>
                      <a:gd name="connsiteY143" fmla="*/ 4001 h 18609"/>
                      <a:gd name="connsiteX144" fmla="*/ 2373 w 44197"/>
                      <a:gd name="connsiteY144" fmla="*/ 4466 h 18609"/>
                      <a:gd name="connsiteX145" fmla="*/ 4466 w 44197"/>
                      <a:gd name="connsiteY145" fmla="*/ 4466 h 18609"/>
                      <a:gd name="connsiteX146" fmla="*/ 4420 w 44197"/>
                      <a:gd name="connsiteY146" fmla="*/ 4583 h 18609"/>
                      <a:gd name="connsiteX147" fmla="*/ 4280 w 44197"/>
                      <a:gd name="connsiteY147" fmla="*/ 5118 h 18609"/>
                      <a:gd name="connsiteX148" fmla="*/ 4257 w 44197"/>
                      <a:gd name="connsiteY148" fmla="*/ 5234 h 18609"/>
                      <a:gd name="connsiteX149" fmla="*/ 4257 w 44197"/>
                      <a:gd name="connsiteY149" fmla="*/ 5350 h 18609"/>
                      <a:gd name="connsiteX150" fmla="*/ 4234 w 44197"/>
                      <a:gd name="connsiteY150" fmla="*/ 5560 h 18609"/>
                      <a:gd name="connsiteX151" fmla="*/ 4234 w 44197"/>
                      <a:gd name="connsiteY151" fmla="*/ 5978 h 18609"/>
                      <a:gd name="connsiteX152" fmla="*/ 4257 w 44197"/>
                      <a:gd name="connsiteY152" fmla="*/ 6095 h 18609"/>
                      <a:gd name="connsiteX153" fmla="*/ 4280 w 44197"/>
                      <a:gd name="connsiteY153" fmla="*/ 6211 h 18609"/>
                      <a:gd name="connsiteX154" fmla="*/ 4327 w 44197"/>
                      <a:gd name="connsiteY154" fmla="*/ 6420 h 18609"/>
                      <a:gd name="connsiteX155" fmla="*/ 4443 w 44197"/>
                      <a:gd name="connsiteY155" fmla="*/ 6746 h 18609"/>
                      <a:gd name="connsiteX156" fmla="*/ 4536 w 44197"/>
                      <a:gd name="connsiteY156" fmla="*/ 6955 h 18609"/>
                      <a:gd name="connsiteX157" fmla="*/ 4955 w 44197"/>
                      <a:gd name="connsiteY157" fmla="*/ 7514 h 18609"/>
                      <a:gd name="connsiteX158" fmla="*/ 5862 w 44197"/>
                      <a:gd name="connsiteY158" fmla="*/ 8328 h 18609"/>
                      <a:gd name="connsiteX159" fmla="*/ 6699 w 44197"/>
                      <a:gd name="connsiteY159" fmla="*/ 8677 h 18609"/>
                      <a:gd name="connsiteX160" fmla="*/ 8839 w 44197"/>
                      <a:gd name="connsiteY160" fmla="*/ 8677 h 18609"/>
                      <a:gd name="connsiteX161" fmla="*/ 8793 w 44197"/>
                      <a:gd name="connsiteY161" fmla="*/ 8816 h 18609"/>
                      <a:gd name="connsiteX162" fmla="*/ 8746 w 44197"/>
                      <a:gd name="connsiteY162" fmla="*/ 9165 h 18609"/>
                      <a:gd name="connsiteX163" fmla="*/ 8746 w 44197"/>
                      <a:gd name="connsiteY163" fmla="*/ 9212 h 18609"/>
                      <a:gd name="connsiteX164" fmla="*/ 8746 w 44197"/>
                      <a:gd name="connsiteY164" fmla="*/ 9235 h 18609"/>
                      <a:gd name="connsiteX165" fmla="*/ 8746 w 44197"/>
                      <a:gd name="connsiteY165" fmla="*/ 9654 h 18609"/>
                      <a:gd name="connsiteX166" fmla="*/ 8793 w 44197"/>
                      <a:gd name="connsiteY166" fmla="*/ 10003 h 18609"/>
                      <a:gd name="connsiteX167" fmla="*/ 8793 w 44197"/>
                      <a:gd name="connsiteY167" fmla="*/ 10072 h 18609"/>
                      <a:gd name="connsiteX168" fmla="*/ 8793 w 44197"/>
                      <a:gd name="connsiteY168" fmla="*/ 10119 h 18609"/>
                      <a:gd name="connsiteX169" fmla="*/ 8979 w 44197"/>
                      <a:gd name="connsiteY169" fmla="*/ 10561 h 18609"/>
                      <a:gd name="connsiteX170" fmla="*/ 9095 w 44197"/>
                      <a:gd name="connsiteY170" fmla="*/ 10817 h 18609"/>
                      <a:gd name="connsiteX171" fmla="*/ 9584 w 44197"/>
                      <a:gd name="connsiteY171" fmla="*/ 11352 h 18609"/>
                      <a:gd name="connsiteX172" fmla="*/ 10538 w 44197"/>
                      <a:gd name="connsiteY172" fmla="*/ 12026 h 18609"/>
                      <a:gd name="connsiteX173" fmla="*/ 11212 w 44197"/>
                      <a:gd name="connsiteY173" fmla="*/ 12236 h 18609"/>
                      <a:gd name="connsiteX174" fmla="*/ 13469 w 44197"/>
                      <a:gd name="connsiteY174" fmla="*/ 12236 h 18609"/>
                      <a:gd name="connsiteX175" fmla="*/ 13469 w 44197"/>
                      <a:gd name="connsiteY175" fmla="*/ 12259 h 18609"/>
                      <a:gd name="connsiteX176" fmla="*/ 13469 w 44197"/>
                      <a:gd name="connsiteY176" fmla="*/ 12422 h 18609"/>
                      <a:gd name="connsiteX177" fmla="*/ 13469 w 44197"/>
                      <a:gd name="connsiteY177" fmla="*/ 12515 h 18609"/>
                      <a:gd name="connsiteX178" fmla="*/ 13469 w 44197"/>
                      <a:gd name="connsiteY178" fmla="*/ 12701 h 18609"/>
                      <a:gd name="connsiteX179" fmla="*/ 13538 w 44197"/>
                      <a:gd name="connsiteY179" fmla="*/ 13143 h 18609"/>
                      <a:gd name="connsiteX180" fmla="*/ 13585 w 44197"/>
                      <a:gd name="connsiteY180" fmla="*/ 13259 h 18609"/>
                      <a:gd name="connsiteX181" fmla="*/ 13631 w 44197"/>
                      <a:gd name="connsiteY181" fmla="*/ 13375 h 18609"/>
                      <a:gd name="connsiteX182" fmla="*/ 13934 w 44197"/>
                      <a:gd name="connsiteY182" fmla="*/ 14004 h 18609"/>
                      <a:gd name="connsiteX183" fmla="*/ 13980 w 44197"/>
                      <a:gd name="connsiteY183" fmla="*/ 14050 h 18609"/>
                      <a:gd name="connsiteX184" fmla="*/ 14469 w 44197"/>
                      <a:gd name="connsiteY184" fmla="*/ 14492 h 18609"/>
                      <a:gd name="connsiteX185" fmla="*/ 15492 w 44197"/>
                      <a:gd name="connsiteY185" fmla="*/ 15027 h 18609"/>
                      <a:gd name="connsiteX186" fmla="*/ 16027 w 44197"/>
                      <a:gd name="connsiteY186" fmla="*/ 15190 h 18609"/>
                      <a:gd name="connsiteX187" fmla="*/ 18447 w 44197"/>
                      <a:gd name="connsiteY187" fmla="*/ 15190 h 18609"/>
                      <a:gd name="connsiteX188" fmla="*/ 18493 w 44197"/>
                      <a:gd name="connsiteY188" fmla="*/ 15492 h 18609"/>
                      <a:gd name="connsiteX189" fmla="*/ 18493 w 44197"/>
                      <a:gd name="connsiteY189" fmla="*/ 15516 h 18609"/>
                      <a:gd name="connsiteX190" fmla="*/ 18516 w 44197"/>
                      <a:gd name="connsiteY190" fmla="*/ 15585 h 18609"/>
                      <a:gd name="connsiteX191" fmla="*/ 18633 w 44197"/>
                      <a:gd name="connsiteY191" fmla="*/ 15934 h 18609"/>
                      <a:gd name="connsiteX192" fmla="*/ 18679 w 44197"/>
                      <a:gd name="connsiteY192" fmla="*/ 16074 h 18609"/>
                      <a:gd name="connsiteX193" fmla="*/ 18842 w 44197"/>
                      <a:gd name="connsiteY193" fmla="*/ 16330 h 18609"/>
                      <a:gd name="connsiteX194" fmla="*/ 18935 w 44197"/>
                      <a:gd name="connsiteY194" fmla="*/ 16446 h 18609"/>
                      <a:gd name="connsiteX195" fmla="*/ 19121 w 44197"/>
                      <a:gd name="connsiteY195" fmla="*/ 16655 h 18609"/>
                      <a:gd name="connsiteX196" fmla="*/ 19214 w 44197"/>
                      <a:gd name="connsiteY196" fmla="*/ 16748 h 18609"/>
                      <a:gd name="connsiteX197" fmla="*/ 19540 w 44197"/>
                      <a:gd name="connsiteY197" fmla="*/ 16935 h 18609"/>
                      <a:gd name="connsiteX198" fmla="*/ 20563 w 44197"/>
                      <a:gd name="connsiteY198" fmla="*/ 17330 h 18609"/>
                      <a:gd name="connsiteX199" fmla="*/ 20959 w 44197"/>
                      <a:gd name="connsiteY199" fmla="*/ 17400 h 18609"/>
                      <a:gd name="connsiteX200" fmla="*/ 23634 w 44197"/>
                      <a:gd name="connsiteY200" fmla="*/ 17400 h 18609"/>
                      <a:gd name="connsiteX201" fmla="*/ 23727 w 44197"/>
                      <a:gd name="connsiteY201" fmla="*/ 17609 h 18609"/>
                      <a:gd name="connsiteX202" fmla="*/ 23750 w 44197"/>
                      <a:gd name="connsiteY202" fmla="*/ 17679 h 18609"/>
                      <a:gd name="connsiteX203" fmla="*/ 23983 w 44197"/>
                      <a:gd name="connsiteY203" fmla="*/ 18074 h 18609"/>
                      <a:gd name="connsiteX204" fmla="*/ 24053 w 44197"/>
                      <a:gd name="connsiteY204" fmla="*/ 18167 h 18609"/>
                      <a:gd name="connsiteX205" fmla="*/ 24285 w 44197"/>
                      <a:gd name="connsiteY205" fmla="*/ 18377 h 18609"/>
                      <a:gd name="connsiteX206" fmla="*/ 24378 w 44197"/>
                      <a:gd name="connsiteY206" fmla="*/ 18447 h 18609"/>
                      <a:gd name="connsiteX207" fmla="*/ 24750 w 44197"/>
                      <a:gd name="connsiteY207" fmla="*/ 18609 h 18609"/>
                      <a:gd name="connsiteX208" fmla="*/ 25820 w 44197"/>
                      <a:gd name="connsiteY208" fmla="*/ 18842 h 18609"/>
                      <a:gd name="connsiteX209" fmla="*/ 26053 w 44197"/>
                      <a:gd name="connsiteY209" fmla="*/ 18865 h 18609"/>
                      <a:gd name="connsiteX210" fmla="*/ 29100 w 44197"/>
                      <a:gd name="connsiteY210" fmla="*/ 18865 h 18609"/>
                      <a:gd name="connsiteX211" fmla="*/ 29240 w 44197"/>
                      <a:gd name="connsiteY211" fmla="*/ 19028 h 18609"/>
                      <a:gd name="connsiteX212" fmla="*/ 29240 w 44197"/>
                      <a:gd name="connsiteY212" fmla="*/ 19028 h 18609"/>
                      <a:gd name="connsiteX213" fmla="*/ 29566 w 44197"/>
                      <a:gd name="connsiteY213" fmla="*/ 19284 h 18609"/>
                      <a:gd name="connsiteX214" fmla="*/ 29659 w 44197"/>
                      <a:gd name="connsiteY214" fmla="*/ 19354 h 18609"/>
                      <a:gd name="connsiteX215" fmla="*/ 30077 w 44197"/>
                      <a:gd name="connsiteY215" fmla="*/ 19470 h 18609"/>
                      <a:gd name="connsiteX216" fmla="*/ 31147 w 44197"/>
                      <a:gd name="connsiteY216" fmla="*/ 19563 h 18609"/>
                      <a:gd name="connsiteX217" fmla="*/ 35055 w 44197"/>
                      <a:gd name="connsiteY217" fmla="*/ 19563 h 18609"/>
                      <a:gd name="connsiteX218" fmla="*/ 35381 w 44197"/>
                      <a:gd name="connsiteY218" fmla="*/ 19610 h 18609"/>
                      <a:gd name="connsiteX219" fmla="*/ 45826 w 44197"/>
                      <a:gd name="connsiteY219" fmla="*/ 19610 h 18609"/>
                      <a:gd name="connsiteX220" fmla="*/ 45337 w 44197"/>
                      <a:gd name="connsiteY220" fmla="*/ 19447 h 18609"/>
                      <a:gd name="connsiteX221" fmla="*/ 45337 w 44197"/>
                      <a:gd name="connsiteY221" fmla="*/ 19447 h 186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  <a:cxn ang="0">
                        <a:pos x="connsiteX80" y="connsiteY80"/>
                      </a:cxn>
                      <a:cxn ang="0">
                        <a:pos x="connsiteX81" y="connsiteY81"/>
                      </a:cxn>
                      <a:cxn ang="0">
                        <a:pos x="connsiteX82" y="connsiteY82"/>
                      </a:cxn>
                      <a:cxn ang="0">
                        <a:pos x="connsiteX83" y="connsiteY83"/>
                      </a:cxn>
                      <a:cxn ang="0">
                        <a:pos x="connsiteX84" y="connsiteY84"/>
                      </a:cxn>
                      <a:cxn ang="0">
                        <a:pos x="connsiteX85" y="connsiteY85"/>
                      </a:cxn>
                      <a:cxn ang="0">
                        <a:pos x="connsiteX86" y="connsiteY86"/>
                      </a:cxn>
                      <a:cxn ang="0">
                        <a:pos x="connsiteX87" y="connsiteY87"/>
                      </a:cxn>
                      <a:cxn ang="0">
                        <a:pos x="connsiteX88" y="connsiteY88"/>
                      </a:cxn>
                      <a:cxn ang="0">
                        <a:pos x="connsiteX89" y="connsiteY89"/>
                      </a:cxn>
                      <a:cxn ang="0">
                        <a:pos x="connsiteX90" y="connsiteY90"/>
                      </a:cxn>
                      <a:cxn ang="0">
                        <a:pos x="connsiteX91" y="connsiteY91"/>
                      </a:cxn>
                      <a:cxn ang="0">
                        <a:pos x="connsiteX92" y="connsiteY92"/>
                      </a:cxn>
                      <a:cxn ang="0">
                        <a:pos x="connsiteX93" y="connsiteY93"/>
                      </a:cxn>
                      <a:cxn ang="0">
                        <a:pos x="connsiteX94" y="connsiteY94"/>
                      </a:cxn>
                      <a:cxn ang="0">
                        <a:pos x="connsiteX95" y="connsiteY95"/>
                      </a:cxn>
                      <a:cxn ang="0">
                        <a:pos x="connsiteX96" y="connsiteY96"/>
                      </a:cxn>
                      <a:cxn ang="0">
                        <a:pos x="connsiteX97" y="connsiteY97"/>
                      </a:cxn>
                      <a:cxn ang="0">
                        <a:pos x="connsiteX98" y="connsiteY98"/>
                      </a:cxn>
                      <a:cxn ang="0">
                        <a:pos x="connsiteX99" y="connsiteY99"/>
                      </a:cxn>
                      <a:cxn ang="0">
                        <a:pos x="connsiteX100" y="connsiteY100"/>
                      </a:cxn>
                      <a:cxn ang="0">
                        <a:pos x="connsiteX101" y="connsiteY101"/>
                      </a:cxn>
                      <a:cxn ang="0">
                        <a:pos x="connsiteX102" y="connsiteY102"/>
                      </a:cxn>
                      <a:cxn ang="0">
                        <a:pos x="connsiteX103" y="connsiteY103"/>
                      </a:cxn>
                      <a:cxn ang="0">
                        <a:pos x="connsiteX104" y="connsiteY104"/>
                      </a:cxn>
                      <a:cxn ang="0">
                        <a:pos x="connsiteX105" y="connsiteY105"/>
                      </a:cxn>
                      <a:cxn ang="0">
                        <a:pos x="connsiteX106" y="connsiteY106"/>
                      </a:cxn>
                      <a:cxn ang="0">
                        <a:pos x="connsiteX107" y="connsiteY107"/>
                      </a:cxn>
                      <a:cxn ang="0">
                        <a:pos x="connsiteX108" y="connsiteY108"/>
                      </a:cxn>
                      <a:cxn ang="0">
                        <a:pos x="connsiteX109" y="connsiteY109"/>
                      </a:cxn>
                      <a:cxn ang="0">
                        <a:pos x="connsiteX110" y="connsiteY110"/>
                      </a:cxn>
                      <a:cxn ang="0">
                        <a:pos x="connsiteX111" y="connsiteY111"/>
                      </a:cxn>
                      <a:cxn ang="0">
                        <a:pos x="connsiteX112" y="connsiteY112"/>
                      </a:cxn>
                      <a:cxn ang="0">
                        <a:pos x="connsiteX113" y="connsiteY113"/>
                      </a:cxn>
                      <a:cxn ang="0">
                        <a:pos x="connsiteX114" y="connsiteY114"/>
                      </a:cxn>
                      <a:cxn ang="0">
                        <a:pos x="connsiteX115" y="connsiteY115"/>
                      </a:cxn>
                      <a:cxn ang="0">
                        <a:pos x="connsiteX116" y="connsiteY116"/>
                      </a:cxn>
                      <a:cxn ang="0">
                        <a:pos x="connsiteX117" y="connsiteY117"/>
                      </a:cxn>
                      <a:cxn ang="0">
                        <a:pos x="connsiteX118" y="connsiteY118"/>
                      </a:cxn>
                      <a:cxn ang="0">
                        <a:pos x="connsiteX119" y="connsiteY119"/>
                      </a:cxn>
                      <a:cxn ang="0">
                        <a:pos x="connsiteX120" y="connsiteY120"/>
                      </a:cxn>
                      <a:cxn ang="0">
                        <a:pos x="connsiteX121" y="connsiteY121"/>
                      </a:cxn>
                      <a:cxn ang="0">
                        <a:pos x="connsiteX122" y="connsiteY122"/>
                      </a:cxn>
                      <a:cxn ang="0">
                        <a:pos x="connsiteX123" y="connsiteY123"/>
                      </a:cxn>
                      <a:cxn ang="0">
                        <a:pos x="connsiteX124" y="connsiteY124"/>
                      </a:cxn>
                      <a:cxn ang="0">
                        <a:pos x="connsiteX125" y="connsiteY125"/>
                      </a:cxn>
                      <a:cxn ang="0">
                        <a:pos x="connsiteX126" y="connsiteY126"/>
                      </a:cxn>
                      <a:cxn ang="0">
                        <a:pos x="connsiteX127" y="connsiteY127"/>
                      </a:cxn>
                      <a:cxn ang="0">
                        <a:pos x="connsiteX128" y="connsiteY128"/>
                      </a:cxn>
                      <a:cxn ang="0">
                        <a:pos x="connsiteX129" y="connsiteY129"/>
                      </a:cxn>
                      <a:cxn ang="0">
                        <a:pos x="connsiteX130" y="connsiteY130"/>
                      </a:cxn>
                      <a:cxn ang="0">
                        <a:pos x="connsiteX131" y="connsiteY131"/>
                      </a:cxn>
                      <a:cxn ang="0">
                        <a:pos x="connsiteX132" y="connsiteY132"/>
                      </a:cxn>
                      <a:cxn ang="0">
                        <a:pos x="connsiteX133" y="connsiteY133"/>
                      </a:cxn>
                      <a:cxn ang="0">
                        <a:pos x="connsiteX134" y="connsiteY134"/>
                      </a:cxn>
                      <a:cxn ang="0">
                        <a:pos x="connsiteX135" y="connsiteY135"/>
                      </a:cxn>
                      <a:cxn ang="0">
                        <a:pos x="connsiteX136" y="connsiteY136"/>
                      </a:cxn>
                      <a:cxn ang="0">
                        <a:pos x="connsiteX137" y="connsiteY137"/>
                      </a:cxn>
                      <a:cxn ang="0">
                        <a:pos x="connsiteX138" y="connsiteY138"/>
                      </a:cxn>
                      <a:cxn ang="0">
                        <a:pos x="connsiteX139" y="connsiteY139"/>
                      </a:cxn>
                      <a:cxn ang="0">
                        <a:pos x="connsiteX140" y="connsiteY140"/>
                      </a:cxn>
                      <a:cxn ang="0">
                        <a:pos x="connsiteX141" y="connsiteY141"/>
                      </a:cxn>
                      <a:cxn ang="0">
                        <a:pos x="connsiteX142" y="connsiteY142"/>
                      </a:cxn>
                      <a:cxn ang="0">
                        <a:pos x="connsiteX143" y="connsiteY143"/>
                      </a:cxn>
                      <a:cxn ang="0">
                        <a:pos x="connsiteX144" y="connsiteY144"/>
                      </a:cxn>
                      <a:cxn ang="0">
                        <a:pos x="connsiteX145" y="connsiteY145"/>
                      </a:cxn>
                      <a:cxn ang="0">
                        <a:pos x="connsiteX146" y="connsiteY146"/>
                      </a:cxn>
                      <a:cxn ang="0">
                        <a:pos x="connsiteX147" y="connsiteY147"/>
                      </a:cxn>
                      <a:cxn ang="0">
                        <a:pos x="connsiteX148" y="connsiteY148"/>
                      </a:cxn>
                      <a:cxn ang="0">
                        <a:pos x="connsiteX149" y="connsiteY149"/>
                      </a:cxn>
                      <a:cxn ang="0">
                        <a:pos x="connsiteX150" y="connsiteY150"/>
                      </a:cxn>
                      <a:cxn ang="0">
                        <a:pos x="connsiteX151" y="connsiteY151"/>
                      </a:cxn>
                      <a:cxn ang="0">
                        <a:pos x="connsiteX152" y="connsiteY152"/>
                      </a:cxn>
                      <a:cxn ang="0">
                        <a:pos x="connsiteX153" y="connsiteY153"/>
                      </a:cxn>
                      <a:cxn ang="0">
                        <a:pos x="connsiteX154" y="connsiteY154"/>
                      </a:cxn>
                      <a:cxn ang="0">
                        <a:pos x="connsiteX155" y="connsiteY155"/>
                      </a:cxn>
                      <a:cxn ang="0">
                        <a:pos x="connsiteX156" y="connsiteY156"/>
                      </a:cxn>
                      <a:cxn ang="0">
                        <a:pos x="connsiteX157" y="connsiteY157"/>
                      </a:cxn>
                      <a:cxn ang="0">
                        <a:pos x="connsiteX158" y="connsiteY158"/>
                      </a:cxn>
                      <a:cxn ang="0">
                        <a:pos x="connsiteX159" y="connsiteY159"/>
                      </a:cxn>
                      <a:cxn ang="0">
                        <a:pos x="connsiteX160" y="connsiteY160"/>
                      </a:cxn>
                      <a:cxn ang="0">
                        <a:pos x="connsiteX161" y="connsiteY161"/>
                      </a:cxn>
                      <a:cxn ang="0">
                        <a:pos x="connsiteX162" y="connsiteY162"/>
                      </a:cxn>
                      <a:cxn ang="0">
                        <a:pos x="connsiteX163" y="connsiteY163"/>
                      </a:cxn>
                      <a:cxn ang="0">
                        <a:pos x="connsiteX164" y="connsiteY164"/>
                      </a:cxn>
                      <a:cxn ang="0">
                        <a:pos x="connsiteX165" y="connsiteY165"/>
                      </a:cxn>
                      <a:cxn ang="0">
                        <a:pos x="connsiteX166" y="connsiteY166"/>
                      </a:cxn>
                      <a:cxn ang="0">
                        <a:pos x="connsiteX167" y="connsiteY167"/>
                      </a:cxn>
                      <a:cxn ang="0">
                        <a:pos x="connsiteX168" y="connsiteY168"/>
                      </a:cxn>
                      <a:cxn ang="0">
                        <a:pos x="connsiteX169" y="connsiteY169"/>
                      </a:cxn>
                      <a:cxn ang="0">
                        <a:pos x="connsiteX170" y="connsiteY170"/>
                      </a:cxn>
                      <a:cxn ang="0">
                        <a:pos x="connsiteX171" y="connsiteY171"/>
                      </a:cxn>
                      <a:cxn ang="0">
                        <a:pos x="connsiteX172" y="connsiteY172"/>
                      </a:cxn>
                      <a:cxn ang="0">
                        <a:pos x="connsiteX173" y="connsiteY173"/>
                      </a:cxn>
                      <a:cxn ang="0">
                        <a:pos x="connsiteX174" y="connsiteY174"/>
                      </a:cxn>
                      <a:cxn ang="0">
                        <a:pos x="connsiteX175" y="connsiteY175"/>
                      </a:cxn>
                      <a:cxn ang="0">
                        <a:pos x="connsiteX176" y="connsiteY176"/>
                      </a:cxn>
                      <a:cxn ang="0">
                        <a:pos x="connsiteX177" y="connsiteY177"/>
                      </a:cxn>
                      <a:cxn ang="0">
                        <a:pos x="connsiteX178" y="connsiteY178"/>
                      </a:cxn>
                      <a:cxn ang="0">
                        <a:pos x="connsiteX179" y="connsiteY179"/>
                      </a:cxn>
                      <a:cxn ang="0">
                        <a:pos x="connsiteX180" y="connsiteY180"/>
                      </a:cxn>
                      <a:cxn ang="0">
                        <a:pos x="connsiteX181" y="connsiteY181"/>
                      </a:cxn>
                      <a:cxn ang="0">
                        <a:pos x="connsiteX182" y="connsiteY182"/>
                      </a:cxn>
                      <a:cxn ang="0">
                        <a:pos x="connsiteX183" y="connsiteY183"/>
                      </a:cxn>
                      <a:cxn ang="0">
                        <a:pos x="connsiteX184" y="connsiteY184"/>
                      </a:cxn>
                      <a:cxn ang="0">
                        <a:pos x="connsiteX185" y="connsiteY185"/>
                      </a:cxn>
                      <a:cxn ang="0">
                        <a:pos x="connsiteX186" y="connsiteY186"/>
                      </a:cxn>
                      <a:cxn ang="0">
                        <a:pos x="connsiteX187" y="connsiteY187"/>
                      </a:cxn>
                      <a:cxn ang="0">
                        <a:pos x="connsiteX188" y="connsiteY188"/>
                      </a:cxn>
                      <a:cxn ang="0">
                        <a:pos x="connsiteX189" y="connsiteY189"/>
                      </a:cxn>
                      <a:cxn ang="0">
                        <a:pos x="connsiteX190" y="connsiteY190"/>
                      </a:cxn>
                      <a:cxn ang="0">
                        <a:pos x="connsiteX191" y="connsiteY191"/>
                      </a:cxn>
                      <a:cxn ang="0">
                        <a:pos x="connsiteX192" y="connsiteY192"/>
                      </a:cxn>
                      <a:cxn ang="0">
                        <a:pos x="connsiteX193" y="connsiteY193"/>
                      </a:cxn>
                      <a:cxn ang="0">
                        <a:pos x="connsiteX194" y="connsiteY194"/>
                      </a:cxn>
                      <a:cxn ang="0">
                        <a:pos x="connsiteX195" y="connsiteY195"/>
                      </a:cxn>
                      <a:cxn ang="0">
                        <a:pos x="connsiteX196" y="connsiteY196"/>
                      </a:cxn>
                      <a:cxn ang="0">
                        <a:pos x="connsiteX197" y="connsiteY197"/>
                      </a:cxn>
                      <a:cxn ang="0">
                        <a:pos x="connsiteX198" y="connsiteY198"/>
                      </a:cxn>
                      <a:cxn ang="0">
                        <a:pos x="connsiteX199" y="connsiteY199"/>
                      </a:cxn>
                      <a:cxn ang="0">
                        <a:pos x="connsiteX200" y="connsiteY200"/>
                      </a:cxn>
                      <a:cxn ang="0">
                        <a:pos x="connsiteX201" y="connsiteY201"/>
                      </a:cxn>
                      <a:cxn ang="0">
                        <a:pos x="connsiteX202" y="connsiteY202"/>
                      </a:cxn>
                      <a:cxn ang="0">
                        <a:pos x="connsiteX203" y="connsiteY203"/>
                      </a:cxn>
                      <a:cxn ang="0">
                        <a:pos x="connsiteX204" y="connsiteY204"/>
                      </a:cxn>
                      <a:cxn ang="0">
                        <a:pos x="connsiteX205" y="connsiteY205"/>
                      </a:cxn>
                      <a:cxn ang="0">
                        <a:pos x="connsiteX206" y="connsiteY206"/>
                      </a:cxn>
                      <a:cxn ang="0">
                        <a:pos x="connsiteX207" y="connsiteY207"/>
                      </a:cxn>
                      <a:cxn ang="0">
                        <a:pos x="connsiteX208" y="connsiteY208"/>
                      </a:cxn>
                      <a:cxn ang="0">
                        <a:pos x="connsiteX209" y="connsiteY209"/>
                      </a:cxn>
                      <a:cxn ang="0">
                        <a:pos x="connsiteX210" y="connsiteY210"/>
                      </a:cxn>
                      <a:cxn ang="0">
                        <a:pos x="connsiteX211" y="connsiteY211"/>
                      </a:cxn>
                      <a:cxn ang="0">
                        <a:pos x="connsiteX212" y="connsiteY212"/>
                      </a:cxn>
                      <a:cxn ang="0">
                        <a:pos x="connsiteX213" y="connsiteY213"/>
                      </a:cxn>
                      <a:cxn ang="0">
                        <a:pos x="connsiteX214" y="connsiteY214"/>
                      </a:cxn>
                      <a:cxn ang="0">
                        <a:pos x="connsiteX215" y="connsiteY215"/>
                      </a:cxn>
                      <a:cxn ang="0">
                        <a:pos x="connsiteX216" y="connsiteY216"/>
                      </a:cxn>
                      <a:cxn ang="0">
                        <a:pos x="connsiteX217" y="connsiteY217"/>
                      </a:cxn>
                      <a:cxn ang="0">
                        <a:pos x="connsiteX218" y="connsiteY218"/>
                      </a:cxn>
                      <a:cxn ang="0">
                        <a:pos x="connsiteX219" y="connsiteY219"/>
                      </a:cxn>
                      <a:cxn ang="0">
                        <a:pos x="connsiteX220" y="connsiteY220"/>
                      </a:cxn>
                      <a:cxn ang="0">
                        <a:pos x="connsiteX221" y="connsiteY221"/>
                      </a:cxn>
                    </a:cxnLst>
                    <a:rect l="l" t="t" r="r" b="b"/>
                    <a:pathLst>
                      <a:path w="44197" h="18609">
                        <a:moveTo>
                          <a:pt x="45337" y="19447"/>
                        </a:moveTo>
                        <a:lnTo>
                          <a:pt x="45337" y="19447"/>
                        </a:lnTo>
                        <a:cubicBezTo>
                          <a:pt x="45151" y="19377"/>
                          <a:pt x="45011" y="19261"/>
                          <a:pt x="44872" y="19121"/>
                        </a:cubicBezTo>
                        <a:cubicBezTo>
                          <a:pt x="44849" y="19121"/>
                          <a:pt x="44849" y="19098"/>
                          <a:pt x="44849" y="19098"/>
                        </a:cubicBezTo>
                        <a:lnTo>
                          <a:pt x="44849" y="19098"/>
                        </a:lnTo>
                        <a:cubicBezTo>
                          <a:pt x="44476" y="18702"/>
                          <a:pt x="44244" y="18121"/>
                          <a:pt x="44244" y="17423"/>
                        </a:cubicBezTo>
                        <a:cubicBezTo>
                          <a:pt x="44244" y="17423"/>
                          <a:pt x="44244" y="17400"/>
                          <a:pt x="44244" y="17377"/>
                        </a:cubicBezTo>
                        <a:cubicBezTo>
                          <a:pt x="43848" y="17377"/>
                          <a:pt x="43546" y="17377"/>
                          <a:pt x="43220" y="17377"/>
                        </a:cubicBezTo>
                        <a:lnTo>
                          <a:pt x="43220" y="17423"/>
                        </a:lnTo>
                        <a:cubicBezTo>
                          <a:pt x="43174" y="18609"/>
                          <a:pt x="42476" y="19517"/>
                          <a:pt x="41662" y="19517"/>
                        </a:cubicBezTo>
                        <a:lnTo>
                          <a:pt x="41592" y="19517"/>
                        </a:lnTo>
                        <a:cubicBezTo>
                          <a:pt x="41220" y="19493"/>
                          <a:pt x="40871" y="19470"/>
                          <a:pt x="40522" y="19424"/>
                        </a:cubicBezTo>
                        <a:cubicBezTo>
                          <a:pt x="39661" y="19330"/>
                          <a:pt x="39010" y="18284"/>
                          <a:pt x="39080" y="17051"/>
                        </a:cubicBezTo>
                        <a:cubicBezTo>
                          <a:pt x="39080" y="17051"/>
                          <a:pt x="39080" y="17028"/>
                          <a:pt x="39080" y="17028"/>
                        </a:cubicBezTo>
                        <a:cubicBezTo>
                          <a:pt x="39056" y="17028"/>
                          <a:pt x="39033" y="17004"/>
                          <a:pt x="39033" y="17004"/>
                        </a:cubicBezTo>
                        <a:lnTo>
                          <a:pt x="39033" y="17051"/>
                        </a:lnTo>
                        <a:lnTo>
                          <a:pt x="39033" y="17051"/>
                        </a:lnTo>
                        <a:lnTo>
                          <a:pt x="39033" y="17051"/>
                        </a:lnTo>
                        <a:lnTo>
                          <a:pt x="38010" y="17051"/>
                        </a:lnTo>
                        <a:cubicBezTo>
                          <a:pt x="37847" y="18051"/>
                          <a:pt x="37219" y="18772"/>
                          <a:pt x="36498" y="18772"/>
                        </a:cubicBezTo>
                        <a:lnTo>
                          <a:pt x="36265" y="18749"/>
                        </a:lnTo>
                        <a:cubicBezTo>
                          <a:pt x="35916" y="18656"/>
                          <a:pt x="35567" y="18586"/>
                          <a:pt x="35195" y="18516"/>
                        </a:cubicBezTo>
                        <a:cubicBezTo>
                          <a:pt x="34613" y="18377"/>
                          <a:pt x="34171" y="17795"/>
                          <a:pt x="33985" y="17051"/>
                        </a:cubicBezTo>
                        <a:lnTo>
                          <a:pt x="33985" y="17051"/>
                        </a:lnTo>
                        <a:lnTo>
                          <a:pt x="33985" y="17028"/>
                        </a:lnTo>
                        <a:cubicBezTo>
                          <a:pt x="33962" y="16911"/>
                          <a:pt x="33939" y="16818"/>
                          <a:pt x="33916" y="16679"/>
                        </a:cubicBezTo>
                        <a:cubicBezTo>
                          <a:pt x="33916" y="16632"/>
                          <a:pt x="33892" y="16562"/>
                          <a:pt x="33892" y="16493"/>
                        </a:cubicBezTo>
                        <a:lnTo>
                          <a:pt x="33892" y="16493"/>
                        </a:lnTo>
                        <a:cubicBezTo>
                          <a:pt x="33892" y="16306"/>
                          <a:pt x="33892" y="16120"/>
                          <a:pt x="33916" y="15958"/>
                        </a:cubicBezTo>
                        <a:lnTo>
                          <a:pt x="33916" y="15934"/>
                        </a:lnTo>
                        <a:lnTo>
                          <a:pt x="33916" y="15911"/>
                        </a:lnTo>
                        <a:lnTo>
                          <a:pt x="32822" y="15911"/>
                        </a:lnTo>
                        <a:cubicBezTo>
                          <a:pt x="32590" y="16748"/>
                          <a:pt x="32031" y="17307"/>
                          <a:pt x="31380" y="17307"/>
                        </a:cubicBezTo>
                        <a:cubicBezTo>
                          <a:pt x="31264" y="17307"/>
                          <a:pt x="31124" y="17283"/>
                          <a:pt x="31008" y="17237"/>
                        </a:cubicBezTo>
                        <a:cubicBezTo>
                          <a:pt x="30659" y="17121"/>
                          <a:pt x="30310" y="16981"/>
                          <a:pt x="29961" y="16842"/>
                        </a:cubicBezTo>
                        <a:cubicBezTo>
                          <a:pt x="29566" y="16679"/>
                          <a:pt x="29263" y="16353"/>
                          <a:pt x="29077" y="15911"/>
                        </a:cubicBezTo>
                        <a:lnTo>
                          <a:pt x="29077" y="15911"/>
                        </a:lnTo>
                        <a:cubicBezTo>
                          <a:pt x="29077" y="15911"/>
                          <a:pt x="29077" y="15888"/>
                          <a:pt x="29054" y="15865"/>
                        </a:cubicBezTo>
                        <a:lnTo>
                          <a:pt x="29054" y="15865"/>
                        </a:lnTo>
                        <a:cubicBezTo>
                          <a:pt x="29007" y="15748"/>
                          <a:pt x="28961" y="15632"/>
                          <a:pt x="28938" y="15492"/>
                        </a:cubicBezTo>
                        <a:cubicBezTo>
                          <a:pt x="28938" y="15469"/>
                          <a:pt x="28914" y="15446"/>
                          <a:pt x="28914" y="15423"/>
                        </a:cubicBezTo>
                        <a:lnTo>
                          <a:pt x="28914" y="15423"/>
                        </a:lnTo>
                        <a:cubicBezTo>
                          <a:pt x="28891" y="15306"/>
                          <a:pt x="28868" y="15167"/>
                          <a:pt x="28845" y="15050"/>
                        </a:cubicBezTo>
                        <a:lnTo>
                          <a:pt x="28845" y="15050"/>
                        </a:lnTo>
                        <a:lnTo>
                          <a:pt x="28845" y="15050"/>
                        </a:lnTo>
                        <a:cubicBezTo>
                          <a:pt x="28845" y="15027"/>
                          <a:pt x="28845" y="15004"/>
                          <a:pt x="28845" y="14981"/>
                        </a:cubicBezTo>
                        <a:lnTo>
                          <a:pt x="28845" y="14981"/>
                        </a:lnTo>
                        <a:cubicBezTo>
                          <a:pt x="28845" y="14957"/>
                          <a:pt x="28845" y="14911"/>
                          <a:pt x="28845" y="14911"/>
                        </a:cubicBezTo>
                        <a:cubicBezTo>
                          <a:pt x="28821" y="14632"/>
                          <a:pt x="28845" y="14376"/>
                          <a:pt x="28891" y="14120"/>
                        </a:cubicBezTo>
                        <a:lnTo>
                          <a:pt x="28891" y="14097"/>
                        </a:lnTo>
                        <a:lnTo>
                          <a:pt x="28891" y="14097"/>
                        </a:lnTo>
                        <a:lnTo>
                          <a:pt x="27728" y="14097"/>
                        </a:lnTo>
                        <a:cubicBezTo>
                          <a:pt x="27449" y="14748"/>
                          <a:pt x="26960" y="15143"/>
                          <a:pt x="26425" y="15143"/>
                        </a:cubicBezTo>
                        <a:cubicBezTo>
                          <a:pt x="26239" y="15143"/>
                          <a:pt x="26053" y="15074"/>
                          <a:pt x="25890" y="14981"/>
                        </a:cubicBezTo>
                        <a:cubicBezTo>
                          <a:pt x="25541" y="14818"/>
                          <a:pt x="25216" y="14632"/>
                          <a:pt x="24867" y="14446"/>
                        </a:cubicBezTo>
                        <a:cubicBezTo>
                          <a:pt x="24727" y="14376"/>
                          <a:pt x="24588" y="14236"/>
                          <a:pt x="24495" y="14097"/>
                        </a:cubicBezTo>
                        <a:lnTo>
                          <a:pt x="24495" y="14097"/>
                        </a:lnTo>
                        <a:cubicBezTo>
                          <a:pt x="24471" y="14050"/>
                          <a:pt x="24425" y="14050"/>
                          <a:pt x="24402" y="14004"/>
                        </a:cubicBezTo>
                        <a:lnTo>
                          <a:pt x="24402" y="14004"/>
                        </a:lnTo>
                        <a:cubicBezTo>
                          <a:pt x="24378" y="13980"/>
                          <a:pt x="24355" y="13980"/>
                          <a:pt x="24355" y="13957"/>
                        </a:cubicBezTo>
                        <a:lnTo>
                          <a:pt x="24355" y="13957"/>
                        </a:lnTo>
                        <a:cubicBezTo>
                          <a:pt x="24239" y="13794"/>
                          <a:pt x="24169" y="13631"/>
                          <a:pt x="24099" y="13445"/>
                        </a:cubicBezTo>
                        <a:cubicBezTo>
                          <a:pt x="23983" y="13120"/>
                          <a:pt x="23890" y="12771"/>
                          <a:pt x="23890" y="12399"/>
                        </a:cubicBezTo>
                        <a:lnTo>
                          <a:pt x="23890" y="12399"/>
                        </a:lnTo>
                        <a:cubicBezTo>
                          <a:pt x="23890" y="12259"/>
                          <a:pt x="23936" y="12096"/>
                          <a:pt x="23936" y="11957"/>
                        </a:cubicBezTo>
                        <a:cubicBezTo>
                          <a:pt x="23960" y="11840"/>
                          <a:pt x="23936" y="11701"/>
                          <a:pt x="23983" y="11584"/>
                        </a:cubicBezTo>
                        <a:lnTo>
                          <a:pt x="23983" y="11561"/>
                        </a:lnTo>
                        <a:lnTo>
                          <a:pt x="23983" y="11561"/>
                        </a:lnTo>
                        <a:lnTo>
                          <a:pt x="22750" y="11561"/>
                        </a:lnTo>
                        <a:cubicBezTo>
                          <a:pt x="22448" y="12003"/>
                          <a:pt x="22052" y="12236"/>
                          <a:pt x="21633" y="12236"/>
                        </a:cubicBezTo>
                        <a:cubicBezTo>
                          <a:pt x="21401" y="12236"/>
                          <a:pt x="21168" y="12166"/>
                          <a:pt x="20936" y="12026"/>
                        </a:cubicBezTo>
                        <a:cubicBezTo>
                          <a:pt x="20726" y="11863"/>
                          <a:pt x="20494" y="11724"/>
                          <a:pt x="20284" y="11561"/>
                        </a:cubicBezTo>
                        <a:lnTo>
                          <a:pt x="20284" y="11561"/>
                        </a:lnTo>
                        <a:cubicBezTo>
                          <a:pt x="20191" y="11491"/>
                          <a:pt x="20075" y="11422"/>
                          <a:pt x="19982" y="11328"/>
                        </a:cubicBezTo>
                        <a:cubicBezTo>
                          <a:pt x="19726" y="11142"/>
                          <a:pt x="19540" y="10863"/>
                          <a:pt x="19400" y="10561"/>
                        </a:cubicBezTo>
                        <a:lnTo>
                          <a:pt x="19400" y="10561"/>
                        </a:lnTo>
                        <a:cubicBezTo>
                          <a:pt x="19330" y="10398"/>
                          <a:pt x="19237" y="10235"/>
                          <a:pt x="19214" y="10072"/>
                        </a:cubicBezTo>
                        <a:lnTo>
                          <a:pt x="19214" y="10072"/>
                        </a:lnTo>
                        <a:cubicBezTo>
                          <a:pt x="19144" y="9793"/>
                          <a:pt x="19121" y="9468"/>
                          <a:pt x="19144" y="9165"/>
                        </a:cubicBezTo>
                        <a:lnTo>
                          <a:pt x="19144" y="9165"/>
                        </a:lnTo>
                        <a:cubicBezTo>
                          <a:pt x="19168" y="8886"/>
                          <a:pt x="19214" y="8607"/>
                          <a:pt x="19307" y="8351"/>
                        </a:cubicBezTo>
                        <a:lnTo>
                          <a:pt x="19307" y="8328"/>
                        </a:lnTo>
                        <a:lnTo>
                          <a:pt x="19307" y="8328"/>
                        </a:lnTo>
                        <a:lnTo>
                          <a:pt x="19307" y="8328"/>
                        </a:lnTo>
                        <a:lnTo>
                          <a:pt x="17912" y="8328"/>
                        </a:lnTo>
                        <a:cubicBezTo>
                          <a:pt x="17656" y="8560"/>
                          <a:pt x="17376" y="8700"/>
                          <a:pt x="17074" y="8700"/>
                        </a:cubicBezTo>
                        <a:cubicBezTo>
                          <a:pt x="16795" y="8700"/>
                          <a:pt x="16493" y="8584"/>
                          <a:pt x="16260" y="8351"/>
                        </a:cubicBezTo>
                        <a:cubicBezTo>
                          <a:pt x="15958" y="8072"/>
                          <a:pt x="15655" y="7816"/>
                          <a:pt x="15353" y="7537"/>
                        </a:cubicBezTo>
                        <a:cubicBezTo>
                          <a:pt x="15236" y="7420"/>
                          <a:pt x="15167" y="7281"/>
                          <a:pt x="15074" y="7165"/>
                        </a:cubicBezTo>
                        <a:cubicBezTo>
                          <a:pt x="15027" y="7095"/>
                          <a:pt x="14981" y="7048"/>
                          <a:pt x="14934" y="6979"/>
                        </a:cubicBezTo>
                        <a:lnTo>
                          <a:pt x="14934" y="6979"/>
                        </a:lnTo>
                        <a:cubicBezTo>
                          <a:pt x="14794" y="6699"/>
                          <a:pt x="14701" y="6420"/>
                          <a:pt x="14655" y="6095"/>
                        </a:cubicBezTo>
                        <a:lnTo>
                          <a:pt x="14655" y="6095"/>
                        </a:lnTo>
                        <a:cubicBezTo>
                          <a:pt x="14632" y="5862"/>
                          <a:pt x="14608" y="5606"/>
                          <a:pt x="14655" y="5350"/>
                        </a:cubicBezTo>
                        <a:lnTo>
                          <a:pt x="14655" y="5350"/>
                        </a:lnTo>
                        <a:cubicBezTo>
                          <a:pt x="14655" y="5304"/>
                          <a:pt x="14655" y="5280"/>
                          <a:pt x="14655" y="5234"/>
                        </a:cubicBezTo>
                        <a:lnTo>
                          <a:pt x="14655" y="5234"/>
                        </a:lnTo>
                        <a:cubicBezTo>
                          <a:pt x="14655" y="5164"/>
                          <a:pt x="14701" y="5071"/>
                          <a:pt x="14725" y="5001"/>
                        </a:cubicBezTo>
                        <a:cubicBezTo>
                          <a:pt x="14771" y="4815"/>
                          <a:pt x="14794" y="4629"/>
                          <a:pt x="14887" y="4466"/>
                        </a:cubicBezTo>
                        <a:cubicBezTo>
                          <a:pt x="14887" y="4466"/>
                          <a:pt x="14887" y="4466"/>
                          <a:pt x="14887" y="4443"/>
                        </a:cubicBezTo>
                        <a:lnTo>
                          <a:pt x="13027" y="4443"/>
                        </a:lnTo>
                        <a:cubicBezTo>
                          <a:pt x="12957" y="4466"/>
                          <a:pt x="12864" y="4489"/>
                          <a:pt x="12794" y="4489"/>
                        </a:cubicBezTo>
                        <a:cubicBezTo>
                          <a:pt x="12724" y="4489"/>
                          <a:pt x="12678" y="4466"/>
                          <a:pt x="12631" y="4443"/>
                        </a:cubicBezTo>
                        <a:lnTo>
                          <a:pt x="12631" y="4443"/>
                        </a:lnTo>
                        <a:lnTo>
                          <a:pt x="12631" y="4443"/>
                        </a:lnTo>
                        <a:cubicBezTo>
                          <a:pt x="12492" y="4420"/>
                          <a:pt x="12352" y="4396"/>
                          <a:pt x="12236" y="4327"/>
                        </a:cubicBezTo>
                        <a:cubicBezTo>
                          <a:pt x="12096" y="4257"/>
                          <a:pt x="11957" y="4164"/>
                          <a:pt x="11840" y="4024"/>
                        </a:cubicBezTo>
                        <a:cubicBezTo>
                          <a:pt x="11561" y="3722"/>
                          <a:pt x="11282" y="3419"/>
                          <a:pt x="11003" y="3094"/>
                        </a:cubicBezTo>
                        <a:cubicBezTo>
                          <a:pt x="10863" y="2931"/>
                          <a:pt x="10747" y="2745"/>
                          <a:pt x="10677" y="2559"/>
                        </a:cubicBezTo>
                        <a:cubicBezTo>
                          <a:pt x="10677" y="2536"/>
                          <a:pt x="10677" y="2512"/>
                          <a:pt x="10654" y="2512"/>
                        </a:cubicBezTo>
                        <a:cubicBezTo>
                          <a:pt x="10607" y="2419"/>
                          <a:pt x="10584" y="2326"/>
                          <a:pt x="10561" y="2233"/>
                        </a:cubicBezTo>
                        <a:cubicBezTo>
                          <a:pt x="10538" y="2117"/>
                          <a:pt x="10491" y="2024"/>
                          <a:pt x="10468" y="1907"/>
                        </a:cubicBezTo>
                        <a:cubicBezTo>
                          <a:pt x="10468" y="1861"/>
                          <a:pt x="10445" y="1814"/>
                          <a:pt x="10445" y="1791"/>
                        </a:cubicBezTo>
                        <a:cubicBezTo>
                          <a:pt x="10445" y="1768"/>
                          <a:pt x="10445" y="1745"/>
                          <a:pt x="10445" y="1745"/>
                        </a:cubicBezTo>
                        <a:cubicBezTo>
                          <a:pt x="10445" y="1628"/>
                          <a:pt x="10445" y="1535"/>
                          <a:pt x="10445" y="1442"/>
                        </a:cubicBezTo>
                        <a:cubicBezTo>
                          <a:pt x="10445" y="1349"/>
                          <a:pt x="10445" y="1256"/>
                          <a:pt x="10445" y="1163"/>
                        </a:cubicBezTo>
                        <a:cubicBezTo>
                          <a:pt x="10445" y="1117"/>
                          <a:pt x="10445" y="1093"/>
                          <a:pt x="10445" y="1047"/>
                        </a:cubicBezTo>
                        <a:cubicBezTo>
                          <a:pt x="10445" y="1000"/>
                          <a:pt x="10468" y="977"/>
                          <a:pt x="10468" y="954"/>
                        </a:cubicBezTo>
                        <a:cubicBezTo>
                          <a:pt x="10491" y="837"/>
                          <a:pt x="10514" y="744"/>
                          <a:pt x="10538" y="628"/>
                        </a:cubicBezTo>
                        <a:cubicBezTo>
                          <a:pt x="10561" y="558"/>
                          <a:pt x="10561" y="465"/>
                          <a:pt x="10607" y="395"/>
                        </a:cubicBezTo>
                        <a:cubicBezTo>
                          <a:pt x="10607" y="395"/>
                          <a:pt x="10607" y="372"/>
                          <a:pt x="10607" y="372"/>
                        </a:cubicBezTo>
                        <a:cubicBezTo>
                          <a:pt x="10654" y="256"/>
                          <a:pt x="10700" y="140"/>
                          <a:pt x="10770" y="23"/>
                        </a:cubicBezTo>
                        <a:lnTo>
                          <a:pt x="10770" y="23"/>
                        </a:lnTo>
                        <a:lnTo>
                          <a:pt x="10770" y="0"/>
                        </a:lnTo>
                        <a:lnTo>
                          <a:pt x="10770" y="0"/>
                        </a:lnTo>
                        <a:lnTo>
                          <a:pt x="349" y="0"/>
                        </a:lnTo>
                        <a:lnTo>
                          <a:pt x="349" y="0"/>
                        </a:lnTo>
                        <a:lnTo>
                          <a:pt x="326" y="0"/>
                        </a:lnTo>
                        <a:cubicBezTo>
                          <a:pt x="256" y="116"/>
                          <a:pt x="209" y="209"/>
                          <a:pt x="163" y="326"/>
                        </a:cubicBezTo>
                        <a:lnTo>
                          <a:pt x="163" y="326"/>
                        </a:lnTo>
                        <a:lnTo>
                          <a:pt x="163" y="326"/>
                        </a:lnTo>
                        <a:cubicBezTo>
                          <a:pt x="163" y="326"/>
                          <a:pt x="163" y="349"/>
                          <a:pt x="163" y="349"/>
                        </a:cubicBezTo>
                        <a:cubicBezTo>
                          <a:pt x="116" y="489"/>
                          <a:pt x="70" y="651"/>
                          <a:pt x="47" y="814"/>
                        </a:cubicBezTo>
                        <a:cubicBezTo>
                          <a:pt x="47" y="884"/>
                          <a:pt x="47" y="930"/>
                          <a:pt x="23" y="977"/>
                        </a:cubicBezTo>
                        <a:cubicBezTo>
                          <a:pt x="23" y="1024"/>
                          <a:pt x="23" y="1047"/>
                          <a:pt x="0" y="1093"/>
                        </a:cubicBezTo>
                        <a:cubicBezTo>
                          <a:pt x="0" y="1140"/>
                          <a:pt x="0" y="1186"/>
                          <a:pt x="0" y="1233"/>
                        </a:cubicBezTo>
                        <a:cubicBezTo>
                          <a:pt x="0" y="1372"/>
                          <a:pt x="0" y="1512"/>
                          <a:pt x="0" y="1652"/>
                        </a:cubicBezTo>
                        <a:cubicBezTo>
                          <a:pt x="0" y="1698"/>
                          <a:pt x="0" y="1721"/>
                          <a:pt x="23" y="1745"/>
                        </a:cubicBezTo>
                        <a:cubicBezTo>
                          <a:pt x="23" y="1791"/>
                          <a:pt x="23" y="1838"/>
                          <a:pt x="47" y="1861"/>
                        </a:cubicBezTo>
                        <a:cubicBezTo>
                          <a:pt x="47" y="1931"/>
                          <a:pt x="70" y="2024"/>
                          <a:pt x="93" y="2094"/>
                        </a:cubicBezTo>
                        <a:cubicBezTo>
                          <a:pt x="116" y="2187"/>
                          <a:pt x="140" y="2256"/>
                          <a:pt x="186" y="2349"/>
                        </a:cubicBezTo>
                        <a:cubicBezTo>
                          <a:pt x="209" y="2419"/>
                          <a:pt x="233" y="2466"/>
                          <a:pt x="256" y="2536"/>
                        </a:cubicBezTo>
                        <a:cubicBezTo>
                          <a:pt x="349" y="2722"/>
                          <a:pt x="442" y="2908"/>
                          <a:pt x="582" y="3071"/>
                        </a:cubicBezTo>
                        <a:cubicBezTo>
                          <a:pt x="861" y="3396"/>
                          <a:pt x="1140" y="3699"/>
                          <a:pt x="1419" y="4001"/>
                        </a:cubicBezTo>
                        <a:cubicBezTo>
                          <a:pt x="1698" y="4327"/>
                          <a:pt x="2047" y="4466"/>
                          <a:pt x="2373" y="4466"/>
                        </a:cubicBezTo>
                        <a:lnTo>
                          <a:pt x="4466" y="4466"/>
                        </a:lnTo>
                        <a:cubicBezTo>
                          <a:pt x="4443" y="4513"/>
                          <a:pt x="4420" y="4559"/>
                          <a:pt x="4420" y="4583"/>
                        </a:cubicBezTo>
                        <a:cubicBezTo>
                          <a:pt x="4350" y="4745"/>
                          <a:pt x="4303" y="4931"/>
                          <a:pt x="4280" y="5118"/>
                        </a:cubicBezTo>
                        <a:cubicBezTo>
                          <a:pt x="4280" y="5164"/>
                          <a:pt x="4280" y="5187"/>
                          <a:pt x="4257" y="5234"/>
                        </a:cubicBezTo>
                        <a:cubicBezTo>
                          <a:pt x="4257" y="5280"/>
                          <a:pt x="4257" y="5304"/>
                          <a:pt x="4257" y="5350"/>
                        </a:cubicBezTo>
                        <a:cubicBezTo>
                          <a:pt x="4257" y="5420"/>
                          <a:pt x="4234" y="5490"/>
                          <a:pt x="4234" y="5560"/>
                        </a:cubicBezTo>
                        <a:cubicBezTo>
                          <a:pt x="4234" y="5699"/>
                          <a:pt x="4234" y="5839"/>
                          <a:pt x="4234" y="5978"/>
                        </a:cubicBezTo>
                        <a:cubicBezTo>
                          <a:pt x="4234" y="6025"/>
                          <a:pt x="4257" y="6048"/>
                          <a:pt x="4257" y="6095"/>
                        </a:cubicBezTo>
                        <a:cubicBezTo>
                          <a:pt x="4257" y="6141"/>
                          <a:pt x="4257" y="6164"/>
                          <a:pt x="4280" y="6211"/>
                        </a:cubicBezTo>
                        <a:cubicBezTo>
                          <a:pt x="4280" y="6281"/>
                          <a:pt x="4303" y="6350"/>
                          <a:pt x="4327" y="6420"/>
                        </a:cubicBezTo>
                        <a:cubicBezTo>
                          <a:pt x="4350" y="6537"/>
                          <a:pt x="4420" y="6630"/>
                          <a:pt x="4443" y="6746"/>
                        </a:cubicBezTo>
                        <a:cubicBezTo>
                          <a:pt x="4466" y="6816"/>
                          <a:pt x="4490" y="6909"/>
                          <a:pt x="4536" y="6955"/>
                        </a:cubicBezTo>
                        <a:cubicBezTo>
                          <a:pt x="4652" y="7165"/>
                          <a:pt x="4769" y="7374"/>
                          <a:pt x="4955" y="7514"/>
                        </a:cubicBezTo>
                        <a:cubicBezTo>
                          <a:pt x="5257" y="7793"/>
                          <a:pt x="5536" y="8049"/>
                          <a:pt x="5862" y="8328"/>
                        </a:cubicBezTo>
                        <a:cubicBezTo>
                          <a:pt x="6118" y="8560"/>
                          <a:pt x="6420" y="8677"/>
                          <a:pt x="6699" y="8677"/>
                        </a:cubicBezTo>
                        <a:lnTo>
                          <a:pt x="8839" y="8677"/>
                        </a:lnTo>
                        <a:cubicBezTo>
                          <a:pt x="8839" y="8723"/>
                          <a:pt x="8816" y="8770"/>
                          <a:pt x="8793" y="8816"/>
                        </a:cubicBezTo>
                        <a:cubicBezTo>
                          <a:pt x="8770" y="8932"/>
                          <a:pt x="8746" y="9049"/>
                          <a:pt x="8746" y="9165"/>
                        </a:cubicBezTo>
                        <a:cubicBezTo>
                          <a:pt x="8746" y="9188"/>
                          <a:pt x="8746" y="9188"/>
                          <a:pt x="8746" y="9212"/>
                        </a:cubicBezTo>
                        <a:lnTo>
                          <a:pt x="8746" y="9235"/>
                        </a:lnTo>
                        <a:cubicBezTo>
                          <a:pt x="8746" y="9374"/>
                          <a:pt x="8746" y="9514"/>
                          <a:pt x="8746" y="9654"/>
                        </a:cubicBezTo>
                        <a:cubicBezTo>
                          <a:pt x="8746" y="9770"/>
                          <a:pt x="8793" y="9886"/>
                          <a:pt x="8793" y="10003"/>
                        </a:cubicBezTo>
                        <a:cubicBezTo>
                          <a:pt x="8793" y="10026"/>
                          <a:pt x="8793" y="10049"/>
                          <a:pt x="8793" y="10072"/>
                        </a:cubicBezTo>
                        <a:cubicBezTo>
                          <a:pt x="8793" y="10072"/>
                          <a:pt x="8793" y="10096"/>
                          <a:pt x="8793" y="10119"/>
                        </a:cubicBezTo>
                        <a:cubicBezTo>
                          <a:pt x="8839" y="10282"/>
                          <a:pt x="8909" y="10421"/>
                          <a:pt x="8979" y="10561"/>
                        </a:cubicBezTo>
                        <a:cubicBezTo>
                          <a:pt x="9026" y="10631"/>
                          <a:pt x="9026" y="10724"/>
                          <a:pt x="9095" y="10817"/>
                        </a:cubicBezTo>
                        <a:cubicBezTo>
                          <a:pt x="9212" y="11026"/>
                          <a:pt x="9374" y="11212"/>
                          <a:pt x="9584" y="11352"/>
                        </a:cubicBezTo>
                        <a:cubicBezTo>
                          <a:pt x="9909" y="11584"/>
                          <a:pt x="10212" y="11794"/>
                          <a:pt x="10538" y="12026"/>
                        </a:cubicBezTo>
                        <a:cubicBezTo>
                          <a:pt x="10747" y="12189"/>
                          <a:pt x="11003" y="12236"/>
                          <a:pt x="11212" y="12236"/>
                        </a:cubicBezTo>
                        <a:lnTo>
                          <a:pt x="13469" y="12236"/>
                        </a:lnTo>
                        <a:lnTo>
                          <a:pt x="13469" y="12259"/>
                        </a:lnTo>
                        <a:cubicBezTo>
                          <a:pt x="13469" y="12329"/>
                          <a:pt x="13469" y="12375"/>
                          <a:pt x="13469" y="12422"/>
                        </a:cubicBezTo>
                        <a:cubicBezTo>
                          <a:pt x="13469" y="12445"/>
                          <a:pt x="13469" y="12468"/>
                          <a:pt x="13469" y="12515"/>
                        </a:cubicBezTo>
                        <a:cubicBezTo>
                          <a:pt x="13469" y="12585"/>
                          <a:pt x="13469" y="12631"/>
                          <a:pt x="13469" y="12701"/>
                        </a:cubicBezTo>
                        <a:cubicBezTo>
                          <a:pt x="13469" y="12864"/>
                          <a:pt x="13515" y="13003"/>
                          <a:pt x="13538" y="13143"/>
                        </a:cubicBezTo>
                        <a:cubicBezTo>
                          <a:pt x="13562" y="13189"/>
                          <a:pt x="13562" y="13213"/>
                          <a:pt x="13585" y="13259"/>
                        </a:cubicBezTo>
                        <a:cubicBezTo>
                          <a:pt x="13585" y="13306"/>
                          <a:pt x="13608" y="13329"/>
                          <a:pt x="13631" y="13375"/>
                        </a:cubicBezTo>
                        <a:cubicBezTo>
                          <a:pt x="13701" y="13608"/>
                          <a:pt x="13794" y="13817"/>
                          <a:pt x="13934" y="14004"/>
                        </a:cubicBezTo>
                        <a:cubicBezTo>
                          <a:pt x="13957" y="14027"/>
                          <a:pt x="13980" y="14027"/>
                          <a:pt x="13980" y="14050"/>
                        </a:cubicBezTo>
                        <a:cubicBezTo>
                          <a:pt x="14120" y="14236"/>
                          <a:pt x="14283" y="14399"/>
                          <a:pt x="14469" y="14492"/>
                        </a:cubicBezTo>
                        <a:cubicBezTo>
                          <a:pt x="14818" y="14678"/>
                          <a:pt x="15143" y="14864"/>
                          <a:pt x="15492" y="15027"/>
                        </a:cubicBezTo>
                        <a:cubicBezTo>
                          <a:pt x="15655" y="15120"/>
                          <a:pt x="15864" y="15190"/>
                          <a:pt x="16027" y="15190"/>
                        </a:cubicBezTo>
                        <a:lnTo>
                          <a:pt x="18447" y="15190"/>
                        </a:lnTo>
                        <a:cubicBezTo>
                          <a:pt x="18447" y="15283"/>
                          <a:pt x="18470" y="15399"/>
                          <a:pt x="18493" y="15492"/>
                        </a:cubicBezTo>
                        <a:lnTo>
                          <a:pt x="18493" y="15516"/>
                        </a:lnTo>
                        <a:cubicBezTo>
                          <a:pt x="18493" y="15539"/>
                          <a:pt x="18516" y="15562"/>
                          <a:pt x="18516" y="15585"/>
                        </a:cubicBezTo>
                        <a:cubicBezTo>
                          <a:pt x="18540" y="15702"/>
                          <a:pt x="18586" y="15818"/>
                          <a:pt x="18633" y="15934"/>
                        </a:cubicBezTo>
                        <a:cubicBezTo>
                          <a:pt x="18656" y="15981"/>
                          <a:pt x="18679" y="16027"/>
                          <a:pt x="18679" y="16074"/>
                        </a:cubicBezTo>
                        <a:cubicBezTo>
                          <a:pt x="18726" y="16167"/>
                          <a:pt x="18772" y="16237"/>
                          <a:pt x="18842" y="16330"/>
                        </a:cubicBezTo>
                        <a:cubicBezTo>
                          <a:pt x="18865" y="16376"/>
                          <a:pt x="18889" y="16400"/>
                          <a:pt x="18935" y="16446"/>
                        </a:cubicBezTo>
                        <a:cubicBezTo>
                          <a:pt x="18982" y="16516"/>
                          <a:pt x="19051" y="16586"/>
                          <a:pt x="19121" y="16655"/>
                        </a:cubicBezTo>
                        <a:cubicBezTo>
                          <a:pt x="19144" y="16679"/>
                          <a:pt x="19168" y="16702"/>
                          <a:pt x="19214" y="16748"/>
                        </a:cubicBezTo>
                        <a:cubicBezTo>
                          <a:pt x="19307" y="16818"/>
                          <a:pt x="19424" y="16888"/>
                          <a:pt x="19540" y="16935"/>
                        </a:cubicBezTo>
                        <a:cubicBezTo>
                          <a:pt x="19889" y="17074"/>
                          <a:pt x="20238" y="17214"/>
                          <a:pt x="20563" y="17330"/>
                        </a:cubicBezTo>
                        <a:cubicBezTo>
                          <a:pt x="20703" y="17377"/>
                          <a:pt x="20842" y="17400"/>
                          <a:pt x="20959" y="17400"/>
                        </a:cubicBezTo>
                        <a:lnTo>
                          <a:pt x="23634" y="17400"/>
                        </a:lnTo>
                        <a:cubicBezTo>
                          <a:pt x="23657" y="17470"/>
                          <a:pt x="23704" y="17539"/>
                          <a:pt x="23727" y="17609"/>
                        </a:cubicBezTo>
                        <a:cubicBezTo>
                          <a:pt x="23727" y="17632"/>
                          <a:pt x="23750" y="17656"/>
                          <a:pt x="23750" y="17679"/>
                        </a:cubicBezTo>
                        <a:cubicBezTo>
                          <a:pt x="23820" y="17818"/>
                          <a:pt x="23913" y="17958"/>
                          <a:pt x="23983" y="18074"/>
                        </a:cubicBezTo>
                        <a:cubicBezTo>
                          <a:pt x="24006" y="18098"/>
                          <a:pt x="24029" y="18121"/>
                          <a:pt x="24053" y="18167"/>
                        </a:cubicBezTo>
                        <a:cubicBezTo>
                          <a:pt x="24122" y="18260"/>
                          <a:pt x="24215" y="18330"/>
                          <a:pt x="24285" y="18377"/>
                        </a:cubicBezTo>
                        <a:cubicBezTo>
                          <a:pt x="24308" y="18400"/>
                          <a:pt x="24355" y="18423"/>
                          <a:pt x="24378" y="18447"/>
                        </a:cubicBezTo>
                        <a:cubicBezTo>
                          <a:pt x="24495" y="18516"/>
                          <a:pt x="24611" y="18586"/>
                          <a:pt x="24750" y="18609"/>
                        </a:cubicBezTo>
                        <a:cubicBezTo>
                          <a:pt x="25099" y="18679"/>
                          <a:pt x="25448" y="18772"/>
                          <a:pt x="25820" y="18842"/>
                        </a:cubicBezTo>
                        <a:lnTo>
                          <a:pt x="26053" y="18865"/>
                        </a:lnTo>
                        <a:lnTo>
                          <a:pt x="29100" y="18865"/>
                        </a:lnTo>
                        <a:cubicBezTo>
                          <a:pt x="29147" y="18912"/>
                          <a:pt x="29193" y="18982"/>
                          <a:pt x="29240" y="19028"/>
                        </a:cubicBezTo>
                        <a:lnTo>
                          <a:pt x="29240" y="19028"/>
                        </a:lnTo>
                        <a:cubicBezTo>
                          <a:pt x="29333" y="19144"/>
                          <a:pt x="29449" y="19237"/>
                          <a:pt x="29566" y="19284"/>
                        </a:cubicBezTo>
                        <a:cubicBezTo>
                          <a:pt x="29589" y="19307"/>
                          <a:pt x="29635" y="19330"/>
                          <a:pt x="29659" y="19354"/>
                        </a:cubicBezTo>
                        <a:cubicBezTo>
                          <a:pt x="29775" y="19400"/>
                          <a:pt x="29915" y="19470"/>
                          <a:pt x="30077" y="19470"/>
                        </a:cubicBezTo>
                        <a:cubicBezTo>
                          <a:pt x="30426" y="19493"/>
                          <a:pt x="30775" y="19517"/>
                          <a:pt x="31147" y="19563"/>
                        </a:cubicBezTo>
                        <a:lnTo>
                          <a:pt x="35055" y="19563"/>
                        </a:lnTo>
                        <a:cubicBezTo>
                          <a:pt x="35172" y="19586"/>
                          <a:pt x="35288" y="19610"/>
                          <a:pt x="35381" y="19610"/>
                        </a:cubicBezTo>
                        <a:lnTo>
                          <a:pt x="45826" y="19610"/>
                        </a:lnTo>
                        <a:cubicBezTo>
                          <a:pt x="45616" y="19540"/>
                          <a:pt x="45477" y="19493"/>
                          <a:pt x="45337" y="19447"/>
                        </a:cubicBezTo>
                        <a:lnTo>
                          <a:pt x="45337" y="19447"/>
                        </a:lnTo>
                        <a:close/>
                      </a:path>
                    </a:pathLst>
                  </a:custGeom>
                  <a:solidFill>
                    <a:srgbClr val="F19439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51" name="Freeform: Shape 250">
                    <a:extLst>
                      <a:ext uri="{FF2B5EF4-FFF2-40B4-BE49-F238E27FC236}">
                        <a16:creationId xmlns:a16="http://schemas.microsoft.com/office/drawing/2014/main" id="{5093F35C-560E-45A5-A510-312F4BF48F5B}"/>
                      </a:ext>
                    </a:extLst>
                  </p:cNvPr>
                  <p:cNvSpPr/>
                  <p:nvPr/>
                </p:nvSpPr>
                <p:spPr>
                  <a:xfrm>
                    <a:off x="6218423" y="4174471"/>
                    <a:ext cx="2326" cy="2326"/>
                  </a:xfrm>
                  <a:custGeom>
                    <a:avLst/>
                    <a:gdLst>
                      <a:gd name="connsiteX0" fmla="*/ 2466 w 2326"/>
                      <a:gd name="connsiteY0" fmla="*/ 1721 h 0"/>
                      <a:gd name="connsiteX1" fmla="*/ 2163 w 2326"/>
                      <a:gd name="connsiteY1" fmla="*/ 1465 h 0"/>
                      <a:gd name="connsiteX2" fmla="*/ 2163 w 2326"/>
                      <a:gd name="connsiteY2" fmla="*/ 1465 h 0"/>
                      <a:gd name="connsiteX3" fmla="*/ 2024 w 2326"/>
                      <a:gd name="connsiteY3" fmla="*/ 1279 h 0"/>
                      <a:gd name="connsiteX4" fmla="*/ 2024 w 2326"/>
                      <a:gd name="connsiteY4" fmla="*/ 1279 h 0"/>
                      <a:gd name="connsiteX5" fmla="*/ 1977 w 2326"/>
                      <a:gd name="connsiteY5" fmla="*/ 1186 h 0"/>
                      <a:gd name="connsiteX6" fmla="*/ 1582 w 2326"/>
                      <a:gd name="connsiteY6" fmla="*/ 47 h 0"/>
                      <a:gd name="connsiteX7" fmla="*/ 1582 w 2326"/>
                      <a:gd name="connsiteY7" fmla="*/ 0 h 0"/>
                      <a:gd name="connsiteX8" fmla="*/ 558 w 2326"/>
                      <a:gd name="connsiteY8" fmla="*/ 140 h 0"/>
                      <a:gd name="connsiteX9" fmla="*/ 558 w 2326"/>
                      <a:gd name="connsiteY9" fmla="*/ 163 h 0"/>
                      <a:gd name="connsiteX10" fmla="*/ 0 w 2326"/>
                      <a:gd name="connsiteY10" fmla="*/ 1977 h 0"/>
                      <a:gd name="connsiteX11" fmla="*/ 3140 w 2326"/>
                      <a:gd name="connsiteY11" fmla="*/ 1977 h 0"/>
                      <a:gd name="connsiteX12" fmla="*/ 2466 w 2326"/>
                      <a:gd name="connsiteY12" fmla="*/ 1721 h 0"/>
                      <a:gd name="connsiteX13" fmla="*/ 2466 w 2326"/>
                      <a:gd name="connsiteY13" fmla="*/ 1721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2326">
                        <a:moveTo>
                          <a:pt x="2466" y="1721"/>
                        </a:moveTo>
                        <a:cubicBezTo>
                          <a:pt x="2349" y="1652"/>
                          <a:pt x="2256" y="1559"/>
                          <a:pt x="2163" y="1465"/>
                        </a:cubicBezTo>
                        <a:lnTo>
                          <a:pt x="2163" y="1465"/>
                        </a:lnTo>
                        <a:cubicBezTo>
                          <a:pt x="2094" y="1396"/>
                          <a:pt x="2070" y="1349"/>
                          <a:pt x="2024" y="1279"/>
                        </a:cubicBezTo>
                        <a:lnTo>
                          <a:pt x="2024" y="1279"/>
                        </a:lnTo>
                        <a:cubicBezTo>
                          <a:pt x="2001" y="1256"/>
                          <a:pt x="1977" y="1233"/>
                          <a:pt x="1977" y="1186"/>
                        </a:cubicBezTo>
                        <a:cubicBezTo>
                          <a:pt x="1768" y="861"/>
                          <a:pt x="1628" y="489"/>
                          <a:pt x="1582" y="47"/>
                        </a:cubicBezTo>
                        <a:lnTo>
                          <a:pt x="1582" y="0"/>
                        </a:lnTo>
                        <a:cubicBezTo>
                          <a:pt x="1233" y="47"/>
                          <a:pt x="884" y="93"/>
                          <a:pt x="558" y="140"/>
                        </a:cubicBezTo>
                        <a:lnTo>
                          <a:pt x="558" y="163"/>
                        </a:lnTo>
                        <a:cubicBezTo>
                          <a:pt x="582" y="884"/>
                          <a:pt x="372" y="1535"/>
                          <a:pt x="0" y="1977"/>
                        </a:cubicBezTo>
                        <a:lnTo>
                          <a:pt x="3140" y="1977"/>
                        </a:lnTo>
                        <a:cubicBezTo>
                          <a:pt x="2884" y="1954"/>
                          <a:pt x="2652" y="1861"/>
                          <a:pt x="2466" y="1721"/>
                        </a:cubicBezTo>
                        <a:lnTo>
                          <a:pt x="2466" y="1721"/>
                        </a:lnTo>
                        <a:close/>
                      </a:path>
                    </a:pathLst>
                  </a:custGeom>
                  <a:solidFill>
                    <a:srgbClr val="F19439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52" name="Freeform: Shape 251">
                    <a:extLst>
                      <a:ext uri="{FF2B5EF4-FFF2-40B4-BE49-F238E27FC236}">
                        <a16:creationId xmlns:a16="http://schemas.microsoft.com/office/drawing/2014/main" id="{E611DCA0-C7F0-4164-A7B3-920D363BC1AA}"/>
                      </a:ext>
                    </a:extLst>
                  </p:cNvPr>
                  <p:cNvSpPr/>
                  <p:nvPr/>
                </p:nvSpPr>
                <p:spPr>
                  <a:xfrm>
                    <a:off x="6223936" y="4173332"/>
                    <a:ext cx="2326" cy="2326"/>
                  </a:xfrm>
                  <a:custGeom>
                    <a:avLst/>
                    <a:gdLst>
                      <a:gd name="connsiteX0" fmla="*/ 1210 w 2326"/>
                      <a:gd name="connsiteY0" fmla="*/ 46 h 0"/>
                      <a:gd name="connsiteX1" fmla="*/ 1210 w 2326"/>
                      <a:gd name="connsiteY1" fmla="*/ 0 h 0"/>
                      <a:gd name="connsiteX2" fmla="*/ 186 w 2326"/>
                      <a:gd name="connsiteY2" fmla="*/ 279 h 0"/>
                      <a:gd name="connsiteX3" fmla="*/ 186 w 2326"/>
                      <a:gd name="connsiteY3" fmla="*/ 326 h 0"/>
                      <a:gd name="connsiteX4" fmla="*/ 0 w 2326"/>
                      <a:gd name="connsiteY4" fmla="*/ 1768 h 0"/>
                      <a:gd name="connsiteX5" fmla="*/ 2722 w 2326"/>
                      <a:gd name="connsiteY5" fmla="*/ 1768 h 0"/>
                      <a:gd name="connsiteX6" fmla="*/ 1210 w 2326"/>
                      <a:gd name="connsiteY6" fmla="*/ 46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2326">
                        <a:moveTo>
                          <a:pt x="1210" y="46"/>
                        </a:moveTo>
                        <a:lnTo>
                          <a:pt x="1210" y="0"/>
                        </a:lnTo>
                        <a:cubicBezTo>
                          <a:pt x="884" y="116"/>
                          <a:pt x="535" y="186"/>
                          <a:pt x="186" y="279"/>
                        </a:cubicBezTo>
                        <a:lnTo>
                          <a:pt x="186" y="326"/>
                        </a:lnTo>
                        <a:cubicBezTo>
                          <a:pt x="256" y="837"/>
                          <a:pt x="163" y="1349"/>
                          <a:pt x="0" y="1768"/>
                        </a:cubicBezTo>
                        <a:lnTo>
                          <a:pt x="2722" y="1768"/>
                        </a:lnTo>
                        <a:cubicBezTo>
                          <a:pt x="2001" y="1768"/>
                          <a:pt x="1372" y="1070"/>
                          <a:pt x="1210" y="46"/>
                        </a:cubicBezTo>
                        <a:close/>
                      </a:path>
                    </a:pathLst>
                  </a:custGeom>
                  <a:solidFill>
                    <a:srgbClr val="F19439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53" name="Freeform: Shape 252">
                    <a:extLst>
                      <a:ext uri="{FF2B5EF4-FFF2-40B4-BE49-F238E27FC236}">
                        <a16:creationId xmlns:a16="http://schemas.microsoft.com/office/drawing/2014/main" id="{6D11F17E-81DD-44A0-B7CD-A318D78BA11D}"/>
                      </a:ext>
                    </a:extLst>
                  </p:cNvPr>
                  <p:cNvSpPr/>
                  <p:nvPr/>
                </p:nvSpPr>
                <p:spPr>
                  <a:xfrm>
                    <a:off x="6214818" y="4174658"/>
                    <a:ext cx="2326" cy="2326"/>
                  </a:xfrm>
                  <a:custGeom>
                    <a:avLst/>
                    <a:gdLst>
                      <a:gd name="connsiteX0" fmla="*/ 0 w 2326"/>
                      <a:gd name="connsiteY0" fmla="*/ 163 h 0"/>
                      <a:gd name="connsiteX1" fmla="*/ 3117 w 2326"/>
                      <a:gd name="connsiteY1" fmla="*/ 0 h 0"/>
                      <a:gd name="connsiteX2" fmla="*/ 0 w 2326"/>
                      <a:gd name="connsiteY2" fmla="*/ 163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2326">
                        <a:moveTo>
                          <a:pt x="0" y="163"/>
                        </a:moveTo>
                        <a:cubicBezTo>
                          <a:pt x="1047" y="163"/>
                          <a:pt x="2094" y="116"/>
                          <a:pt x="3117" y="0"/>
                        </a:cubicBezTo>
                        <a:cubicBezTo>
                          <a:pt x="2070" y="116"/>
                          <a:pt x="1047" y="163"/>
                          <a:pt x="0" y="163"/>
                        </a:cubicBezTo>
                        <a:close/>
                      </a:path>
                    </a:pathLst>
                  </a:custGeom>
                  <a:solidFill>
                    <a:srgbClr val="F19439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54" name="Freeform: Shape 253">
                    <a:extLst>
                      <a:ext uri="{FF2B5EF4-FFF2-40B4-BE49-F238E27FC236}">
                        <a16:creationId xmlns:a16="http://schemas.microsoft.com/office/drawing/2014/main" id="{956FD91F-86E1-498F-8752-60E17153333D}"/>
                      </a:ext>
                    </a:extLst>
                  </p:cNvPr>
                  <p:cNvSpPr/>
                  <p:nvPr/>
                </p:nvSpPr>
                <p:spPr>
                  <a:xfrm>
                    <a:off x="6234079" y="4168982"/>
                    <a:ext cx="2326" cy="2326"/>
                  </a:xfrm>
                  <a:custGeom>
                    <a:avLst/>
                    <a:gdLst>
                      <a:gd name="connsiteX0" fmla="*/ 954 w 2326"/>
                      <a:gd name="connsiteY0" fmla="*/ 0 h 0"/>
                      <a:gd name="connsiteX1" fmla="*/ 954 w 2326"/>
                      <a:gd name="connsiteY1" fmla="*/ 0 h 0"/>
                      <a:gd name="connsiteX2" fmla="*/ 0 w 2326"/>
                      <a:gd name="connsiteY2" fmla="*/ 535 h 0"/>
                      <a:gd name="connsiteX3" fmla="*/ 0 w 2326"/>
                      <a:gd name="connsiteY3" fmla="*/ 582 h 0"/>
                      <a:gd name="connsiteX4" fmla="*/ 70 w 2326"/>
                      <a:gd name="connsiteY4" fmla="*/ 1303 h 0"/>
                      <a:gd name="connsiteX5" fmla="*/ 2373 w 2326"/>
                      <a:gd name="connsiteY5" fmla="*/ 1303 h 0"/>
                      <a:gd name="connsiteX6" fmla="*/ 954 w 2326"/>
                      <a:gd name="connsiteY6" fmla="*/ 0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2326">
                        <a:moveTo>
                          <a:pt x="954" y="0"/>
                        </a:moveTo>
                        <a:lnTo>
                          <a:pt x="954" y="0"/>
                        </a:lnTo>
                        <a:cubicBezTo>
                          <a:pt x="628" y="163"/>
                          <a:pt x="302" y="349"/>
                          <a:pt x="0" y="535"/>
                        </a:cubicBezTo>
                        <a:lnTo>
                          <a:pt x="0" y="582"/>
                        </a:lnTo>
                        <a:cubicBezTo>
                          <a:pt x="47" y="814"/>
                          <a:pt x="70" y="1070"/>
                          <a:pt x="70" y="1303"/>
                        </a:cubicBezTo>
                        <a:lnTo>
                          <a:pt x="2373" y="1303"/>
                        </a:lnTo>
                        <a:cubicBezTo>
                          <a:pt x="1791" y="1279"/>
                          <a:pt x="1233" y="814"/>
                          <a:pt x="954" y="0"/>
                        </a:cubicBezTo>
                        <a:close/>
                      </a:path>
                    </a:pathLst>
                  </a:custGeom>
                  <a:solidFill>
                    <a:srgbClr val="F19439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55" name="Freeform: Shape 254">
                    <a:extLst>
                      <a:ext uri="{FF2B5EF4-FFF2-40B4-BE49-F238E27FC236}">
                        <a16:creationId xmlns:a16="http://schemas.microsoft.com/office/drawing/2014/main" id="{EF48717F-38BE-4704-B33D-277E0AB1EEE8}"/>
                      </a:ext>
                    </a:extLst>
                  </p:cNvPr>
                  <p:cNvSpPr/>
                  <p:nvPr/>
                </p:nvSpPr>
                <p:spPr>
                  <a:xfrm>
                    <a:off x="6229170" y="4170982"/>
                    <a:ext cx="2326" cy="2326"/>
                  </a:xfrm>
                  <a:custGeom>
                    <a:avLst/>
                    <a:gdLst>
                      <a:gd name="connsiteX0" fmla="*/ 1884 w 2326"/>
                      <a:gd name="connsiteY0" fmla="*/ 1861 h 0"/>
                      <a:gd name="connsiteX1" fmla="*/ 1582 w 2326"/>
                      <a:gd name="connsiteY1" fmla="*/ 1652 h 0"/>
                      <a:gd name="connsiteX2" fmla="*/ 1582 w 2326"/>
                      <a:gd name="connsiteY2" fmla="*/ 1652 h 0"/>
                      <a:gd name="connsiteX3" fmla="*/ 977 w 2326"/>
                      <a:gd name="connsiteY3" fmla="*/ 558 h 0"/>
                      <a:gd name="connsiteX4" fmla="*/ 977 w 2326"/>
                      <a:gd name="connsiteY4" fmla="*/ 535 h 0"/>
                      <a:gd name="connsiteX5" fmla="*/ 1559 w 2326"/>
                      <a:gd name="connsiteY5" fmla="*/ 256 h 0"/>
                      <a:gd name="connsiteX6" fmla="*/ 2094 w 2326"/>
                      <a:gd name="connsiteY6" fmla="*/ 0 h 0"/>
                      <a:gd name="connsiteX7" fmla="*/ 977 w 2326"/>
                      <a:gd name="connsiteY7" fmla="*/ 535 h 0"/>
                      <a:gd name="connsiteX8" fmla="*/ 0 w 2326"/>
                      <a:gd name="connsiteY8" fmla="*/ 954 h 0"/>
                      <a:gd name="connsiteX9" fmla="*/ 0 w 2326"/>
                      <a:gd name="connsiteY9" fmla="*/ 977 h 0"/>
                      <a:gd name="connsiteX10" fmla="*/ 0 w 2326"/>
                      <a:gd name="connsiteY10" fmla="*/ 2047 h 0"/>
                      <a:gd name="connsiteX11" fmla="*/ 2489 w 2326"/>
                      <a:gd name="connsiteY11" fmla="*/ 2047 h 0"/>
                      <a:gd name="connsiteX12" fmla="*/ 2163 w 2326"/>
                      <a:gd name="connsiteY12" fmla="*/ 1977 h 0"/>
                      <a:gd name="connsiteX13" fmla="*/ 1884 w 2326"/>
                      <a:gd name="connsiteY13" fmla="*/ 1861 h 0"/>
                      <a:gd name="connsiteX14" fmla="*/ 1884 w 2326"/>
                      <a:gd name="connsiteY14" fmla="*/ 1861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</a:cxnLst>
                    <a:rect l="l" t="t" r="r" b="b"/>
                    <a:pathLst>
                      <a:path w="2326">
                        <a:moveTo>
                          <a:pt x="1884" y="1861"/>
                        </a:moveTo>
                        <a:cubicBezTo>
                          <a:pt x="1791" y="1791"/>
                          <a:pt x="1675" y="1745"/>
                          <a:pt x="1582" y="1652"/>
                        </a:cubicBezTo>
                        <a:lnTo>
                          <a:pt x="1582" y="1652"/>
                        </a:lnTo>
                        <a:cubicBezTo>
                          <a:pt x="1303" y="1396"/>
                          <a:pt x="1093" y="1024"/>
                          <a:pt x="977" y="558"/>
                        </a:cubicBezTo>
                        <a:lnTo>
                          <a:pt x="977" y="535"/>
                        </a:lnTo>
                        <a:cubicBezTo>
                          <a:pt x="1163" y="442"/>
                          <a:pt x="1372" y="349"/>
                          <a:pt x="1559" y="256"/>
                        </a:cubicBezTo>
                        <a:cubicBezTo>
                          <a:pt x="1721" y="163"/>
                          <a:pt x="1907" y="93"/>
                          <a:pt x="2094" y="0"/>
                        </a:cubicBezTo>
                        <a:cubicBezTo>
                          <a:pt x="1721" y="186"/>
                          <a:pt x="1349" y="372"/>
                          <a:pt x="977" y="535"/>
                        </a:cubicBezTo>
                        <a:cubicBezTo>
                          <a:pt x="651" y="675"/>
                          <a:pt x="326" y="814"/>
                          <a:pt x="0" y="954"/>
                        </a:cubicBezTo>
                        <a:lnTo>
                          <a:pt x="0" y="977"/>
                        </a:lnTo>
                        <a:cubicBezTo>
                          <a:pt x="70" y="1349"/>
                          <a:pt x="47" y="1698"/>
                          <a:pt x="0" y="2047"/>
                        </a:cubicBezTo>
                        <a:lnTo>
                          <a:pt x="2489" y="2047"/>
                        </a:lnTo>
                        <a:cubicBezTo>
                          <a:pt x="2373" y="2047"/>
                          <a:pt x="2280" y="2001"/>
                          <a:pt x="2163" y="1977"/>
                        </a:cubicBezTo>
                        <a:cubicBezTo>
                          <a:pt x="2047" y="1931"/>
                          <a:pt x="1977" y="1907"/>
                          <a:pt x="1884" y="1861"/>
                        </a:cubicBezTo>
                        <a:lnTo>
                          <a:pt x="1884" y="1861"/>
                        </a:lnTo>
                        <a:close/>
                      </a:path>
                    </a:pathLst>
                  </a:custGeom>
                  <a:solidFill>
                    <a:srgbClr val="F19439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56" name="Freeform: Shape 255">
                    <a:extLst>
                      <a:ext uri="{FF2B5EF4-FFF2-40B4-BE49-F238E27FC236}">
                        <a16:creationId xmlns:a16="http://schemas.microsoft.com/office/drawing/2014/main" id="{F642F520-E310-4502-BF76-388A001B158D}"/>
                      </a:ext>
                    </a:extLst>
                  </p:cNvPr>
                  <p:cNvSpPr/>
                  <p:nvPr/>
                </p:nvSpPr>
                <p:spPr>
                  <a:xfrm>
                    <a:off x="6238801" y="4165702"/>
                    <a:ext cx="2326" cy="2326"/>
                  </a:xfrm>
                  <a:custGeom>
                    <a:avLst/>
                    <a:gdLst>
                      <a:gd name="connsiteX0" fmla="*/ 907 w 0"/>
                      <a:gd name="connsiteY0" fmla="*/ 46 h 0"/>
                      <a:gd name="connsiteX1" fmla="*/ 907 w 0"/>
                      <a:gd name="connsiteY1" fmla="*/ 0 h 0"/>
                      <a:gd name="connsiteX2" fmla="*/ 0 w 0"/>
                      <a:gd name="connsiteY2" fmla="*/ 698 h 0"/>
                      <a:gd name="connsiteX3" fmla="*/ 0 w 0"/>
                      <a:gd name="connsiteY3" fmla="*/ 744 h 0"/>
                      <a:gd name="connsiteX4" fmla="*/ 70 w 0"/>
                      <a:gd name="connsiteY4" fmla="*/ 1117 h 0"/>
                      <a:gd name="connsiteX5" fmla="*/ 2256 w 0"/>
                      <a:gd name="connsiteY5" fmla="*/ 1117 h 0"/>
                      <a:gd name="connsiteX6" fmla="*/ 907 w 0"/>
                      <a:gd name="connsiteY6" fmla="*/ 46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>
                        <a:moveTo>
                          <a:pt x="907" y="46"/>
                        </a:moveTo>
                        <a:cubicBezTo>
                          <a:pt x="907" y="46"/>
                          <a:pt x="907" y="23"/>
                          <a:pt x="907" y="0"/>
                        </a:cubicBezTo>
                        <a:cubicBezTo>
                          <a:pt x="605" y="233"/>
                          <a:pt x="302" y="465"/>
                          <a:pt x="0" y="698"/>
                        </a:cubicBezTo>
                        <a:lnTo>
                          <a:pt x="0" y="744"/>
                        </a:lnTo>
                        <a:cubicBezTo>
                          <a:pt x="47" y="861"/>
                          <a:pt x="47" y="1000"/>
                          <a:pt x="70" y="1117"/>
                        </a:cubicBezTo>
                        <a:lnTo>
                          <a:pt x="2256" y="1117"/>
                        </a:lnTo>
                        <a:cubicBezTo>
                          <a:pt x="1721" y="1117"/>
                          <a:pt x="1210" y="744"/>
                          <a:pt x="907" y="46"/>
                        </a:cubicBezTo>
                        <a:close/>
                      </a:path>
                    </a:pathLst>
                  </a:custGeom>
                  <a:solidFill>
                    <a:srgbClr val="F19439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57" name="Freeform: Shape 256">
                    <a:extLst>
                      <a:ext uri="{FF2B5EF4-FFF2-40B4-BE49-F238E27FC236}">
                        <a16:creationId xmlns:a16="http://schemas.microsoft.com/office/drawing/2014/main" id="{334B4203-C1D7-4E80-9AF1-C0D8F3EA499B}"/>
                      </a:ext>
                    </a:extLst>
                  </p:cNvPr>
                  <p:cNvSpPr/>
                  <p:nvPr/>
                </p:nvSpPr>
                <p:spPr>
                  <a:xfrm>
                    <a:off x="6189881" y="4165748"/>
                    <a:ext cx="2326" cy="2326"/>
                  </a:xfrm>
                  <a:custGeom>
                    <a:avLst/>
                    <a:gdLst>
                      <a:gd name="connsiteX0" fmla="*/ 0 w 0"/>
                      <a:gd name="connsiteY0" fmla="*/ 0 h 0"/>
                      <a:gd name="connsiteX1" fmla="*/ 0 w 0"/>
                      <a:gd name="connsiteY1" fmla="*/ 0 h 0"/>
                      <a:gd name="connsiteX2" fmla="*/ 0 w 0"/>
                      <a:gd name="connsiteY2" fmla="*/ 0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F19439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58" name="Freeform: Shape 257">
                    <a:extLst>
                      <a:ext uri="{FF2B5EF4-FFF2-40B4-BE49-F238E27FC236}">
                        <a16:creationId xmlns:a16="http://schemas.microsoft.com/office/drawing/2014/main" id="{8D8A34E5-784E-453C-97CE-8F2F07AFF4BD}"/>
                      </a:ext>
                    </a:extLst>
                  </p:cNvPr>
                  <p:cNvSpPr/>
                  <p:nvPr/>
                </p:nvSpPr>
                <p:spPr>
                  <a:xfrm>
                    <a:off x="6244802" y="4043368"/>
                    <a:ext cx="2326" cy="2326"/>
                  </a:xfrm>
                  <a:custGeom>
                    <a:avLst/>
                    <a:gdLst>
                      <a:gd name="connsiteX0" fmla="*/ 0 w 0"/>
                      <a:gd name="connsiteY0" fmla="*/ 0 h 0"/>
                      <a:gd name="connsiteX1" fmla="*/ 0 w 0"/>
                      <a:gd name="connsiteY1" fmla="*/ 0 h 0"/>
                      <a:gd name="connsiteX2" fmla="*/ 675 w 0"/>
                      <a:gd name="connsiteY2" fmla="*/ 721 h 0"/>
                      <a:gd name="connsiteX3" fmla="*/ 675 w 0"/>
                      <a:gd name="connsiteY3" fmla="*/ 721 h 0"/>
                      <a:gd name="connsiteX4" fmla="*/ 0 w 0"/>
                      <a:gd name="connsiteY4" fmla="*/ 0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>
                        <a:moveTo>
                          <a:pt x="0" y="0"/>
                        </a:moveTo>
                        <a:lnTo>
                          <a:pt x="0" y="0"/>
                        </a:lnTo>
                        <a:cubicBezTo>
                          <a:pt x="233" y="233"/>
                          <a:pt x="442" y="488"/>
                          <a:pt x="675" y="721"/>
                        </a:cubicBezTo>
                        <a:lnTo>
                          <a:pt x="675" y="721"/>
                        </a:lnTo>
                        <a:cubicBezTo>
                          <a:pt x="442" y="465"/>
                          <a:pt x="233" y="209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F19439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59" name="Freeform: Shape 258">
                    <a:extLst>
                      <a:ext uri="{FF2B5EF4-FFF2-40B4-BE49-F238E27FC236}">
                        <a16:creationId xmlns:a16="http://schemas.microsoft.com/office/drawing/2014/main" id="{55310FD2-CAEB-442E-BCFD-6F79B56A191C}"/>
                      </a:ext>
                    </a:extLst>
                  </p:cNvPr>
                  <p:cNvSpPr/>
                  <p:nvPr/>
                </p:nvSpPr>
                <p:spPr>
                  <a:xfrm>
                    <a:off x="6239498" y="4038251"/>
                    <a:ext cx="2326" cy="2326"/>
                  </a:xfrm>
                  <a:custGeom>
                    <a:avLst/>
                    <a:gdLst>
                      <a:gd name="connsiteX0" fmla="*/ 23 w 0"/>
                      <a:gd name="connsiteY0" fmla="*/ 372 h 0"/>
                      <a:gd name="connsiteX1" fmla="*/ 930 w 0"/>
                      <a:gd name="connsiteY1" fmla="*/ 1093 h 0"/>
                      <a:gd name="connsiteX2" fmla="*/ 2187 w 0"/>
                      <a:gd name="connsiteY2" fmla="*/ 2163 h 0"/>
                      <a:gd name="connsiteX3" fmla="*/ 2187 w 0"/>
                      <a:gd name="connsiteY3" fmla="*/ 2163 h 0"/>
                      <a:gd name="connsiteX4" fmla="*/ 930 w 0"/>
                      <a:gd name="connsiteY4" fmla="*/ 1093 h 0"/>
                      <a:gd name="connsiteX5" fmla="*/ 930 w 0"/>
                      <a:gd name="connsiteY5" fmla="*/ 1070 h 0"/>
                      <a:gd name="connsiteX6" fmla="*/ 1256 w 0"/>
                      <a:gd name="connsiteY6" fmla="*/ 535 h 0"/>
                      <a:gd name="connsiteX7" fmla="*/ 1303 w 0"/>
                      <a:gd name="connsiteY7" fmla="*/ 489 h 0"/>
                      <a:gd name="connsiteX8" fmla="*/ 1303 w 0"/>
                      <a:gd name="connsiteY8" fmla="*/ 489 h 0"/>
                      <a:gd name="connsiteX9" fmla="*/ 1652 w 0"/>
                      <a:gd name="connsiteY9" fmla="*/ 186 h 0"/>
                      <a:gd name="connsiteX10" fmla="*/ 1698 w 0"/>
                      <a:gd name="connsiteY10" fmla="*/ 163 h 0"/>
                      <a:gd name="connsiteX11" fmla="*/ 1698 w 0"/>
                      <a:gd name="connsiteY11" fmla="*/ 163 h 0"/>
                      <a:gd name="connsiteX12" fmla="*/ 2233 w 0"/>
                      <a:gd name="connsiteY12" fmla="*/ 0 h 0"/>
                      <a:gd name="connsiteX13" fmla="*/ 70 w 0"/>
                      <a:gd name="connsiteY13" fmla="*/ 0 h 0"/>
                      <a:gd name="connsiteX14" fmla="*/ 0 w 0"/>
                      <a:gd name="connsiteY14" fmla="*/ 326 h 0"/>
                      <a:gd name="connsiteX15" fmla="*/ 23 w 0"/>
                      <a:gd name="connsiteY15" fmla="*/ 372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</a:cxnLst>
                    <a:rect l="l" t="t" r="r" b="b"/>
                    <a:pathLst>
                      <a:path>
                        <a:moveTo>
                          <a:pt x="23" y="372"/>
                        </a:moveTo>
                        <a:cubicBezTo>
                          <a:pt x="326" y="605"/>
                          <a:pt x="628" y="861"/>
                          <a:pt x="930" y="1093"/>
                        </a:cubicBezTo>
                        <a:cubicBezTo>
                          <a:pt x="1349" y="1442"/>
                          <a:pt x="1768" y="1814"/>
                          <a:pt x="2187" y="2163"/>
                        </a:cubicBezTo>
                        <a:lnTo>
                          <a:pt x="2187" y="2163"/>
                        </a:lnTo>
                        <a:cubicBezTo>
                          <a:pt x="1768" y="1791"/>
                          <a:pt x="1349" y="1419"/>
                          <a:pt x="930" y="1093"/>
                        </a:cubicBezTo>
                        <a:lnTo>
                          <a:pt x="930" y="1070"/>
                        </a:lnTo>
                        <a:cubicBezTo>
                          <a:pt x="1024" y="861"/>
                          <a:pt x="1140" y="698"/>
                          <a:pt x="1256" y="535"/>
                        </a:cubicBezTo>
                        <a:cubicBezTo>
                          <a:pt x="1256" y="535"/>
                          <a:pt x="1279" y="512"/>
                          <a:pt x="1303" y="489"/>
                        </a:cubicBezTo>
                        <a:lnTo>
                          <a:pt x="1303" y="489"/>
                        </a:lnTo>
                        <a:cubicBezTo>
                          <a:pt x="1396" y="372"/>
                          <a:pt x="1535" y="279"/>
                          <a:pt x="1652" y="186"/>
                        </a:cubicBezTo>
                        <a:cubicBezTo>
                          <a:pt x="1675" y="186"/>
                          <a:pt x="1675" y="163"/>
                          <a:pt x="1698" y="163"/>
                        </a:cubicBezTo>
                        <a:lnTo>
                          <a:pt x="1698" y="163"/>
                        </a:lnTo>
                        <a:cubicBezTo>
                          <a:pt x="1884" y="70"/>
                          <a:pt x="2070" y="0"/>
                          <a:pt x="2233" y="0"/>
                        </a:cubicBezTo>
                        <a:lnTo>
                          <a:pt x="70" y="0"/>
                        </a:lnTo>
                        <a:cubicBezTo>
                          <a:pt x="47" y="116"/>
                          <a:pt x="47" y="209"/>
                          <a:pt x="0" y="326"/>
                        </a:cubicBezTo>
                        <a:lnTo>
                          <a:pt x="23" y="372"/>
                        </a:lnTo>
                        <a:close/>
                      </a:path>
                    </a:pathLst>
                  </a:custGeom>
                  <a:solidFill>
                    <a:srgbClr val="F19439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60" name="Freeform: Shape 259">
                    <a:extLst>
                      <a:ext uri="{FF2B5EF4-FFF2-40B4-BE49-F238E27FC236}">
                        <a16:creationId xmlns:a16="http://schemas.microsoft.com/office/drawing/2014/main" id="{B3B04D55-BC0C-4B04-AB46-5D1AD4552C7B}"/>
                      </a:ext>
                    </a:extLst>
                  </p:cNvPr>
                  <p:cNvSpPr/>
                  <p:nvPr/>
                </p:nvSpPr>
                <p:spPr>
                  <a:xfrm>
                    <a:off x="6229984" y="4031831"/>
                    <a:ext cx="2326" cy="2326"/>
                  </a:xfrm>
                  <a:custGeom>
                    <a:avLst/>
                    <a:gdLst>
                      <a:gd name="connsiteX0" fmla="*/ 0 w 2326"/>
                      <a:gd name="connsiteY0" fmla="*/ 1023 h 0"/>
                      <a:gd name="connsiteX1" fmla="*/ 0 w 2326"/>
                      <a:gd name="connsiteY1" fmla="*/ 1047 h 0"/>
                      <a:gd name="connsiteX2" fmla="*/ 977 w 2326"/>
                      <a:gd name="connsiteY2" fmla="*/ 1489 h 0"/>
                      <a:gd name="connsiteX3" fmla="*/ 977 w 2326"/>
                      <a:gd name="connsiteY3" fmla="*/ 1489 h 0"/>
                      <a:gd name="connsiteX4" fmla="*/ 977 w 2326"/>
                      <a:gd name="connsiteY4" fmla="*/ 1442 h 0"/>
                      <a:gd name="connsiteX5" fmla="*/ 1140 w 2326"/>
                      <a:gd name="connsiteY5" fmla="*/ 1023 h 0"/>
                      <a:gd name="connsiteX6" fmla="*/ 1140 w 2326"/>
                      <a:gd name="connsiteY6" fmla="*/ 1000 h 0"/>
                      <a:gd name="connsiteX7" fmla="*/ 1140 w 2326"/>
                      <a:gd name="connsiteY7" fmla="*/ 1000 h 0"/>
                      <a:gd name="connsiteX8" fmla="*/ 1628 w 2326"/>
                      <a:gd name="connsiteY8" fmla="*/ 326 h 0"/>
                      <a:gd name="connsiteX9" fmla="*/ 1628 w 2326"/>
                      <a:gd name="connsiteY9" fmla="*/ 326 h 0"/>
                      <a:gd name="connsiteX10" fmla="*/ 1861 w 2326"/>
                      <a:gd name="connsiteY10" fmla="*/ 163 h 0"/>
                      <a:gd name="connsiteX11" fmla="*/ 1861 w 2326"/>
                      <a:gd name="connsiteY11" fmla="*/ 163 h 0"/>
                      <a:gd name="connsiteX12" fmla="*/ 2001 w 2326"/>
                      <a:gd name="connsiteY12" fmla="*/ 93 h 0"/>
                      <a:gd name="connsiteX13" fmla="*/ 2001 w 2326"/>
                      <a:gd name="connsiteY13" fmla="*/ 93 h 0"/>
                      <a:gd name="connsiteX14" fmla="*/ 2419 w 2326"/>
                      <a:gd name="connsiteY14" fmla="*/ 0 h 0"/>
                      <a:gd name="connsiteX15" fmla="*/ 0 w 2326"/>
                      <a:gd name="connsiteY15" fmla="*/ 0 h 0"/>
                      <a:gd name="connsiteX16" fmla="*/ 0 w 2326"/>
                      <a:gd name="connsiteY16" fmla="*/ 1023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</a:cxnLst>
                    <a:rect l="l" t="t" r="r" b="b"/>
                    <a:pathLst>
                      <a:path w="2326">
                        <a:moveTo>
                          <a:pt x="0" y="1023"/>
                        </a:moveTo>
                        <a:lnTo>
                          <a:pt x="0" y="1047"/>
                        </a:lnTo>
                        <a:cubicBezTo>
                          <a:pt x="326" y="1186"/>
                          <a:pt x="651" y="1326"/>
                          <a:pt x="977" y="1489"/>
                        </a:cubicBezTo>
                        <a:lnTo>
                          <a:pt x="977" y="1489"/>
                        </a:lnTo>
                        <a:lnTo>
                          <a:pt x="977" y="1442"/>
                        </a:lnTo>
                        <a:cubicBezTo>
                          <a:pt x="1024" y="1303"/>
                          <a:pt x="1093" y="1163"/>
                          <a:pt x="1140" y="1023"/>
                        </a:cubicBezTo>
                        <a:cubicBezTo>
                          <a:pt x="1140" y="1023"/>
                          <a:pt x="1140" y="1000"/>
                          <a:pt x="1140" y="1000"/>
                        </a:cubicBezTo>
                        <a:lnTo>
                          <a:pt x="1140" y="1000"/>
                        </a:lnTo>
                        <a:cubicBezTo>
                          <a:pt x="1256" y="721"/>
                          <a:pt x="1419" y="488"/>
                          <a:pt x="1628" y="326"/>
                        </a:cubicBezTo>
                        <a:lnTo>
                          <a:pt x="1628" y="326"/>
                        </a:lnTo>
                        <a:cubicBezTo>
                          <a:pt x="1698" y="256"/>
                          <a:pt x="1791" y="209"/>
                          <a:pt x="1861" y="163"/>
                        </a:cubicBezTo>
                        <a:lnTo>
                          <a:pt x="1861" y="163"/>
                        </a:lnTo>
                        <a:cubicBezTo>
                          <a:pt x="1907" y="140"/>
                          <a:pt x="1954" y="116"/>
                          <a:pt x="2001" y="93"/>
                        </a:cubicBezTo>
                        <a:lnTo>
                          <a:pt x="2001" y="93"/>
                        </a:lnTo>
                        <a:cubicBezTo>
                          <a:pt x="2140" y="46"/>
                          <a:pt x="2280" y="0"/>
                          <a:pt x="2419" y="0"/>
                        </a:cubicBezTo>
                        <a:lnTo>
                          <a:pt x="0" y="0"/>
                        </a:lnTo>
                        <a:cubicBezTo>
                          <a:pt x="70" y="326"/>
                          <a:pt x="70" y="675"/>
                          <a:pt x="0" y="1023"/>
                        </a:cubicBezTo>
                        <a:close/>
                      </a:path>
                    </a:pathLst>
                  </a:custGeom>
                  <a:solidFill>
                    <a:srgbClr val="F19439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61" name="Freeform: Shape 260">
                    <a:extLst>
                      <a:ext uri="{FF2B5EF4-FFF2-40B4-BE49-F238E27FC236}">
                        <a16:creationId xmlns:a16="http://schemas.microsoft.com/office/drawing/2014/main" id="{EFB59845-AA50-4601-B783-43E85E3D52FE}"/>
                      </a:ext>
                    </a:extLst>
                  </p:cNvPr>
                  <p:cNvSpPr/>
                  <p:nvPr/>
                </p:nvSpPr>
                <p:spPr>
                  <a:xfrm>
                    <a:off x="6234869" y="4034715"/>
                    <a:ext cx="2326" cy="2326"/>
                  </a:xfrm>
                  <a:custGeom>
                    <a:avLst/>
                    <a:gdLst>
                      <a:gd name="connsiteX0" fmla="*/ 0 w 2326"/>
                      <a:gd name="connsiteY0" fmla="*/ 698 h 0"/>
                      <a:gd name="connsiteX1" fmla="*/ 0 w 2326"/>
                      <a:gd name="connsiteY1" fmla="*/ 698 h 0"/>
                      <a:gd name="connsiteX2" fmla="*/ 954 w 2326"/>
                      <a:gd name="connsiteY2" fmla="*/ 1279 h 0"/>
                      <a:gd name="connsiteX3" fmla="*/ 954 w 2326"/>
                      <a:gd name="connsiteY3" fmla="*/ 1256 h 0"/>
                      <a:gd name="connsiteX4" fmla="*/ 1349 w 2326"/>
                      <a:gd name="connsiteY4" fmla="*/ 558 h 0"/>
                      <a:gd name="connsiteX5" fmla="*/ 1396 w 2326"/>
                      <a:gd name="connsiteY5" fmla="*/ 488 h 0"/>
                      <a:gd name="connsiteX6" fmla="*/ 1396 w 2326"/>
                      <a:gd name="connsiteY6" fmla="*/ 488 h 0"/>
                      <a:gd name="connsiteX7" fmla="*/ 2349 w 2326"/>
                      <a:gd name="connsiteY7" fmla="*/ 0 h 0"/>
                      <a:gd name="connsiteX8" fmla="*/ 93 w 2326"/>
                      <a:gd name="connsiteY8" fmla="*/ 0 h 0"/>
                      <a:gd name="connsiteX9" fmla="*/ 23 w 2326"/>
                      <a:gd name="connsiteY9" fmla="*/ 651 h 0"/>
                      <a:gd name="connsiteX10" fmla="*/ 0 w 2326"/>
                      <a:gd name="connsiteY10" fmla="*/ 698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2326">
                        <a:moveTo>
                          <a:pt x="0" y="698"/>
                        </a:moveTo>
                        <a:lnTo>
                          <a:pt x="0" y="698"/>
                        </a:lnTo>
                        <a:cubicBezTo>
                          <a:pt x="326" y="884"/>
                          <a:pt x="651" y="1070"/>
                          <a:pt x="954" y="1279"/>
                        </a:cubicBezTo>
                        <a:lnTo>
                          <a:pt x="954" y="1256"/>
                        </a:lnTo>
                        <a:cubicBezTo>
                          <a:pt x="1070" y="954"/>
                          <a:pt x="1210" y="744"/>
                          <a:pt x="1349" y="558"/>
                        </a:cubicBezTo>
                        <a:cubicBezTo>
                          <a:pt x="1372" y="535"/>
                          <a:pt x="1372" y="512"/>
                          <a:pt x="1396" y="488"/>
                        </a:cubicBezTo>
                        <a:lnTo>
                          <a:pt x="1396" y="488"/>
                        </a:lnTo>
                        <a:cubicBezTo>
                          <a:pt x="1675" y="186"/>
                          <a:pt x="2001" y="0"/>
                          <a:pt x="2349" y="0"/>
                        </a:cubicBezTo>
                        <a:lnTo>
                          <a:pt x="93" y="0"/>
                        </a:lnTo>
                        <a:cubicBezTo>
                          <a:pt x="93" y="209"/>
                          <a:pt x="70" y="442"/>
                          <a:pt x="23" y="651"/>
                        </a:cubicBezTo>
                        <a:lnTo>
                          <a:pt x="0" y="698"/>
                        </a:lnTo>
                        <a:close/>
                      </a:path>
                    </a:pathLst>
                  </a:custGeom>
                  <a:solidFill>
                    <a:srgbClr val="F19439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62" name="Freeform: Shape 261">
                    <a:extLst>
                      <a:ext uri="{FF2B5EF4-FFF2-40B4-BE49-F238E27FC236}">
                        <a16:creationId xmlns:a16="http://schemas.microsoft.com/office/drawing/2014/main" id="{3983F42B-E3F3-4643-809D-942A2B728C3D}"/>
                      </a:ext>
                    </a:extLst>
                  </p:cNvPr>
                  <p:cNvSpPr/>
                  <p:nvPr/>
                </p:nvSpPr>
                <p:spPr>
                  <a:xfrm>
                    <a:off x="6243941" y="4042438"/>
                    <a:ext cx="2326" cy="2326"/>
                  </a:xfrm>
                  <a:custGeom>
                    <a:avLst/>
                    <a:gdLst>
                      <a:gd name="connsiteX0" fmla="*/ 23 w 0"/>
                      <a:gd name="connsiteY0" fmla="*/ 70 h 0"/>
                      <a:gd name="connsiteX1" fmla="*/ 861 w 0"/>
                      <a:gd name="connsiteY1" fmla="*/ 907 h 0"/>
                      <a:gd name="connsiteX2" fmla="*/ 861 w 0"/>
                      <a:gd name="connsiteY2" fmla="*/ 907 h 0"/>
                      <a:gd name="connsiteX3" fmla="*/ 861 w 0"/>
                      <a:gd name="connsiteY3" fmla="*/ 884 h 0"/>
                      <a:gd name="connsiteX4" fmla="*/ 1070 w 0"/>
                      <a:gd name="connsiteY4" fmla="*/ 558 h 0"/>
                      <a:gd name="connsiteX5" fmla="*/ 1093 w 0"/>
                      <a:gd name="connsiteY5" fmla="*/ 512 h 0"/>
                      <a:gd name="connsiteX6" fmla="*/ 1093 w 0"/>
                      <a:gd name="connsiteY6" fmla="*/ 512 h 0"/>
                      <a:gd name="connsiteX7" fmla="*/ 1186 w 0"/>
                      <a:gd name="connsiteY7" fmla="*/ 419 h 0"/>
                      <a:gd name="connsiteX8" fmla="*/ 1186 w 0"/>
                      <a:gd name="connsiteY8" fmla="*/ 419 h 0"/>
                      <a:gd name="connsiteX9" fmla="*/ 1372 w 0"/>
                      <a:gd name="connsiteY9" fmla="*/ 256 h 0"/>
                      <a:gd name="connsiteX10" fmla="*/ 1372 w 0"/>
                      <a:gd name="connsiteY10" fmla="*/ 256 h 0"/>
                      <a:gd name="connsiteX11" fmla="*/ 1628 w 0"/>
                      <a:gd name="connsiteY11" fmla="*/ 116 h 0"/>
                      <a:gd name="connsiteX12" fmla="*/ 1628 w 0"/>
                      <a:gd name="connsiteY12" fmla="*/ 116 h 0"/>
                      <a:gd name="connsiteX13" fmla="*/ 1652 w 0"/>
                      <a:gd name="connsiteY13" fmla="*/ 93 h 0"/>
                      <a:gd name="connsiteX14" fmla="*/ 2070 w 0"/>
                      <a:gd name="connsiteY14" fmla="*/ 0 h 0"/>
                      <a:gd name="connsiteX15" fmla="*/ 0 w 0"/>
                      <a:gd name="connsiteY15" fmla="*/ 0 h 0"/>
                      <a:gd name="connsiteX16" fmla="*/ 0 w 0"/>
                      <a:gd name="connsiteY16" fmla="*/ 0 h 0"/>
                      <a:gd name="connsiteX17" fmla="*/ 23 w 0"/>
                      <a:gd name="connsiteY17" fmla="*/ 70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</a:cxnLst>
                    <a:rect l="l" t="t" r="r" b="b"/>
                    <a:pathLst>
                      <a:path>
                        <a:moveTo>
                          <a:pt x="23" y="70"/>
                        </a:moveTo>
                        <a:cubicBezTo>
                          <a:pt x="302" y="349"/>
                          <a:pt x="582" y="628"/>
                          <a:pt x="861" y="907"/>
                        </a:cubicBezTo>
                        <a:lnTo>
                          <a:pt x="861" y="907"/>
                        </a:lnTo>
                        <a:lnTo>
                          <a:pt x="861" y="884"/>
                        </a:lnTo>
                        <a:cubicBezTo>
                          <a:pt x="930" y="768"/>
                          <a:pt x="1000" y="675"/>
                          <a:pt x="1070" y="558"/>
                        </a:cubicBezTo>
                        <a:cubicBezTo>
                          <a:pt x="1070" y="535"/>
                          <a:pt x="1093" y="512"/>
                          <a:pt x="1093" y="512"/>
                        </a:cubicBezTo>
                        <a:lnTo>
                          <a:pt x="1093" y="512"/>
                        </a:lnTo>
                        <a:cubicBezTo>
                          <a:pt x="1117" y="465"/>
                          <a:pt x="1163" y="465"/>
                          <a:pt x="1186" y="419"/>
                        </a:cubicBezTo>
                        <a:lnTo>
                          <a:pt x="1186" y="419"/>
                        </a:lnTo>
                        <a:cubicBezTo>
                          <a:pt x="1256" y="349"/>
                          <a:pt x="1303" y="302"/>
                          <a:pt x="1372" y="256"/>
                        </a:cubicBezTo>
                        <a:lnTo>
                          <a:pt x="1372" y="256"/>
                        </a:lnTo>
                        <a:cubicBezTo>
                          <a:pt x="1465" y="186"/>
                          <a:pt x="1535" y="163"/>
                          <a:pt x="1628" y="116"/>
                        </a:cubicBezTo>
                        <a:lnTo>
                          <a:pt x="1628" y="116"/>
                        </a:lnTo>
                        <a:lnTo>
                          <a:pt x="1652" y="93"/>
                        </a:lnTo>
                        <a:cubicBezTo>
                          <a:pt x="1791" y="46"/>
                          <a:pt x="1931" y="0"/>
                          <a:pt x="2070" y="0"/>
                        </a:cubicBezTo>
                        <a:lnTo>
                          <a:pt x="0" y="0"/>
                        </a:lnTo>
                        <a:lnTo>
                          <a:pt x="0" y="0"/>
                        </a:lnTo>
                        <a:lnTo>
                          <a:pt x="23" y="70"/>
                        </a:lnTo>
                        <a:close/>
                      </a:path>
                    </a:pathLst>
                  </a:custGeom>
                  <a:solidFill>
                    <a:srgbClr val="F19439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63" name="Freeform: Shape 262">
                    <a:extLst>
                      <a:ext uri="{FF2B5EF4-FFF2-40B4-BE49-F238E27FC236}">
                        <a16:creationId xmlns:a16="http://schemas.microsoft.com/office/drawing/2014/main" id="{B220FF4C-E490-4BF7-981E-ABC7E1C87B2C}"/>
                      </a:ext>
                    </a:extLst>
                  </p:cNvPr>
                  <p:cNvSpPr/>
                  <p:nvPr/>
                </p:nvSpPr>
                <p:spPr>
                  <a:xfrm>
                    <a:off x="6213329" y="4027481"/>
                    <a:ext cx="4652" cy="2326"/>
                  </a:xfrm>
                  <a:custGeom>
                    <a:avLst/>
                    <a:gdLst>
                      <a:gd name="connsiteX0" fmla="*/ 1279 w 4652"/>
                      <a:gd name="connsiteY0" fmla="*/ 2117 h 2326"/>
                      <a:gd name="connsiteX1" fmla="*/ 1279 w 4652"/>
                      <a:gd name="connsiteY1" fmla="*/ 2163 h 2326"/>
                      <a:gd name="connsiteX2" fmla="*/ 1279 w 4652"/>
                      <a:gd name="connsiteY2" fmla="*/ 2163 h 2326"/>
                      <a:gd name="connsiteX3" fmla="*/ 2303 w 4652"/>
                      <a:gd name="connsiteY3" fmla="*/ 2163 h 2326"/>
                      <a:gd name="connsiteX4" fmla="*/ 6467 w 4652"/>
                      <a:gd name="connsiteY4" fmla="*/ 2489 h 2326"/>
                      <a:gd name="connsiteX5" fmla="*/ 2303 w 4652"/>
                      <a:gd name="connsiteY5" fmla="*/ 2163 h 2326"/>
                      <a:gd name="connsiteX6" fmla="*/ 2303 w 4652"/>
                      <a:gd name="connsiteY6" fmla="*/ 2140 h 2326"/>
                      <a:gd name="connsiteX7" fmla="*/ 3513 w 4652"/>
                      <a:gd name="connsiteY7" fmla="*/ 70 h 2326"/>
                      <a:gd name="connsiteX8" fmla="*/ 3513 w 4652"/>
                      <a:gd name="connsiteY8" fmla="*/ 70 h 2326"/>
                      <a:gd name="connsiteX9" fmla="*/ 3513 w 4652"/>
                      <a:gd name="connsiteY9" fmla="*/ 70 h 2326"/>
                      <a:gd name="connsiteX10" fmla="*/ 3675 w 4652"/>
                      <a:gd name="connsiteY10" fmla="*/ 23 h 2326"/>
                      <a:gd name="connsiteX11" fmla="*/ 3675 w 4652"/>
                      <a:gd name="connsiteY11" fmla="*/ 23 h 2326"/>
                      <a:gd name="connsiteX12" fmla="*/ 3815 w 4652"/>
                      <a:gd name="connsiteY12" fmla="*/ 0 h 2326"/>
                      <a:gd name="connsiteX13" fmla="*/ 3861 w 4652"/>
                      <a:gd name="connsiteY13" fmla="*/ 0 h 2326"/>
                      <a:gd name="connsiteX14" fmla="*/ 0 w 4652"/>
                      <a:gd name="connsiteY14" fmla="*/ 0 h 2326"/>
                      <a:gd name="connsiteX15" fmla="*/ 1279 w 4652"/>
                      <a:gd name="connsiteY15" fmla="*/ 2117 h 232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</a:cxnLst>
                    <a:rect l="l" t="t" r="r" b="b"/>
                    <a:pathLst>
                      <a:path w="4652" h="2326">
                        <a:moveTo>
                          <a:pt x="1279" y="2117"/>
                        </a:moveTo>
                        <a:lnTo>
                          <a:pt x="1279" y="2163"/>
                        </a:lnTo>
                        <a:lnTo>
                          <a:pt x="1279" y="2163"/>
                        </a:lnTo>
                        <a:cubicBezTo>
                          <a:pt x="1721" y="2163"/>
                          <a:pt x="2024" y="2163"/>
                          <a:pt x="2303" y="2163"/>
                        </a:cubicBezTo>
                        <a:cubicBezTo>
                          <a:pt x="3699" y="2187"/>
                          <a:pt x="5094" y="2303"/>
                          <a:pt x="6467" y="2489"/>
                        </a:cubicBezTo>
                        <a:cubicBezTo>
                          <a:pt x="5094" y="2303"/>
                          <a:pt x="3722" y="2187"/>
                          <a:pt x="2303" y="2163"/>
                        </a:cubicBezTo>
                        <a:lnTo>
                          <a:pt x="2303" y="2140"/>
                        </a:lnTo>
                        <a:cubicBezTo>
                          <a:pt x="2326" y="1117"/>
                          <a:pt x="2838" y="302"/>
                          <a:pt x="3513" y="70"/>
                        </a:cubicBezTo>
                        <a:lnTo>
                          <a:pt x="3513" y="70"/>
                        </a:lnTo>
                        <a:lnTo>
                          <a:pt x="3513" y="70"/>
                        </a:lnTo>
                        <a:cubicBezTo>
                          <a:pt x="3559" y="47"/>
                          <a:pt x="3606" y="47"/>
                          <a:pt x="3675" y="23"/>
                        </a:cubicBezTo>
                        <a:lnTo>
                          <a:pt x="3675" y="23"/>
                        </a:lnTo>
                        <a:cubicBezTo>
                          <a:pt x="3722" y="23"/>
                          <a:pt x="3768" y="23"/>
                          <a:pt x="3815" y="0"/>
                        </a:cubicBezTo>
                        <a:lnTo>
                          <a:pt x="3861" y="0"/>
                        </a:lnTo>
                        <a:lnTo>
                          <a:pt x="0" y="0"/>
                        </a:lnTo>
                        <a:cubicBezTo>
                          <a:pt x="721" y="209"/>
                          <a:pt x="1256" y="1047"/>
                          <a:pt x="1279" y="2117"/>
                        </a:cubicBezTo>
                        <a:close/>
                      </a:path>
                    </a:pathLst>
                  </a:custGeom>
                  <a:solidFill>
                    <a:srgbClr val="F19439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64" name="Freeform: Shape 263">
                    <a:extLst>
                      <a:ext uri="{FF2B5EF4-FFF2-40B4-BE49-F238E27FC236}">
                        <a16:creationId xmlns:a16="http://schemas.microsoft.com/office/drawing/2014/main" id="{D3984726-95D6-468B-9FE7-040663FA8BFF}"/>
                      </a:ext>
                    </a:extLst>
                  </p:cNvPr>
                  <p:cNvSpPr/>
                  <p:nvPr/>
                </p:nvSpPr>
                <p:spPr>
                  <a:xfrm>
                    <a:off x="6224774" y="4029667"/>
                    <a:ext cx="2326" cy="2326"/>
                  </a:xfrm>
                  <a:custGeom>
                    <a:avLst/>
                    <a:gdLst>
                      <a:gd name="connsiteX0" fmla="*/ 163 w 2326"/>
                      <a:gd name="connsiteY0" fmla="*/ 1349 h 0"/>
                      <a:gd name="connsiteX1" fmla="*/ 163 w 2326"/>
                      <a:gd name="connsiteY1" fmla="*/ 1396 h 0"/>
                      <a:gd name="connsiteX2" fmla="*/ 163 w 2326"/>
                      <a:gd name="connsiteY2" fmla="*/ 1396 h 0"/>
                      <a:gd name="connsiteX3" fmla="*/ 1163 w 2326"/>
                      <a:gd name="connsiteY3" fmla="*/ 1698 h 0"/>
                      <a:gd name="connsiteX4" fmla="*/ 1163 w 2326"/>
                      <a:gd name="connsiteY4" fmla="*/ 1698 h 0"/>
                      <a:gd name="connsiteX5" fmla="*/ 1163 w 2326"/>
                      <a:gd name="connsiteY5" fmla="*/ 1675 h 0"/>
                      <a:gd name="connsiteX6" fmla="*/ 1489 w 2326"/>
                      <a:gd name="connsiteY6" fmla="*/ 861 h 0"/>
                      <a:gd name="connsiteX7" fmla="*/ 1489 w 2326"/>
                      <a:gd name="connsiteY7" fmla="*/ 861 h 0"/>
                      <a:gd name="connsiteX8" fmla="*/ 1489 w 2326"/>
                      <a:gd name="connsiteY8" fmla="*/ 837 h 0"/>
                      <a:gd name="connsiteX9" fmla="*/ 2233 w 2326"/>
                      <a:gd name="connsiteY9" fmla="*/ 116 h 0"/>
                      <a:gd name="connsiteX10" fmla="*/ 2233 w 2326"/>
                      <a:gd name="connsiteY10" fmla="*/ 116 h 0"/>
                      <a:gd name="connsiteX11" fmla="*/ 2512 w 2326"/>
                      <a:gd name="connsiteY11" fmla="*/ 47 h 0"/>
                      <a:gd name="connsiteX12" fmla="*/ 2675 w 2326"/>
                      <a:gd name="connsiteY12" fmla="*/ 0 h 0"/>
                      <a:gd name="connsiteX13" fmla="*/ 0 w 2326"/>
                      <a:gd name="connsiteY13" fmla="*/ 0 h 0"/>
                      <a:gd name="connsiteX14" fmla="*/ 163 w 2326"/>
                      <a:gd name="connsiteY14" fmla="*/ 1349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</a:cxnLst>
                    <a:rect l="l" t="t" r="r" b="b"/>
                    <a:pathLst>
                      <a:path w="2326">
                        <a:moveTo>
                          <a:pt x="163" y="1349"/>
                        </a:moveTo>
                        <a:lnTo>
                          <a:pt x="163" y="1396"/>
                        </a:lnTo>
                        <a:lnTo>
                          <a:pt x="163" y="1396"/>
                        </a:lnTo>
                        <a:cubicBezTo>
                          <a:pt x="488" y="1489"/>
                          <a:pt x="837" y="1605"/>
                          <a:pt x="1163" y="1698"/>
                        </a:cubicBezTo>
                        <a:lnTo>
                          <a:pt x="1163" y="1698"/>
                        </a:lnTo>
                        <a:lnTo>
                          <a:pt x="1163" y="1675"/>
                        </a:lnTo>
                        <a:cubicBezTo>
                          <a:pt x="1233" y="1349"/>
                          <a:pt x="1326" y="1093"/>
                          <a:pt x="1489" y="861"/>
                        </a:cubicBezTo>
                        <a:lnTo>
                          <a:pt x="1489" y="861"/>
                        </a:lnTo>
                        <a:lnTo>
                          <a:pt x="1489" y="837"/>
                        </a:lnTo>
                        <a:cubicBezTo>
                          <a:pt x="1698" y="489"/>
                          <a:pt x="1954" y="233"/>
                          <a:pt x="2233" y="116"/>
                        </a:cubicBezTo>
                        <a:lnTo>
                          <a:pt x="2233" y="116"/>
                        </a:lnTo>
                        <a:cubicBezTo>
                          <a:pt x="2326" y="70"/>
                          <a:pt x="2419" y="70"/>
                          <a:pt x="2512" y="47"/>
                        </a:cubicBezTo>
                        <a:cubicBezTo>
                          <a:pt x="2582" y="47"/>
                          <a:pt x="2629" y="0"/>
                          <a:pt x="2675" y="0"/>
                        </a:cubicBezTo>
                        <a:lnTo>
                          <a:pt x="0" y="0"/>
                        </a:lnTo>
                        <a:cubicBezTo>
                          <a:pt x="163" y="395"/>
                          <a:pt x="233" y="861"/>
                          <a:pt x="163" y="1349"/>
                        </a:cubicBezTo>
                        <a:close/>
                      </a:path>
                    </a:pathLst>
                  </a:custGeom>
                  <a:solidFill>
                    <a:srgbClr val="F19439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65" name="Freeform: Shape 264">
                    <a:extLst>
                      <a:ext uri="{FF2B5EF4-FFF2-40B4-BE49-F238E27FC236}">
                        <a16:creationId xmlns:a16="http://schemas.microsoft.com/office/drawing/2014/main" id="{497004BF-7F5C-467B-B07A-E17F5A12E379}"/>
                      </a:ext>
                    </a:extLst>
                  </p:cNvPr>
                  <p:cNvSpPr/>
                  <p:nvPr/>
                </p:nvSpPr>
                <p:spPr>
                  <a:xfrm>
                    <a:off x="6219307" y="4028248"/>
                    <a:ext cx="2326" cy="2326"/>
                  </a:xfrm>
                  <a:custGeom>
                    <a:avLst/>
                    <a:gdLst>
                      <a:gd name="connsiteX0" fmla="*/ 488 w 2326"/>
                      <a:gd name="connsiteY0" fmla="*/ 1745 h 0"/>
                      <a:gd name="connsiteX1" fmla="*/ 1512 w 2326"/>
                      <a:gd name="connsiteY1" fmla="*/ 1907 h 0"/>
                      <a:gd name="connsiteX2" fmla="*/ 1512 w 2326"/>
                      <a:gd name="connsiteY2" fmla="*/ 1884 h 0"/>
                      <a:gd name="connsiteX3" fmla="*/ 1675 w 2326"/>
                      <a:gd name="connsiteY3" fmla="*/ 1163 h 0"/>
                      <a:gd name="connsiteX4" fmla="*/ 1675 w 2326"/>
                      <a:gd name="connsiteY4" fmla="*/ 1140 h 0"/>
                      <a:gd name="connsiteX5" fmla="*/ 1675 w 2326"/>
                      <a:gd name="connsiteY5" fmla="*/ 1140 h 0"/>
                      <a:gd name="connsiteX6" fmla="*/ 3047 w 2326"/>
                      <a:gd name="connsiteY6" fmla="*/ 0 h 0"/>
                      <a:gd name="connsiteX7" fmla="*/ 0 w 2326"/>
                      <a:gd name="connsiteY7" fmla="*/ 0 h 0"/>
                      <a:gd name="connsiteX8" fmla="*/ 465 w 2326"/>
                      <a:gd name="connsiteY8" fmla="*/ 1721 h 0"/>
                      <a:gd name="connsiteX9" fmla="*/ 465 w 2326"/>
                      <a:gd name="connsiteY9" fmla="*/ 1745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2326">
                        <a:moveTo>
                          <a:pt x="488" y="1745"/>
                        </a:moveTo>
                        <a:cubicBezTo>
                          <a:pt x="837" y="1791"/>
                          <a:pt x="1163" y="1838"/>
                          <a:pt x="1512" y="1907"/>
                        </a:cubicBezTo>
                        <a:lnTo>
                          <a:pt x="1512" y="1884"/>
                        </a:lnTo>
                        <a:cubicBezTo>
                          <a:pt x="1535" y="1605"/>
                          <a:pt x="1605" y="1372"/>
                          <a:pt x="1675" y="1163"/>
                        </a:cubicBezTo>
                        <a:lnTo>
                          <a:pt x="1675" y="1140"/>
                        </a:lnTo>
                        <a:lnTo>
                          <a:pt x="1675" y="1140"/>
                        </a:lnTo>
                        <a:cubicBezTo>
                          <a:pt x="1954" y="442"/>
                          <a:pt x="2466" y="0"/>
                          <a:pt x="3047" y="0"/>
                        </a:cubicBezTo>
                        <a:lnTo>
                          <a:pt x="0" y="0"/>
                        </a:lnTo>
                        <a:cubicBezTo>
                          <a:pt x="326" y="442"/>
                          <a:pt x="488" y="1047"/>
                          <a:pt x="465" y="1721"/>
                        </a:cubicBezTo>
                        <a:lnTo>
                          <a:pt x="465" y="1745"/>
                        </a:lnTo>
                        <a:close/>
                      </a:path>
                    </a:pathLst>
                  </a:custGeom>
                  <a:solidFill>
                    <a:srgbClr val="F19439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66" name="Freeform: Shape 265">
                    <a:extLst>
                      <a:ext uri="{FF2B5EF4-FFF2-40B4-BE49-F238E27FC236}">
                        <a16:creationId xmlns:a16="http://schemas.microsoft.com/office/drawing/2014/main" id="{094ABEF2-928C-4C1C-B7BD-2AAC7774E2AE}"/>
                      </a:ext>
                    </a:extLst>
                  </p:cNvPr>
                  <p:cNvSpPr/>
                  <p:nvPr/>
                </p:nvSpPr>
                <p:spPr>
                  <a:xfrm>
                    <a:off x="6246058" y="4042461"/>
                    <a:ext cx="2326" cy="2326"/>
                  </a:xfrm>
                  <a:custGeom>
                    <a:avLst/>
                    <a:gdLst>
                      <a:gd name="connsiteX0" fmla="*/ 0 w 0"/>
                      <a:gd name="connsiteY0" fmla="*/ 0 h 0"/>
                      <a:gd name="connsiteX1" fmla="*/ 0 w 0"/>
                      <a:gd name="connsiteY1" fmla="*/ 0 h 0"/>
                      <a:gd name="connsiteX2" fmla="*/ 0 w 0"/>
                      <a:gd name="connsiteY2" fmla="*/ 0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F19439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67" name="Freeform: Shape 266">
                    <a:extLst>
                      <a:ext uri="{FF2B5EF4-FFF2-40B4-BE49-F238E27FC236}">
                        <a16:creationId xmlns:a16="http://schemas.microsoft.com/office/drawing/2014/main" id="{2024E64C-D7DC-4EB1-9D9E-1E58D7A10900}"/>
                      </a:ext>
                    </a:extLst>
                  </p:cNvPr>
                  <p:cNvSpPr/>
                  <p:nvPr/>
                </p:nvSpPr>
                <p:spPr>
                  <a:xfrm>
                    <a:off x="6241778" y="4038274"/>
                    <a:ext cx="2326" cy="2326"/>
                  </a:xfrm>
                  <a:custGeom>
                    <a:avLst/>
                    <a:gdLst>
                      <a:gd name="connsiteX0" fmla="*/ 0 w 0"/>
                      <a:gd name="connsiteY0" fmla="*/ 0 h 0"/>
                      <a:gd name="connsiteX1" fmla="*/ 0 w 0"/>
                      <a:gd name="connsiteY1" fmla="*/ 0 h 0"/>
                      <a:gd name="connsiteX2" fmla="*/ 0 w 0"/>
                      <a:gd name="connsiteY2" fmla="*/ 0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F19439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68" name="Freeform: Shape 267">
                    <a:extLst>
                      <a:ext uri="{FF2B5EF4-FFF2-40B4-BE49-F238E27FC236}">
                        <a16:creationId xmlns:a16="http://schemas.microsoft.com/office/drawing/2014/main" id="{EFB83778-69FB-49E2-8A66-8F14C78D4218}"/>
                      </a:ext>
                    </a:extLst>
                  </p:cNvPr>
                  <p:cNvSpPr/>
                  <p:nvPr/>
                </p:nvSpPr>
                <p:spPr>
                  <a:xfrm>
                    <a:off x="6217214" y="4027504"/>
                    <a:ext cx="2326" cy="2326"/>
                  </a:xfrm>
                  <a:custGeom>
                    <a:avLst/>
                    <a:gdLst>
                      <a:gd name="connsiteX0" fmla="*/ 0 w 0"/>
                      <a:gd name="connsiteY0" fmla="*/ 0 h 0"/>
                      <a:gd name="connsiteX1" fmla="*/ 0 w 0"/>
                      <a:gd name="connsiteY1" fmla="*/ 0 h 0"/>
                      <a:gd name="connsiteX2" fmla="*/ 0 w 0"/>
                      <a:gd name="connsiteY2" fmla="*/ 0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F19439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69" name="Freeform: Shape 268">
                    <a:extLst>
                      <a:ext uri="{FF2B5EF4-FFF2-40B4-BE49-F238E27FC236}">
                        <a16:creationId xmlns:a16="http://schemas.microsoft.com/office/drawing/2014/main" id="{23EE8BCC-B062-4B77-8688-640738C2B8A8}"/>
                      </a:ext>
                    </a:extLst>
                  </p:cNvPr>
                  <p:cNvSpPr/>
                  <p:nvPr/>
                </p:nvSpPr>
                <p:spPr>
                  <a:xfrm>
                    <a:off x="6225937" y="4031365"/>
                    <a:ext cx="2326" cy="2326"/>
                  </a:xfrm>
                  <a:custGeom>
                    <a:avLst/>
                    <a:gdLst>
                      <a:gd name="connsiteX0" fmla="*/ 0 w 2326"/>
                      <a:gd name="connsiteY0" fmla="*/ 0 h 0"/>
                      <a:gd name="connsiteX1" fmla="*/ 4024 w 2326"/>
                      <a:gd name="connsiteY1" fmla="*/ 1512 h 0"/>
                      <a:gd name="connsiteX2" fmla="*/ 465 w 2326"/>
                      <a:gd name="connsiteY2" fmla="*/ 163 h 0"/>
                      <a:gd name="connsiteX3" fmla="*/ 0 w 2326"/>
                      <a:gd name="connsiteY3" fmla="*/ 0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326">
                        <a:moveTo>
                          <a:pt x="0" y="0"/>
                        </a:moveTo>
                        <a:cubicBezTo>
                          <a:pt x="1372" y="419"/>
                          <a:pt x="2722" y="930"/>
                          <a:pt x="4024" y="1512"/>
                        </a:cubicBezTo>
                        <a:cubicBezTo>
                          <a:pt x="2861" y="1000"/>
                          <a:pt x="1675" y="558"/>
                          <a:pt x="465" y="163"/>
                        </a:cubicBezTo>
                        <a:cubicBezTo>
                          <a:pt x="326" y="116"/>
                          <a:pt x="163" y="46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F19439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70" name="Freeform: Shape 269">
                    <a:extLst>
                      <a:ext uri="{FF2B5EF4-FFF2-40B4-BE49-F238E27FC236}">
                        <a16:creationId xmlns:a16="http://schemas.microsoft.com/office/drawing/2014/main" id="{74E447D2-CC92-4FAE-94DB-534313A49E02}"/>
                      </a:ext>
                    </a:extLst>
                  </p:cNvPr>
                  <p:cNvSpPr/>
                  <p:nvPr/>
                </p:nvSpPr>
                <p:spPr>
                  <a:xfrm>
                    <a:off x="6222378" y="4028225"/>
                    <a:ext cx="2326" cy="2326"/>
                  </a:xfrm>
                  <a:custGeom>
                    <a:avLst/>
                    <a:gdLst>
                      <a:gd name="connsiteX0" fmla="*/ 0 w 0"/>
                      <a:gd name="connsiteY0" fmla="*/ 0 h 0"/>
                      <a:gd name="connsiteX1" fmla="*/ 0 w 0"/>
                      <a:gd name="connsiteY1" fmla="*/ 0 h 0"/>
                      <a:gd name="connsiteX2" fmla="*/ 0 w 0"/>
                      <a:gd name="connsiteY2" fmla="*/ 0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F19439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71" name="Freeform: Shape 270">
                    <a:extLst>
                      <a:ext uri="{FF2B5EF4-FFF2-40B4-BE49-F238E27FC236}">
                        <a16:creationId xmlns:a16="http://schemas.microsoft.com/office/drawing/2014/main" id="{CF1B20B7-793A-4339-9410-A1EE1E90E0E8}"/>
                      </a:ext>
                    </a:extLst>
                  </p:cNvPr>
                  <p:cNvSpPr/>
                  <p:nvPr/>
                </p:nvSpPr>
                <p:spPr>
                  <a:xfrm>
                    <a:off x="6227472" y="4029667"/>
                    <a:ext cx="2326" cy="2326"/>
                  </a:xfrm>
                  <a:custGeom>
                    <a:avLst/>
                    <a:gdLst>
                      <a:gd name="connsiteX0" fmla="*/ 0 w 0"/>
                      <a:gd name="connsiteY0" fmla="*/ 0 h 0"/>
                      <a:gd name="connsiteX1" fmla="*/ 0 w 0"/>
                      <a:gd name="connsiteY1" fmla="*/ 0 h 0"/>
                      <a:gd name="connsiteX2" fmla="*/ 0 w 0"/>
                      <a:gd name="connsiteY2" fmla="*/ 0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F19439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72" name="Freeform: Shape 271">
                    <a:extLst>
                      <a:ext uri="{FF2B5EF4-FFF2-40B4-BE49-F238E27FC236}">
                        <a16:creationId xmlns:a16="http://schemas.microsoft.com/office/drawing/2014/main" id="{B885D4E8-B93E-4510-BE78-DE8C16234747}"/>
                      </a:ext>
                    </a:extLst>
                  </p:cNvPr>
                  <p:cNvSpPr/>
                  <p:nvPr/>
                </p:nvSpPr>
                <p:spPr>
                  <a:xfrm>
                    <a:off x="6186183" y="4041903"/>
                    <a:ext cx="2326" cy="2326"/>
                  </a:xfrm>
                  <a:custGeom>
                    <a:avLst/>
                    <a:gdLst>
                      <a:gd name="connsiteX0" fmla="*/ 0 w 0"/>
                      <a:gd name="connsiteY0" fmla="*/ 0 h 0"/>
                      <a:gd name="connsiteX1" fmla="*/ 0 w 0"/>
                      <a:gd name="connsiteY1" fmla="*/ 0 h 0"/>
                      <a:gd name="connsiteX2" fmla="*/ 0 w 0"/>
                      <a:gd name="connsiteY2" fmla="*/ 0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F19439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73" name="Freeform: Shape 272">
                    <a:extLst>
                      <a:ext uri="{FF2B5EF4-FFF2-40B4-BE49-F238E27FC236}">
                        <a16:creationId xmlns:a16="http://schemas.microsoft.com/office/drawing/2014/main" id="{83C60F0B-FFF9-42CF-91DD-0C09621C3F0E}"/>
                      </a:ext>
                    </a:extLst>
                  </p:cNvPr>
                  <p:cNvSpPr/>
                  <p:nvPr/>
                </p:nvSpPr>
                <p:spPr>
                  <a:xfrm>
                    <a:off x="6190649" y="4038135"/>
                    <a:ext cx="2326" cy="2326"/>
                  </a:xfrm>
                  <a:custGeom>
                    <a:avLst/>
                    <a:gdLst>
                      <a:gd name="connsiteX0" fmla="*/ 0 w 0"/>
                      <a:gd name="connsiteY0" fmla="*/ 0 h 0"/>
                      <a:gd name="connsiteX1" fmla="*/ 0 w 0"/>
                      <a:gd name="connsiteY1" fmla="*/ 0 h 0"/>
                      <a:gd name="connsiteX2" fmla="*/ 0 w 0"/>
                      <a:gd name="connsiteY2" fmla="*/ 0 h 0"/>
                      <a:gd name="connsiteX3" fmla="*/ 0 w 0"/>
                      <a:gd name="connsiteY3" fmla="*/ 0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F19439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74" name="Freeform: Shape 273">
                    <a:extLst>
                      <a:ext uri="{FF2B5EF4-FFF2-40B4-BE49-F238E27FC236}">
                        <a16:creationId xmlns:a16="http://schemas.microsoft.com/office/drawing/2014/main" id="{AF4148D1-3B1A-4E7E-ACD1-82CD5AA04CD3}"/>
                      </a:ext>
                    </a:extLst>
                  </p:cNvPr>
                  <p:cNvSpPr/>
                  <p:nvPr/>
                </p:nvSpPr>
                <p:spPr>
                  <a:xfrm>
                    <a:off x="6171318" y="4027364"/>
                    <a:ext cx="39545" cy="18609"/>
                  </a:xfrm>
                  <a:custGeom>
                    <a:avLst/>
                    <a:gdLst>
                      <a:gd name="connsiteX0" fmla="*/ 2791 w 39544"/>
                      <a:gd name="connsiteY0" fmla="*/ 18935 h 18609"/>
                      <a:gd name="connsiteX1" fmla="*/ 4141 w 39544"/>
                      <a:gd name="connsiteY1" fmla="*/ 18935 h 18609"/>
                      <a:gd name="connsiteX2" fmla="*/ 5490 w 39544"/>
                      <a:gd name="connsiteY2" fmla="*/ 18935 h 18609"/>
                      <a:gd name="connsiteX3" fmla="*/ 6862 w 39544"/>
                      <a:gd name="connsiteY3" fmla="*/ 18935 h 18609"/>
                      <a:gd name="connsiteX4" fmla="*/ 8188 w 39544"/>
                      <a:gd name="connsiteY4" fmla="*/ 18935 h 18609"/>
                      <a:gd name="connsiteX5" fmla="*/ 9468 w 39544"/>
                      <a:gd name="connsiteY5" fmla="*/ 18935 h 18609"/>
                      <a:gd name="connsiteX6" fmla="*/ 10700 w 39544"/>
                      <a:gd name="connsiteY6" fmla="*/ 18935 h 18609"/>
                      <a:gd name="connsiteX7" fmla="*/ 10677 w 39544"/>
                      <a:gd name="connsiteY7" fmla="*/ 18912 h 18609"/>
                      <a:gd name="connsiteX8" fmla="*/ 10445 w 39544"/>
                      <a:gd name="connsiteY8" fmla="*/ 16865 h 18609"/>
                      <a:gd name="connsiteX9" fmla="*/ 10538 w 39544"/>
                      <a:gd name="connsiteY9" fmla="*/ 16493 h 18609"/>
                      <a:gd name="connsiteX10" fmla="*/ 10538 w 39544"/>
                      <a:gd name="connsiteY10" fmla="*/ 16493 h 18609"/>
                      <a:gd name="connsiteX11" fmla="*/ 10933 w 39544"/>
                      <a:gd name="connsiteY11" fmla="*/ 15818 h 18609"/>
                      <a:gd name="connsiteX12" fmla="*/ 11794 w 39544"/>
                      <a:gd name="connsiteY12" fmla="*/ 14887 h 18609"/>
                      <a:gd name="connsiteX13" fmla="*/ 12724 w 39544"/>
                      <a:gd name="connsiteY13" fmla="*/ 14446 h 18609"/>
                      <a:gd name="connsiteX14" fmla="*/ 13166 w 39544"/>
                      <a:gd name="connsiteY14" fmla="*/ 14539 h 18609"/>
                      <a:gd name="connsiteX15" fmla="*/ 13306 w 39544"/>
                      <a:gd name="connsiteY15" fmla="*/ 14539 h 18609"/>
                      <a:gd name="connsiteX16" fmla="*/ 13631 w 39544"/>
                      <a:gd name="connsiteY16" fmla="*/ 14539 h 18609"/>
                      <a:gd name="connsiteX17" fmla="*/ 13957 w 39544"/>
                      <a:gd name="connsiteY17" fmla="*/ 14539 h 18609"/>
                      <a:gd name="connsiteX18" fmla="*/ 14259 w 39544"/>
                      <a:gd name="connsiteY18" fmla="*/ 14539 h 18609"/>
                      <a:gd name="connsiteX19" fmla="*/ 14562 w 39544"/>
                      <a:gd name="connsiteY19" fmla="*/ 14539 h 18609"/>
                      <a:gd name="connsiteX20" fmla="*/ 14864 w 39544"/>
                      <a:gd name="connsiteY20" fmla="*/ 14539 h 18609"/>
                      <a:gd name="connsiteX21" fmla="*/ 14864 w 39544"/>
                      <a:gd name="connsiteY21" fmla="*/ 14515 h 18609"/>
                      <a:gd name="connsiteX22" fmla="*/ 14632 w 39544"/>
                      <a:gd name="connsiteY22" fmla="*/ 13655 h 18609"/>
                      <a:gd name="connsiteX23" fmla="*/ 14632 w 39544"/>
                      <a:gd name="connsiteY23" fmla="*/ 13655 h 18609"/>
                      <a:gd name="connsiteX24" fmla="*/ 14655 w 39544"/>
                      <a:gd name="connsiteY24" fmla="*/ 12887 h 18609"/>
                      <a:gd name="connsiteX25" fmla="*/ 14655 w 39544"/>
                      <a:gd name="connsiteY25" fmla="*/ 12817 h 18609"/>
                      <a:gd name="connsiteX26" fmla="*/ 14655 w 39544"/>
                      <a:gd name="connsiteY26" fmla="*/ 12817 h 18609"/>
                      <a:gd name="connsiteX27" fmla="*/ 14748 w 39544"/>
                      <a:gd name="connsiteY27" fmla="*/ 12492 h 18609"/>
                      <a:gd name="connsiteX28" fmla="*/ 15329 w 39544"/>
                      <a:gd name="connsiteY28" fmla="*/ 11445 h 18609"/>
                      <a:gd name="connsiteX29" fmla="*/ 16144 w 39544"/>
                      <a:gd name="connsiteY29" fmla="*/ 10747 h 18609"/>
                      <a:gd name="connsiteX30" fmla="*/ 16144 w 39544"/>
                      <a:gd name="connsiteY30" fmla="*/ 10747 h 18609"/>
                      <a:gd name="connsiteX31" fmla="*/ 16237 w 39544"/>
                      <a:gd name="connsiteY31" fmla="*/ 10654 h 18609"/>
                      <a:gd name="connsiteX32" fmla="*/ 17051 w 39544"/>
                      <a:gd name="connsiteY32" fmla="*/ 10328 h 18609"/>
                      <a:gd name="connsiteX33" fmla="*/ 17935 w 39544"/>
                      <a:gd name="connsiteY33" fmla="*/ 10724 h 18609"/>
                      <a:gd name="connsiteX34" fmla="*/ 19307 w 39544"/>
                      <a:gd name="connsiteY34" fmla="*/ 10724 h 18609"/>
                      <a:gd name="connsiteX35" fmla="*/ 19307 w 39544"/>
                      <a:gd name="connsiteY35" fmla="*/ 10677 h 18609"/>
                      <a:gd name="connsiteX36" fmla="*/ 19168 w 39544"/>
                      <a:gd name="connsiteY36" fmla="*/ 9468 h 18609"/>
                      <a:gd name="connsiteX37" fmla="*/ 19214 w 39544"/>
                      <a:gd name="connsiteY37" fmla="*/ 9049 h 18609"/>
                      <a:gd name="connsiteX38" fmla="*/ 19214 w 39544"/>
                      <a:gd name="connsiteY38" fmla="*/ 9049 h 18609"/>
                      <a:gd name="connsiteX39" fmla="*/ 19261 w 39544"/>
                      <a:gd name="connsiteY39" fmla="*/ 8886 h 18609"/>
                      <a:gd name="connsiteX40" fmla="*/ 19261 w 39544"/>
                      <a:gd name="connsiteY40" fmla="*/ 8886 h 18609"/>
                      <a:gd name="connsiteX41" fmla="*/ 19470 w 39544"/>
                      <a:gd name="connsiteY41" fmla="*/ 8351 h 18609"/>
                      <a:gd name="connsiteX42" fmla="*/ 19470 w 39544"/>
                      <a:gd name="connsiteY42" fmla="*/ 8351 h 18609"/>
                      <a:gd name="connsiteX43" fmla="*/ 19563 w 39544"/>
                      <a:gd name="connsiteY43" fmla="*/ 8188 h 18609"/>
                      <a:gd name="connsiteX44" fmla="*/ 19563 w 39544"/>
                      <a:gd name="connsiteY44" fmla="*/ 8188 h 18609"/>
                      <a:gd name="connsiteX45" fmla="*/ 20005 w 39544"/>
                      <a:gd name="connsiteY45" fmla="*/ 7700 h 18609"/>
                      <a:gd name="connsiteX46" fmla="*/ 20982 w 39544"/>
                      <a:gd name="connsiteY46" fmla="*/ 7025 h 18609"/>
                      <a:gd name="connsiteX47" fmla="*/ 21657 w 39544"/>
                      <a:gd name="connsiteY47" fmla="*/ 6816 h 18609"/>
                      <a:gd name="connsiteX48" fmla="*/ 22820 w 39544"/>
                      <a:gd name="connsiteY48" fmla="*/ 7560 h 18609"/>
                      <a:gd name="connsiteX49" fmla="*/ 24029 w 39544"/>
                      <a:gd name="connsiteY49" fmla="*/ 7560 h 18609"/>
                      <a:gd name="connsiteX50" fmla="*/ 24029 w 39544"/>
                      <a:gd name="connsiteY50" fmla="*/ 7560 h 18609"/>
                      <a:gd name="connsiteX51" fmla="*/ 24029 w 39544"/>
                      <a:gd name="connsiteY51" fmla="*/ 7514 h 18609"/>
                      <a:gd name="connsiteX52" fmla="*/ 24937 w 39544"/>
                      <a:gd name="connsiteY52" fmla="*/ 4676 h 18609"/>
                      <a:gd name="connsiteX53" fmla="*/ 25960 w 39544"/>
                      <a:gd name="connsiteY53" fmla="*/ 4141 h 18609"/>
                      <a:gd name="connsiteX54" fmla="*/ 26495 w 39544"/>
                      <a:gd name="connsiteY54" fmla="*/ 4024 h 18609"/>
                      <a:gd name="connsiteX55" fmla="*/ 27821 w 39544"/>
                      <a:gd name="connsiteY55" fmla="*/ 5118 h 18609"/>
                      <a:gd name="connsiteX56" fmla="*/ 28961 w 39544"/>
                      <a:gd name="connsiteY56" fmla="*/ 5118 h 18609"/>
                      <a:gd name="connsiteX57" fmla="*/ 28961 w 39544"/>
                      <a:gd name="connsiteY57" fmla="*/ 5071 h 18609"/>
                      <a:gd name="connsiteX58" fmla="*/ 29077 w 39544"/>
                      <a:gd name="connsiteY58" fmla="*/ 3536 h 18609"/>
                      <a:gd name="connsiteX59" fmla="*/ 29077 w 39544"/>
                      <a:gd name="connsiteY59" fmla="*/ 3536 h 18609"/>
                      <a:gd name="connsiteX60" fmla="*/ 29100 w 39544"/>
                      <a:gd name="connsiteY60" fmla="*/ 3419 h 18609"/>
                      <a:gd name="connsiteX61" fmla="*/ 29100 w 39544"/>
                      <a:gd name="connsiteY61" fmla="*/ 3419 h 18609"/>
                      <a:gd name="connsiteX62" fmla="*/ 30077 w 39544"/>
                      <a:gd name="connsiteY62" fmla="*/ 2373 h 18609"/>
                      <a:gd name="connsiteX63" fmla="*/ 31124 w 39544"/>
                      <a:gd name="connsiteY63" fmla="*/ 2000 h 18609"/>
                      <a:gd name="connsiteX64" fmla="*/ 31496 w 39544"/>
                      <a:gd name="connsiteY64" fmla="*/ 1931 h 18609"/>
                      <a:gd name="connsiteX65" fmla="*/ 32939 w 39544"/>
                      <a:gd name="connsiteY65" fmla="*/ 3373 h 18609"/>
                      <a:gd name="connsiteX66" fmla="*/ 34032 w 39544"/>
                      <a:gd name="connsiteY66" fmla="*/ 3373 h 18609"/>
                      <a:gd name="connsiteX67" fmla="*/ 34032 w 39544"/>
                      <a:gd name="connsiteY67" fmla="*/ 3350 h 18609"/>
                      <a:gd name="connsiteX68" fmla="*/ 35335 w 39544"/>
                      <a:gd name="connsiteY68" fmla="*/ 837 h 18609"/>
                      <a:gd name="connsiteX69" fmla="*/ 36405 w 39544"/>
                      <a:gd name="connsiteY69" fmla="*/ 605 h 18609"/>
                      <a:gd name="connsiteX70" fmla="*/ 36614 w 39544"/>
                      <a:gd name="connsiteY70" fmla="*/ 582 h 18609"/>
                      <a:gd name="connsiteX71" fmla="*/ 38172 w 39544"/>
                      <a:gd name="connsiteY71" fmla="*/ 2512 h 18609"/>
                      <a:gd name="connsiteX72" fmla="*/ 38172 w 39544"/>
                      <a:gd name="connsiteY72" fmla="*/ 2512 h 18609"/>
                      <a:gd name="connsiteX73" fmla="*/ 38498 w 39544"/>
                      <a:gd name="connsiteY73" fmla="*/ 2512 h 18609"/>
                      <a:gd name="connsiteX74" fmla="*/ 39196 w 39544"/>
                      <a:gd name="connsiteY74" fmla="*/ 2419 h 18609"/>
                      <a:gd name="connsiteX75" fmla="*/ 39196 w 39544"/>
                      <a:gd name="connsiteY75" fmla="*/ 2373 h 18609"/>
                      <a:gd name="connsiteX76" fmla="*/ 40685 w 39544"/>
                      <a:gd name="connsiteY76" fmla="*/ 46 h 18609"/>
                      <a:gd name="connsiteX77" fmla="*/ 41150 w 39544"/>
                      <a:gd name="connsiteY77" fmla="*/ 23 h 18609"/>
                      <a:gd name="connsiteX78" fmla="*/ 41150 w 39544"/>
                      <a:gd name="connsiteY78" fmla="*/ 23 h 18609"/>
                      <a:gd name="connsiteX79" fmla="*/ 41220 w 39544"/>
                      <a:gd name="connsiteY79" fmla="*/ 23 h 18609"/>
                      <a:gd name="connsiteX80" fmla="*/ 41755 w 39544"/>
                      <a:gd name="connsiteY80" fmla="*/ 0 h 18609"/>
                      <a:gd name="connsiteX81" fmla="*/ 41801 w 39544"/>
                      <a:gd name="connsiteY81" fmla="*/ 0 h 18609"/>
                      <a:gd name="connsiteX82" fmla="*/ 31380 w 39544"/>
                      <a:gd name="connsiteY82" fmla="*/ 0 h 18609"/>
                      <a:gd name="connsiteX83" fmla="*/ 31310 w 39544"/>
                      <a:gd name="connsiteY83" fmla="*/ 0 h 18609"/>
                      <a:gd name="connsiteX84" fmla="*/ 30892 w 39544"/>
                      <a:gd name="connsiteY84" fmla="*/ 23 h 18609"/>
                      <a:gd name="connsiteX85" fmla="*/ 30240 w 39544"/>
                      <a:gd name="connsiteY85" fmla="*/ 70 h 18609"/>
                      <a:gd name="connsiteX86" fmla="*/ 29961 w 39544"/>
                      <a:gd name="connsiteY86" fmla="*/ 116 h 18609"/>
                      <a:gd name="connsiteX87" fmla="*/ 29961 w 39544"/>
                      <a:gd name="connsiteY87" fmla="*/ 116 h 18609"/>
                      <a:gd name="connsiteX88" fmla="*/ 29635 w 39544"/>
                      <a:gd name="connsiteY88" fmla="*/ 279 h 18609"/>
                      <a:gd name="connsiteX89" fmla="*/ 29612 w 39544"/>
                      <a:gd name="connsiteY89" fmla="*/ 279 h 18609"/>
                      <a:gd name="connsiteX90" fmla="*/ 29566 w 39544"/>
                      <a:gd name="connsiteY90" fmla="*/ 326 h 18609"/>
                      <a:gd name="connsiteX91" fmla="*/ 29310 w 39544"/>
                      <a:gd name="connsiteY91" fmla="*/ 558 h 18609"/>
                      <a:gd name="connsiteX92" fmla="*/ 26193 w 39544"/>
                      <a:gd name="connsiteY92" fmla="*/ 558 h 18609"/>
                      <a:gd name="connsiteX93" fmla="*/ 26123 w 39544"/>
                      <a:gd name="connsiteY93" fmla="*/ 558 h 18609"/>
                      <a:gd name="connsiteX94" fmla="*/ 25983 w 39544"/>
                      <a:gd name="connsiteY94" fmla="*/ 582 h 18609"/>
                      <a:gd name="connsiteX95" fmla="*/ 24913 w 39544"/>
                      <a:gd name="connsiteY95" fmla="*/ 814 h 18609"/>
                      <a:gd name="connsiteX96" fmla="*/ 24797 w 39544"/>
                      <a:gd name="connsiteY96" fmla="*/ 837 h 18609"/>
                      <a:gd name="connsiteX97" fmla="*/ 24727 w 39544"/>
                      <a:gd name="connsiteY97" fmla="*/ 884 h 18609"/>
                      <a:gd name="connsiteX98" fmla="*/ 24495 w 39544"/>
                      <a:gd name="connsiteY98" fmla="*/ 1000 h 18609"/>
                      <a:gd name="connsiteX99" fmla="*/ 24425 w 39544"/>
                      <a:gd name="connsiteY99" fmla="*/ 1047 h 18609"/>
                      <a:gd name="connsiteX100" fmla="*/ 24402 w 39544"/>
                      <a:gd name="connsiteY100" fmla="*/ 1070 h 18609"/>
                      <a:gd name="connsiteX101" fmla="*/ 24076 w 39544"/>
                      <a:gd name="connsiteY101" fmla="*/ 1396 h 18609"/>
                      <a:gd name="connsiteX102" fmla="*/ 24029 w 39544"/>
                      <a:gd name="connsiteY102" fmla="*/ 1465 h 18609"/>
                      <a:gd name="connsiteX103" fmla="*/ 23820 w 39544"/>
                      <a:gd name="connsiteY103" fmla="*/ 1838 h 18609"/>
                      <a:gd name="connsiteX104" fmla="*/ 23797 w 39544"/>
                      <a:gd name="connsiteY104" fmla="*/ 1884 h 18609"/>
                      <a:gd name="connsiteX105" fmla="*/ 21075 w 39544"/>
                      <a:gd name="connsiteY105" fmla="*/ 1884 h 18609"/>
                      <a:gd name="connsiteX106" fmla="*/ 21005 w 39544"/>
                      <a:gd name="connsiteY106" fmla="*/ 1884 h 18609"/>
                      <a:gd name="connsiteX107" fmla="*/ 20703 w 39544"/>
                      <a:gd name="connsiteY107" fmla="*/ 1954 h 18609"/>
                      <a:gd name="connsiteX108" fmla="*/ 20703 w 39544"/>
                      <a:gd name="connsiteY108" fmla="*/ 1954 h 18609"/>
                      <a:gd name="connsiteX109" fmla="*/ 19656 w 39544"/>
                      <a:gd name="connsiteY109" fmla="*/ 2326 h 18609"/>
                      <a:gd name="connsiteX110" fmla="*/ 19330 w 39544"/>
                      <a:gd name="connsiteY110" fmla="*/ 2489 h 18609"/>
                      <a:gd name="connsiteX111" fmla="*/ 19307 w 39544"/>
                      <a:gd name="connsiteY111" fmla="*/ 2489 h 18609"/>
                      <a:gd name="connsiteX112" fmla="*/ 19261 w 39544"/>
                      <a:gd name="connsiteY112" fmla="*/ 2536 h 18609"/>
                      <a:gd name="connsiteX113" fmla="*/ 18982 w 39544"/>
                      <a:gd name="connsiteY113" fmla="*/ 2838 h 18609"/>
                      <a:gd name="connsiteX114" fmla="*/ 18912 w 39544"/>
                      <a:gd name="connsiteY114" fmla="*/ 2931 h 18609"/>
                      <a:gd name="connsiteX115" fmla="*/ 18679 w 39544"/>
                      <a:gd name="connsiteY115" fmla="*/ 3373 h 18609"/>
                      <a:gd name="connsiteX116" fmla="*/ 18679 w 39544"/>
                      <a:gd name="connsiteY116" fmla="*/ 3396 h 18609"/>
                      <a:gd name="connsiteX117" fmla="*/ 18656 w 39544"/>
                      <a:gd name="connsiteY117" fmla="*/ 3489 h 18609"/>
                      <a:gd name="connsiteX118" fmla="*/ 18563 w 39544"/>
                      <a:gd name="connsiteY118" fmla="*/ 3861 h 18609"/>
                      <a:gd name="connsiteX119" fmla="*/ 18540 w 39544"/>
                      <a:gd name="connsiteY119" fmla="*/ 3931 h 18609"/>
                      <a:gd name="connsiteX120" fmla="*/ 18540 w 39544"/>
                      <a:gd name="connsiteY120" fmla="*/ 3955 h 18609"/>
                      <a:gd name="connsiteX121" fmla="*/ 16074 w 39544"/>
                      <a:gd name="connsiteY121" fmla="*/ 3978 h 18609"/>
                      <a:gd name="connsiteX122" fmla="*/ 16027 w 39544"/>
                      <a:gd name="connsiteY122" fmla="*/ 3978 h 18609"/>
                      <a:gd name="connsiteX123" fmla="*/ 15725 w 39544"/>
                      <a:gd name="connsiteY123" fmla="*/ 4024 h 18609"/>
                      <a:gd name="connsiteX124" fmla="*/ 15562 w 39544"/>
                      <a:gd name="connsiteY124" fmla="*/ 4094 h 18609"/>
                      <a:gd name="connsiteX125" fmla="*/ 14539 w 39544"/>
                      <a:gd name="connsiteY125" fmla="*/ 4629 h 18609"/>
                      <a:gd name="connsiteX126" fmla="*/ 14352 w 39544"/>
                      <a:gd name="connsiteY126" fmla="*/ 4745 h 18609"/>
                      <a:gd name="connsiteX127" fmla="*/ 14073 w 39544"/>
                      <a:gd name="connsiteY127" fmla="*/ 5048 h 18609"/>
                      <a:gd name="connsiteX128" fmla="*/ 14004 w 39544"/>
                      <a:gd name="connsiteY128" fmla="*/ 5118 h 18609"/>
                      <a:gd name="connsiteX129" fmla="*/ 13724 w 39544"/>
                      <a:gd name="connsiteY129" fmla="*/ 5653 h 18609"/>
                      <a:gd name="connsiteX130" fmla="*/ 13701 w 39544"/>
                      <a:gd name="connsiteY130" fmla="*/ 5746 h 18609"/>
                      <a:gd name="connsiteX131" fmla="*/ 13655 w 39544"/>
                      <a:gd name="connsiteY131" fmla="*/ 5908 h 18609"/>
                      <a:gd name="connsiteX132" fmla="*/ 13585 w 39544"/>
                      <a:gd name="connsiteY132" fmla="*/ 6188 h 18609"/>
                      <a:gd name="connsiteX133" fmla="*/ 13538 w 39544"/>
                      <a:gd name="connsiteY133" fmla="*/ 6606 h 18609"/>
                      <a:gd name="connsiteX134" fmla="*/ 13538 w 39544"/>
                      <a:gd name="connsiteY134" fmla="*/ 6606 h 18609"/>
                      <a:gd name="connsiteX135" fmla="*/ 13538 w 39544"/>
                      <a:gd name="connsiteY135" fmla="*/ 6630 h 18609"/>
                      <a:gd name="connsiteX136" fmla="*/ 13538 w 39544"/>
                      <a:gd name="connsiteY136" fmla="*/ 6769 h 18609"/>
                      <a:gd name="connsiteX137" fmla="*/ 11259 w 39544"/>
                      <a:gd name="connsiteY137" fmla="*/ 6769 h 18609"/>
                      <a:gd name="connsiteX138" fmla="*/ 11189 w 39544"/>
                      <a:gd name="connsiteY138" fmla="*/ 6769 h 18609"/>
                      <a:gd name="connsiteX139" fmla="*/ 11003 w 39544"/>
                      <a:gd name="connsiteY139" fmla="*/ 6792 h 18609"/>
                      <a:gd name="connsiteX140" fmla="*/ 10910 w 39544"/>
                      <a:gd name="connsiteY140" fmla="*/ 6816 h 18609"/>
                      <a:gd name="connsiteX141" fmla="*/ 10886 w 39544"/>
                      <a:gd name="connsiteY141" fmla="*/ 6816 h 18609"/>
                      <a:gd name="connsiteX142" fmla="*/ 10607 w 39544"/>
                      <a:gd name="connsiteY142" fmla="*/ 6979 h 18609"/>
                      <a:gd name="connsiteX143" fmla="*/ 9630 w 39544"/>
                      <a:gd name="connsiteY143" fmla="*/ 7653 h 18609"/>
                      <a:gd name="connsiteX144" fmla="*/ 9607 w 39544"/>
                      <a:gd name="connsiteY144" fmla="*/ 7676 h 18609"/>
                      <a:gd name="connsiteX145" fmla="*/ 9188 w 39544"/>
                      <a:gd name="connsiteY145" fmla="*/ 8165 h 18609"/>
                      <a:gd name="connsiteX146" fmla="*/ 9095 w 39544"/>
                      <a:gd name="connsiteY146" fmla="*/ 8328 h 18609"/>
                      <a:gd name="connsiteX147" fmla="*/ 8956 w 39544"/>
                      <a:gd name="connsiteY147" fmla="*/ 8584 h 18609"/>
                      <a:gd name="connsiteX148" fmla="*/ 8886 w 39544"/>
                      <a:gd name="connsiteY148" fmla="*/ 8863 h 18609"/>
                      <a:gd name="connsiteX149" fmla="*/ 8839 w 39544"/>
                      <a:gd name="connsiteY149" fmla="*/ 9026 h 18609"/>
                      <a:gd name="connsiteX150" fmla="*/ 8816 w 39544"/>
                      <a:gd name="connsiteY150" fmla="*/ 9119 h 18609"/>
                      <a:gd name="connsiteX151" fmla="*/ 8770 w 39544"/>
                      <a:gd name="connsiteY151" fmla="*/ 9537 h 18609"/>
                      <a:gd name="connsiteX152" fmla="*/ 8770 w 39544"/>
                      <a:gd name="connsiteY152" fmla="*/ 9747 h 18609"/>
                      <a:gd name="connsiteX153" fmla="*/ 8770 w 39544"/>
                      <a:gd name="connsiteY153" fmla="*/ 9840 h 18609"/>
                      <a:gd name="connsiteX154" fmla="*/ 8770 w 39544"/>
                      <a:gd name="connsiteY154" fmla="*/ 9956 h 18609"/>
                      <a:gd name="connsiteX155" fmla="*/ 8839 w 39544"/>
                      <a:gd name="connsiteY155" fmla="*/ 10282 h 18609"/>
                      <a:gd name="connsiteX156" fmla="*/ 6676 w 39544"/>
                      <a:gd name="connsiteY156" fmla="*/ 10282 h 18609"/>
                      <a:gd name="connsiteX157" fmla="*/ 6630 w 39544"/>
                      <a:gd name="connsiteY157" fmla="*/ 10282 h 18609"/>
                      <a:gd name="connsiteX158" fmla="*/ 6327 w 39544"/>
                      <a:gd name="connsiteY158" fmla="*/ 10328 h 18609"/>
                      <a:gd name="connsiteX159" fmla="*/ 6304 w 39544"/>
                      <a:gd name="connsiteY159" fmla="*/ 10351 h 18609"/>
                      <a:gd name="connsiteX160" fmla="*/ 6164 w 39544"/>
                      <a:gd name="connsiteY160" fmla="*/ 10421 h 18609"/>
                      <a:gd name="connsiteX161" fmla="*/ 5955 w 39544"/>
                      <a:gd name="connsiteY161" fmla="*/ 10538 h 18609"/>
                      <a:gd name="connsiteX162" fmla="*/ 5885 w 39544"/>
                      <a:gd name="connsiteY162" fmla="*/ 10607 h 18609"/>
                      <a:gd name="connsiteX163" fmla="*/ 4978 w 39544"/>
                      <a:gd name="connsiteY163" fmla="*/ 11398 h 18609"/>
                      <a:gd name="connsiteX164" fmla="*/ 4583 w 39544"/>
                      <a:gd name="connsiteY164" fmla="*/ 11933 h 18609"/>
                      <a:gd name="connsiteX165" fmla="*/ 4513 w 39544"/>
                      <a:gd name="connsiteY165" fmla="*/ 12073 h 18609"/>
                      <a:gd name="connsiteX166" fmla="*/ 4443 w 39544"/>
                      <a:gd name="connsiteY166" fmla="*/ 12212 h 18609"/>
                      <a:gd name="connsiteX167" fmla="*/ 4303 w 39544"/>
                      <a:gd name="connsiteY167" fmla="*/ 12724 h 18609"/>
                      <a:gd name="connsiteX168" fmla="*/ 4303 w 39544"/>
                      <a:gd name="connsiteY168" fmla="*/ 12747 h 18609"/>
                      <a:gd name="connsiteX169" fmla="*/ 4303 w 39544"/>
                      <a:gd name="connsiteY169" fmla="*/ 12794 h 18609"/>
                      <a:gd name="connsiteX170" fmla="*/ 4257 w 39544"/>
                      <a:gd name="connsiteY170" fmla="*/ 13166 h 18609"/>
                      <a:gd name="connsiteX171" fmla="*/ 4257 w 39544"/>
                      <a:gd name="connsiteY171" fmla="*/ 13562 h 18609"/>
                      <a:gd name="connsiteX172" fmla="*/ 4257 w 39544"/>
                      <a:gd name="connsiteY172" fmla="*/ 13608 h 18609"/>
                      <a:gd name="connsiteX173" fmla="*/ 4257 w 39544"/>
                      <a:gd name="connsiteY173" fmla="*/ 13678 h 18609"/>
                      <a:gd name="connsiteX174" fmla="*/ 4303 w 39544"/>
                      <a:gd name="connsiteY174" fmla="*/ 14004 h 18609"/>
                      <a:gd name="connsiteX175" fmla="*/ 4420 w 39544"/>
                      <a:gd name="connsiteY175" fmla="*/ 14376 h 18609"/>
                      <a:gd name="connsiteX176" fmla="*/ 2349 w 39544"/>
                      <a:gd name="connsiteY176" fmla="*/ 14376 h 18609"/>
                      <a:gd name="connsiteX177" fmla="*/ 2280 w 39544"/>
                      <a:gd name="connsiteY177" fmla="*/ 14376 h 18609"/>
                      <a:gd name="connsiteX178" fmla="*/ 1977 w 39544"/>
                      <a:gd name="connsiteY178" fmla="*/ 14446 h 18609"/>
                      <a:gd name="connsiteX179" fmla="*/ 1907 w 39544"/>
                      <a:gd name="connsiteY179" fmla="*/ 14469 h 18609"/>
                      <a:gd name="connsiteX180" fmla="*/ 1791 w 39544"/>
                      <a:gd name="connsiteY180" fmla="*/ 14539 h 18609"/>
                      <a:gd name="connsiteX181" fmla="*/ 1628 w 39544"/>
                      <a:gd name="connsiteY181" fmla="*/ 14632 h 18609"/>
                      <a:gd name="connsiteX182" fmla="*/ 1419 w 39544"/>
                      <a:gd name="connsiteY182" fmla="*/ 14818 h 18609"/>
                      <a:gd name="connsiteX183" fmla="*/ 582 w 39544"/>
                      <a:gd name="connsiteY183" fmla="*/ 15748 h 18609"/>
                      <a:gd name="connsiteX184" fmla="*/ 163 w 39544"/>
                      <a:gd name="connsiteY184" fmla="*/ 16423 h 18609"/>
                      <a:gd name="connsiteX185" fmla="*/ 163 w 39544"/>
                      <a:gd name="connsiteY185" fmla="*/ 16423 h 18609"/>
                      <a:gd name="connsiteX186" fmla="*/ 23 w 39544"/>
                      <a:gd name="connsiteY186" fmla="*/ 16935 h 18609"/>
                      <a:gd name="connsiteX187" fmla="*/ 0 w 39544"/>
                      <a:gd name="connsiteY187" fmla="*/ 17144 h 18609"/>
                      <a:gd name="connsiteX188" fmla="*/ 0 w 39544"/>
                      <a:gd name="connsiteY188" fmla="*/ 17237 h 18609"/>
                      <a:gd name="connsiteX189" fmla="*/ 0 w 39544"/>
                      <a:gd name="connsiteY189" fmla="*/ 17353 h 18609"/>
                      <a:gd name="connsiteX190" fmla="*/ 0 w 39544"/>
                      <a:gd name="connsiteY190" fmla="*/ 17772 h 18609"/>
                      <a:gd name="connsiteX191" fmla="*/ 47 w 39544"/>
                      <a:gd name="connsiteY191" fmla="*/ 17981 h 18609"/>
                      <a:gd name="connsiteX192" fmla="*/ 70 w 39544"/>
                      <a:gd name="connsiteY192" fmla="*/ 18098 h 18609"/>
                      <a:gd name="connsiteX193" fmla="*/ 93 w 39544"/>
                      <a:gd name="connsiteY193" fmla="*/ 18214 h 18609"/>
                      <a:gd name="connsiteX194" fmla="*/ 349 w 39544"/>
                      <a:gd name="connsiteY194" fmla="*/ 18842 h 18609"/>
                      <a:gd name="connsiteX195" fmla="*/ 349 w 39544"/>
                      <a:gd name="connsiteY195" fmla="*/ 18865 h 18609"/>
                      <a:gd name="connsiteX196" fmla="*/ 1582 w 39544"/>
                      <a:gd name="connsiteY196" fmla="*/ 18865 h 18609"/>
                      <a:gd name="connsiteX197" fmla="*/ 2791 w 39544"/>
                      <a:gd name="connsiteY197" fmla="*/ 18935 h 186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  <a:cxn ang="0">
                        <a:pos x="connsiteX80" y="connsiteY80"/>
                      </a:cxn>
                      <a:cxn ang="0">
                        <a:pos x="connsiteX81" y="connsiteY81"/>
                      </a:cxn>
                      <a:cxn ang="0">
                        <a:pos x="connsiteX82" y="connsiteY82"/>
                      </a:cxn>
                      <a:cxn ang="0">
                        <a:pos x="connsiteX83" y="connsiteY83"/>
                      </a:cxn>
                      <a:cxn ang="0">
                        <a:pos x="connsiteX84" y="connsiteY84"/>
                      </a:cxn>
                      <a:cxn ang="0">
                        <a:pos x="connsiteX85" y="connsiteY85"/>
                      </a:cxn>
                      <a:cxn ang="0">
                        <a:pos x="connsiteX86" y="connsiteY86"/>
                      </a:cxn>
                      <a:cxn ang="0">
                        <a:pos x="connsiteX87" y="connsiteY87"/>
                      </a:cxn>
                      <a:cxn ang="0">
                        <a:pos x="connsiteX88" y="connsiteY88"/>
                      </a:cxn>
                      <a:cxn ang="0">
                        <a:pos x="connsiteX89" y="connsiteY89"/>
                      </a:cxn>
                      <a:cxn ang="0">
                        <a:pos x="connsiteX90" y="connsiteY90"/>
                      </a:cxn>
                      <a:cxn ang="0">
                        <a:pos x="connsiteX91" y="connsiteY91"/>
                      </a:cxn>
                      <a:cxn ang="0">
                        <a:pos x="connsiteX92" y="connsiteY92"/>
                      </a:cxn>
                      <a:cxn ang="0">
                        <a:pos x="connsiteX93" y="connsiteY93"/>
                      </a:cxn>
                      <a:cxn ang="0">
                        <a:pos x="connsiteX94" y="connsiteY94"/>
                      </a:cxn>
                      <a:cxn ang="0">
                        <a:pos x="connsiteX95" y="connsiteY95"/>
                      </a:cxn>
                      <a:cxn ang="0">
                        <a:pos x="connsiteX96" y="connsiteY96"/>
                      </a:cxn>
                      <a:cxn ang="0">
                        <a:pos x="connsiteX97" y="connsiteY97"/>
                      </a:cxn>
                      <a:cxn ang="0">
                        <a:pos x="connsiteX98" y="connsiteY98"/>
                      </a:cxn>
                      <a:cxn ang="0">
                        <a:pos x="connsiteX99" y="connsiteY99"/>
                      </a:cxn>
                      <a:cxn ang="0">
                        <a:pos x="connsiteX100" y="connsiteY100"/>
                      </a:cxn>
                      <a:cxn ang="0">
                        <a:pos x="connsiteX101" y="connsiteY101"/>
                      </a:cxn>
                      <a:cxn ang="0">
                        <a:pos x="connsiteX102" y="connsiteY102"/>
                      </a:cxn>
                      <a:cxn ang="0">
                        <a:pos x="connsiteX103" y="connsiteY103"/>
                      </a:cxn>
                      <a:cxn ang="0">
                        <a:pos x="connsiteX104" y="connsiteY104"/>
                      </a:cxn>
                      <a:cxn ang="0">
                        <a:pos x="connsiteX105" y="connsiteY105"/>
                      </a:cxn>
                      <a:cxn ang="0">
                        <a:pos x="connsiteX106" y="connsiteY106"/>
                      </a:cxn>
                      <a:cxn ang="0">
                        <a:pos x="connsiteX107" y="connsiteY107"/>
                      </a:cxn>
                      <a:cxn ang="0">
                        <a:pos x="connsiteX108" y="connsiteY108"/>
                      </a:cxn>
                      <a:cxn ang="0">
                        <a:pos x="connsiteX109" y="connsiteY109"/>
                      </a:cxn>
                      <a:cxn ang="0">
                        <a:pos x="connsiteX110" y="connsiteY110"/>
                      </a:cxn>
                      <a:cxn ang="0">
                        <a:pos x="connsiteX111" y="connsiteY111"/>
                      </a:cxn>
                      <a:cxn ang="0">
                        <a:pos x="connsiteX112" y="connsiteY112"/>
                      </a:cxn>
                      <a:cxn ang="0">
                        <a:pos x="connsiteX113" y="connsiteY113"/>
                      </a:cxn>
                      <a:cxn ang="0">
                        <a:pos x="connsiteX114" y="connsiteY114"/>
                      </a:cxn>
                      <a:cxn ang="0">
                        <a:pos x="connsiteX115" y="connsiteY115"/>
                      </a:cxn>
                      <a:cxn ang="0">
                        <a:pos x="connsiteX116" y="connsiteY116"/>
                      </a:cxn>
                      <a:cxn ang="0">
                        <a:pos x="connsiteX117" y="connsiteY117"/>
                      </a:cxn>
                      <a:cxn ang="0">
                        <a:pos x="connsiteX118" y="connsiteY118"/>
                      </a:cxn>
                      <a:cxn ang="0">
                        <a:pos x="connsiteX119" y="connsiteY119"/>
                      </a:cxn>
                      <a:cxn ang="0">
                        <a:pos x="connsiteX120" y="connsiteY120"/>
                      </a:cxn>
                      <a:cxn ang="0">
                        <a:pos x="connsiteX121" y="connsiteY121"/>
                      </a:cxn>
                      <a:cxn ang="0">
                        <a:pos x="connsiteX122" y="connsiteY122"/>
                      </a:cxn>
                      <a:cxn ang="0">
                        <a:pos x="connsiteX123" y="connsiteY123"/>
                      </a:cxn>
                      <a:cxn ang="0">
                        <a:pos x="connsiteX124" y="connsiteY124"/>
                      </a:cxn>
                      <a:cxn ang="0">
                        <a:pos x="connsiteX125" y="connsiteY125"/>
                      </a:cxn>
                      <a:cxn ang="0">
                        <a:pos x="connsiteX126" y="connsiteY126"/>
                      </a:cxn>
                      <a:cxn ang="0">
                        <a:pos x="connsiteX127" y="connsiteY127"/>
                      </a:cxn>
                      <a:cxn ang="0">
                        <a:pos x="connsiteX128" y="connsiteY128"/>
                      </a:cxn>
                      <a:cxn ang="0">
                        <a:pos x="connsiteX129" y="connsiteY129"/>
                      </a:cxn>
                      <a:cxn ang="0">
                        <a:pos x="connsiteX130" y="connsiteY130"/>
                      </a:cxn>
                      <a:cxn ang="0">
                        <a:pos x="connsiteX131" y="connsiteY131"/>
                      </a:cxn>
                      <a:cxn ang="0">
                        <a:pos x="connsiteX132" y="connsiteY132"/>
                      </a:cxn>
                      <a:cxn ang="0">
                        <a:pos x="connsiteX133" y="connsiteY133"/>
                      </a:cxn>
                      <a:cxn ang="0">
                        <a:pos x="connsiteX134" y="connsiteY134"/>
                      </a:cxn>
                      <a:cxn ang="0">
                        <a:pos x="connsiteX135" y="connsiteY135"/>
                      </a:cxn>
                      <a:cxn ang="0">
                        <a:pos x="connsiteX136" y="connsiteY136"/>
                      </a:cxn>
                      <a:cxn ang="0">
                        <a:pos x="connsiteX137" y="connsiteY137"/>
                      </a:cxn>
                      <a:cxn ang="0">
                        <a:pos x="connsiteX138" y="connsiteY138"/>
                      </a:cxn>
                      <a:cxn ang="0">
                        <a:pos x="connsiteX139" y="connsiteY139"/>
                      </a:cxn>
                      <a:cxn ang="0">
                        <a:pos x="connsiteX140" y="connsiteY140"/>
                      </a:cxn>
                      <a:cxn ang="0">
                        <a:pos x="connsiteX141" y="connsiteY141"/>
                      </a:cxn>
                      <a:cxn ang="0">
                        <a:pos x="connsiteX142" y="connsiteY142"/>
                      </a:cxn>
                      <a:cxn ang="0">
                        <a:pos x="connsiteX143" y="connsiteY143"/>
                      </a:cxn>
                      <a:cxn ang="0">
                        <a:pos x="connsiteX144" y="connsiteY144"/>
                      </a:cxn>
                      <a:cxn ang="0">
                        <a:pos x="connsiteX145" y="connsiteY145"/>
                      </a:cxn>
                      <a:cxn ang="0">
                        <a:pos x="connsiteX146" y="connsiteY146"/>
                      </a:cxn>
                      <a:cxn ang="0">
                        <a:pos x="connsiteX147" y="connsiteY147"/>
                      </a:cxn>
                      <a:cxn ang="0">
                        <a:pos x="connsiteX148" y="connsiteY148"/>
                      </a:cxn>
                      <a:cxn ang="0">
                        <a:pos x="connsiteX149" y="connsiteY149"/>
                      </a:cxn>
                      <a:cxn ang="0">
                        <a:pos x="connsiteX150" y="connsiteY150"/>
                      </a:cxn>
                      <a:cxn ang="0">
                        <a:pos x="connsiteX151" y="connsiteY151"/>
                      </a:cxn>
                      <a:cxn ang="0">
                        <a:pos x="connsiteX152" y="connsiteY152"/>
                      </a:cxn>
                      <a:cxn ang="0">
                        <a:pos x="connsiteX153" y="connsiteY153"/>
                      </a:cxn>
                      <a:cxn ang="0">
                        <a:pos x="connsiteX154" y="connsiteY154"/>
                      </a:cxn>
                      <a:cxn ang="0">
                        <a:pos x="connsiteX155" y="connsiteY155"/>
                      </a:cxn>
                      <a:cxn ang="0">
                        <a:pos x="connsiteX156" y="connsiteY156"/>
                      </a:cxn>
                      <a:cxn ang="0">
                        <a:pos x="connsiteX157" y="connsiteY157"/>
                      </a:cxn>
                      <a:cxn ang="0">
                        <a:pos x="connsiteX158" y="connsiteY158"/>
                      </a:cxn>
                      <a:cxn ang="0">
                        <a:pos x="connsiteX159" y="connsiteY159"/>
                      </a:cxn>
                      <a:cxn ang="0">
                        <a:pos x="connsiteX160" y="connsiteY160"/>
                      </a:cxn>
                      <a:cxn ang="0">
                        <a:pos x="connsiteX161" y="connsiteY161"/>
                      </a:cxn>
                      <a:cxn ang="0">
                        <a:pos x="connsiteX162" y="connsiteY162"/>
                      </a:cxn>
                      <a:cxn ang="0">
                        <a:pos x="connsiteX163" y="connsiteY163"/>
                      </a:cxn>
                      <a:cxn ang="0">
                        <a:pos x="connsiteX164" y="connsiteY164"/>
                      </a:cxn>
                      <a:cxn ang="0">
                        <a:pos x="connsiteX165" y="connsiteY165"/>
                      </a:cxn>
                      <a:cxn ang="0">
                        <a:pos x="connsiteX166" y="connsiteY166"/>
                      </a:cxn>
                      <a:cxn ang="0">
                        <a:pos x="connsiteX167" y="connsiteY167"/>
                      </a:cxn>
                      <a:cxn ang="0">
                        <a:pos x="connsiteX168" y="connsiteY168"/>
                      </a:cxn>
                      <a:cxn ang="0">
                        <a:pos x="connsiteX169" y="connsiteY169"/>
                      </a:cxn>
                      <a:cxn ang="0">
                        <a:pos x="connsiteX170" y="connsiteY170"/>
                      </a:cxn>
                      <a:cxn ang="0">
                        <a:pos x="connsiteX171" y="connsiteY171"/>
                      </a:cxn>
                      <a:cxn ang="0">
                        <a:pos x="connsiteX172" y="connsiteY172"/>
                      </a:cxn>
                      <a:cxn ang="0">
                        <a:pos x="connsiteX173" y="connsiteY173"/>
                      </a:cxn>
                      <a:cxn ang="0">
                        <a:pos x="connsiteX174" y="connsiteY174"/>
                      </a:cxn>
                      <a:cxn ang="0">
                        <a:pos x="connsiteX175" y="connsiteY175"/>
                      </a:cxn>
                      <a:cxn ang="0">
                        <a:pos x="connsiteX176" y="connsiteY176"/>
                      </a:cxn>
                      <a:cxn ang="0">
                        <a:pos x="connsiteX177" y="connsiteY177"/>
                      </a:cxn>
                      <a:cxn ang="0">
                        <a:pos x="connsiteX178" y="connsiteY178"/>
                      </a:cxn>
                      <a:cxn ang="0">
                        <a:pos x="connsiteX179" y="connsiteY179"/>
                      </a:cxn>
                      <a:cxn ang="0">
                        <a:pos x="connsiteX180" y="connsiteY180"/>
                      </a:cxn>
                      <a:cxn ang="0">
                        <a:pos x="connsiteX181" y="connsiteY181"/>
                      </a:cxn>
                      <a:cxn ang="0">
                        <a:pos x="connsiteX182" y="connsiteY182"/>
                      </a:cxn>
                      <a:cxn ang="0">
                        <a:pos x="connsiteX183" y="connsiteY183"/>
                      </a:cxn>
                      <a:cxn ang="0">
                        <a:pos x="connsiteX184" y="connsiteY184"/>
                      </a:cxn>
                      <a:cxn ang="0">
                        <a:pos x="connsiteX185" y="connsiteY185"/>
                      </a:cxn>
                      <a:cxn ang="0">
                        <a:pos x="connsiteX186" y="connsiteY186"/>
                      </a:cxn>
                      <a:cxn ang="0">
                        <a:pos x="connsiteX187" y="connsiteY187"/>
                      </a:cxn>
                      <a:cxn ang="0">
                        <a:pos x="connsiteX188" y="connsiteY188"/>
                      </a:cxn>
                      <a:cxn ang="0">
                        <a:pos x="connsiteX189" y="connsiteY189"/>
                      </a:cxn>
                      <a:cxn ang="0">
                        <a:pos x="connsiteX190" y="connsiteY190"/>
                      </a:cxn>
                      <a:cxn ang="0">
                        <a:pos x="connsiteX191" y="connsiteY191"/>
                      </a:cxn>
                      <a:cxn ang="0">
                        <a:pos x="connsiteX192" y="connsiteY192"/>
                      </a:cxn>
                      <a:cxn ang="0">
                        <a:pos x="connsiteX193" y="connsiteY193"/>
                      </a:cxn>
                      <a:cxn ang="0">
                        <a:pos x="connsiteX194" y="connsiteY194"/>
                      </a:cxn>
                      <a:cxn ang="0">
                        <a:pos x="connsiteX195" y="connsiteY195"/>
                      </a:cxn>
                      <a:cxn ang="0">
                        <a:pos x="connsiteX196" y="connsiteY196"/>
                      </a:cxn>
                      <a:cxn ang="0">
                        <a:pos x="connsiteX197" y="connsiteY197"/>
                      </a:cxn>
                    </a:cxnLst>
                    <a:rect l="l" t="t" r="r" b="b"/>
                    <a:pathLst>
                      <a:path w="39544" h="18609">
                        <a:moveTo>
                          <a:pt x="2791" y="18935"/>
                        </a:moveTo>
                        <a:cubicBezTo>
                          <a:pt x="3187" y="18935"/>
                          <a:pt x="3745" y="18935"/>
                          <a:pt x="4141" y="18935"/>
                        </a:cubicBezTo>
                        <a:cubicBezTo>
                          <a:pt x="4536" y="18935"/>
                          <a:pt x="5094" y="18935"/>
                          <a:pt x="5490" y="18935"/>
                        </a:cubicBezTo>
                        <a:cubicBezTo>
                          <a:pt x="5908" y="18935"/>
                          <a:pt x="6444" y="18935"/>
                          <a:pt x="6862" y="18935"/>
                        </a:cubicBezTo>
                        <a:cubicBezTo>
                          <a:pt x="7258" y="18935"/>
                          <a:pt x="7793" y="18935"/>
                          <a:pt x="8188" y="18935"/>
                        </a:cubicBezTo>
                        <a:cubicBezTo>
                          <a:pt x="8584" y="18935"/>
                          <a:pt x="9095" y="18935"/>
                          <a:pt x="9468" y="18935"/>
                        </a:cubicBezTo>
                        <a:cubicBezTo>
                          <a:pt x="9840" y="18935"/>
                          <a:pt x="10328" y="18935"/>
                          <a:pt x="10700" y="18935"/>
                        </a:cubicBezTo>
                        <a:lnTo>
                          <a:pt x="10677" y="18912"/>
                        </a:lnTo>
                        <a:cubicBezTo>
                          <a:pt x="10351" y="18307"/>
                          <a:pt x="10282" y="17539"/>
                          <a:pt x="10445" y="16865"/>
                        </a:cubicBezTo>
                        <a:cubicBezTo>
                          <a:pt x="10468" y="16725"/>
                          <a:pt x="10491" y="16586"/>
                          <a:pt x="10538" y="16493"/>
                        </a:cubicBezTo>
                        <a:lnTo>
                          <a:pt x="10538" y="16493"/>
                        </a:lnTo>
                        <a:cubicBezTo>
                          <a:pt x="10631" y="16237"/>
                          <a:pt x="10770" y="16004"/>
                          <a:pt x="10933" y="15818"/>
                        </a:cubicBezTo>
                        <a:cubicBezTo>
                          <a:pt x="11212" y="15492"/>
                          <a:pt x="11491" y="15190"/>
                          <a:pt x="11794" y="14887"/>
                        </a:cubicBezTo>
                        <a:cubicBezTo>
                          <a:pt x="12073" y="14585"/>
                          <a:pt x="12398" y="14446"/>
                          <a:pt x="12724" y="14446"/>
                        </a:cubicBezTo>
                        <a:cubicBezTo>
                          <a:pt x="12887" y="14446"/>
                          <a:pt x="13027" y="14492"/>
                          <a:pt x="13166" y="14539"/>
                        </a:cubicBezTo>
                        <a:cubicBezTo>
                          <a:pt x="13213" y="14539"/>
                          <a:pt x="13259" y="14539"/>
                          <a:pt x="13306" y="14539"/>
                        </a:cubicBezTo>
                        <a:cubicBezTo>
                          <a:pt x="13399" y="14539"/>
                          <a:pt x="13538" y="14539"/>
                          <a:pt x="13631" y="14539"/>
                        </a:cubicBezTo>
                        <a:cubicBezTo>
                          <a:pt x="13724" y="14539"/>
                          <a:pt x="13864" y="14539"/>
                          <a:pt x="13957" y="14539"/>
                        </a:cubicBezTo>
                        <a:cubicBezTo>
                          <a:pt x="14050" y="14539"/>
                          <a:pt x="14166" y="14539"/>
                          <a:pt x="14259" y="14539"/>
                        </a:cubicBezTo>
                        <a:cubicBezTo>
                          <a:pt x="14352" y="14539"/>
                          <a:pt x="14469" y="14539"/>
                          <a:pt x="14562" y="14539"/>
                        </a:cubicBezTo>
                        <a:cubicBezTo>
                          <a:pt x="14655" y="14539"/>
                          <a:pt x="14771" y="14539"/>
                          <a:pt x="14864" y="14539"/>
                        </a:cubicBezTo>
                        <a:lnTo>
                          <a:pt x="14864" y="14515"/>
                        </a:lnTo>
                        <a:cubicBezTo>
                          <a:pt x="14748" y="14236"/>
                          <a:pt x="14678" y="13957"/>
                          <a:pt x="14632" y="13655"/>
                        </a:cubicBezTo>
                        <a:lnTo>
                          <a:pt x="14632" y="13655"/>
                        </a:lnTo>
                        <a:cubicBezTo>
                          <a:pt x="14608" y="13399"/>
                          <a:pt x="14608" y="13143"/>
                          <a:pt x="14655" y="12887"/>
                        </a:cubicBezTo>
                        <a:cubicBezTo>
                          <a:pt x="14655" y="12864"/>
                          <a:pt x="14655" y="12840"/>
                          <a:pt x="14655" y="12817"/>
                        </a:cubicBezTo>
                        <a:lnTo>
                          <a:pt x="14655" y="12817"/>
                        </a:lnTo>
                        <a:cubicBezTo>
                          <a:pt x="14678" y="12701"/>
                          <a:pt x="14725" y="12608"/>
                          <a:pt x="14748" y="12492"/>
                        </a:cubicBezTo>
                        <a:cubicBezTo>
                          <a:pt x="14864" y="12073"/>
                          <a:pt x="15050" y="11701"/>
                          <a:pt x="15329" y="11445"/>
                        </a:cubicBezTo>
                        <a:cubicBezTo>
                          <a:pt x="15585" y="11212"/>
                          <a:pt x="15864" y="10980"/>
                          <a:pt x="16144" y="10747"/>
                        </a:cubicBezTo>
                        <a:lnTo>
                          <a:pt x="16144" y="10747"/>
                        </a:lnTo>
                        <a:cubicBezTo>
                          <a:pt x="16190" y="10724"/>
                          <a:pt x="16213" y="10677"/>
                          <a:pt x="16237" y="10654"/>
                        </a:cubicBezTo>
                        <a:cubicBezTo>
                          <a:pt x="16493" y="10444"/>
                          <a:pt x="16772" y="10328"/>
                          <a:pt x="17051" y="10328"/>
                        </a:cubicBezTo>
                        <a:cubicBezTo>
                          <a:pt x="17376" y="10328"/>
                          <a:pt x="17656" y="10468"/>
                          <a:pt x="17935" y="10724"/>
                        </a:cubicBezTo>
                        <a:lnTo>
                          <a:pt x="19307" y="10724"/>
                        </a:lnTo>
                        <a:cubicBezTo>
                          <a:pt x="19307" y="10724"/>
                          <a:pt x="19307" y="10700"/>
                          <a:pt x="19307" y="10677"/>
                        </a:cubicBezTo>
                        <a:cubicBezTo>
                          <a:pt x="19168" y="10305"/>
                          <a:pt x="19144" y="9886"/>
                          <a:pt x="19168" y="9468"/>
                        </a:cubicBezTo>
                        <a:cubicBezTo>
                          <a:pt x="19191" y="9328"/>
                          <a:pt x="19191" y="9188"/>
                          <a:pt x="19214" y="9049"/>
                        </a:cubicBezTo>
                        <a:lnTo>
                          <a:pt x="19214" y="9049"/>
                        </a:lnTo>
                        <a:cubicBezTo>
                          <a:pt x="19214" y="9002"/>
                          <a:pt x="19237" y="8932"/>
                          <a:pt x="19261" y="8886"/>
                        </a:cubicBezTo>
                        <a:lnTo>
                          <a:pt x="19261" y="8886"/>
                        </a:lnTo>
                        <a:cubicBezTo>
                          <a:pt x="19307" y="8700"/>
                          <a:pt x="19377" y="8514"/>
                          <a:pt x="19470" y="8351"/>
                        </a:cubicBezTo>
                        <a:lnTo>
                          <a:pt x="19470" y="8351"/>
                        </a:lnTo>
                        <a:cubicBezTo>
                          <a:pt x="19493" y="8304"/>
                          <a:pt x="19517" y="8235"/>
                          <a:pt x="19563" y="8188"/>
                        </a:cubicBezTo>
                        <a:lnTo>
                          <a:pt x="19563" y="8188"/>
                        </a:lnTo>
                        <a:cubicBezTo>
                          <a:pt x="19679" y="7979"/>
                          <a:pt x="19842" y="7816"/>
                          <a:pt x="20005" y="7700"/>
                        </a:cubicBezTo>
                        <a:cubicBezTo>
                          <a:pt x="20331" y="7467"/>
                          <a:pt x="20656" y="7258"/>
                          <a:pt x="20982" y="7025"/>
                        </a:cubicBezTo>
                        <a:cubicBezTo>
                          <a:pt x="21191" y="6885"/>
                          <a:pt x="21424" y="6816"/>
                          <a:pt x="21657" y="6816"/>
                        </a:cubicBezTo>
                        <a:cubicBezTo>
                          <a:pt x="22099" y="6816"/>
                          <a:pt x="22517" y="7095"/>
                          <a:pt x="22820" y="7560"/>
                        </a:cubicBezTo>
                        <a:lnTo>
                          <a:pt x="24029" y="7560"/>
                        </a:lnTo>
                        <a:lnTo>
                          <a:pt x="24029" y="7560"/>
                        </a:lnTo>
                        <a:lnTo>
                          <a:pt x="24029" y="7514"/>
                        </a:lnTo>
                        <a:cubicBezTo>
                          <a:pt x="23727" y="6374"/>
                          <a:pt x="24146" y="5094"/>
                          <a:pt x="24937" y="4676"/>
                        </a:cubicBezTo>
                        <a:cubicBezTo>
                          <a:pt x="25262" y="4489"/>
                          <a:pt x="25611" y="4303"/>
                          <a:pt x="25960" y="4141"/>
                        </a:cubicBezTo>
                        <a:cubicBezTo>
                          <a:pt x="26123" y="4048"/>
                          <a:pt x="26309" y="4024"/>
                          <a:pt x="26495" y="4024"/>
                        </a:cubicBezTo>
                        <a:cubicBezTo>
                          <a:pt x="27030" y="4024"/>
                          <a:pt x="27519" y="4443"/>
                          <a:pt x="27821" y="5118"/>
                        </a:cubicBezTo>
                        <a:lnTo>
                          <a:pt x="28961" y="5118"/>
                        </a:lnTo>
                        <a:lnTo>
                          <a:pt x="28961" y="5071"/>
                        </a:lnTo>
                        <a:cubicBezTo>
                          <a:pt x="28845" y="4536"/>
                          <a:pt x="28914" y="4001"/>
                          <a:pt x="29077" y="3536"/>
                        </a:cubicBezTo>
                        <a:lnTo>
                          <a:pt x="29077" y="3536"/>
                        </a:lnTo>
                        <a:cubicBezTo>
                          <a:pt x="29077" y="3489"/>
                          <a:pt x="29100" y="3466"/>
                          <a:pt x="29100" y="3419"/>
                        </a:cubicBezTo>
                        <a:lnTo>
                          <a:pt x="29100" y="3419"/>
                        </a:lnTo>
                        <a:cubicBezTo>
                          <a:pt x="29310" y="2908"/>
                          <a:pt x="29635" y="2512"/>
                          <a:pt x="30077" y="2373"/>
                        </a:cubicBezTo>
                        <a:cubicBezTo>
                          <a:pt x="30426" y="2233"/>
                          <a:pt x="30775" y="2117"/>
                          <a:pt x="31124" y="2000"/>
                        </a:cubicBezTo>
                        <a:cubicBezTo>
                          <a:pt x="31240" y="1954"/>
                          <a:pt x="31380" y="1931"/>
                          <a:pt x="31496" y="1931"/>
                        </a:cubicBezTo>
                        <a:cubicBezTo>
                          <a:pt x="32148" y="1931"/>
                          <a:pt x="32706" y="2512"/>
                          <a:pt x="32939" y="3373"/>
                        </a:cubicBezTo>
                        <a:cubicBezTo>
                          <a:pt x="33288" y="3373"/>
                          <a:pt x="33706" y="3373"/>
                          <a:pt x="34032" y="3373"/>
                        </a:cubicBezTo>
                        <a:lnTo>
                          <a:pt x="34032" y="3350"/>
                        </a:lnTo>
                        <a:cubicBezTo>
                          <a:pt x="33892" y="2140"/>
                          <a:pt x="34474" y="1000"/>
                          <a:pt x="35335" y="837"/>
                        </a:cubicBezTo>
                        <a:cubicBezTo>
                          <a:pt x="35683" y="744"/>
                          <a:pt x="36032" y="675"/>
                          <a:pt x="36405" y="605"/>
                        </a:cubicBezTo>
                        <a:cubicBezTo>
                          <a:pt x="36474" y="605"/>
                          <a:pt x="36544" y="582"/>
                          <a:pt x="36614" y="582"/>
                        </a:cubicBezTo>
                        <a:cubicBezTo>
                          <a:pt x="37382" y="582"/>
                          <a:pt x="38056" y="1396"/>
                          <a:pt x="38172" y="2512"/>
                        </a:cubicBezTo>
                        <a:lnTo>
                          <a:pt x="38172" y="2512"/>
                        </a:lnTo>
                        <a:lnTo>
                          <a:pt x="38498" y="2512"/>
                        </a:lnTo>
                        <a:cubicBezTo>
                          <a:pt x="38731" y="2466"/>
                          <a:pt x="38987" y="2442"/>
                          <a:pt x="39196" y="2419"/>
                        </a:cubicBezTo>
                        <a:lnTo>
                          <a:pt x="39196" y="2373"/>
                        </a:lnTo>
                        <a:cubicBezTo>
                          <a:pt x="39149" y="1140"/>
                          <a:pt x="39824" y="116"/>
                          <a:pt x="40685" y="46"/>
                        </a:cubicBezTo>
                        <a:cubicBezTo>
                          <a:pt x="40848" y="46"/>
                          <a:pt x="41010" y="23"/>
                          <a:pt x="41150" y="23"/>
                        </a:cubicBezTo>
                        <a:lnTo>
                          <a:pt x="41150" y="23"/>
                        </a:lnTo>
                        <a:cubicBezTo>
                          <a:pt x="41173" y="23"/>
                          <a:pt x="41196" y="23"/>
                          <a:pt x="41220" y="23"/>
                        </a:cubicBezTo>
                        <a:cubicBezTo>
                          <a:pt x="41383" y="23"/>
                          <a:pt x="41569" y="0"/>
                          <a:pt x="41755" y="0"/>
                        </a:cubicBezTo>
                        <a:cubicBezTo>
                          <a:pt x="41778" y="0"/>
                          <a:pt x="41801" y="0"/>
                          <a:pt x="41801" y="0"/>
                        </a:cubicBezTo>
                        <a:lnTo>
                          <a:pt x="31380" y="0"/>
                        </a:lnTo>
                        <a:cubicBezTo>
                          <a:pt x="31357" y="0"/>
                          <a:pt x="31334" y="0"/>
                          <a:pt x="31310" y="0"/>
                        </a:cubicBezTo>
                        <a:cubicBezTo>
                          <a:pt x="31171" y="0"/>
                          <a:pt x="31031" y="0"/>
                          <a:pt x="30892" y="23"/>
                        </a:cubicBezTo>
                        <a:cubicBezTo>
                          <a:pt x="30659" y="23"/>
                          <a:pt x="30450" y="46"/>
                          <a:pt x="30240" y="70"/>
                        </a:cubicBezTo>
                        <a:cubicBezTo>
                          <a:pt x="30147" y="70"/>
                          <a:pt x="30054" y="93"/>
                          <a:pt x="29961" y="116"/>
                        </a:cubicBezTo>
                        <a:lnTo>
                          <a:pt x="29961" y="116"/>
                        </a:lnTo>
                        <a:cubicBezTo>
                          <a:pt x="29845" y="163"/>
                          <a:pt x="29728" y="209"/>
                          <a:pt x="29635" y="279"/>
                        </a:cubicBezTo>
                        <a:cubicBezTo>
                          <a:pt x="29635" y="279"/>
                          <a:pt x="29635" y="279"/>
                          <a:pt x="29612" y="279"/>
                        </a:cubicBezTo>
                        <a:cubicBezTo>
                          <a:pt x="29589" y="302"/>
                          <a:pt x="29589" y="302"/>
                          <a:pt x="29566" y="326"/>
                        </a:cubicBezTo>
                        <a:cubicBezTo>
                          <a:pt x="29473" y="395"/>
                          <a:pt x="29403" y="465"/>
                          <a:pt x="29310" y="558"/>
                        </a:cubicBezTo>
                        <a:lnTo>
                          <a:pt x="26193" y="558"/>
                        </a:lnTo>
                        <a:cubicBezTo>
                          <a:pt x="26193" y="558"/>
                          <a:pt x="26146" y="558"/>
                          <a:pt x="26123" y="558"/>
                        </a:cubicBezTo>
                        <a:cubicBezTo>
                          <a:pt x="26076" y="558"/>
                          <a:pt x="26030" y="558"/>
                          <a:pt x="25983" y="582"/>
                        </a:cubicBezTo>
                        <a:cubicBezTo>
                          <a:pt x="25634" y="651"/>
                          <a:pt x="25262" y="721"/>
                          <a:pt x="24913" y="814"/>
                        </a:cubicBezTo>
                        <a:cubicBezTo>
                          <a:pt x="24867" y="814"/>
                          <a:pt x="24820" y="837"/>
                          <a:pt x="24797" y="837"/>
                        </a:cubicBezTo>
                        <a:cubicBezTo>
                          <a:pt x="24774" y="837"/>
                          <a:pt x="24750" y="861"/>
                          <a:pt x="24727" y="884"/>
                        </a:cubicBezTo>
                        <a:cubicBezTo>
                          <a:pt x="24657" y="930"/>
                          <a:pt x="24564" y="954"/>
                          <a:pt x="24495" y="1000"/>
                        </a:cubicBezTo>
                        <a:cubicBezTo>
                          <a:pt x="24471" y="1000"/>
                          <a:pt x="24448" y="1024"/>
                          <a:pt x="24425" y="1047"/>
                        </a:cubicBezTo>
                        <a:lnTo>
                          <a:pt x="24402" y="1070"/>
                        </a:lnTo>
                        <a:cubicBezTo>
                          <a:pt x="24285" y="1163"/>
                          <a:pt x="24169" y="1279"/>
                          <a:pt x="24076" y="1396"/>
                        </a:cubicBezTo>
                        <a:cubicBezTo>
                          <a:pt x="24053" y="1419"/>
                          <a:pt x="24029" y="1442"/>
                          <a:pt x="24029" y="1465"/>
                        </a:cubicBezTo>
                        <a:cubicBezTo>
                          <a:pt x="23960" y="1582"/>
                          <a:pt x="23867" y="1721"/>
                          <a:pt x="23820" y="1838"/>
                        </a:cubicBezTo>
                        <a:cubicBezTo>
                          <a:pt x="23820" y="1838"/>
                          <a:pt x="23797" y="1861"/>
                          <a:pt x="23797" y="1884"/>
                        </a:cubicBezTo>
                        <a:lnTo>
                          <a:pt x="21075" y="1884"/>
                        </a:lnTo>
                        <a:cubicBezTo>
                          <a:pt x="21052" y="1884"/>
                          <a:pt x="21029" y="1884"/>
                          <a:pt x="21005" y="1884"/>
                        </a:cubicBezTo>
                        <a:cubicBezTo>
                          <a:pt x="20912" y="1884"/>
                          <a:pt x="20796" y="1907"/>
                          <a:pt x="20703" y="1954"/>
                        </a:cubicBezTo>
                        <a:lnTo>
                          <a:pt x="20703" y="1954"/>
                        </a:lnTo>
                        <a:cubicBezTo>
                          <a:pt x="20354" y="2070"/>
                          <a:pt x="20005" y="2187"/>
                          <a:pt x="19656" y="2326"/>
                        </a:cubicBezTo>
                        <a:cubicBezTo>
                          <a:pt x="19540" y="2373"/>
                          <a:pt x="19447" y="2419"/>
                          <a:pt x="19330" y="2489"/>
                        </a:cubicBezTo>
                        <a:lnTo>
                          <a:pt x="19307" y="2489"/>
                        </a:lnTo>
                        <a:cubicBezTo>
                          <a:pt x="19284" y="2489"/>
                          <a:pt x="19284" y="2512"/>
                          <a:pt x="19261" y="2536"/>
                        </a:cubicBezTo>
                        <a:cubicBezTo>
                          <a:pt x="19144" y="2629"/>
                          <a:pt x="19051" y="2722"/>
                          <a:pt x="18982" y="2838"/>
                        </a:cubicBezTo>
                        <a:cubicBezTo>
                          <a:pt x="18958" y="2861"/>
                          <a:pt x="18935" y="2884"/>
                          <a:pt x="18912" y="2931"/>
                        </a:cubicBezTo>
                        <a:cubicBezTo>
                          <a:pt x="18819" y="3071"/>
                          <a:pt x="18749" y="3210"/>
                          <a:pt x="18679" y="3373"/>
                        </a:cubicBezTo>
                        <a:lnTo>
                          <a:pt x="18679" y="3396"/>
                        </a:lnTo>
                        <a:cubicBezTo>
                          <a:pt x="18679" y="3419"/>
                          <a:pt x="18679" y="3443"/>
                          <a:pt x="18656" y="3489"/>
                        </a:cubicBezTo>
                        <a:cubicBezTo>
                          <a:pt x="18633" y="3606"/>
                          <a:pt x="18586" y="3722"/>
                          <a:pt x="18563" y="3861"/>
                        </a:cubicBezTo>
                        <a:cubicBezTo>
                          <a:pt x="18563" y="3885"/>
                          <a:pt x="18540" y="3908"/>
                          <a:pt x="18540" y="3931"/>
                        </a:cubicBezTo>
                        <a:lnTo>
                          <a:pt x="18540" y="3955"/>
                        </a:lnTo>
                        <a:lnTo>
                          <a:pt x="16074" y="3978"/>
                        </a:lnTo>
                        <a:cubicBezTo>
                          <a:pt x="16051" y="3978"/>
                          <a:pt x="16027" y="3978"/>
                          <a:pt x="16027" y="3978"/>
                        </a:cubicBezTo>
                        <a:cubicBezTo>
                          <a:pt x="15911" y="3978"/>
                          <a:pt x="15818" y="4001"/>
                          <a:pt x="15725" y="4024"/>
                        </a:cubicBezTo>
                        <a:cubicBezTo>
                          <a:pt x="15655" y="4048"/>
                          <a:pt x="15609" y="4071"/>
                          <a:pt x="15562" y="4094"/>
                        </a:cubicBezTo>
                        <a:cubicBezTo>
                          <a:pt x="15236" y="4257"/>
                          <a:pt x="14887" y="4420"/>
                          <a:pt x="14539" y="4629"/>
                        </a:cubicBezTo>
                        <a:cubicBezTo>
                          <a:pt x="14469" y="4652"/>
                          <a:pt x="14422" y="4699"/>
                          <a:pt x="14352" y="4745"/>
                        </a:cubicBezTo>
                        <a:cubicBezTo>
                          <a:pt x="14259" y="4815"/>
                          <a:pt x="14166" y="4931"/>
                          <a:pt x="14073" y="5048"/>
                        </a:cubicBezTo>
                        <a:cubicBezTo>
                          <a:pt x="14050" y="5071"/>
                          <a:pt x="14027" y="5094"/>
                          <a:pt x="14004" y="5118"/>
                        </a:cubicBezTo>
                        <a:cubicBezTo>
                          <a:pt x="13887" y="5280"/>
                          <a:pt x="13794" y="5443"/>
                          <a:pt x="13724" y="5653"/>
                        </a:cubicBezTo>
                        <a:cubicBezTo>
                          <a:pt x="13724" y="5699"/>
                          <a:pt x="13724" y="5722"/>
                          <a:pt x="13701" y="5746"/>
                        </a:cubicBezTo>
                        <a:cubicBezTo>
                          <a:pt x="13678" y="5792"/>
                          <a:pt x="13678" y="5839"/>
                          <a:pt x="13655" y="5908"/>
                        </a:cubicBezTo>
                        <a:cubicBezTo>
                          <a:pt x="13631" y="6001"/>
                          <a:pt x="13608" y="6071"/>
                          <a:pt x="13585" y="6188"/>
                        </a:cubicBezTo>
                        <a:cubicBezTo>
                          <a:pt x="13562" y="6327"/>
                          <a:pt x="13538" y="6467"/>
                          <a:pt x="13538" y="6606"/>
                        </a:cubicBezTo>
                        <a:lnTo>
                          <a:pt x="13538" y="6606"/>
                        </a:lnTo>
                        <a:lnTo>
                          <a:pt x="13538" y="6630"/>
                        </a:lnTo>
                        <a:cubicBezTo>
                          <a:pt x="13538" y="6676"/>
                          <a:pt x="13538" y="6723"/>
                          <a:pt x="13538" y="6769"/>
                        </a:cubicBezTo>
                        <a:lnTo>
                          <a:pt x="11259" y="6769"/>
                        </a:lnTo>
                        <a:cubicBezTo>
                          <a:pt x="11259" y="6769"/>
                          <a:pt x="11212" y="6769"/>
                          <a:pt x="11189" y="6769"/>
                        </a:cubicBezTo>
                        <a:cubicBezTo>
                          <a:pt x="11142" y="6769"/>
                          <a:pt x="11073" y="6792"/>
                          <a:pt x="11003" y="6792"/>
                        </a:cubicBezTo>
                        <a:cubicBezTo>
                          <a:pt x="10980" y="6792"/>
                          <a:pt x="10933" y="6792"/>
                          <a:pt x="10910" y="6816"/>
                        </a:cubicBezTo>
                        <a:lnTo>
                          <a:pt x="10886" y="6816"/>
                        </a:lnTo>
                        <a:cubicBezTo>
                          <a:pt x="10793" y="6862"/>
                          <a:pt x="10700" y="6909"/>
                          <a:pt x="10607" y="6979"/>
                        </a:cubicBezTo>
                        <a:cubicBezTo>
                          <a:pt x="10282" y="7211"/>
                          <a:pt x="9956" y="7420"/>
                          <a:pt x="9630" y="7653"/>
                        </a:cubicBezTo>
                        <a:cubicBezTo>
                          <a:pt x="9630" y="7653"/>
                          <a:pt x="9607" y="7653"/>
                          <a:pt x="9607" y="7676"/>
                        </a:cubicBezTo>
                        <a:cubicBezTo>
                          <a:pt x="9444" y="7793"/>
                          <a:pt x="9305" y="7956"/>
                          <a:pt x="9188" y="8165"/>
                        </a:cubicBezTo>
                        <a:cubicBezTo>
                          <a:pt x="9165" y="8211"/>
                          <a:pt x="9119" y="8281"/>
                          <a:pt x="9095" y="8328"/>
                        </a:cubicBezTo>
                        <a:cubicBezTo>
                          <a:pt x="9049" y="8421"/>
                          <a:pt x="9002" y="8491"/>
                          <a:pt x="8956" y="8584"/>
                        </a:cubicBezTo>
                        <a:cubicBezTo>
                          <a:pt x="8909" y="8653"/>
                          <a:pt x="8909" y="8746"/>
                          <a:pt x="8886" y="8863"/>
                        </a:cubicBezTo>
                        <a:cubicBezTo>
                          <a:pt x="8863" y="8909"/>
                          <a:pt x="8863" y="8956"/>
                          <a:pt x="8839" y="9026"/>
                        </a:cubicBezTo>
                        <a:cubicBezTo>
                          <a:pt x="8839" y="9049"/>
                          <a:pt x="8816" y="9072"/>
                          <a:pt x="8816" y="9119"/>
                        </a:cubicBezTo>
                        <a:cubicBezTo>
                          <a:pt x="8793" y="9258"/>
                          <a:pt x="8770" y="9398"/>
                          <a:pt x="8770" y="9537"/>
                        </a:cubicBezTo>
                        <a:cubicBezTo>
                          <a:pt x="8770" y="9607"/>
                          <a:pt x="8770" y="9677"/>
                          <a:pt x="8770" y="9747"/>
                        </a:cubicBezTo>
                        <a:cubicBezTo>
                          <a:pt x="8770" y="9770"/>
                          <a:pt x="8770" y="9793"/>
                          <a:pt x="8770" y="9840"/>
                        </a:cubicBezTo>
                        <a:cubicBezTo>
                          <a:pt x="8770" y="9886"/>
                          <a:pt x="8770" y="9910"/>
                          <a:pt x="8770" y="9956"/>
                        </a:cubicBezTo>
                        <a:cubicBezTo>
                          <a:pt x="8793" y="10072"/>
                          <a:pt x="8816" y="10165"/>
                          <a:pt x="8839" y="10282"/>
                        </a:cubicBezTo>
                        <a:lnTo>
                          <a:pt x="6676" y="10282"/>
                        </a:lnTo>
                        <a:cubicBezTo>
                          <a:pt x="6653" y="10282"/>
                          <a:pt x="6630" y="10282"/>
                          <a:pt x="6630" y="10282"/>
                        </a:cubicBezTo>
                        <a:cubicBezTo>
                          <a:pt x="6513" y="10282"/>
                          <a:pt x="6420" y="10305"/>
                          <a:pt x="6327" y="10328"/>
                        </a:cubicBezTo>
                        <a:cubicBezTo>
                          <a:pt x="6327" y="10328"/>
                          <a:pt x="6327" y="10328"/>
                          <a:pt x="6304" y="10351"/>
                        </a:cubicBezTo>
                        <a:cubicBezTo>
                          <a:pt x="6257" y="10351"/>
                          <a:pt x="6211" y="10398"/>
                          <a:pt x="6164" y="10421"/>
                        </a:cubicBezTo>
                        <a:cubicBezTo>
                          <a:pt x="6095" y="10468"/>
                          <a:pt x="6025" y="10491"/>
                          <a:pt x="5955" y="10538"/>
                        </a:cubicBezTo>
                        <a:cubicBezTo>
                          <a:pt x="5932" y="10561"/>
                          <a:pt x="5908" y="10584"/>
                          <a:pt x="5885" y="10607"/>
                        </a:cubicBezTo>
                        <a:cubicBezTo>
                          <a:pt x="5583" y="10863"/>
                          <a:pt x="5280" y="11119"/>
                          <a:pt x="4978" y="11398"/>
                        </a:cubicBezTo>
                        <a:cubicBezTo>
                          <a:pt x="4815" y="11538"/>
                          <a:pt x="4676" y="11724"/>
                          <a:pt x="4583" y="11933"/>
                        </a:cubicBezTo>
                        <a:cubicBezTo>
                          <a:pt x="4559" y="11980"/>
                          <a:pt x="4536" y="12026"/>
                          <a:pt x="4513" y="12073"/>
                        </a:cubicBezTo>
                        <a:cubicBezTo>
                          <a:pt x="4490" y="12119"/>
                          <a:pt x="4466" y="12166"/>
                          <a:pt x="4443" y="12212"/>
                        </a:cubicBezTo>
                        <a:cubicBezTo>
                          <a:pt x="4396" y="12375"/>
                          <a:pt x="4327" y="12538"/>
                          <a:pt x="4303" y="12724"/>
                        </a:cubicBezTo>
                        <a:lnTo>
                          <a:pt x="4303" y="12747"/>
                        </a:lnTo>
                        <a:cubicBezTo>
                          <a:pt x="4303" y="12771"/>
                          <a:pt x="4303" y="12794"/>
                          <a:pt x="4303" y="12794"/>
                        </a:cubicBezTo>
                        <a:cubicBezTo>
                          <a:pt x="4280" y="12934"/>
                          <a:pt x="4280" y="13050"/>
                          <a:pt x="4257" y="13166"/>
                        </a:cubicBezTo>
                        <a:cubicBezTo>
                          <a:pt x="4257" y="13306"/>
                          <a:pt x="4257" y="13422"/>
                          <a:pt x="4257" y="13562"/>
                        </a:cubicBezTo>
                        <a:cubicBezTo>
                          <a:pt x="4257" y="13562"/>
                          <a:pt x="4257" y="13585"/>
                          <a:pt x="4257" y="13608"/>
                        </a:cubicBezTo>
                        <a:cubicBezTo>
                          <a:pt x="4257" y="13631"/>
                          <a:pt x="4257" y="13655"/>
                          <a:pt x="4257" y="13678"/>
                        </a:cubicBezTo>
                        <a:cubicBezTo>
                          <a:pt x="4280" y="13794"/>
                          <a:pt x="4280" y="13911"/>
                          <a:pt x="4303" y="14004"/>
                        </a:cubicBezTo>
                        <a:cubicBezTo>
                          <a:pt x="4327" y="14120"/>
                          <a:pt x="4373" y="14259"/>
                          <a:pt x="4420" y="14376"/>
                        </a:cubicBezTo>
                        <a:lnTo>
                          <a:pt x="2349" y="14376"/>
                        </a:lnTo>
                        <a:cubicBezTo>
                          <a:pt x="2326" y="14376"/>
                          <a:pt x="2303" y="14376"/>
                          <a:pt x="2280" y="14376"/>
                        </a:cubicBezTo>
                        <a:cubicBezTo>
                          <a:pt x="2163" y="14376"/>
                          <a:pt x="2070" y="14399"/>
                          <a:pt x="1977" y="14446"/>
                        </a:cubicBezTo>
                        <a:cubicBezTo>
                          <a:pt x="1954" y="14446"/>
                          <a:pt x="1931" y="14469"/>
                          <a:pt x="1907" y="14469"/>
                        </a:cubicBezTo>
                        <a:cubicBezTo>
                          <a:pt x="1861" y="14492"/>
                          <a:pt x="1814" y="14515"/>
                          <a:pt x="1791" y="14539"/>
                        </a:cubicBezTo>
                        <a:cubicBezTo>
                          <a:pt x="1745" y="14562"/>
                          <a:pt x="1675" y="14585"/>
                          <a:pt x="1628" y="14632"/>
                        </a:cubicBezTo>
                        <a:cubicBezTo>
                          <a:pt x="1559" y="14678"/>
                          <a:pt x="1489" y="14748"/>
                          <a:pt x="1419" y="14818"/>
                        </a:cubicBezTo>
                        <a:cubicBezTo>
                          <a:pt x="1140" y="15120"/>
                          <a:pt x="861" y="15423"/>
                          <a:pt x="582" y="15748"/>
                        </a:cubicBezTo>
                        <a:cubicBezTo>
                          <a:pt x="395" y="15934"/>
                          <a:pt x="256" y="16167"/>
                          <a:pt x="163" y="16423"/>
                        </a:cubicBezTo>
                        <a:lnTo>
                          <a:pt x="163" y="16423"/>
                        </a:lnTo>
                        <a:cubicBezTo>
                          <a:pt x="93" y="16586"/>
                          <a:pt x="47" y="16748"/>
                          <a:pt x="23" y="16935"/>
                        </a:cubicBezTo>
                        <a:cubicBezTo>
                          <a:pt x="23" y="17004"/>
                          <a:pt x="0" y="17074"/>
                          <a:pt x="0" y="17144"/>
                        </a:cubicBezTo>
                        <a:cubicBezTo>
                          <a:pt x="0" y="17190"/>
                          <a:pt x="0" y="17214"/>
                          <a:pt x="0" y="17237"/>
                        </a:cubicBezTo>
                        <a:cubicBezTo>
                          <a:pt x="0" y="17283"/>
                          <a:pt x="0" y="17307"/>
                          <a:pt x="0" y="17353"/>
                        </a:cubicBezTo>
                        <a:cubicBezTo>
                          <a:pt x="0" y="17493"/>
                          <a:pt x="0" y="17632"/>
                          <a:pt x="0" y="17772"/>
                        </a:cubicBezTo>
                        <a:cubicBezTo>
                          <a:pt x="0" y="17842"/>
                          <a:pt x="23" y="17912"/>
                          <a:pt x="47" y="17981"/>
                        </a:cubicBezTo>
                        <a:cubicBezTo>
                          <a:pt x="47" y="18028"/>
                          <a:pt x="47" y="18051"/>
                          <a:pt x="70" y="18098"/>
                        </a:cubicBezTo>
                        <a:cubicBezTo>
                          <a:pt x="70" y="18144"/>
                          <a:pt x="70" y="18167"/>
                          <a:pt x="93" y="18214"/>
                        </a:cubicBezTo>
                        <a:cubicBezTo>
                          <a:pt x="140" y="18423"/>
                          <a:pt x="233" y="18633"/>
                          <a:pt x="349" y="18842"/>
                        </a:cubicBezTo>
                        <a:lnTo>
                          <a:pt x="349" y="18865"/>
                        </a:lnTo>
                        <a:cubicBezTo>
                          <a:pt x="721" y="18865"/>
                          <a:pt x="1210" y="18865"/>
                          <a:pt x="1582" y="18865"/>
                        </a:cubicBezTo>
                        <a:cubicBezTo>
                          <a:pt x="1884" y="18935"/>
                          <a:pt x="2396" y="18935"/>
                          <a:pt x="2791" y="18935"/>
                        </a:cubicBezTo>
                        <a:close/>
                      </a:path>
                    </a:pathLst>
                  </a:custGeom>
                  <a:solidFill>
                    <a:srgbClr val="F19439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75" name="Freeform: Shape 274">
                    <a:extLst>
                      <a:ext uri="{FF2B5EF4-FFF2-40B4-BE49-F238E27FC236}">
                        <a16:creationId xmlns:a16="http://schemas.microsoft.com/office/drawing/2014/main" id="{9BA7ABC7-8DD4-4104-B610-4AE9A224B848}"/>
                      </a:ext>
                    </a:extLst>
                  </p:cNvPr>
                  <p:cNvSpPr/>
                  <p:nvPr/>
                </p:nvSpPr>
                <p:spPr>
                  <a:xfrm>
                    <a:off x="6167271" y="4046555"/>
                    <a:ext cx="11631" cy="4652"/>
                  </a:xfrm>
                  <a:custGeom>
                    <a:avLst/>
                    <a:gdLst>
                      <a:gd name="connsiteX0" fmla="*/ 1698 w 11630"/>
                      <a:gd name="connsiteY0" fmla="*/ 4722 h 4652"/>
                      <a:gd name="connsiteX1" fmla="*/ 2349 w 11630"/>
                      <a:gd name="connsiteY1" fmla="*/ 4722 h 4652"/>
                      <a:gd name="connsiteX2" fmla="*/ 3001 w 11630"/>
                      <a:gd name="connsiteY2" fmla="*/ 4722 h 4652"/>
                      <a:gd name="connsiteX3" fmla="*/ 3675 w 11630"/>
                      <a:gd name="connsiteY3" fmla="*/ 4722 h 4652"/>
                      <a:gd name="connsiteX4" fmla="*/ 4350 w 11630"/>
                      <a:gd name="connsiteY4" fmla="*/ 4722 h 4652"/>
                      <a:gd name="connsiteX5" fmla="*/ 5025 w 11630"/>
                      <a:gd name="connsiteY5" fmla="*/ 4722 h 4652"/>
                      <a:gd name="connsiteX6" fmla="*/ 5699 w 11630"/>
                      <a:gd name="connsiteY6" fmla="*/ 4722 h 4652"/>
                      <a:gd name="connsiteX7" fmla="*/ 5862 w 11630"/>
                      <a:gd name="connsiteY7" fmla="*/ 4722 h 4652"/>
                      <a:gd name="connsiteX8" fmla="*/ 6025 w 11630"/>
                      <a:gd name="connsiteY8" fmla="*/ 4722 h 4652"/>
                      <a:gd name="connsiteX9" fmla="*/ 6188 w 11630"/>
                      <a:gd name="connsiteY9" fmla="*/ 4722 h 4652"/>
                      <a:gd name="connsiteX10" fmla="*/ 6350 w 11630"/>
                      <a:gd name="connsiteY10" fmla="*/ 4722 h 4652"/>
                      <a:gd name="connsiteX11" fmla="*/ 6513 w 11630"/>
                      <a:gd name="connsiteY11" fmla="*/ 4722 h 4652"/>
                      <a:gd name="connsiteX12" fmla="*/ 6676 w 11630"/>
                      <a:gd name="connsiteY12" fmla="*/ 4722 h 4652"/>
                      <a:gd name="connsiteX13" fmla="*/ 6839 w 11630"/>
                      <a:gd name="connsiteY13" fmla="*/ 4722 h 4652"/>
                      <a:gd name="connsiteX14" fmla="*/ 7002 w 11630"/>
                      <a:gd name="connsiteY14" fmla="*/ 4722 h 4652"/>
                      <a:gd name="connsiteX15" fmla="*/ 7351 w 11630"/>
                      <a:gd name="connsiteY15" fmla="*/ 4722 h 4652"/>
                      <a:gd name="connsiteX16" fmla="*/ 7676 w 11630"/>
                      <a:gd name="connsiteY16" fmla="*/ 4722 h 4652"/>
                      <a:gd name="connsiteX17" fmla="*/ 8002 w 11630"/>
                      <a:gd name="connsiteY17" fmla="*/ 4722 h 4652"/>
                      <a:gd name="connsiteX18" fmla="*/ 8328 w 11630"/>
                      <a:gd name="connsiteY18" fmla="*/ 4722 h 4652"/>
                      <a:gd name="connsiteX19" fmla="*/ 8653 w 11630"/>
                      <a:gd name="connsiteY19" fmla="*/ 4722 h 4652"/>
                      <a:gd name="connsiteX20" fmla="*/ 8979 w 11630"/>
                      <a:gd name="connsiteY20" fmla="*/ 4722 h 4652"/>
                      <a:gd name="connsiteX21" fmla="*/ 9305 w 11630"/>
                      <a:gd name="connsiteY21" fmla="*/ 4722 h 4652"/>
                      <a:gd name="connsiteX22" fmla="*/ 9630 w 11630"/>
                      <a:gd name="connsiteY22" fmla="*/ 4722 h 4652"/>
                      <a:gd name="connsiteX23" fmla="*/ 9793 w 11630"/>
                      <a:gd name="connsiteY23" fmla="*/ 4722 h 4652"/>
                      <a:gd name="connsiteX24" fmla="*/ 9956 w 11630"/>
                      <a:gd name="connsiteY24" fmla="*/ 4722 h 4652"/>
                      <a:gd name="connsiteX25" fmla="*/ 10119 w 11630"/>
                      <a:gd name="connsiteY25" fmla="*/ 4722 h 4652"/>
                      <a:gd name="connsiteX26" fmla="*/ 10282 w 11630"/>
                      <a:gd name="connsiteY26" fmla="*/ 4722 h 4652"/>
                      <a:gd name="connsiteX27" fmla="*/ 10421 w 11630"/>
                      <a:gd name="connsiteY27" fmla="*/ 4722 h 4652"/>
                      <a:gd name="connsiteX28" fmla="*/ 10584 w 11630"/>
                      <a:gd name="connsiteY28" fmla="*/ 4722 h 4652"/>
                      <a:gd name="connsiteX29" fmla="*/ 10747 w 11630"/>
                      <a:gd name="connsiteY29" fmla="*/ 4722 h 4652"/>
                      <a:gd name="connsiteX30" fmla="*/ 10886 w 11630"/>
                      <a:gd name="connsiteY30" fmla="*/ 4722 h 4652"/>
                      <a:gd name="connsiteX31" fmla="*/ 10886 w 11630"/>
                      <a:gd name="connsiteY31" fmla="*/ 4722 h 4652"/>
                      <a:gd name="connsiteX32" fmla="*/ 10886 w 11630"/>
                      <a:gd name="connsiteY32" fmla="*/ 4722 h 4652"/>
                      <a:gd name="connsiteX33" fmla="*/ 10514 w 11630"/>
                      <a:gd name="connsiteY33" fmla="*/ 3652 h 4652"/>
                      <a:gd name="connsiteX34" fmla="*/ 10468 w 11630"/>
                      <a:gd name="connsiteY34" fmla="*/ 3187 h 4652"/>
                      <a:gd name="connsiteX35" fmla="*/ 10468 w 11630"/>
                      <a:gd name="connsiteY35" fmla="*/ 3187 h 4652"/>
                      <a:gd name="connsiteX36" fmla="*/ 10933 w 11630"/>
                      <a:gd name="connsiteY36" fmla="*/ 1605 h 4652"/>
                      <a:gd name="connsiteX37" fmla="*/ 11724 w 11630"/>
                      <a:gd name="connsiteY37" fmla="*/ 582 h 4652"/>
                      <a:gd name="connsiteX38" fmla="*/ 12771 w 11630"/>
                      <a:gd name="connsiteY38" fmla="*/ 0 h 4652"/>
                      <a:gd name="connsiteX39" fmla="*/ 4117 w 11630"/>
                      <a:gd name="connsiteY39" fmla="*/ 0 h 4652"/>
                      <a:gd name="connsiteX40" fmla="*/ 2326 w 11630"/>
                      <a:gd name="connsiteY40" fmla="*/ 0 h 4652"/>
                      <a:gd name="connsiteX41" fmla="*/ 2280 w 11630"/>
                      <a:gd name="connsiteY41" fmla="*/ 0 h 4652"/>
                      <a:gd name="connsiteX42" fmla="*/ 1954 w 11630"/>
                      <a:gd name="connsiteY42" fmla="*/ 46 h 4652"/>
                      <a:gd name="connsiteX43" fmla="*/ 1814 w 11630"/>
                      <a:gd name="connsiteY43" fmla="*/ 116 h 4652"/>
                      <a:gd name="connsiteX44" fmla="*/ 1698 w 11630"/>
                      <a:gd name="connsiteY44" fmla="*/ 186 h 4652"/>
                      <a:gd name="connsiteX45" fmla="*/ 1582 w 11630"/>
                      <a:gd name="connsiteY45" fmla="*/ 233 h 4652"/>
                      <a:gd name="connsiteX46" fmla="*/ 1256 w 11630"/>
                      <a:gd name="connsiteY46" fmla="*/ 558 h 4652"/>
                      <a:gd name="connsiteX47" fmla="*/ 465 w 11630"/>
                      <a:gd name="connsiteY47" fmla="*/ 1582 h 4652"/>
                      <a:gd name="connsiteX48" fmla="*/ 186 w 11630"/>
                      <a:gd name="connsiteY48" fmla="*/ 2117 h 4652"/>
                      <a:gd name="connsiteX49" fmla="*/ 140 w 11630"/>
                      <a:gd name="connsiteY49" fmla="*/ 2233 h 4652"/>
                      <a:gd name="connsiteX50" fmla="*/ 93 w 11630"/>
                      <a:gd name="connsiteY50" fmla="*/ 2396 h 4652"/>
                      <a:gd name="connsiteX51" fmla="*/ 47 w 11630"/>
                      <a:gd name="connsiteY51" fmla="*/ 2629 h 4652"/>
                      <a:gd name="connsiteX52" fmla="*/ 0 w 11630"/>
                      <a:gd name="connsiteY52" fmla="*/ 3047 h 4652"/>
                      <a:gd name="connsiteX53" fmla="*/ 0 w 11630"/>
                      <a:gd name="connsiteY53" fmla="*/ 3094 h 4652"/>
                      <a:gd name="connsiteX54" fmla="*/ 0 w 11630"/>
                      <a:gd name="connsiteY54" fmla="*/ 3164 h 4652"/>
                      <a:gd name="connsiteX55" fmla="*/ 0 w 11630"/>
                      <a:gd name="connsiteY55" fmla="*/ 3466 h 4652"/>
                      <a:gd name="connsiteX56" fmla="*/ 70 w 11630"/>
                      <a:gd name="connsiteY56" fmla="*/ 3908 h 4652"/>
                      <a:gd name="connsiteX57" fmla="*/ 70 w 11630"/>
                      <a:gd name="connsiteY57" fmla="*/ 3931 h 4652"/>
                      <a:gd name="connsiteX58" fmla="*/ 395 w 11630"/>
                      <a:gd name="connsiteY58" fmla="*/ 4699 h 4652"/>
                      <a:gd name="connsiteX59" fmla="*/ 419 w 11630"/>
                      <a:gd name="connsiteY59" fmla="*/ 4722 h 4652"/>
                      <a:gd name="connsiteX60" fmla="*/ 1024 w 11630"/>
                      <a:gd name="connsiteY60" fmla="*/ 4722 h 4652"/>
                      <a:gd name="connsiteX61" fmla="*/ 1698 w 11630"/>
                      <a:gd name="connsiteY61" fmla="*/ 4722 h 46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</a:cxnLst>
                    <a:rect l="l" t="t" r="r" b="b"/>
                    <a:pathLst>
                      <a:path w="11630" h="4652">
                        <a:moveTo>
                          <a:pt x="1698" y="4722"/>
                        </a:moveTo>
                        <a:cubicBezTo>
                          <a:pt x="1884" y="4722"/>
                          <a:pt x="2140" y="4722"/>
                          <a:pt x="2349" y="4722"/>
                        </a:cubicBezTo>
                        <a:cubicBezTo>
                          <a:pt x="2559" y="4722"/>
                          <a:pt x="2815" y="4722"/>
                          <a:pt x="3001" y="4722"/>
                        </a:cubicBezTo>
                        <a:cubicBezTo>
                          <a:pt x="3210" y="4722"/>
                          <a:pt x="3466" y="4722"/>
                          <a:pt x="3675" y="4722"/>
                        </a:cubicBezTo>
                        <a:cubicBezTo>
                          <a:pt x="3885" y="4722"/>
                          <a:pt x="4164" y="4722"/>
                          <a:pt x="4350" y="4722"/>
                        </a:cubicBezTo>
                        <a:cubicBezTo>
                          <a:pt x="4559" y="4722"/>
                          <a:pt x="4838" y="4722"/>
                          <a:pt x="5025" y="4722"/>
                        </a:cubicBezTo>
                        <a:cubicBezTo>
                          <a:pt x="5234" y="4722"/>
                          <a:pt x="5513" y="4722"/>
                          <a:pt x="5699" y="4722"/>
                        </a:cubicBezTo>
                        <a:cubicBezTo>
                          <a:pt x="5769" y="4722"/>
                          <a:pt x="5815" y="4722"/>
                          <a:pt x="5862" y="4722"/>
                        </a:cubicBezTo>
                        <a:cubicBezTo>
                          <a:pt x="5932" y="4722"/>
                          <a:pt x="5978" y="4722"/>
                          <a:pt x="6025" y="4722"/>
                        </a:cubicBezTo>
                        <a:cubicBezTo>
                          <a:pt x="6071" y="4722"/>
                          <a:pt x="6141" y="4722"/>
                          <a:pt x="6188" y="4722"/>
                        </a:cubicBezTo>
                        <a:cubicBezTo>
                          <a:pt x="6234" y="4722"/>
                          <a:pt x="6304" y="4722"/>
                          <a:pt x="6350" y="4722"/>
                        </a:cubicBezTo>
                        <a:cubicBezTo>
                          <a:pt x="6397" y="4722"/>
                          <a:pt x="6467" y="4722"/>
                          <a:pt x="6513" y="4722"/>
                        </a:cubicBezTo>
                        <a:cubicBezTo>
                          <a:pt x="6560" y="4722"/>
                          <a:pt x="6630" y="4722"/>
                          <a:pt x="6676" y="4722"/>
                        </a:cubicBezTo>
                        <a:cubicBezTo>
                          <a:pt x="6723" y="4722"/>
                          <a:pt x="6792" y="4722"/>
                          <a:pt x="6839" y="4722"/>
                        </a:cubicBezTo>
                        <a:cubicBezTo>
                          <a:pt x="6885" y="4722"/>
                          <a:pt x="6955" y="4722"/>
                          <a:pt x="7002" y="4722"/>
                        </a:cubicBezTo>
                        <a:cubicBezTo>
                          <a:pt x="7095" y="4722"/>
                          <a:pt x="7234" y="4722"/>
                          <a:pt x="7351" y="4722"/>
                        </a:cubicBezTo>
                        <a:cubicBezTo>
                          <a:pt x="7444" y="4722"/>
                          <a:pt x="7583" y="4722"/>
                          <a:pt x="7676" y="4722"/>
                        </a:cubicBezTo>
                        <a:cubicBezTo>
                          <a:pt x="7769" y="4722"/>
                          <a:pt x="7909" y="4722"/>
                          <a:pt x="8002" y="4722"/>
                        </a:cubicBezTo>
                        <a:cubicBezTo>
                          <a:pt x="8095" y="4722"/>
                          <a:pt x="8235" y="4722"/>
                          <a:pt x="8328" y="4722"/>
                        </a:cubicBezTo>
                        <a:cubicBezTo>
                          <a:pt x="8444" y="4722"/>
                          <a:pt x="8560" y="4722"/>
                          <a:pt x="8653" y="4722"/>
                        </a:cubicBezTo>
                        <a:cubicBezTo>
                          <a:pt x="8746" y="4722"/>
                          <a:pt x="8863" y="4722"/>
                          <a:pt x="8979" y="4722"/>
                        </a:cubicBezTo>
                        <a:cubicBezTo>
                          <a:pt x="9072" y="4722"/>
                          <a:pt x="9188" y="4722"/>
                          <a:pt x="9305" y="4722"/>
                        </a:cubicBezTo>
                        <a:cubicBezTo>
                          <a:pt x="9398" y="4722"/>
                          <a:pt x="9514" y="4722"/>
                          <a:pt x="9630" y="4722"/>
                        </a:cubicBezTo>
                        <a:cubicBezTo>
                          <a:pt x="9677" y="4722"/>
                          <a:pt x="9747" y="4722"/>
                          <a:pt x="9793" y="4722"/>
                        </a:cubicBezTo>
                        <a:cubicBezTo>
                          <a:pt x="9840" y="4722"/>
                          <a:pt x="9909" y="4722"/>
                          <a:pt x="9956" y="4722"/>
                        </a:cubicBezTo>
                        <a:cubicBezTo>
                          <a:pt x="10003" y="4722"/>
                          <a:pt x="10072" y="4722"/>
                          <a:pt x="10119" y="4722"/>
                        </a:cubicBezTo>
                        <a:cubicBezTo>
                          <a:pt x="10165" y="4722"/>
                          <a:pt x="10235" y="4722"/>
                          <a:pt x="10282" y="4722"/>
                        </a:cubicBezTo>
                        <a:cubicBezTo>
                          <a:pt x="10328" y="4722"/>
                          <a:pt x="10375" y="4722"/>
                          <a:pt x="10421" y="4722"/>
                        </a:cubicBezTo>
                        <a:cubicBezTo>
                          <a:pt x="10468" y="4722"/>
                          <a:pt x="10538" y="4722"/>
                          <a:pt x="10584" y="4722"/>
                        </a:cubicBezTo>
                        <a:cubicBezTo>
                          <a:pt x="10631" y="4722"/>
                          <a:pt x="10700" y="4722"/>
                          <a:pt x="10747" y="4722"/>
                        </a:cubicBezTo>
                        <a:cubicBezTo>
                          <a:pt x="10793" y="4722"/>
                          <a:pt x="10840" y="4722"/>
                          <a:pt x="10886" y="4722"/>
                        </a:cubicBezTo>
                        <a:lnTo>
                          <a:pt x="10886" y="4722"/>
                        </a:lnTo>
                        <a:lnTo>
                          <a:pt x="10886" y="4722"/>
                        </a:lnTo>
                        <a:cubicBezTo>
                          <a:pt x="10677" y="4396"/>
                          <a:pt x="10561" y="4024"/>
                          <a:pt x="10514" y="3652"/>
                        </a:cubicBezTo>
                        <a:cubicBezTo>
                          <a:pt x="10491" y="3489"/>
                          <a:pt x="10468" y="3326"/>
                          <a:pt x="10468" y="3187"/>
                        </a:cubicBezTo>
                        <a:lnTo>
                          <a:pt x="10468" y="3187"/>
                        </a:lnTo>
                        <a:cubicBezTo>
                          <a:pt x="10468" y="2605"/>
                          <a:pt x="10631" y="2024"/>
                          <a:pt x="10933" y="1605"/>
                        </a:cubicBezTo>
                        <a:cubicBezTo>
                          <a:pt x="11212" y="1256"/>
                          <a:pt x="11445" y="907"/>
                          <a:pt x="11724" y="582"/>
                        </a:cubicBezTo>
                        <a:cubicBezTo>
                          <a:pt x="12026" y="186"/>
                          <a:pt x="12398" y="0"/>
                          <a:pt x="12771" y="0"/>
                        </a:cubicBezTo>
                        <a:lnTo>
                          <a:pt x="4117" y="0"/>
                        </a:lnTo>
                        <a:lnTo>
                          <a:pt x="2326" y="0"/>
                        </a:lnTo>
                        <a:cubicBezTo>
                          <a:pt x="2303" y="0"/>
                          <a:pt x="2280" y="0"/>
                          <a:pt x="2280" y="0"/>
                        </a:cubicBezTo>
                        <a:cubicBezTo>
                          <a:pt x="2163" y="0"/>
                          <a:pt x="2070" y="23"/>
                          <a:pt x="1954" y="46"/>
                        </a:cubicBezTo>
                        <a:cubicBezTo>
                          <a:pt x="1907" y="70"/>
                          <a:pt x="1861" y="93"/>
                          <a:pt x="1814" y="116"/>
                        </a:cubicBezTo>
                        <a:cubicBezTo>
                          <a:pt x="1768" y="140"/>
                          <a:pt x="1745" y="163"/>
                          <a:pt x="1698" y="186"/>
                        </a:cubicBezTo>
                        <a:cubicBezTo>
                          <a:pt x="1652" y="209"/>
                          <a:pt x="1628" y="209"/>
                          <a:pt x="1582" y="233"/>
                        </a:cubicBezTo>
                        <a:cubicBezTo>
                          <a:pt x="1465" y="326"/>
                          <a:pt x="1349" y="442"/>
                          <a:pt x="1256" y="558"/>
                        </a:cubicBezTo>
                        <a:cubicBezTo>
                          <a:pt x="977" y="907"/>
                          <a:pt x="721" y="1256"/>
                          <a:pt x="465" y="1582"/>
                        </a:cubicBezTo>
                        <a:cubicBezTo>
                          <a:pt x="349" y="1745"/>
                          <a:pt x="256" y="1931"/>
                          <a:pt x="186" y="2117"/>
                        </a:cubicBezTo>
                        <a:cubicBezTo>
                          <a:pt x="163" y="2163"/>
                          <a:pt x="163" y="2210"/>
                          <a:pt x="140" y="2233"/>
                        </a:cubicBezTo>
                        <a:cubicBezTo>
                          <a:pt x="116" y="2280"/>
                          <a:pt x="116" y="2349"/>
                          <a:pt x="93" y="2396"/>
                        </a:cubicBezTo>
                        <a:cubicBezTo>
                          <a:pt x="70" y="2466"/>
                          <a:pt x="47" y="2559"/>
                          <a:pt x="47" y="2629"/>
                        </a:cubicBezTo>
                        <a:cubicBezTo>
                          <a:pt x="23" y="2768"/>
                          <a:pt x="0" y="2908"/>
                          <a:pt x="0" y="3047"/>
                        </a:cubicBezTo>
                        <a:cubicBezTo>
                          <a:pt x="0" y="3071"/>
                          <a:pt x="0" y="3094"/>
                          <a:pt x="0" y="3094"/>
                        </a:cubicBezTo>
                        <a:cubicBezTo>
                          <a:pt x="0" y="3117"/>
                          <a:pt x="0" y="3140"/>
                          <a:pt x="0" y="3164"/>
                        </a:cubicBezTo>
                        <a:cubicBezTo>
                          <a:pt x="0" y="3257"/>
                          <a:pt x="0" y="3373"/>
                          <a:pt x="0" y="3466"/>
                        </a:cubicBezTo>
                        <a:cubicBezTo>
                          <a:pt x="23" y="3629"/>
                          <a:pt x="47" y="3768"/>
                          <a:pt x="70" y="3908"/>
                        </a:cubicBezTo>
                        <a:lnTo>
                          <a:pt x="70" y="3931"/>
                        </a:lnTo>
                        <a:cubicBezTo>
                          <a:pt x="140" y="4210"/>
                          <a:pt x="256" y="4466"/>
                          <a:pt x="395" y="4699"/>
                        </a:cubicBezTo>
                        <a:lnTo>
                          <a:pt x="419" y="4722"/>
                        </a:lnTo>
                        <a:cubicBezTo>
                          <a:pt x="605" y="4722"/>
                          <a:pt x="837" y="4722"/>
                          <a:pt x="1024" y="4722"/>
                        </a:cubicBezTo>
                        <a:cubicBezTo>
                          <a:pt x="1279" y="4722"/>
                          <a:pt x="1535" y="4722"/>
                          <a:pt x="1698" y="4722"/>
                        </a:cubicBezTo>
                        <a:close/>
                      </a:path>
                    </a:pathLst>
                  </a:custGeom>
                  <a:solidFill>
                    <a:srgbClr val="F19439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76" name="Freeform: Shape 275">
                    <a:extLst>
                      <a:ext uri="{FF2B5EF4-FFF2-40B4-BE49-F238E27FC236}">
                        <a16:creationId xmlns:a16="http://schemas.microsoft.com/office/drawing/2014/main" id="{329CD036-D7AF-488F-B72E-FA82EEE69F26}"/>
                      </a:ext>
                    </a:extLst>
                  </p:cNvPr>
                  <p:cNvSpPr/>
                  <p:nvPr/>
                </p:nvSpPr>
                <p:spPr>
                  <a:xfrm>
                    <a:off x="6180065" y="4046509"/>
                    <a:ext cx="2326" cy="2326"/>
                  </a:xfrm>
                  <a:custGeom>
                    <a:avLst/>
                    <a:gdLst>
                      <a:gd name="connsiteX0" fmla="*/ 0 w 0"/>
                      <a:gd name="connsiteY0" fmla="*/ 0 h 0"/>
                      <a:gd name="connsiteX1" fmla="*/ 0 w 0"/>
                      <a:gd name="connsiteY1" fmla="*/ 0 h 0"/>
                      <a:gd name="connsiteX2" fmla="*/ 0 w 0"/>
                      <a:gd name="connsiteY2" fmla="*/ 0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F19439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77" name="Freeform: Shape 276">
                    <a:extLst>
                      <a:ext uri="{FF2B5EF4-FFF2-40B4-BE49-F238E27FC236}">
                        <a16:creationId xmlns:a16="http://schemas.microsoft.com/office/drawing/2014/main" id="{57A03875-2781-49AA-AA89-38492E6E630A}"/>
                      </a:ext>
                    </a:extLst>
                  </p:cNvPr>
                  <p:cNvSpPr/>
                  <p:nvPr/>
                </p:nvSpPr>
                <p:spPr>
                  <a:xfrm>
                    <a:off x="6179437" y="4157118"/>
                    <a:ext cx="2326" cy="2326"/>
                  </a:xfrm>
                  <a:custGeom>
                    <a:avLst/>
                    <a:gdLst>
                      <a:gd name="connsiteX0" fmla="*/ 0 w 0"/>
                      <a:gd name="connsiteY0" fmla="*/ 0 h 0"/>
                      <a:gd name="connsiteX1" fmla="*/ 0 w 0"/>
                      <a:gd name="connsiteY1" fmla="*/ 0 h 0"/>
                      <a:gd name="connsiteX2" fmla="*/ 0 w 0"/>
                      <a:gd name="connsiteY2" fmla="*/ 0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F19439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78" name="Freeform: Shape 277">
                    <a:extLst>
                      <a:ext uri="{FF2B5EF4-FFF2-40B4-BE49-F238E27FC236}">
                        <a16:creationId xmlns:a16="http://schemas.microsoft.com/office/drawing/2014/main" id="{357BA3EF-D1CC-414B-A826-DBB4EB9910C5}"/>
                      </a:ext>
                    </a:extLst>
                  </p:cNvPr>
                  <p:cNvSpPr/>
                  <p:nvPr/>
                </p:nvSpPr>
                <p:spPr>
                  <a:xfrm>
                    <a:off x="6166689" y="4152326"/>
                    <a:ext cx="11631" cy="4652"/>
                  </a:xfrm>
                  <a:custGeom>
                    <a:avLst/>
                    <a:gdLst>
                      <a:gd name="connsiteX0" fmla="*/ 11677 w 11630"/>
                      <a:gd name="connsiteY0" fmla="*/ 4187 h 4652"/>
                      <a:gd name="connsiteX1" fmla="*/ 10910 w 11630"/>
                      <a:gd name="connsiteY1" fmla="*/ 3140 h 4652"/>
                      <a:gd name="connsiteX2" fmla="*/ 10584 w 11630"/>
                      <a:gd name="connsiteY2" fmla="*/ 675 h 4652"/>
                      <a:gd name="connsiteX3" fmla="*/ 10584 w 11630"/>
                      <a:gd name="connsiteY3" fmla="*/ 675 h 4652"/>
                      <a:gd name="connsiteX4" fmla="*/ 10886 w 11630"/>
                      <a:gd name="connsiteY4" fmla="*/ 0 h 4652"/>
                      <a:gd name="connsiteX5" fmla="*/ 10886 w 11630"/>
                      <a:gd name="connsiteY5" fmla="*/ 0 h 4652"/>
                      <a:gd name="connsiteX6" fmla="*/ 465 w 11630"/>
                      <a:gd name="connsiteY6" fmla="*/ 0 h 4652"/>
                      <a:gd name="connsiteX7" fmla="*/ 442 w 11630"/>
                      <a:gd name="connsiteY7" fmla="*/ 23 h 4652"/>
                      <a:gd name="connsiteX8" fmla="*/ 186 w 11630"/>
                      <a:gd name="connsiteY8" fmla="*/ 512 h 4652"/>
                      <a:gd name="connsiteX9" fmla="*/ 140 w 11630"/>
                      <a:gd name="connsiteY9" fmla="*/ 698 h 4652"/>
                      <a:gd name="connsiteX10" fmla="*/ 93 w 11630"/>
                      <a:gd name="connsiteY10" fmla="*/ 861 h 4652"/>
                      <a:gd name="connsiteX11" fmla="*/ 47 w 11630"/>
                      <a:gd name="connsiteY11" fmla="*/ 1024 h 4652"/>
                      <a:gd name="connsiteX12" fmla="*/ 0 w 11630"/>
                      <a:gd name="connsiteY12" fmla="*/ 1442 h 4652"/>
                      <a:gd name="connsiteX13" fmla="*/ 0 w 11630"/>
                      <a:gd name="connsiteY13" fmla="*/ 1559 h 4652"/>
                      <a:gd name="connsiteX14" fmla="*/ 0 w 11630"/>
                      <a:gd name="connsiteY14" fmla="*/ 1652 h 4652"/>
                      <a:gd name="connsiteX15" fmla="*/ 0 w 11630"/>
                      <a:gd name="connsiteY15" fmla="*/ 1861 h 4652"/>
                      <a:gd name="connsiteX16" fmla="*/ 70 w 11630"/>
                      <a:gd name="connsiteY16" fmla="*/ 2303 h 4652"/>
                      <a:gd name="connsiteX17" fmla="*/ 93 w 11630"/>
                      <a:gd name="connsiteY17" fmla="*/ 2349 h 4652"/>
                      <a:gd name="connsiteX18" fmla="*/ 442 w 11630"/>
                      <a:gd name="connsiteY18" fmla="*/ 3140 h 4652"/>
                      <a:gd name="connsiteX19" fmla="*/ 1210 w 11630"/>
                      <a:gd name="connsiteY19" fmla="*/ 4187 h 4652"/>
                      <a:gd name="connsiteX20" fmla="*/ 2280 w 11630"/>
                      <a:gd name="connsiteY20" fmla="*/ 4792 h 4652"/>
                      <a:gd name="connsiteX21" fmla="*/ 4001 w 11630"/>
                      <a:gd name="connsiteY21" fmla="*/ 4792 h 4652"/>
                      <a:gd name="connsiteX22" fmla="*/ 12701 w 11630"/>
                      <a:gd name="connsiteY22" fmla="*/ 4792 h 4652"/>
                      <a:gd name="connsiteX23" fmla="*/ 11677 w 11630"/>
                      <a:gd name="connsiteY23" fmla="*/ 4187 h 46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</a:cxnLst>
                    <a:rect l="l" t="t" r="r" b="b"/>
                    <a:pathLst>
                      <a:path w="11630" h="4652">
                        <a:moveTo>
                          <a:pt x="11677" y="4187"/>
                        </a:moveTo>
                        <a:cubicBezTo>
                          <a:pt x="11422" y="3838"/>
                          <a:pt x="11166" y="3489"/>
                          <a:pt x="10910" y="3140"/>
                        </a:cubicBezTo>
                        <a:cubicBezTo>
                          <a:pt x="10445" y="2466"/>
                          <a:pt x="10328" y="1489"/>
                          <a:pt x="10584" y="675"/>
                        </a:cubicBezTo>
                        <a:lnTo>
                          <a:pt x="10584" y="675"/>
                        </a:lnTo>
                        <a:cubicBezTo>
                          <a:pt x="10654" y="442"/>
                          <a:pt x="10747" y="209"/>
                          <a:pt x="10886" y="0"/>
                        </a:cubicBezTo>
                        <a:lnTo>
                          <a:pt x="10886" y="0"/>
                        </a:lnTo>
                        <a:lnTo>
                          <a:pt x="465" y="0"/>
                        </a:lnTo>
                        <a:cubicBezTo>
                          <a:pt x="465" y="0"/>
                          <a:pt x="442" y="0"/>
                          <a:pt x="442" y="23"/>
                        </a:cubicBezTo>
                        <a:cubicBezTo>
                          <a:pt x="349" y="186"/>
                          <a:pt x="256" y="349"/>
                          <a:pt x="186" y="512"/>
                        </a:cubicBezTo>
                        <a:cubicBezTo>
                          <a:pt x="163" y="558"/>
                          <a:pt x="163" y="628"/>
                          <a:pt x="140" y="698"/>
                        </a:cubicBezTo>
                        <a:cubicBezTo>
                          <a:pt x="116" y="744"/>
                          <a:pt x="93" y="791"/>
                          <a:pt x="93" y="861"/>
                        </a:cubicBezTo>
                        <a:cubicBezTo>
                          <a:pt x="70" y="907"/>
                          <a:pt x="47" y="977"/>
                          <a:pt x="47" y="1024"/>
                        </a:cubicBezTo>
                        <a:cubicBezTo>
                          <a:pt x="23" y="1163"/>
                          <a:pt x="0" y="1303"/>
                          <a:pt x="0" y="1442"/>
                        </a:cubicBezTo>
                        <a:cubicBezTo>
                          <a:pt x="0" y="1465"/>
                          <a:pt x="0" y="1512"/>
                          <a:pt x="0" y="1559"/>
                        </a:cubicBezTo>
                        <a:cubicBezTo>
                          <a:pt x="0" y="1582"/>
                          <a:pt x="0" y="1605"/>
                          <a:pt x="0" y="1652"/>
                        </a:cubicBezTo>
                        <a:cubicBezTo>
                          <a:pt x="0" y="1721"/>
                          <a:pt x="0" y="1791"/>
                          <a:pt x="0" y="1861"/>
                        </a:cubicBezTo>
                        <a:cubicBezTo>
                          <a:pt x="23" y="2024"/>
                          <a:pt x="47" y="2163"/>
                          <a:pt x="70" y="2303"/>
                        </a:cubicBezTo>
                        <a:cubicBezTo>
                          <a:pt x="70" y="2303"/>
                          <a:pt x="93" y="2326"/>
                          <a:pt x="93" y="2349"/>
                        </a:cubicBezTo>
                        <a:cubicBezTo>
                          <a:pt x="163" y="2629"/>
                          <a:pt x="279" y="2908"/>
                          <a:pt x="442" y="3140"/>
                        </a:cubicBezTo>
                        <a:cubicBezTo>
                          <a:pt x="698" y="3513"/>
                          <a:pt x="954" y="3838"/>
                          <a:pt x="1210" y="4187"/>
                        </a:cubicBezTo>
                        <a:cubicBezTo>
                          <a:pt x="1512" y="4606"/>
                          <a:pt x="1907" y="4792"/>
                          <a:pt x="2280" y="4792"/>
                        </a:cubicBezTo>
                        <a:lnTo>
                          <a:pt x="4001" y="4792"/>
                        </a:lnTo>
                        <a:lnTo>
                          <a:pt x="12701" y="4792"/>
                        </a:lnTo>
                        <a:cubicBezTo>
                          <a:pt x="12375" y="4792"/>
                          <a:pt x="11980" y="4606"/>
                          <a:pt x="11677" y="4187"/>
                        </a:cubicBezTo>
                        <a:close/>
                      </a:path>
                    </a:pathLst>
                  </a:custGeom>
                  <a:solidFill>
                    <a:srgbClr val="F19439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79" name="Freeform: Shape 278">
                    <a:extLst>
                      <a:ext uri="{FF2B5EF4-FFF2-40B4-BE49-F238E27FC236}">
                        <a16:creationId xmlns:a16="http://schemas.microsoft.com/office/drawing/2014/main" id="{21A98FFB-7F3D-4DA5-9647-4F05CADAA735}"/>
                      </a:ext>
                    </a:extLst>
                  </p:cNvPr>
                  <p:cNvSpPr/>
                  <p:nvPr/>
                </p:nvSpPr>
                <p:spPr>
                  <a:xfrm>
                    <a:off x="6177599" y="4152303"/>
                    <a:ext cx="2326" cy="2326"/>
                  </a:xfrm>
                  <a:custGeom>
                    <a:avLst/>
                    <a:gdLst>
                      <a:gd name="connsiteX0" fmla="*/ 0 w 0"/>
                      <a:gd name="connsiteY0" fmla="*/ 0 h 0"/>
                      <a:gd name="connsiteX1" fmla="*/ 0 w 0"/>
                      <a:gd name="connsiteY1" fmla="*/ 0 h 0"/>
                      <a:gd name="connsiteX2" fmla="*/ 0 w 0"/>
                      <a:gd name="connsiteY2" fmla="*/ 0 h 0"/>
                      <a:gd name="connsiteX3" fmla="*/ 0 w 0"/>
                      <a:gd name="connsiteY3" fmla="*/ 0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F19439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80" name="Freeform: Shape 279">
                    <a:extLst>
                      <a:ext uri="{FF2B5EF4-FFF2-40B4-BE49-F238E27FC236}">
                        <a16:creationId xmlns:a16="http://schemas.microsoft.com/office/drawing/2014/main" id="{A3499B94-5BE4-4158-AEF7-05FA4E901F68}"/>
                      </a:ext>
                    </a:extLst>
                  </p:cNvPr>
                  <p:cNvSpPr/>
                  <p:nvPr/>
                </p:nvSpPr>
                <p:spPr>
                  <a:xfrm>
                    <a:off x="6163037" y="4146767"/>
                    <a:ext cx="11631" cy="4652"/>
                  </a:xfrm>
                  <a:custGeom>
                    <a:avLst/>
                    <a:gdLst>
                      <a:gd name="connsiteX0" fmla="*/ 12492 w 11630"/>
                      <a:gd name="connsiteY0" fmla="*/ 4978 h 4652"/>
                      <a:gd name="connsiteX1" fmla="*/ 11631 w 11630"/>
                      <a:gd name="connsiteY1" fmla="*/ 4257 h 4652"/>
                      <a:gd name="connsiteX2" fmla="*/ 10933 w 11630"/>
                      <a:gd name="connsiteY2" fmla="*/ 3117 h 4652"/>
                      <a:gd name="connsiteX3" fmla="*/ 10724 w 11630"/>
                      <a:gd name="connsiteY3" fmla="*/ 744 h 4652"/>
                      <a:gd name="connsiteX4" fmla="*/ 10724 w 11630"/>
                      <a:gd name="connsiteY4" fmla="*/ 744 h 4652"/>
                      <a:gd name="connsiteX5" fmla="*/ 10724 w 11630"/>
                      <a:gd name="connsiteY5" fmla="*/ 744 h 4652"/>
                      <a:gd name="connsiteX6" fmla="*/ 11119 w 11630"/>
                      <a:gd name="connsiteY6" fmla="*/ 23 h 4652"/>
                      <a:gd name="connsiteX7" fmla="*/ 11142 w 11630"/>
                      <a:gd name="connsiteY7" fmla="*/ 0 h 4652"/>
                      <a:gd name="connsiteX8" fmla="*/ 10980 w 11630"/>
                      <a:gd name="connsiteY8" fmla="*/ 0 h 4652"/>
                      <a:gd name="connsiteX9" fmla="*/ 10840 w 11630"/>
                      <a:gd name="connsiteY9" fmla="*/ 0 h 4652"/>
                      <a:gd name="connsiteX10" fmla="*/ 10677 w 11630"/>
                      <a:gd name="connsiteY10" fmla="*/ 0 h 4652"/>
                      <a:gd name="connsiteX11" fmla="*/ 10514 w 11630"/>
                      <a:gd name="connsiteY11" fmla="*/ 0 h 4652"/>
                      <a:gd name="connsiteX12" fmla="*/ 10351 w 11630"/>
                      <a:gd name="connsiteY12" fmla="*/ 0 h 4652"/>
                      <a:gd name="connsiteX13" fmla="*/ 10189 w 11630"/>
                      <a:gd name="connsiteY13" fmla="*/ 0 h 4652"/>
                      <a:gd name="connsiteX14" fmla="*/ 10026 w 11630"/>
                      <a:gd name="connsiteY14" fmla="*/ 0 h 4652"/>
                      <a:gd name="connsiteX15" fmla="*/ 9863 w 11630"/>
                      <a:gd name="connsiteY15" fmla="*/ 0 h 4652"/>
                      <a:gd name="connsiteX16" fmla="*/ 8909 w 11630"/>
                      <a:gd name="connsiteY16" fmla="*/ 0 h 4652"/>
                      <a:gd name="connsiteX17" fmla="*/ 7909 w 11630"/>
                      <a:gd name="connsiteY17" fmla="*/ 0 h 4652"/>
                      <a:gd name="connsiteX18" fmla="*/ 6885 w 11630"/>
                      <a:gd name="connsiteY18" fmla="*/ 0 h 4652"/>
                      <a:gd name="connsiteX19" fmla="*/ 5862 w 11630"/>
                      <a:gd name="connsiteY19" fmla="*/ 0 h 4652"/>
                      <a:gd name="connsiteX20" fmla="*/ 4838 w 11630"/>
                      <a:gd name="connsiteY20" fmla="*/ 0 h 4652"/>
                      <a:gd name="connsiteX21" fmla="*/ 3815 w 11630"/>
                      <a:gd name="connsiteY21" fmla="*/ 0 h 4652"/>
                      <a:gd name="connsiteX22" fmla="*/ 2815 w 11630"/>
                      <a:gd name="connsiteY22" fmla="*/ 0 h 4652"/>
                      <a:gd name="connsiteX23" fmla="*/ 1861 w 11630"/>
                      <a:gd name="connsiteY23" fmla="*/ 0 h 4652"/>
                      <a:gd name="connsiteX24" fmla="*/ 1698 w 11630"/>
                      <a:gd name="connsiteY24" fmla="*/ 0 h 4652"/>
                      <a:gd name="connsiteX25" fmla="*/ 1535 w 11630"/>
                      <a:gd name="connsiteY25" fmla="*/ 0 h 4652"/>
                      <a:gd name="connsiteX26" fmla="*/ 1372 w 11630"/>
                      <a:gd name="connsiteY26" fmla="*/ 0 h 4652"/>
                      <a:gd name="connsiteX27" fmla="*/ 1210 w 11630"/>
                      <a:gd name="connsiteY27" fmla="*/ 0 h 4652"/>
                      <a:gd name="connsiteX28" fmla="*/ 1047 w 11630"/>
                      <a:gd name="connsiteY28" fmla="*/ 0 h 4652"/>
                      <a:gd name="connsiteX29" fmla="*/ 884 w 11630"/>
                      <a:gd name="connsiteY29" fmla="*/ 0 h 4652"/>
                      <a:gd name="connsiteX30" fmla="*/ 744 w 11630"/>
                      <a:gd name="connsiteY30" fmla="*/ 0 h 4652"/>
                      <a:gd name="connsiteX31" fmla="*/ 582 w 11630"/>
                      <a:gd name="connsiteY31" fmla="*/ 0 h 4652"/>
                      <a:gd name="connsiteX32" fmla="*/ 558 w 11630"/>
                      <a:gd name="connsiteY32" fmla="*/ 23 h 4652"/>
                      <a:gd name="connsiteX33" fmla="*/ 186 w 11630"/>
                      <a:gd name="connsiteY33" fmla="*/ 651 h 4652"/>
                      <a:gd name="connsiteX34" fmla="*/ 186 w 11630"/>
                      <a:gd name="connsiteY34" fmla="*/ 675 h 4652"/>
                      <a:gd name="connsiteX35" fmla="*/ 163 w 11630"/>
                      <a:gd name="connsiteY35" fmla="*/ 768 h 4652"/>
                      <a:gd name="connsiteX36" fmla="*/ 47 w 11630"/>
                      <a:gd name="connsiteY36" fmla="*/ 1163 h 4652"/>
                      <a:gd name="connsiteX37" fmla="*/ 0 w 11630"/>
                      <a:gd name="connsiteY37" fmla="*/ 1465 h 4652"/>
                      <a:gd name="connsiteX38" fmla="*/ 0 w 11630"/>
                      <a:gd name="connsiteY38" fmla="*/ 1535 h 4652"/>
                      <a:gd name="connsiteX39" fmla="*/ 0 w 11630"/>
                      <a:gd name="connsiteY39" fmla="*/ 1582 h 4652"/>
                      <a:gd name="connsiteX40" fmla="*/ 0 w 11630"/>
                      <a:gd name="connsiteY40" fmla="*/ 2001 h 4652"/>
                      <a:gd name="connsiteX41" fmla="*/ 47 w 11630"/>
                      <a:gd name="connsiteY41" fmla="*/ 2303 h 4652"/>
                      <a:gd name="connsiteX42" fmla="*/ 70 w 11630"/>
                      <a:gd name="connsiteY42" fmla="*/ 2396 h 4652"/>
                      <a:gd name="connsiteX43" fmla="*/ 70 w 11630"/>
                      <a:gd name="connsiteY43" fmla="*/ 2466 h 4652"/>
                      <a:gd name="connsiteX44" fmla="*/ 349 w 11630"/>
                      <a:gd name="connsiteY44" fmla="*/ 3140 h 4652"/>
                      <a:gd name="connsiteX45" fmla="*/ 1047 w 11630"/>
                      <a:gd name="connsiteY45" fmla="*/ 4280 h 4652"/>
                      <a:gd name="connsiteX46" fmla="*/ 2233 w 11630"/>
                      <a:gd name="connsiteY46" fmla="*/ 5048 h 4652"/>
                      <a:gd name="connsiteX47" fmla="*/ 3629 w 11630"/>
                      <a:gd name="connsiteY47" fmla="*/ 5048 h 4652"/>
                      <a:gd name="connsiteX48" fmla="*/ 12654 w 11630"/>
                      <a:gd name="connsiteY48" fmla="*/ 5048 h 4652"/>
                      <a:gd name="connsiteX49" fmla="*/ 12492 w 11630"/>
                      <a:gd name="connsiteY49" fmla="*/ 4978 h 46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</a:cxnLst>
                    <a:rect l="l" t="t" r="r" b="b"/>
                    <a:pathLst>
                      <a:path w="11630" h="4652">
                        <a:moveTo>
                          <a:pt x="12492" y="4978"/>
                        </a:moveTo>
                        <a:cubicBezTo>
                          <a:pt x="12166" y="4885"/>
                          <a:pt x="11863" y="4652"/>
                          <a:pt x="11631" y="4257"/>
                        </a:cubicBezTo>
                        <a:cubicBezTo>
                          <a:pt x="11398" y="3885"/>
                          <a:pt x="11166" y="3513"/>
                          <a:pt x="10933" y="3117"/>
                        </a:cubicBezTo>
                        <a:cubicBezTo>
                          <a:pt x="10538" y="2419"/>
                          <a:pt x="10468" y="1489"/>
                          <a:pt x="10724" y="744"/>
                        </a:cubicBezTo>
                        <a:lnTo>
                          <a:pt x="10724" y="744"/>
                        </a:lnTo>
                        <a:lnTo>
                          <a:pt x="10724" y="744"/>
                        </a:lnTo>
                        <a:cubicBezTo>
                          <a:pt x="10817" y="465"/>
                          <a:pt x="10933" y="209"/>
                          <a:pt x="11119" y="23"/>
                        </a:cubicBezTo>
                        <a:cubicBezTo>
                          <a:pt x="11119" y="23"/>
                          <a:pt x="11119" y="0"/>
                          <a:pt x="11142" y="0"/>
                        </a:cubicBezTo>
                        <a:cubicBezTo>
                          <a:pt x="11096" y="0"/>
                          <a:pt x="11049" y="0"/>
                          <a:pt x="10980" y="0"/>
                        </a:cubicBezTo>
                        <a:cubicBezTo>
                          <a:pt x="10933" y="0"/>
                          <a:pt x="10863" y="0"/>
                          <a:pt x="10840" y="0"/>
                        </a:cubicBezTo>
                        <a:cubicBezTo>
                          <a:pt x="10793" y="0"/>
                          <a:pt x="10724" y="0"/>
                          <a:pt x="10677" y="0"/>
                        </a:cubicBezTo>
                        <a:cubicBezTo>
                          <a:pt x="10631" y="0"/>
                          <a:pt x="10561" y="0"/>
                          <a:pt x="10514" y="0"/>
                        </a:cubicBezTo>
                        <a:cubicBezTo>
                          <a:pt x="10468" y="0"/>
                          <a:pt x="10398" y="0"/>
                          <a:pt x="10351" y="0"/>
                        </a:cubicBezTo>
                        <a:cubicBezTo>
                          <a:pt x="10305" y="0"/>
                          <a:pt x="10258" y="0"/>
                          <a:pt x="10189" y="0"/>
                        </a:cubicBezTo>
                        <a:cubicBezTo>
                          <a:pt x="10142" y="0"/>
                          <a:pt x="10072" y="0"/>
                          <a:pt x="10026" y="0"/>
                        </a:cubicBezTo>
                        <a:cubicBezTo>
                          <a:pt x="9979" y="0"/>
                          <a:pt x="9933" y="0"/>
                          <a:pt x="9863" y="0"/>
                        </a:cubicBezTo>
                        <a:cubicBezTo>
                          <a:pt x="9584" y="0"/>
                          <a:pt x="9188" y="0"/>
                          <a:pt x="8909" y="0"/>
                        </a:cubicBezTo>
                        <a:cubicBezTo>
                          <a:pt x="8607" y="0"/>
                          <a:pt x="8211" y="0"/>
                          <a:pt x="7909" y="0"/>
                        </a:cubicBezTo>
                        <a:cubicBezTo>
                          <a:pt x="7607" y="0"/>
                          <a:pt x="7211" y="0"/>
                          <a:pt x="6885" y="0"/>
                        </a:cubicBezTo>
                        <a:cubicBezTo>
                          <a:pt x="6583" y="0"/>
                          <a:pt x="6164" y="0"/>
                          <a:pt x="5862" y="0"/>
                        </a:cubicBezTo>
                        <a:cubicBezTo>
                          <a:pt x="5560" y="0"/>
                          <a:pt x="5141" y="0"/>
                          <a:pt x="4838" y="0"/>
                        </a:cubicBezTo>
                        <a:cubicBezTo>
                          <a:pt x="4536" y="0"/>
                          <a:pt x="4117" y="0"/>
                          <a:pt x="3815" y="0"/>
                        </a:cubicBezTo>
                        <a:cubicBezTo>
                          <a:pt x="3513" y="0"/>
                          <a:pt x="3117" y="0"/>
                          <a:pt x="2815" y="0"/>
                        </a:cubicBezTo>
                        <a:cubicBezTo>
                          <a:pt x="2512" y="0"/>
                          <a:pt x="2140" y="0"/>
                          <a:pt x="1861" y="0"/>
                        </a:cubicBezTo>
                        <a:cubicBezTo>
                          <a:pt x="1814" y="0"/>
                          <a:pt x="1745" y="0"/>
                          <a:pt x="1698" y="0"/>
                        </a:cubicBezTo>
                        <a:cubicBezTo>
                          <a:pt x="1652" y="0"/>
                          <a:pt x="1582" y="0"/>
                          <a:pt x="1535" y="0"/>
                        </a:cubicBezTo>
                        <a:cubicBezTo>
                          <a:pt x="1489" y="0"/>
                          <a:pt x="1419" y="0"/>
                          <a:pt x="1372" y="0"/>
                        </a:cubicBezTo>
                        <a:cubicBezTo>
                          <a:pt x="1326" y="0"/>
                          <a:pt x="1256" y="0"/>
                          <a:pt x="1210" y="0"/>
                        </a:cubicBezTo>
                        <a:cubicBezTo>
                          <a:pt x="1163" y="0"/>
                          <a:pt x="1093" y="0"/>
                          <a:pt x="1047" y="0"/>
                        </a:cubicBezTo>
                        <a:cubicBezTo>
                          <a:pt x="1000" y="0"/>
                          <a:pt x="930" y="0"/>
                          <a:pt x="884" y="0"/>
                        </a:cubicBezTo>
                        <a:cubicBezTo>
                          <a:pt x="837" y="0"/>
                          <a:pt x="768" y="0"/>
                          <a:pt x="744" y="0"/>
                        </a:cubicBezTo>
                        <a:cubicBezTo>
                          <a:pt x="698" y="0"/>
                          <a:pt x="651" y="0"/>
                          <a:pt x="582" y="0"/>
                        </a:cubicBezTo>
                        <a:lnTo>
                          <a:pt x="558" y="23"/>
                        </a:lnTo>
                        <a:cubicBezTo>
                          <a:pt x="395" y="209"/>
                          <a:pt x="279" y="419"/>
                          <a:pt x="186" y="651"/>
                        </a:cubicBezTo>
                        <a:lnTo>
                          <a:pt x="186" y="675"/>
                        </a:lnTo>
                        <a:cubicBezTo>
                          <a:pt x="186" y="698"/>
                          <a:pt x="163" y="721"/>
                          <a:pt x="163" y="768"/>
                        </a:cubicBezTo>
                        <a:cubicBezTo>
                          <a:pt x="116" y="884"/>
                          <a:pt x="70" y="1024"/>
                          <a:pt x="47" y="1163"/>
                        </a:cubicBezTo>
                        <a:cubicBezTo>
                          <a:pt x="23" y="1256"/>
                          <a:pt x="23" y="1373"/>
                          <a:pt x="0" y="1465"/>
                        </a:cubicBezTo>
                        <a:cubicBezTo>
                          <a:pt x="0" y="1489"/>
                          <a:pt x="0" y="1512"/>
                          <a:pt x="0" y="1535"/>
                        </a:cubicBezTo>
                        <a:cubicBezTo>
                          <a:pt x="0" y="1559"/>
                          <a:pt x="0" y="1559"/>
                          <a:pt x="0" y="1582"/>
                        </a:cubicBezTo>
                        <a:cubicBezTo>
                          <a:pt x="0" y="1721"/>
                          <a:pt x="0" y="1861"/>
                          <a:pt x="0" y="2001"/>
                        </a:cubicBezTo>
                        <a:cubicBezTo>
                          <a:pt x="0" y="2117"/>
                          <a:pt x="23" y="2210"/>
                          <a:pt x="47" y="2303"/>
                        </a:cubicBezTo>
                        <a:cubicBezTo>
                          <a:pt x="47" y="2326"/>
                          <a:pt x="47" y="2373"/>
                          <a:pt x="70" y="2396"/>
                        </a:cubicBezTo>
                        <a:cubicBezTo>
                          <a:pt x="70" y="2419"/>
                          <a:pt x="70" y="2443"/>
                          <a:pt x="70" y="2466"/>
                        </a:cubicBezTo>
                        <a:cubicBezTo>
                          <a:pt x="140" y="2698"/>
                          <a:pt x="233" y="2931"/>
                          <a:pt x="349" y="3140"/>
                        </a:cubicBezTo>
                        <a:cubicBezTo>
                          <a:pt x="582" y="3536"/>
                          <a:pt x="814" y="3931"/>
                          <a:pt x="1047" y="4280"/>
                        </a:cubicBezTo>
                        <a:cubicBezTo>
                          <a:pt x="1349" y="4815"/>
                          <a:pt x="1791" y="5048"/>
                          <a:pt x="2233" y="5048"/>
                        </a:cubicBezTo>
                        <a:lnTo>
                          <a:pt x="3629" y="5048"/>
                        </a:lnTo>
                        <a:lnTo>
                          <a:pt x="12654" y="5048"/>
                        </a:lnTo>
                        <a:cubicBezTo>
                          <a:pt x="12701" y="5025"/>
                          <a:pt x="12585" y="5025"/>
                          <a:pt x="12492" y="4978"/>
                        </a:cubicBezTo>
                        <a:close/>
                      </a:path>
                    </a:pathLst>
                  </a:custGeom>
                  <a:solidFill>
                    <a:srgbClr val="F19439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81" name="Freeform: Shape 280">
                    <a:extLst>
                      <a:ext uri="{FF2B5EF4-FFF2-40B4-BE49-F238E27FC236}">
                        <a16:creationId xmlns:a16="http://schemas.microsoft.com/office/drawing/2014/main" id="{4A4631BB-204A-4505-81EE-08BEA8C4B275}"/>
                      </a:ext>
                    </a:extLst>
                  </p:cNvPr>
                  <p:cNvSpPr/>
                  <p:nvPr/>
                </p:nvSpPr>
                <p:spPr>
                  <a:xfrm>
                    <a:off x="6176413" y="4051743"/>
                    <a:ext cx="2326" cy="2326"/>
                  </a:xfrm>
                  <a:custGeom>
                    <a:avLst/>
                    <a:gdLst>
                      <a:gd name="connsiteX0" fmla="*/ 0 w 0"/>
                      <a:gd name="connsiteY0" fmla="*/ 0 h 0"/>
                      <a:gd name="connsiteX1" fmla="*/ 0 w 0"/>
                      <a:gd name="connsiteY1" fmla="*/ 0 h 0"/>
                      <a:gd name="connsiteX2" fmla="*/ 0 w 0"/>
                      <a:gd name="connsiteY2" fmla="*/ 0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F19439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82" name="Freeform: Shape 281">
                    <a:extLst>
                      <a:ext uri="{FF2B5EF4-FFF2-40B4-BE49-F238E27FC236}">
                        <a16:creationId xmlns:a16="http://schemas.microsoft.com/office/drawing/2014/main" id="{D32A631E-FDB8-4DA7-A576-13F74F84C206}"/>
                      </a:ext>
                    </a:extLst>
                  </p:cNvPr>
                  <p:cNvSpPr/>
                  <p:nvPr/>
                </p:nvSpPr>
                <p:spPr>
                  <a:xfrm>
                    <a:off x="6163735" y="4051743"/>
                    <a:ext cx="11631" cy="4652"/>
                  </a:xfrm>
                  <a:custGeom>
                    <a:avLst/>
                    <a:gdLst>
                      <a:gd name="connsiteX0" fmla="*/ 10980 w 11630"/>
                      <a:gd name="connsiteY0" fmla="*/ 5001 h 4652"/>
                      <a:gd name="connsiteX1" fmla="*/ 10538 w 11630"/>
                      <a:gd name="connsiteY1" fmla="*/ 4094 h 4652"/>
                      <a:gd name="connsiteX2" fmla="*/ 10445 w 11630"/>
                      <a:gd name="connsiteY2" fmla="*/ 3536 h 4652"/>
                      <a:gd name="connsiteX3" fmla="*/ 10445 w 11630"/>
                      <a:gd name="connsiteY3" fmla="*/ 3536 h 4652"/>
                      <a:gd name="connsiteX4" fmla="*/ 10817 w 11630"/>
                      <a:gd name="connsiteY4" fmla="*/ 1884 h 4652"/>
                      <a:gd name="connsiteX5" fmla="*/ 11515 w 11630"/>
                      <a:gd name="connsiteY5" fmla="*/ 744 h 4652"/>
                      <a:gd name="connsiteX6" fmla="*/ 11957 w 11630"/>
                      <a:gd name="connsiteY6" fmla="*/ 256 h 4652"/>
                      <a:gd name="connsiteX7" fmla="*/ 11980 w 11630"/>
                      <a:gd name="connsiteY7" fmla="*/ 233 h 4652"/>
                      <a:gd name="connsiteX8" fmla="*/ 11980 w 11630"/>
                      <a:gd name="connsiteY8" fmla="*/ 233 h 4652"/>
                      <a:gd name="connsiteX9" fmla="*/ 12678 w 11630"/>
                      <a:gd name="connsiteY9" fmla="*/ 0 h 4652"/>
                      <a:gd name="connsiteX10" fmla="*/ 3699 w 11630"/>
                      <a:gd name="connsiteY10" fmla="*/ 0 h 4652"/>
                      <a:gd name="connsiteX11" fmla="*/ 2256 w 11630"/>
                      <a:gd name="connsiteY11" fmla="*/ 0 h 4652"/>
                      <a:gd name="connsiteX12" fmla="*/ 2187 w 11630"/>
                      <a:gd name="connsiteY12" fmla="*/ 0 h 4652"/>
                      <a:gd name="connsiteX13" fmla="*/ 2047 w 11630"/>
                      <a:gd name="connsiteY13" fmla="*/ 23 h 4652"/>
                      <a:gd name="connsiteX14" fmla="*/ 1907 w 11630"/>
                      <a:gd name="connsiteY14" fmla="*/ 46 h 4652"/>
                      <a:gd name="connsiteX15" fmla="*/ 1884 w 11630"/>
                      <a:gd name="connsiteY15" fmla="*/ 46 h 4652"/>
                      <a:gd name="connsiteX16" fmla="*/ 1814 w 11630"/>
                      <a:gd name="connsiteY16" fmla="*/ 93 h 4652"/>
                      <a:gd name="connsiteX17" fmla="*/ 1559 w 11630"/>
                      <a:gd name="connsiteY17" fmla="*/ 209 h 4652"/>
                      <a:gd name="connsiteX18" fmla="*/ 1535 w 11630"/>
                      <a:gd name="connsiteY18" fmla="*/ 233 h 4652"/>
                      <a:gd name="connsiteX19" fmla="*/ 1465 w 11630"/>
                      <a:gd name="connsiteY19" fmla="*/ 279 h 4652"/>
                      <a:gd name="connsiteX20" fmla="*/ 1093 w 11630"/>
                      <a:gd name="connsiteY20" fmla="*/ 721 h 4652"/>
                      <a:gd name="connsiteX21" fmla="*/ 395 w 11630"/>
                      <a:gd name="connsiteY21" fmla="*/ 1861 h 4652"/>
                      <a:gd name="connsiteX22" fmla="*/ 209 w 11630"/>
                      <a:gd name="connsiteY22" fmla="*/ 2233 h 4652"/>
                      <a:gd name="connsiteX23" fmla="*/ 116 w 11630"/>
                      <a:gd name="connsiteY23" fmla="*/ 2536 h 4652"/>
                      <a:gd name="connsiteX24" fmla="*/ 70 w 11630"/>
                      <a:gd name="connsiteY24" fmla="*/ 2652 h 4652"/>
                      <a:gd name="connsiteX25" fmla="*/ 47 w 11630"/>
                      <a:gd name="connsiteY25" fmla="*/ 2722 h 4652"/>
                      <a:gd name="connsiteX26" fmla="*/ 0 w 11630"/>
                      <a:gd name="connsiteY26" fmla="*/ 3140 h 4652"/>
                      <a:gd name="connsiteX27" fmla="*/ 0 w 11630"/>
                      <a:gd name="connsiteY27" fmla="*/ 3396 h 4652"/>
                      <a:gd name="connsiteX28" fmla="*/ 0 w 11630"/>
                      <a:gd name="connsiteY28" fmla="*/ 3489 h 4652"/>
                      <a:gd name="connsiteX29" fmla="*/ 0 w 11630"/>
                      <a:gd name="connsiteY29" fmla="*/ 3559 h 4652"/>
                      <a:gd name="connsiteX30" fmla="*/ 70 w 11630"/>
                      <a:gd name="connsiteY30" fmla="*/ 4001 h 4652"/>
                      <a:gd name="connsiteX31" fmla="*/ 116 w 11630"/>
                      <a:gd name="connsiteY31" fmla="*/ 4164 h 4652"/>
                      <a:gd name="connsiteX32" fmla="*/ 163 w 11630"/>
                      <a:gd name="connsiteY32" fmla="*/ 4327 h 4652"/>
                      <a:gd name="connsiteX33" fmla="*/ 512 w 11630"/>
                      <a:gd name="connsiteY33" fmla="*/ 4931 h 4652"/>
                      <a:gd name="connsiteX34" fmla="*/ 535 w 11630"/>
                      <a:gd name="connsiteY34" fmla="*/ 4955 h 4652"/>
                      <a:gd name="connsiteX35" fmla="*/ 10956 w 11630"/>
                      <a:gd name="connsiteY35" fmla="*/ 4955 h 4652"/>
                      <a:gd name="connsiteX36" fmla="*/ 10980 w 11630"/>
                      <a:gd name="connsiteY36" fmla="*/ 5001 h 46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</a:cxnLst>
                    <a:rect l="l" t="t" r="r" b="b"/>
                    <a:pathLst>
                      <a:path w="11630" h="4652">
                        <a:moveTo>
                          <a:pt x="10980" y="5001"/>
                        </a:moveTo>
                        <a:cubicBezTo>
                          <a:pt x="10770" y="4745"/>
                          <a:pt x="10654" y="4420"/>
                          <a:pt x="10538" y="4094"/>
                        </a:cubicBezTo>
                        <a:cubicBezTo>
                          <a:pt x="10491" y="3908"/>
                          <a:pt x="10445" y="3722"/>
                          <a:pt x="10445" y="3536"/>
                        </a:cubicBezTo>
                        <a:lnTo>
                          <a:pt x="10445" y="3536"/>
                        </a:lnTo>
                        <a:cubicBezTo>
                          <a:pt x="10398" y="2954"/>
                          <a:pt x="10514" y="2373"/>
                          <a:pt x="10817" y="1884"/>
                        </a:cubicBezTo>
                        <a:cubicBezTo>
                          <a:pt x="11049" y="1512"/>
                          <a:pt x="11282" y="1140"/>
                          <a:pt x="11515" y="744"/>
                        </a:cubicBezTo>
                        <a:cubicBezTo>
                          <a:pt x="11654" y="535"/>
                          <a:pt x="11794" y="395"/>
                          <a:pt x="11957" y="256"/>
                        </a:cubicBezTo>
                        <a:lnTo>
                          <a:pt x="11980" y="233"/>
                        </a:lnTo>
                        <a:lnTo>
                          <a:pt x="11980" y="233"/>
                        </a:lnTo>
                        <a:cubicBezTo>
                          <a:pt x="12189" y="93"/>
                          <a:pt x="12445" y="0"/>
                          <a:pt x="12678" y="0"/>
                        </a:cubicBezTo>
                        <a:lnTo>
                          <a:pt x="3699" y="0"/>
                        </a:lnTo>
                        <a:lnTo>
                          <a:pt x="2256" y="0"/>
                        </a:lnTo>
                        <a:cubicBezTo>
                          <a:pt x="2233" y="0"/>
                          <a:pt x="2210" y="0"/>
                          <a:pt x="2187" y="0"/>
                        </a:cubicBezTo>
                        <a:cubicBezTo>
                          <a:pt x="2140" y="0"/>
                          <a:pt x="2094" y="23"/>
                          <a:pt x="2047" y="23"/>
                        </a:cubicBezTo>
                        <a:cubicBezTo>
                          <a:pt x="2000" y="23"/>
                          <a:pt x="1954" y="46"/>
                          <a:pt x="1907" y="46"/>
                        </a:cubicBezTo>
                        <a:lnTo>
                          <a:pt x="1884" y="46"/>
                        </a:lnTo>
                        <a:cubicBezTo>
                          <a:pt x="1861" y="46"/>
                          <a:pt x="1838" y="70"/>
                          <a:pt x="1814" y="93"/>
                        </a:cubicBezTo>
                        <a:cubicBezTo>
                          <a:pt x="1721" y="116"/>
                          <a:pt x="1652" y="163"/>
                          <a:pt x="1559" y="209"/>
                        </a:cubicBezTo>
                        <a:cubicBezTo>
                          <a:pt x="1535" y="209"/>
                          <a:pt x="1535" y="233"/>
                          <a:pt x="1535" y="233"/>
                        </a:cubicBezTo>
                        <a:cubicBezTo>
                          <a:pt x="1489" y="256"/>
                          <a:pt x="1489" y="279"/>
                          <a:pt x="1465" y="279"/>
                        </a:cubicBezTo>
                        <a:cubicBezTo>
                          <a:pt x="1326" y="395"/>
                          <a:pt x="1186" y="535"/>
                          <a:pt x="1093" y="721"/>
                        </a:cubicBezTo>
                        <a:cubicBezTo>
                          <a:pt x="861" y="1093"/>
                          <a:pt x="628" y="1465"/>
                          <a:pt x="395" y="1861"/>
                        </a:cubicBezTo>
                        <a:cubicBezTo>
                          <a:pt x="326" y="1977"/>
                          <a:pt x="256" y="2117"/>
                          <a:pt x="209" y="2233"/>
                        </a:cubicBezTo>
                        <a:cubicBezTo>
                          <a:pt x="163" y="2326"/>
                          <a:pt x="140" y="2442"/>
                          <a:pt x="116" y="2536"/>
                        </a:cubicBezTo>
                        <a:cubicBezTo>
                          <a:pt x="116" y="2582"/>
                          <a:pt x="93" y="2629"/>
                          <a:pt x="70" y="2652"/>
                        </a:cubicBezTo>
                        <a:cubicBezTo>
                          <a:pt x="70" y="2675"/>
                          <a:pt x="47" y="2698"/>
                          <a:pt x="47" y="2722"/>
                        </a:cubicBezTo>
                        <a:cubicBezTo>
                          <a:pt x="23" y="2861"/>
                          <a:pt x="0" y="3001"/>
                          <a:pt x="0" y="3140"/>
                        </a:cubicBezTo>
                        <a:cubicBezTo>
                          <a:pt x="0" y="3233"/>
                          <a:pt x="0" y="3303"/>
                          <a:pt x="0" y="3396"/>
                        </a:cubicBezTo>
                        <a:cubicBezTo>
                          <a:pt x="0" y="3419"/>
                          <a:pt x="0" y="3443"/>
                          <a:pt x="0" y="3489"/>
                        </a:cubicBezTo>
                        <a:cubicBezTo>
                          <a:pt x="0" y="3512"/>
                          <a:pt x="0" y="3536"/>
                          <a:pt x="0" y="3559"/>
                        </a:cubicBezTo>
                        <a:cubicBezTo>
                          <a:pt x="0" y="3722"/>
                          <a:pt x="47" y="3861"/>
                          <a:pt x="70" y="4001"/>
                        </a:cubicBezTo>
                        <a:cubicBezTo>
                          <a:pt x="70" y="4071"/>
                          <a:pt x="116" y="4117"/>
                          <a:pt x="116" y="4164"/>
                        </a:cubicBezTo>
                        <a:cubicBezTo>
                          <a:pt x="140" y="4234"/>
                          <a:pt x="163" y="4280"/>
                          <a:pt x="163" y="4327"/>
                        </a:cubicBezTo>
                        <a:cubicBezTo>
                          <a:pt x="256" y="4536"/>
                          <a:pt x="349" y="4769"/>
                          <a:pt x="512" y="4931"/>
                        </a:cubicBezTo>
                        <a:cubicBezTo>
                          <a:pt x="512" y="4931"/>
                          <a:pt x="512" y="4955"/>
                          <a:pt x="535" y="4955"/>
                        </a:cubicBezTo>
                        <a:lnTo>
                          <a:pt x="10956" y="4955"/>
                        </a:lnTo>
                        <a:cubicBezTo>
                          <a:pt x="10980" y="5001"/>
                          <a:pt x="10980" y="5001"/>
                          <a:pt x="10980" y="5001"/>
                        </a:cubicBezTo>
                        <a:close/>
                      </a:path>
                    </a:pathLst>
                  </a:custGeom>
                  <a:solidFill>
                    <a:srgbClr val="F19439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83" name="Freeform: Shape 282">
                    <a:extLst>
                      <a:ext uri="{FF2B5EF4-FFF2-40B4-BE49-F238E27FC236}">
                        <a16:creationId xmlns:a16="http://schemas.microsoft.com/office/drawing/2014/main" id="{4007BF99-895C-4EA7-966E-B3A0807BCF33}"/>
                      </a:ext>
                    </a:extLst>
                  </p:cNvPr>
                  <p:cNvSpPr/>
                  <p:nvPr/>
                </p:nvSpPr>
                <p:spPr>
                  <a:xfrm>
                    <a:off x="6160083" y="4140765"/>
                    <a:ext cx="11631" cy="4652"/>
                  </a:xfrm>
                  <a:custGeom>
                    <a:avLst/>
                    <a:gdLst>
                      <a:gd name="connsiteX0" fmla="*/ 11863 w 11630"/>
                      <a:gd name="connsiteY0" fmla="*/ 5001 h 4652"/>
                      <a:gd name="connsiteX1" fmla="*/ 11282 w 11630"/>
                      <a:gd name="connsiteY1" fmla="*/ 4303 h 4652"/>
                      <a:gd name="connsiteX2" fmla="*/ 10677 w 11630"/>
                      <a:gd name="connsiteY2" fmla="*/ 3071 h 4652"/>
                      <a:gd name="connsiteX3" fmla="*/ 10445 w 11630"/>
                      <a:gd name="connsiteY3" fmla="*/ 2117 h 4652"/>
                      <a:gd name="connsiteX4" fmla="*/ 10445 w 11630"/>
                      <a:gd name="connsiteY4" fmla="*/ 1465 h 4652"/>
                      <a:gd name="connsiteX5" fmla="*/ 10445 w 11630"/>
                      <a:gd name="connsiteY5" fmla="*/ 1465 h 4652"/>
                      <a:gd name="connsiteX6" fmla="*/ 11119 w 11630"/>
                      <a:gd name="connsiteY6" fmla="*/ 0 h 4652"/>
                      <a:gd name="connsiteX7" fmla="*/ 11119 w 11630"/>
                      <a:gd name="connsiteY7" fmla="*/ 0 h 4652"/>
                      <a:gd name="connsiteX8" fmla="*/ 11119 w 11630"/>
                      <a:gd name="connsiteY8" fmla="*/ 0 h 4652"/>
                      <a:gd name="connsiteX9" fmla="*/ 698 w 11630"/>
                      <a:gd name="connsiteY9" fmla="*/ 0 h 4652"/>
                      <a:gd name="connsiteX10" fmla="*/ 675 w 11630"/>
                      <a:gd name="connsiteY10" fmla="*/ 23 h 4652"/>
                      <a:gd name="connsiteX11" fmla="*/ 279 w 11630"/>
                      <a:gd name="connsiteY11" fmla="*/ 582 h 4652"/>
                      <a:gd name="connsiteX12" fmla="*/ 233 w 11630"/>
                      <a:gd name="connsiteY12" fmla="*/ 698 h 4652"/>
                      <a:gd name="connsiteX13" fmla="*/ 186 w 11630"/>
                      <a:gd name="connsiteY13" fmla="*/ 791 h 4652"/>
                      <a:gd name="connsiteX14" fmla="*/ 47 w 11630"/>
                      <a:gd name="connsiteY14" fmla="*/ 1303 h 4652"/>
                      <a:gd name="connsiteX15" fmla="*/ 23 w 11630"/>
                      <a:gd name="connsiteY15" fmla="*/ 1396 h 4652"/>
                      <a:gd name="connsiteX16" fmla="*/ 23 w 11630"/>
                      <a:gd name="connsiteY16" fmla="*/ 1489 h 4652"/>
                      <a:gd name="connsiteX17" fmla="*/ 0 w 11630"/>
                      <a:gd name="connsiteY17" fmla="*/ 1745 h 4652"/>
                      <a:gd name="connsiteX18" fmla="*/ 0 w 11630"/>
                      <a:gd name="connsiteY18" fmla="*/ 2163 h 4652"/>
                      <a:gd name="connsiteX19" fmla="*/ 0 w 11630"/>
                      <a:gd name="connsiteY19" fmla="*/ 2256 h 4652"/>
                      <a:gd name="connsiteX20" fmla="*/ 23 w 11630"/>
                      <a:gd name="connsiteY20" fmla="*/ 2373 h 4652"/>
                      <a:gd name="connsiteX21" fmla="*/ 70 w 11630"/>
                      <a:gd name="connsiteY21" fmla="*/ 2629 h 4652"/>
                      <a:gd name="connsiteX22" fmla="*/ 233 w 11630"/>
                      <a:gd name="connsiteY22" fmla="*/ 3140 h 4652"/>
                      <a:gd name="connsiteX23" fmla="*/ 837 w 11630"/>
                      <a:gd name="connsiteY23" fmla="*/ 4373 h 4652"/>
                      <a:gd name="connsiteX24" fmla="*/ 2117 w 11630"/>
                      <a:gd name="connsiteY24" fmla="*/ 5327 h 4652"/>
                      <a:gd name="connsiteX25" fmla="*/ 3257 w 11630"/>
                      <a:gd name="connsiteY25" fmla="*/ 5327 h 4652"/>
                      <a:gd name="connsiteX26" fmla="*/ 12538 w 11630"/>
                      <a:gd name="connsiteY26" fmla="*/ 5327 h 4652"/>
                      <a:gd name="connsiteX27" fmla="*/ 11863 w 11630"/>
                      <a:gd name="connsiteY27" fmla="*/ 5001 h 46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</a:cxnLst>
                    <a:rect l="l" t="t" r="r" b="b"/>
                    <a:pathLst>
                      <a:path w="11630" h="4652">
                        <a:moveTo>
                          <a:pt x="11863" y="5001"/>
                        </a:moveTo>
                        <a:cubicBezTo>
                          <a:pt x="11654" y="4838"/>
                          <a:pt x="11445" y="4606"/>
                          <a:pt x="11282" y="4303"/>
                        </a:cubicBezTo>
                        <a:cubicBezTo>
                          <a:pt x="11073" y="3885"/>
                          <a:pt x="10863" y="3489"/>
                          <a:pt x="10677" y="3071"/>
                        </a:cubicBezTo>
                        <a:cubicBezTo>
                          <a:pt x="10538" y="2768"/>
                          <a:pt x="10468" y="2442"/>
                          <a:pt x="10445" y="2117"/>
                        </a:cubicBezTo>
                        <a:cubicBezTo>
                          <a:pt x="10421" y="1907"/>
                          <a:pt x="10421" y="1675"/>
                          <a:pt x="10445" y="1465"/>
                        </a:cubicBezTo>
                        <a:lnTo>
                          <a:pt x="10445" y="1465"/>
                        </a:lnTo>
                        <a:cubicBezTo>
                          <a:pt x="10514" y="884"/>
                          <a:pt x="10724" y="349"/>
                          <a:pt x="11119" y="0"/>
                        </a:cubicBezTo>
                        <a:lnTo>
                          <a:pt x="11119" y="0"/>
                        </a:lnTo>
                        <a:lnTo>
                          <a:pt x="11119" y="0"/>
                        </a:lnTo>
                        <a:lnTo>
                          <a:pt x="698" y="0"/>
                        </a:lnTo>
                        <a:lnTo>
                          <a:pt x="675" y="23"/>
                        </a:lnTo>
                        <a:cubicBezTo>
                          <a:pt x="512" y="186"/>
                          <a:pt x="372" y="372"/>
                          <a:pt x="279" y="582"/>
                        </a:cubicBezTo>
                        <a:cubicBezTo>
                          <a:pt x="256" y="628"/>
                          <a:pt x="233" y="651"/>
                          <a:pt x="233" y="698"/>
                        </a:cubicBezTo>
                        <a:cubicBezTo>
                          <a:pt x="209" y="744"/>
                          <a:pt x="186" y="768"/>
                          <a:pt x="186" y="791"/>
                        </a:cubicBezTo>
                        <a:cubicBezTo>
                          <a:pt x="116" y="954"/>
                          <a:pt x="70" y="1117"/>
                          <a:pt x="47" y="1303"/>
                        </a:cubicBezTo>
                        <a:cubicBezTo>
                          <a:pt x="47" y="1326"/>
                          <a:pt x="47" y="1349"/>
                          <a:pt x="23" y="1396"/>
                        </a:cubicBezTo>
                        <a:cubicBezTo>
                          <a:pt x="23" y="1419"/>
                          <a:pt x="23" y="1442"/>
                          <a:pt x="23" y="1489"/>
                        </a:cubicBezTo>
                        <a:cubicBezTo>
                          <a:pt x="23" y="1582"/>
                          <a:pt x="0" y="1652"/>
                          <a:pt x="0" y="1745"/>
                        </a:cubicBezTo>
                        <a:cubicBezTo>
                          <a:pt x="0" y="1884"/>
                          <a:pt x="0" y="2024"/>
                          <a:pt x="0" y="2163"/>
                        </a:cubicBezTo>
                        <a:cubicBezTo>
                          <a:pt x="0" y="2187"/>
                          <a:pt x="0" y="2210"/>
                          <a:pt x="0" y="2256"/>
                        </a:cubicBezTo>
                        <a:cubicBezTo>
                          <a:pt x="0" y="2303"/>
                          <a:pt x="0" y="2326"/>
                          <a:pt x="23" y="2373"/>
                        </a:cubicBezTo>
                        <a:cubicBezTo>
                          <a:pt x="47" y="2466"/>
                          <a:pt x="47" y="2536"/>
                          <a:pt x="70" y="2629"/>
                        </a:cubicBezTo>
                        <a:cubicBezTo>
                          <a:pt x="116" y="2791"/>
                          <a:pt x="163" y="2977"/>
                          <a:pt x="233" y="3140"/>
                        </a:cubicBezTo>
                        <a:cubicBezTo>
                          <a:pt x="442" y="3559"/>
                          <a:pt x="628" y="3978"/>
                          <a:pt x="837" y="4373"/>
                        </a:cubicBezTo>
                        <a:cubicBezTo>
                          <a:pt x="1140" y="5001"/>
                          <a:pt x="1628" y="5327"/>
                          <a:pt x="2117" y="5327"/>
                        </a:cubicBezTo>
                        <a:lnTo>
                          <a:pt x="3257" y="5327"/>
                        </a:lnTo>
                        <a:lnTo>
                          <a:pt x="12538" y="5327"/>
                        </a:lnTo>
                        <a:cubicBezTo>
                          <a:pt x="12329" y="5234"/>
                          <a:pt x="12096" y="5164"/>
                          <a:pt x="11863" y="5001"/>
                        </a:cubicBezTo>
                        <a:close/>
                      </a:path>
                    </a:pathLst>
                  </a:custGeom>
                  <a:solidFill>
                    <a:srgbClr val="F19439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84" name="Freeform: Shape 283">
                    <a:extLst>
                      <a:ext uri="{FF2B5EF4-FFF2-40B4-BE49-F238E27FC236}">
                        <a16:creationId xmlns:a16="http://schemas.microsoft.com/office/drawing/2014/main" id="{72FCD81A-8662-4214-88D7-163BD9C270E0}"/>
                      </a:ext>
                    </a:extLst>
                  </p:cNvPr>
                  <p:cNvSpPr/>
                  <p:nvPr/>
                </p:nvSpPr>
                <p:spPr>
                  <a:xfrm>
                    <a:off x="6172668" y="4145999"/>
                    <a:ext cx="2326" cy="2326"/>
                  </a:xfrm>
                  <a:custGeom>
                    <a:avLst/>
                    <a:gdLst>
                      <a:gd name="connsiteX0" fmla="*/ 0 w 0"/>
                      <a:gd name="connsiteY0" fmla="*/ 0 h 0"/>
                      <a:gd name="connsiteX1" fmla="*/ 0 w 0"/>
                      <a:gd name="connsiteY1" fmla="*/ 0 h 0"/>
                      <a:gd name="connsiteX2" fmla="*/ 0 w 0"/>
                      <a:gd name="connsiteY2" fmla="*/ 0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F19439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85" name="Freeform: Shape 284">
                    <a:extLst>
                      <a:ext uri="{FF2B5EF4-FFF2-40B4-BE49-F238E27FC236}">
                        <a16:creationId xmlns:a16="http://schemas.microsoft.com/office/drawing/2014/main" id="{F03BDD3E-1DEB-4E31-B647-24D057560A0C}"/>
                      </a:ext>
                    </a:extLst>
                  </p:cNvPr>
                  <p:cNvSpPr/>
                  <p:nvPr/>
                </p:nvSpPr>
                <p:spPr>
                  <a:xfrm>
                    <a:off x="6160618" y="4057488"/>
                    <a:ext cx="11631" cy="4652"/>
                  </a:xfrm>
                  <a:custGeom>
                    <a:avLst/>
                    <a:gdLst>
                      <a:gd name="connsiteX0" fmla="*/ 11073 w 11630"/>
                      <a:gd name="connsiteY0" fmla="*/ 5234 h 4652"/>
                      <a:gd name="connsiteX1" fmla="*/ 11073 w 11630"/>
                      <a:gd name="connsiteY1" fmla="*/ 5234 h 4652"/>
                      <a:gd name="connsiteX2" fmla="*/ 10584 w 11630"/>
                      <a:gd name="connsiteY2" fmla="*/ 4420 h 4652"/>
                      <a:gd name="connsiteX3" fmla="*/ 10584 w 11630"/>
                      <a:gd name="connsiteY3" fmla="*/ 4420 h 4652"/>
                      <a:gd name="connsiteX4" fmla="*/ 10561 w 11630"/>
                      <a:gd name="connsiteY4" fmla="*/ 4327 h 4652"/>
                      <a:gd name="connsiteX5" fmla="*/ 10421 w 11630"/>
                      <a:gd name="connsiteY5" fmla="*/ 2908 h 4652"/>
                      <a:gd name="connsiteX6" fmla="*/ 10421 w 11630"/>
                      <a:gd name="connsiteY6" fmla="*/ 2908 h 4652"/>
                      <a:gd name="connsiteX7" fmla="*/ 10654 w 11630"/>
                      <a:gd name="connsiteY7" fmla="*/ 2140 h 4652"/>
                      <a:gd name="connsiteX8" fmla="*/ 11282 w 11630"/>
                      <a:gd name="connsiteY8" fmla="*/ 907 h 4652"/>
                      <a:gd name="connsiteX9" fmla="*/ 11398 w 11630"/>
                      <a:gd name="connsiteY9" fmla="*/ 744 h 4652"/>
                      <a:gd name="connsiteX10" fmla="*/ 11631 w 11630"/>
                      <a:gd name="connsiteY10" fmla="*/ 419 h 4652"/>
                      <a:gd name="connsiteX11" fmla="*/ 11631 w 11630"/>
                      <a:gd name="connsiteY11" fmla="*/ 419 h 4652"/>
                      <a:gd name="connsiteX12" fmla="*/ 11840 w 11630"/>
                      <a:gd name="connsiteY12" fmla="*/ 233 h 4652"/>
                      <a:gd name="connsiteX13" fmla="*/ 11840 w 11630"/>
                      <a:gd name="connsiteY13" fmla="*/ 233 h 4652"/>
                      <a:gd name="connsiteX14" fmla="*/ 12212 w 11630"/>
                      <a:gd name="connsiteY14" fmla="*/ 46 h 4652"/>
                      <a:gd name="connsiteX15" fmla="*/ 12212 w 11630"/>
                      <a:gd name="connsiteY15" fmla="*/ 46 h 4652"/>
                      <a:gd name="connsiteX16" fmla="*/ 12538 w 11630"/>
                      <a:gd name="connsiteY16" fmla="*/ 0 h 4652"/>
                      <a:gd name="connsiteX17" fmla="*/ 3303 w 11630"/>
                      <a:gd name="connsiteY17" fmla="*/ 0 h 4652"/>
                      <a:gd name="connsiteX18" fmla="*/ 2117 w 11630"/>
                      <a:gd name="connsiteY18" fmla="*/ 0 h 4652"/>
                      <a:gd name="connsiteX19" fmla="*/ 2047 w 11630"/>
                      <a:gd name="connsiteY19" fmla="*/ 0 h 4652"/>
                      <a:gd name="connsiteX20" fmla="*/ 1791 w 11630"/>
                      <a:gd name="connsiteY20" fmla="*/ 46 h 4652"/>
                      <a:gd name="connsiteX21" fmla="*/ 1745 w 11630"/>
                      <a:gd name="connsiteY21" fmla="*/ 46 h 4652"/>
                      <a:gd name="connsiteX22" fmla="*/ 1745 w 11630"/>
                      <a:gd name="connsiteY22" fmla="*/ 46 h 4652"/>
                      <a:gd name="connsiteX23" fmla="*/ 1698 w 11630"/>
                      <a:gd name="connsiteY23" fmla="*/ 70 h 4652"/>
                      <a:gd name="connsiteX24" fmla="*/ 1419 w 11630"/>
                      <a:gd name="connsiteY24" fmla="*/ 233 h 4652"/>
                      <a:gd name="connsiteX25" fmla="*/ 1396 w 11630"/>
                      <a:gd name="connsiteY25" fmla="*/ 233 h 4652"/>
                      <a:gd name="connsiteX26" fmla="*/ 1210 w 11630"/>
                      <a:gd name="connsiteY26" fmla="*/ 395 h 4652"/>
                      <a:gd name="connsiteX27" fmla="*/ 1117 w 11630"/>
                      <a:gd name="connsiteY27" fmla="*/ 488 h 4652"/>
                      <a:gd name="connsiteX28" fmla="*/ 861 w 11630"/>
                      <a:gd name="connsiteY28" fmla="*/ 884 h 4652"/>
                      <a:gd name="connsiteX29" fmla="*/ 233 w 11630"/>
                      <a:gd name="connsiteY29" fmla="*/ 2117 h 4652"/>
                      <a:gd name="connsiteX30" fmla="*/ 163 w 11630"/>
                      <a:gd name="connsiteY30" fmla="*/ 2303 h 4652"/>
                      <a:gd name="connsiteX31" fmla="*/ 23 w 11630"/>
                      <a:gd name="connsiteY31" fmla="*/ 2815 h 4652"/>
                      <a:gd name="connsiteX32" fmla="*/ 23 w 11630"/>
                      <a:gd name="connsiteY32" fmla="*/ 2861 h 4652"/>
                      <a:gd name="connsiteX33" fmla="*/ 23 w 11630"/>
                      <a:gd name="connsiteY33" fmla="*/ 2977 h 4652"/>
                      <a:gd name="connsiteX34" fmla="*/ 0 w 11630"/>
                      <a:gd name="connsiteY34" fmla="*/ 3233 h 4652"/>
                      <a:gd name="connsiteX35" fmla="*/ 0 w 11630"/>
                      <a:gd name="connsiteY35" fmla="*/ 3652 h 4652"/>
                      <a:gd name="connsiteX36" fmla="*/ 0 w 11630"/>
                      <a:gd name="connsiteY36" fmla="*/ 3722 h 4652"/>
                      <a:gd name="connsiteX37" fmla="*/ 23 w 11630"/>
                      <a:gd name="connsiteY37" fmla="*/ 3838 h 4652"/>
                      <a:gd name="connsiteX38" fmla="*/ 70 w 11630"/>
                      <a:gd name="connsiteY38" fmla="*/ 4117 h 4652"/>
                      <a:gd name="connsiteX39" fmla="*/ 186 w 11630"/>
                      <a:gd name="connsiteY39" fmla="*/ 4420 h 4652"/>
                      <a:gd name="connsiteX40" fmla="*/ 279 w 11630"/>
                      <a:gd name="connsiteY40" fmla="*/ 4629 h 4652"/>
                      <a:gd name="connsiteX41" fmla="*/ 651 w 11630"/>
                      <a:gd name="connsiteY41" fmla="*/ 5211 h 4652"/>
                      <a:gd name="connsiteX42" fmla="*/ 675 w 11630"/>
                      <a:gd name="connsiteY42" fmla="*/ 5211 h 4652"/>
                      <a:gd name="connsiteX43" fmla="*/ 698 w 11630"/>
                      <a:gd name="connsiteY43" fmla="*/ 5211 h 4652"/>
                      <a:gd name="connsiteX44" fmla="*/ 11073 w 11630"/>
                      <a:gd name="connsiteY44" fmla="*/ 5234 h 46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</a:cxnLst>
                    <a:rect l="l" t="t" r="r" b="b"/>
                    <a:pathLst>
                      <a:path w="11630" h="4652">
                        <a:moveTo>
                          <a:pt x="11073" y="5234"/>
                        </a:moveTo>
                        <a:lnTo>
                          <a:pt x="11073" y="5234"/>
                        </a:lnTo>
                        <a:cubicBezTo>
                          <a:pt x="10840" y="5001"/>
                          <a:pt x="10700" y="4722"/>
                          <a:pt x="10584" y="4420"/>
                        </a:cubicBezTo>
                        <a:lnTo>
                          <a:pt x="10584" y="4420"/>
                        </a:lnTo>
                        <a:cubicBezTo>
                          <a:pt x="10561" y="4396"/>
                          <a:pt x="10561" y="4350"/>
                          <a:pt x="10561" y="4327"/>
                        </a:cubicBezTo>
                        <a:cubicBezTo>
                          <a:pt x="10398" y="3885"/>
                          <a:pt x="10351" y="3396"/>
                          <a:pt x="10421" y="2908"/>
                        </a:cubicBezTo>
                        <a:lnTo>
                          <a:pt x="10421" y="2908"/>
                        </a:lnTo>
                        <a:cubicBezTo>
                          <a:pt x="10468" y="2629"/>
                          <a:pt x="10538" y="2373"/>
                          <a:pt x="10654" y="2140"/>
                        </a:cubicBezTo>
                        <a:cubicBezTo>
                          <a:pt x="10863" y="1721"/>
                          <a:pt x="11073" y="1326"/>
                          <a:pt x="11282" y="907"/>
                        </a:cubicBezTo>
                        <a:cubicBezTo>
                          <a:pt x="11328" y="837"/>
                          <a:pt x="11352" y="791"/>
                          <a:pt x="11398" y="744"/>
                        </a:cubicBezTo>
                        <a:cubicBezTo>
                          <a:pt x="11468" y="628"/>
                          <a:pt x="11561" y="535"/>
                          <a:pt x="11631" y="419"/>
                        </a:cubicBezTo>
                        <a:lnTo>
                          <a:pt x="11631" y="419"/>
                        </a:lnTo>
                        <a:cubicBezTo>
                          <a:pt x="11701" y="349"/>
                          <a:pt x="11770" y="279"/>
                          <a:pt x="11840" y="233"/>
                        </a:cubicBezTo>
                        <a:lnTo>
                          <a:pt x="11840" y="233"/>
                        </a:lnTo>
                        <a:cubicBezTo>
                          <a:pt x="11957" y="140"/>
                          <a:pt x="12096" y="93"/>
                          <a:pt x="12212" y="46"/>
                        </a:cubicBezTo>
                        <a:lnTo>
                          <a:pt x="12212" y="46"/>
                        </a:lnTo>
                        <a:cubicBezTo>
                          <a:pt x="12329" y="0"/>
                          <a:pt x="12422" y="0"/>
                          <a:pt x="12538" y="0"/>
                        </a:cubicBezTo>
                        <a:lnTo>
                          <a:pt x="3303" y="0"/>
                        </a:lnTo>
                        <a:lnTo>
                          <a:pt x="2117" y="0"/>
                        </a:lnTo>
                        <a:cubicBezTo>
                          <a:pt x="2117" y="0"/>
                          <a:pt x="2070" y="0"/>
                          <a:pt x="2047" y="0"/>
                        </a:cubicBezTo>
                        <a:cubicBezTo>
                          <a:pt x="1954" y="0"/>
                          <a:pt x="1861" y="23"/>
                          <a:pt x="1791" y="46"/>
                        </a:cubicBezTo>
                        <a:lnTo>
                          <a:pt x="1745" y="46"/>
                        </a:lnTo>
                        <a:lnTo>
                          <a:pt x="1745" y="46"/>
                        </a:lnTo>
                        <a:cubicBezTo>
                          <a:pt x="1721" y="46"/>
                          <a:pt x="1698" y="70"/>
                          <a:pt x="1698" y="70"/>
                        </a:cubicBezTo>
                        <a:cubicBezTo>
                          <a:pt x="1605" y="116"/>
                          <a:pt x="1489" y="163"/>
                          <a:pt x="1419" y="233"/>
                        </a:cubicBezTo>
                        <a:lnTo>
                          <a:pt x="1396" y="233"/>
                        </a:lnTo>
                        <a:cubicBezTo>
                          <a:pt x="1326" y="279"/>
                          <a:pt x="1279" y="349"/>
                          <a:pt x="1210" y="395"/>
                        </a:cubicBezTo>
                        <a:cubicBezTo>
                          <a:pt x="1186" y="419"/>
                          <a:pt x="1140" y="465"/>
                          <a:pt x="1117" y="488"/>
                        </a:cubicBezTo>
                        <a:cubicBezTo>
                          <a:pt x="1024" y="605"/>
                          <a:pt x="930" y="721"/>
                          <a:pt x="861" y="884"/>
                        </a:cubicBezTo>
                        <a:cubicBezTo>
                          <a:pt x="651" y="1303"/>
                          <a:pt x="442" y="1698"/>
                          <a:pt x="233" y="2117"/>
                        </a:cubicBezTo>
                        <a:cubicBezTo>
                          <a:pt x="209" y="2187"/>
                          <a:pt x="186" y="2233"/>
                          <a:pt x="163" y="2303"/>
                        </a:cubicBezTo>
                        <a:cubicBezTo>
                          <a:pt x="93" y="2466"/>
                          <a:pt x="47" y="2629"/>
                          <a:pt x="23" y="2815"/>
                        </a:cubicBezTo>
                        <a:cubicBezTo>
                          <a:pt x="23" y="2838"/>
                          <a:pt x="23" y="2861"/>
                          <a:pt x="23" y="2861"/>
                        </a:cubicBezTo>
                        <a:cubicBezTo>
                          <a:pt x="23" y="2908"/>
                          <a:pt x="23" y="2931"/>
                          <a:pt x="23" y="2977"/>
                        </a:cubicBezTo>
                        <a:cubicBezTo>
                          <a:pt x="23" y="3070"/>
                          <a:pt x="0" y="3164"/>
                          <a:pt x="0" y="3233"/>
                        </a:cubicBezTo>
                        <a:cubicBezTo>
                          <a:pt x="0" y="3373"/>
                          <a:pt x="0" y="3512"/>
                          <a:pt x="0" y="3652"/>
                        </a:cubicBezTo>
                        <a:cubicBezTo>
                          <a:pt x="0" y="3675"/>
                          <a:pt x="0" y="3722"/>
                          <a:pt x="0" y="3722"/>
                        </a:cubicBezTo>
                        <a:cubicBezTo>
                          <a:pt x="0" y="3768"/>
                          <a:pt x="0" y="3815"/>
                          <a:pt x="23" y="3838"/>
                        </a:cubicBezTo>
                        <a:cubicBezTo>
                          <a:pt x="23" y="3931"/>
                          <a:pt x="47" y="4024"/>
                          <a:pt x="70" y="4117"/>
                        </a:cubicBezTo>
                        <a:cubicBezTo>
                          <a:pt x="93" y="4210"/>
                          <a:pt x="140" y="4303"/>
                          <a:pt x="186" y="4420"/>
                        </a:cubicBezTo>
                        <a:cubicBezTo>
                          <a:pt x="209" y="4489"/>
                          <a:pt x="233" y="4559"/>
                          <a:pt x="279" y="4629"/>
                        </a:cubicBezTo>
                        <a:cubicBezTo>
                          <a:pt x="372" y="4838"/>
                          <a:pt x="512" y="5048"/>
                          <a:pt x="651" y="5211"/>
                        </a:cubicBezTo>
                        <a:cubicBezTo>
                          <a:pt x="651" y="5211"/>
                          <a:pt x="675" y="5211"/>
                          <a:pt x="675" y="5211"/>
                        </a:cubicBezTo>
                        <a:lnTo>
                          <a:pt x="698" y="5211"/>
                        </a:lnTo>
                        <a:cubicBezTo>
                          <a:pt x="4117" y="5234"/>
                          <a:pt x="7607" y="5234"/>
                          <a:pt x="11073" y="5234"/>
                        </a:cubicBezTo>
                        <a:close/>
                      </a:path>
                    </a:pathLst>
                  </a:custGeom>
                  <a:solidFill>
                    <a:srgbClr val="F19439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86" name="Freeform: Shape 285">
                    <a:extLst>
                      <a:ext uri="{FF2B5EF4-FFF2-40B4-BE49-F238E27FC236}">
                        <a16:creationId xmlns:a16="http://schemas.microsoft.com/office/drawing/2014/main" id="{FBB1A0B0-74FC-4414-B784-EAC068897BC3}"/>
                      </a:ext>
                    </a:extLst>
                  </p:cNvPr>
                  <p:cNvSpPr/>
                  <p:nvPr/>
                </p:nvSpPr>
                <p:spPr>
                  <a:xfrm>
                    <a:off x="6157827" y="4063606"/>
                    <a:ext cx="11631" cy="4652"/>
                  </a:xfrm>
                  <a:custGeom>
                    <a:avLst/>
                    <a:gdLst>
                      <a:gd name="connsiteX0" fmla="*/ 11235 w 11630"/>
                      <a:gd name="connsiteY0" fmla="*/ 5443 h 4652"/>
                      <a:gd name="connsiteX1" fmla="*/ 11235 w 11630"/>
                      <a:gd name="connsiteY1" fmla="*/ 5443 h 4652"/>
                      <a:gd name="connsiteX2" fmla="*/ 10910 w 11630"/>
                      <a:gd name="connsiteY2" fmla="*/ 5048 h 4652"/>
                      <a:gd name="connsiteX3" fmla="*/ 10886 w 11630"/>
                      <a:gd name="connsiteY3" fmla="*/ 5001 h 4652"/>
                      <a:gd name="connsiteX4" fmla="*/ 10700 w 11630"/>
                      <a:gd name="connsiteY4" fmla="*/ 4652 h 4652"/>
                      <a:gd name="connsiteX5" fmla="*/ 10607 w 11630"/>
                      <a:gd name="connsiteY5" fmla="*/ 4420 h 4652"/>
                      <a:gd name="connsiteX6" fmla="*/ 10584 w 11630"/>
                      <a:gd name="connsiteY6" fmla="*/ 4327 h 4652"/>
                      <a:gd name="connsiteX7" fmla="*/ 10514 w 11630"/>
                      <a:gd name="connsiteY7" fmla="*/ 4048 h 4652"/>
                      <a:gd name="connsiteX8" fmla="*/ 10514 w 11630"/>
                      <a:gd name="connsiteY8" fmla="*/ 4048 h 4652"/>
                      <a:gd name="connsiteX9" fmla="*/ 10491 w 11630"/>
                      <a:gd name="connsiteY9" fmla="*/ 3908 h 4652"/>
                      <a:gd name="connsiteX10" fmla="*/ 10491 w 11630"/>
                      <a:gd name="connsiteY10" fmla="*/ 3513 h 4652"/>
                      <a:gd name="connsiteX11" fmla="*/ 10491 w 11630"/>
                      <a:gd name="connsiteY11" fmla="*/ 3257 h 4652"/>
                      <a:gd name="connsiteX12" fmla="*/ 10514 w 11630"/>
                      <a:gd name="connsiteY12" fmla="*/ 3140 h 4652"/>
                      <a:gd name="connsiteX13" fmla="*/ 10677 w 11630"/>
                      <a:gd name="connsiteY13" fmla="*/ 2443 h 4652"/>
                      <a:gd name="connsiteX14" fmla="*/ 11212 w 11630"/>
                      <a:gd name="connsiteY14" fmla="*/ 1117 h 4652"/>
                      <a:gd name="connsiteX15" fmla="*/ 11212 w 11630"/>
                      <a:gd name="connsiteY15" fmla="*/ 1093 h 4652"/>
                      <a:gd name="connsiteX16" fmla="*/ 11817 w 11630"/>
                      <a:gd name="connsiteY16" fmla="*/ 279 h 4652"/>
                      <a:gd name="connsiteX17" fmla="*/ 11817 w 11630"/>
                      <a:gd name="connsiteY17" fmla="*/ 279 h 4652"/>
                      <a:gd name="connsiteX18" fmla="*/ 12026 w 11630"/>
                      <a:gd name="connsiteY18" fmla="*/ 163 h 4652"/>
                      <a:gd name="connsiteX19" fmla="*/ 12026 w 11630"/>
                      <a:gd name="connsiteY19" fmla="*/ 163 h 4652"/>
                      <a:gd name="connsiteX20" fmla="*/ 12189 w 11630"/>
                      <a:gd name="connsiteY20" fmla="*/ 70 h 4652"/>
                      <a:gd name="connsiteX21" fmla="*/ 12189 w 11630"/>
                      <a:gd name="connsiteY21" fmla="*/ 70 h 4652"/>
                      <a:gd name="connsiteX22" fmla="*/ 12561 w 11630"/>
                      <a:gd name="connsiteY22" fmla="*/ 0 h 4652"/>
                      <a:gd name="connsiteX23" fmla="*/ 3071 w 11630"/>
                      <a:gd name="connsiteY23" fmla="*/ 0 h 4652"/>
                      <a:gd name="connsiteX24" fmla="*/ 2117 w 11630"/>
                      <a:gd name="connsiteY24" fmla="*/ 0 h 4652"/>
                      <a:gd name="connsiteX25" fmla="*/ 2047 w 11630"/>
                      <a:gd name="connsiteY25" fmla="*/ 0 h 4652"/>
                      <a:gd name="connsiteX26" fmla="*/ 1745 w 11630"/>
                      <a:gd name="connsiteY26" fmla="*/ 70 h 4652"/>
                      <a:gd name="connsiteX27" fmla="*/ 1721 w 11630"/>
                      <a:gd name="connsiteY27" fmla="*/ 70 h 4652"/>
                      <a:gd name="connsiteX28" fmla="*/ 1559 w 11630"/>
                      <a:gd name="connsiteY28" fmla="*/ 163 h 4652"/>
                      <a:gd name="connsiteX29" fmla="*/ 1372 w 11630"/>
                      <a:gd name="connsiteY29" fmla="*/ 256 h 4652"/>
                      <a:gd name="connsiteX30" fmla="*/ 1349 w 11630"/>
                      <a:gd name="connsiteY30" fmla="*/ 279 h 4652"/>
                      <a:gd name="connsiteX31" fmla="*/ 1140 w 11630"/>
                      <a:gd name="connsiteY31" fmla="*/ 512 h 4652"/>
                      <a:gd name="connsiteX32" fmla="*/ 1024 w 11630"/>
                      <a:gd name="connsiteY32" fmla="*/ 628 h 4652"/>
                      <a:gd name="connsiteX33" fmla="*/ 744 w 11630"/>
                      <a:gd name="connsiteY33" fmla="*/ 1117 h 4652"/>
                      <a:gd name="connsiteX34" fmla="*/ 209 w 11630"/>
                      <a:gd name="connsiteY34" fmla="*/ 2443 h 4652"/>
                      <a:gd name="connsiteX35" fmla="*/ 209 w 11630"/>
                      <a:gd name="connsiteY35" fmla="*/ 2443 h 4652"/>
                      <a:gd name="connsiteX36" fmla="*/ 47 w 11630"/>
                      <a:gd name="connsiteY36" fmla="*/ 2977 h 4652"/>
                      <a:gd name="connsiteX37" fmla="*/ 23 w 11630"/>
                      <a:gd name="connsiteY37" fmla="*/ 3140 h 4652"/>
                      <a:gd name="connsiteX38" fmla="*/ 23 w 11630"/>
                      <a:gd name="connsiteY38" fmla="*/ 3257 h 4652"/>
                      <a:gd name="connsiteX39" fmla="*/ 0 w 11630"/>
                      <a:gd name="connsiteY39" fmla="*/ 3396 h 4652"/>
                      <a:gd name="connsiteX40" fmla="*/ 0 w 11630"/>
                      <a:gd name="connsiteY40" fmla="*/ 3792 h 4652"/>
                      <a:gd name="connsiteX41" fmla="*/ 23 w 11630"/>
                      <a:gd name="connsiteY41" fmla="*/ 3885 h 4652"/>
                      <a:gd name="connsiteX42" fmla="*/ 47 w 11630"/>
                      <a:gd name="connsiteY42" fmla="*/ 4024 h 4652"/>
                      <a:gd name="connsiteX43" fmla="*/ 93 w 11630"/>
                      <a:gd name="connsiteY43" fmla="*/ 4234 h 4652"/>
                      <a:gd name="connsiteX44" fmla="*/ 163 w 11630"/>
                      <a:gd name="connsiteY44" fmla="*/ 4420 h 4652"/>
                      <a:gd name="connsiteX45" fmla="*/ 302 w 11630"/>
                      <a:gd name="connsiteY45" fmla="*/ 4792 h 4652"/>
                      <a:gd name="connsiteX46" fmla="*/ 465 w 11630"/>
                      <a:gd name="connsiteY46" fmla="*/ 5071 h 4652"/>
                      <a:gd name="connsiteX47" fmla="*/ 582 w 11630"/>
                      <a:gd name="connsiteY47" fmla="*/ 5234 h 4652"/>
                      <a:gd name="connsiteX48" fmla="*/ 814 w 11630"/>
                      <a:gd name="connsiteY48" fmla="*/ 5467 h 4652"/>
                      <a:gd name="connsiteX49" fmla="*/ 837 w 11630"/>
                      <a:gd name="connsiteY49" fmla="*/ 5490 h 4652"/>
                      <a:gd name="connsiteX50" fmla="*/ 11282 w 11630"/>
                      <a:gd name="connsiteY50" fmla="*/ 5490 h 4652"/>
                      <a:gd name="connsiteX51" fmla="*/ 11235 w 11630"/>
                      <a:gd name="connsiteY51" fmla="*/ 5443 h 46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</a:cxnLst>
                    <a:rect l="l" t="t" r="r" b="b"/>
                    <a:pathLst>
                      <a:path w="11630" h="4652">
                        <a:moveTo>
                          <a:pt x="11235" y="5443"/>
                        </a:moveTo>
                        <a:lnTo>
                          <a:pt x="11235" y="5443"/>
                        </a:lnTo>
                        <a:cubicBezTo>
                          <a:pt x="11096" y="5327"/>
                          <a:pt x="11003" y="5187"/>
                          <a:pt x="10910" y="5048"/>
                        </a:cubicBezTo>
                        <a:cubicBezTo>
                          <a:pt x="10886" y="5025"/>
                          <a:pt x="10886" y="5001"/>
                          <a:pt x="10886" y="5001"/>
                        </a:cubicBezTo>
                        <a:cubicBezTo>
                          <a:pt x="10817" y="4885"/>
                          <a:pt x="10747" y="4769"/>
                          <a:pt x="10700" y="4652"/>
                        </a:cubicBezTo>
                        <a:cubicBezTo>
                          <a:pt x="10677" y="4583"/>
                          <a:pt x="10631" y="4490"/>
                          <a:pt x="10607" y="4420"/>
                        </a:cubicBezTo>
                        <a:cubicBezTo>
                          <a:pt x="10607" y="4396"/>
                          <a:pt x="10607" y="4373"/>
                          <a:pt x="10584" y="4327"/>
                        </a:cubicBezTo>
                        <a:cubicBezTo>
                          <a:pt x="10561" y="4234"/>
                          <a:pt x="10514" y="4141"/>
                          <a:pt x="10514" y="4048"/>
                        </a:cubicBezTo>
                        <a:lnTo>
                          <a:pt x="10514" y="4048"/>
                        </a:lnTo>
                        <a:cubicBezTo>
                          <a:pt x="10514" y="4001"/>
                          <a:pt x="10491" y="3955"/>
                          <a:pt x="10491" y="3908"/>
                        </a:cubicBezTo>
                        <a:cubicBezTo>
                          <a:pt x="10468" y="3792"/>
                          <a:pt x="10491" y="3652"/>
                          <a:pt x="10491" y="3513"/>
                        </a:cubicBezTo>
                        <a:cubicBezTo>
                          <a:pt x="10491" y="3419"/>
                          <a:pt x="10468" y="3326"/>
                          <a:pt x="10491" y="3257"/>
                        </a:cubicBezTo>
                        <a:cubicBezTo>
                          <a:pt x="10491" y="3210"/>
                          <a:pt x="10491" y="3187"/>
                          <a:pt x="10514" y="3140"/>
                        </a:cubicBezTo>
                        <a:cubicBezTo>
                          <a:pt x="10538" y="2908"/>
                          <a:pt x="10584" y="2675"/>
                          <a:pt x="10677" y="2443"/>
                        </a:cubicBezTo>
                        <a:cubicBezTo>
                          <a:pt x="10840" y="2024"/>
                          <a:pt x="11026" y="1559"/>
                          <a:pt x="11212" y="1117"/>
                        </a:cubicBezTo>
                        <a:lnTo>
                          <a:pt x="11212" y="1093"/>
                        </a:lnTo>
                        <a:cubicBezTo>
                          <a:pt x="11352" y="744"/>
                          <a:pt x="11561" y="465"/>
                          <a:pt x="11817" y="279"/>
                        </a:cubicBezTo>
                        <a:lnTo>
                          <a:pt x="11817" y="279"/>
                        </a:lnTo>
                        <a:cubicBezTo>
                          <a:pt x="11887" y="209"/>
                          <a:pt x="11957" y="209"/>
                          <a:pt x="12026" y="163"/>
                        </a:cubicBezTo>
                        <a:lnTo>
                          <a:pt x="12026" y="163"/>
                        </a:lnTo>
                        <a:cubicBezTo>
                          <a:pt x="12073" y="140"/>
                          <a:pt x="12143" y="93"/>
                          <a:pt x="12189" y="70"/>
                        </a:cubicBezTo>
                        <a:lnTo>
                          <a:pt x="12189" y="70"/>
                        </a:lnTo>
                        <a:cubicBezTo>
                          <a:pt x="12305" y="23"/>
                          <a:pt x="12445" y="0"/>
                          <a:pt x="12561" y="0"/>
                        </a:cubicBezTo>
                        <a:lnTo>
                          <a:pt x="3071" y="0"/>
                        </a:lnTo>
                        <a:lnTo>
                          <a:pt x="2117" y="0"/>
                        </a:lnTo>
                        <a:cubicBezTo>
                          <a:pt x="2094" y="0"/>
                          <a:pt x="2070" y="0"/>
                          <a:pt x="2047" y="0"/>
                        </a:cubicBezTo>
                        <a:cubicBezTo>
                          <a:pt x="1954" y="0"/>
                          <a:pt x="1838" y="23"/>
                          <a:pt x="1745" y="70"/>
                        </a:cubicBezTo>
                        <a:lnTo>
                          <a:pt x="1721" y="70"/>
                        </a:lnTo>
                        <a:cubicBezTo>
                          <a:pt x="1675" y="93"/>
                          <a:pt x="1605" y="140"/>
                          <a:pt x="1559" y="163"/>
                        </a:cubicBezTo>
                        <a:cubicBezTo>
                          <a:pt x="1489" y="186"/>
                          <a:pt x="1442" y="209"/>
                          <a:pt x="1372" y="256"/>
                        </a:cubicBezTo>
                        <a:lnTo>
                          <a:pt x="1349" y="279"/>
                        </a:lnTo>
                        <a:cubicBezTo>
                          <a:pt x="1279" y="326"/>
                          <a:pt x="1186" y="419"/>
                          <a:pt x="1140" y="512"/>
                        </a:cubicBezTo>
                        <a:cubicBezTo>
                          <a:pt x="1093" y="558"/>
                          <a:pt x="1070" y="582"/>
                          <a:pt x="1024" y="628"/>
                        </a:cubicBezTo>
                        <a:cubicBezTo>
                          <a:pt x="907" y="768"/>
                          <a:pt x="814" y="931"/>
                          <a:pt x="744" y="1117"/>
                        </a:cubicBezTo>
                        <a:cubicBezTo>
                          <a:pt x="558" y="1559"/>
                          <a:pt x="372" y="2001"/>
                          <a:pt x="209" y="2443"/>
                        </a:cubicBezTo>
                        <a:lnTo>
                          <a:pt x="209" y="2443"/>
                        </a:lnTo>
                        <a:cubicBezTo>
                          <a:pt x="140" y="2605"/>
                          <a:pt x="93" y="2791"/>
                          <a:pt x="47" y="2977"/>
                        </a:cubicBezTo>
                        <a:cubicBezTo>
                          <a:pt x="47" y="3024"/>
                          <a:pt x="47" y="3094"/>
                          <a:pt x="23" y="3140"/>
                        </a:cubicBezTo>
                        <a:cubicBezTo>
                          <a:pt x="23" y="3187"/>
                          <a:pt x="23" y="3210"/>
                          <a:pt x="23" y="3257"/>
                        </a:cubicBezTo>
                        <a:cubicBezTo>
                          <a:pt x="23" y="3303"/>
                          <a:pt x="0" y="3350"/>
                          <a:pt x="0" y="3396"/>
                        </a:cubicBezTo>
                        <a:cubicBezTo>
                          <a:pt x="0" y="3536"/>
                          <a:pt x="0" y="3675"/>
                          <a:pt x="0" y="3792"/>
                        </a:cubicBezTo>
                        <a:cubicBezTo>
                          <a:pt x="0" y="3838"/>
                          <a:pt x="23" y="3861"/>
                          <a:pt x="23" y="3885"/>
                        </a:cubicBezTo>
                        <a:cubicBezTo>
                          <a:pt x="23" y="3931"/>
                          <a:pt x="47" y="3978"/>
                          <a:pt x="47" y="4024"/>
                        </a:cubicBezTo>
                        <a:cubicBezTo>
                          <a:pt x="70" y="4094"/>
                          <a:pt x="70" y="4187"/>
                          <a:pt x="93" y="4234"/>
                        </a:cubicBezTo>
                        <a:cubicBezTo>
                          <a:pt x="116" y="4303"/>
                          <a:pt x="140" y="4350"/>
                          <a:pt x="163" y="4420"/>
                        </a:cubicBezTo>
                        <a:cubicBezTo>
                          <a:pt x="209" y="4559"/>
                          <a:pt x="256" y="4676"/>
                          <a:pt x="302" y="4792"/>
                        </a:cubicBezTo>
                        <a:cubicBezTo>
                          <a:pt x="349" y="4885"/>
                          <a:pt x="419" y="4978"/>
                          <a:pt x="465" y="5071"/>
                        </a:cubicBezTo>
                        <a:cubicBezTo>
                          <a:pt x="512" y="5118"/>
                          <a:pt x="535" y="5187"/>
                          <a:pt x="582" y="5234"/>
                        </a:cubicBezTo>
                        <a:cubicBezTo>
                          <a:pt x="651" y="5327"/>
                          <a:pt x="744" y="5397"/>
                          <a:pt x="814" y="5467"/>
                        </a:cubicBezTo>
                        <a:lnTo>
                          <a:pt x="837" y="5490"/>
                        </a:lnTo>
                        <a:lnTo>
                          <a:pt x="11282" y="5490"/>
                        </a:lnTo>
                        <a:lnTo>
                          <a:pt x="11235" y="5443"/>
                        </a:lnTo>
                        <a:close/>
                      </a:path>
                    </a:pathLst>
                  </a:custGeom>
                  <a:solidFill>
                    <a:srgbClr val="F19439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87" name="Freeform: Shape 286">
                    <a:extLst>
                      <a:ext uri="{FF2B5EF4-FFF2-40B4-BE49-F238E27FC236}">
                        <a16:creationId xmlns:a16="http://schemas.microsoft.com/office/drawing/2014/main" id="{AE7374AC-1023-4E4A-96CF-E801912ADDC4}"/>
                      </a:ext>
                    </a:extLst>
                  </p:cNvPr>
                  <p:cNvSpPr/>
                  <p:nvPr/>
                </p:nvSpPr>
                <p:spPr>
                  <a:xfrm>
                    <a:off x="6157385" y="4134299"/>
                    <a:ext cx="11631" cy="4652"/>
                  </a:xfrm>
                  <a:custGeom>
                    <a:avLst/>
                    <a:gdLst>
                      <a:gd name="connsiteX0" fmla="*/ 11747 w 11630"/>
                      <a:gd name="connsiteY0" fmla="*/ 5187 h 4652"/>
                      <a:gd name="connsiteX1" fmla="*/ 11166 w 11630"/>
                      <a:gd name="connsiteY1" fmla="*/ 4327 h 4652"/>
                      <a:gd name="connsiteX2" fmla="*/ 10654 w 11630"/>
                      <a:gd name="connsiteY2" fmla="*/ 3001 h 4652"/>
                      <a:gd name="connsiteX3" fmla="*/ 10468 w 11630"/>
                      <a:gd name="connsiteY3" fmla="*/ 2117 h 4652"/>
                      <a:gd name="connsiteX4" fmla="*/ 10468 w 11630"/>
                      <a:gd name="connsiteY4" fmla="*/ 2117 h 4652"/>
                      <a:gd name="connsiteX5" fmla="*/ 10514 w 11630"/>
                      <a:gd name="connsiteY5" fmla="*/ 1349 h 4652"/>
                      <a:gd name="connsiteX6" fmla="*/ 10514 w 11630"/>
                      <a:gd name="connsiteY6" fmla="*/ 1349 h 4652"/>
                      <a:gd name="connsiteX7" fmla="*/ 10538 w 11630"/>
                      <a:gd name="connsiteY7" fmla="*/ 1233 h 4652"/>
                      <a:gd name="connsiteX8" fmla="*/ 10538 w 11630"/>
                      <a:gd name="connsiteY8" fmla="*/ 1233 h 4652"/>
                      <a:gd name="connsiteX9" fmla="*/ 10654 w 11630"/>
                      <a:gd name="connsiteY9" fmla="*/ 954 h 4652"/>
                      <a:gd name="connsiteX10" fmla="*/ 10840 w 11630"/>
                      <a:gd name="connsiteY10" fmla="*/ 512 h 4652"/>
                      <a:gd name="connsiteX11" fmla="*/ 10840 w 11630"/>
                      <a:gd name="connsiteY11" fmla="*/ 512 h 4652"/>
                      <a:gd name="connsiteX12" fmla="*/ 11282 w 11630"/>
                      <a:gd name="connsiteY12" fmla="*/ 0 h 4652"/>
                      <a:gd name="connsiteX13" fmla="*/ 11282 w 11630"/>
                      <a:gd name="connsiteY13" fmla="*/ 0 h 4652"/>
                      <a:gd name="connsiteX14" fmla="*/ 861 w 11630"/>
                      <a:gd name="connsiteY14" fmla="*/ 0 h 4652"/>
                      <a:gd name="connsiteX15" fmla="*/ 837 w 11630"/>
                      <a:gd name="connsiteY15" fmla="*/ 23 h 4652"/>
                      <a:gd name="connsiteX16" fmla="*/ 837 w 11630"/>
                      <a:gd name="connsiteY16" fmla="*/ 23 h 4652"/>
                      <a:gd name="connsiteX17" fmla="*/ 395 w 11630"/>
                      <a:gd name="connsiteY17" fmla="*/ 535 h 4652"/>
                      <a:gd name="connsiteX18" fmla="*/ 302 w 11630"/>
                      <a:gd name="connsiteY18" fmla="*/ 698 h 4652"/>
                      <a:gd name="connsiteX19" fmla="*/ 186 w 11630"/>
                      <a:gd name="connsiteY19" fmla="*/ 907 h 4652"/>
                      <a:gd name="connsiteX20" fmla="*/ 93 w 11630"/>
                      <a:gd name="connsiteY20" fmla="*/ 1233 h 4652"/>
                      <a:gd name="connsiteX21" fmla="*/ 47 w 11630"/>
                      <a:gd name="connsiteY21" fmla="*/ 1349 h 4652"/>
                      <a:gd name="connsiteX22" fmla="*/ 47 w 11630"/>
                      <a:gd name="connsiteY22" fmla="*/ 1419 h 4652"/>
                      <a:gd name="connsiteX23" fmla="*/ 0 w 11630"/>
                      <a:gd name="connsiteY23" fmla="*/ 1838 h 4652"/>
                      <a:gd name="connsiteX24" fmla="*/ 0 w 11630"/>
                      <a:gd name="connsiteY24" fmla="*/ 2117 h 4652"/>
                      <a:gd name="connsiteX25" fmla="*/ 0 w 11630"/>
                      <a:gd name="connsiteY25" fmla="*/ 2163 h 4652"/>
                      <a:gd name="connsiteX26" fmla="*/ 0 w 11630"/>
                      <a:gd name="connsiteY26" fmla="*/ 2210 h 4652"/>
                      <a:gd name="connsiteX27" fmla="*/ 70 w 11630"/>
                      <a:gd name="connsiteY27" fmla="*/ 2652 h 4652"/>
                      <a:gd name="connsiteX28" fmla="*/ 163 w 11630"/>
                      <a:gd name="connsiteY28" fmla="*/ 2977 h 4652"/>
                      <a:gd name="connsiteX29" fmla="*/ 675 w 11630"/>
                      <a:gd name="connsiteY29" fmla="*/ 4303 h 4652"/>
                      <a:gd name="connsiteX30" fmla="*/ 2047 w 11630"/>
                      <a:gd name="connsiteY30" fmla="*/ 5443 h 4652"/>
                      <a:gd name="connsiteX31" fmla="*/ 2954 w 11630"/>
                      <a:gd name="connsiteY31" fmla="*/ 5443 h 4652"/>
                      <a:gd name="connsiteX32" fmla="*/ 12468 w 11630"/>
                      <a:gd name="connsiteY32" fmla="*/ 5443 h 4652"/>
                      <a:gd name="connsiteX33" fmla="*/ 11747 w 11630"/>
                      <a:gd name="connsiteY33" fmla="*/ 5187 h 46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</a:cxnLst>
                    <a:rect l="l" t="t" r="r" b="b"/>
                    <a:pathLst>
                      <a:path w="11630" h="4652">
                        <a:moveTo>
                          <a:pt x="11747" y="5187"/>
                        </a:moveTo>
                        <a:cubicBezTo>
                          <a:pt x="11515" y="5001"/>
                          <a:pt x="11305" y="4699"/>
                          <a:pt x="11166" y="4327"/>
                        </a:cubicBezTo>
                        <a:cubicBezTo>
                          <a:pt x="11003" y="3885"/>
                          <a:pt x="10817" y="3466"/>
                          <a:pt x="10654" y="3001"/>
                        </a:cubicBezTo>
                        <a:cubicBezTo>
                          <a:pt x="10538" y="2722"/>
                          <a:pt x="10491" y="2419"/>
                          <a:pt x="10468" y="2117"/>
                        </a:cubicBezTo>
                        <a:lnTo>
                          <a:pt x="10468" y="2117"/>
                        </a:lnTo>
                        <a:cubicBezTo>
                          <a:pt x="10468" y="1838"/>
                          <a:pt x="10468" y="1582"/>
                          <a:pt x="10514" y="1349"/>
                        </a:cubicBezTo>
                        <a:lnTo>
                          <a:pt x="10514" y="1349"/>
                        </a:lnTo>
                        <a:cubicBezTo>
                          <a:pt x="10514" y="1303"/>
                          <a:pt x="10538" y="1279"/>
                          <a:pt x="10538" y="1233"/>
                        </a:cubicBezTo>
                        <a:lnTo>
                          <a:pt x="10538" y="1233"/>
                        </a:lnTo>
                        <a:cubicBezTo>
                          <a:pt x="10561" y="1140"/>
                          <a:pt x="10607" y="1047"/>
                          <a:pt x="10654" y="954"/>
                        </a:cubicBezTo>
                        <a:cubicBezTo>
                          <a:pt x="10700" y="791"/>
                          <a:pt x="10770" y="628"/>
                          <a:pt x="10840" y="512"/>
                        </a:cubicBezTo>
                        <a:lnTo>
                          <a:pt x="10840" y="512"/>
                        </a:lnTo>
                        <a:cubicBezTo>
                          <a:pt x="10956" y="302"/>
                          <a:pt x="11119" y="140"/>
                          <a:pt x="11282" y="0"/>
                        </a:cubicBezTo>
                        <a:cubicBezTo>
                          <a:pt x="11282" y="0"/>
                          <a:pt x="11282" y="0"/>
                          <a:pt x="11282" y="0"/>
                        </a:cubicBezTo>
                        <a:lnTo>
                          <a:pt x="861" y="0"/>
                        </a:lnTo>
                        <a:cubicBezTo>
                          <a:pt x="861" y="0"/>
                          <a:pt x="837" y="0"/>
                          <a:pt x="837" y="23"/>
                        </a:cubicBezTo>
                        <a:lnTo>
                          <a:pt x="837" y="23"/>
                        </a:lnTo>
                        <a:cubicBezTo>
                          <a:pt x="675" y="163"/>
                          <a:pt x="535" y="326"/>
                          <a:pt x="395" y="535"/>
                        </a:cubicBezTo>
                        <a:cubicBezTo>
                          <a:pt x="349" y="582"/>
                          <a:pt x="349" y="651"/>
                          <a:pt x="302" y="698"/>
                        </a:cubicBezTo>
                        <a:cubicBezTo>
                          <a:pt x="279" y="768"/>
                          <a:pt x="233" y="837"/>
                          <a:pt x="186" y="907"/>
                        </a:cubicBezTo>
                        <a:cubicBezTo>
                          <a:pt x="140" y="1000"/>
                          <a:pt x="116" y="1117"/>
                          <a:pt x="93" y="1233"/>
                        </a:cubicBezTo>
                        <a:cubicBezTo>
                          <a:pt x="93" y="1279"/>
                          <a:pt x="70" y="1303"/>
                          <a:pt x="47" y="1349"/>
                        </a:cubicBezTo>
                        <a:cubicBezTo>
                          <a:pt x="47" y="1372"/>
                          <a:pt x="47" y="1396"/>
                          <a:pt x="47" y="1419"/>
                        </a:cubicBezTo>
                        <a:cubicBezTo>
                          <a:pt x="23" y="1559"/>
                          <a:pt x="0" y="1698"/>
                          <a:pt x="0" y="1838"/>
                        </a:cubicBezTo>
                        <a:cubicBezTo>
                          <a:pt x="0" y="1931"/>
                          <a:pt x="0" y="2024"/>
                          <a:pt x="0" y="2117"/>
                        </a:cubicBezTo>
                        <a:cubicBezTo>
                          <a:pt x="0" y="2117"/>
                          <a:pt x="0" y="2163"/>
                          <a:pt x="0" y="2163"/>
                        </a:cubicBezTo>
                        <a:cubicBezTo>
                          <a:pt x="0" y="2187"/>
                          <a:pt x="0" y="2210"/>
                          <a:pt x="0" y="2210"/>
                        </a:cubicBezTo>
                        <a:cubicBezTo>
                          <a:pt x="0" y="2373"/>
                          <a:pt x="47" y="2512"/>
                          <a:pt x="70" y="2652"/>
                        </a:cubicBezTo>
                        <a:cubicBezTo>
                          <a:pt x="93" y="2768"/>
                          <a:pt x="116" y="2884"/>
                          <a:pt x="163" y="2977"/>
                        </a:cubicBezTo>
                        <a:cubicBezTo>
                          <a:pt x="326" y="3419"/>
                          <a:pt x="512" y="3861"/>
                          <a:pt x="675" y="4303"/>
                        </a:cubicBezTo>
                        <a:cubicBezTo>
                          <a:pt x="954" y="5048"/>
                          <a:pt x="1489" y="5443"/>
                          <a:pt x="2047" y="5443"/>
                        </a:cubicBezTo>
                        <a:lnTo>
                          <a:pt x="2954" y="5443"/>
                        </a:lnTo>
                        <a:lnTo>
                          <a:pt x="12468" y="5443"/>
                        </a:lnTo>
                        <a:cubicBezTo>
                          <a:pt x="12236" y="5490"/>
                          <a:pt x="11980" y="5373"/>
                          <a:pt x="11747" y="5187"/>
                        </a:cubicBezTo>
                        <a:close/>
                      </a:path>
                    </a:pathLst>
                  </a:custGeom>
                  <a:solidFill>
                    <a:srgbClr val="F19439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88" name="Freeform: Shape 287">
                    <a:extLst>
                      <a:ext uri="{FF2B5EF4-FFF2-40B4-BE49-F238E27FC236}">
                        <a16:creationId xmlns:a16="http://schemas.microsoft.com/office/drawing/2014/main" id="{F4167F86-FA23-4A66-83FA-8463848ABEC4}"/>
                      </a:ext>
                    </a:extLst>
                  </p:cNvPr>
                  <p:cNvSpPr/>
                  <p:nvPr/>
                </p:nvSpPr>
                <p:spPr>
                  <a:xfrm>
                    <a:off x="6169899" y="4139788"/>
                    <a:ext cx="2326" cy="2326"/>
                  </a:xfrm>
                  <a:custGeom>
                    <a:avLst/>
                    <a:gdLst>
                      <a:gd name="connsiteX0" fmla="*/ 0 w 0"/>
                      <a:gd name="connsiteY0" fmla="*/ 0 h 0"/>
                      <a:gd name="connsiteX1" fmla="*/ 0 w 0"/>
                      <a:gd name="connsiteY1" fmla="*/ 0 h 0"/>
                      <a:gd name="connsiteX2" fmla="*/ 0 w 0"/>
                      <a:gd name="connsiteY2" fmla="*/ 0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F19439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89" name="Freeform: Shape 288">
                    <a:extLst>
                      <a:ext uri="{FF2B5EF4-FFF2-40B4-BE49-F238E27FC236}">
                        <a16:creationId xmlns:a16="http://schemas.microsoft.com/office/drawing/2014/main" id="{88DA2E01-C119-42FE-B252-F2262F61BA00}"/>
                      </a:ext>
                    </a:extLst>
                  </p:cNvPr>
                  <p:cNvSpPr/>
                  <p:nvPr/>
                </p:nvSpPr>
                <p:spPr>
                  <a:xfrm>
                    <a:off x="6155547" y="4070189"/>
                    <a:ext cx="11631" cy="4652"/>
                  </a:xfrm>
                  <a:custGeom>
                    <a:avLst/>
                    <a:gdLst>
                      <a:gd name="connsiteX0" fmla="*/ 11375 w 11630"/>
                      <a:gd name="connsiteY0" fmla="*/ 5606 h 4652"/>
                      <a:gd name="connsiteX1" fmla="*/ 11375 w 11630"/>
                      <a:gd name="connsiteY1" fmla="*/ 5606 h 4652"/>
                      <a:gd name="connsiteX2" fmla="*/ 11375 w 11630"/>
                      <a:gd name="connsiteY2" fmla="*/ 5606 h 4652"/>
                      <a:gd name="connsiteX3" fmla="*/ 11003 w 11630"/>
                      <a:gd name="connsiteY3" fmla="*/ 5257 h 4652"/>
                      <a:gd name="connsiteX4" fmla="*/ 10863 w 11630"/>
                      <a:gd name="connsiteY4" fmla="*/ 5118 h 4652"/>
                      <a:gd name="connsiteX5" fmla="*/ 10863 w 11630"/>
                      <a:gd name="connsiteY5" fmla="*/ 5118 h 4652"/>
                      <a:gd name="connsiteX6" fmla="*/ 10840 w 11630"/>
                      <a:gd name="connsiteY6" fmla="*/ 5094 h 4652"/>
                      <a:gd name="connsiteX7" fmla="*/ 10840 w 11630"/>
                      <a:gd name="connsiteY7" fmla="*/ 5094 h 4652"/>
                      <a:gd name="connsiteX8" fmla="*/ 10770 w 11630"/>
                      <a:gd name="connsiteY8" fmla="*/ 4931 h 4652"/>
                      <a:gd name="connsiteX9" fmla="*/ 10538 w 11630"/>
                      <a:gd name="connsiteY9" fmla="*/ 2698 h 4652"/>
                      <a:gd name="connsiteX10" fmla="*/ 10980 w 11630"/>
                      <a:gd name="connsiteY10" fmla="*/ 1303 h 4652"/>
                      <a:gd name="connsiteX11" fmla="*/ 12398 w 11630"/>
                      <a:gd name="connsiteY11" fmla="*/ 0 h 4652"/>
                      <a:gd name="connsiteX12" fmla="*/ 2722 w 11630"/>
                      <a:gd name="connsiteY12" fmla="*/ 0 h 4652"/>
                      <a:gd name="connsiteX13" fmla="*/ 1977 w 11630"/>
                      <a:gd name="connsiteY13" fmla="*/ 0 h 4652"/>
                      <a:gd name="connsiteX14" fmla="*/ 1907 w 11630"/>
                      <a:gd name="connsiteY14" fmla="*/ 0 h 4652"/>
                      <a:gd name="connsiteX15" fmla="*/ 1605 w 11630"/>
                      <a:gd name="connsiteY15" fmla="*/ 70 h 4652"/>
                      <a:gd name="connsiteX16" fmla="*/ 1582 w 11630"/>
                      <a:gd name="connsiteY16" fmla="*/ 70 h 4652"/>
                      <a:gd name="connsiteX17" fmla="*/ 1419 w 11630"/>
                      <a:gd name="connsiteY17" fmla="*/ 163 h 4652"/>
                      <a:gd name="connsiteX18" fmla="*/ 1233 w 11630"/>
                      <a:gd name="connsiteY18" fmla="*/ 256 h 4652"/>
                      <a:gd name="connsiteX19" fmla="*/ 1186 w 11630"/>
                      <a:gd name="connsiteY19" fmla="*/ 302 h 4652"/>
                      <a:gd name="connsiteX20" fmla="*/ 1000 w 11630"/>
                      <a:gd name="connsiteY20" fmla="*/ 488 h 4652"/>
                      <a:gd name="connsiteX21" fmla="*/ 837 w 11630"/>
                      <a:gd name="connsiteY21" fmla="*/ 698 h 4652"/>
                      <a:gd name="connsiteX22" fmla="*/ 698 w 11630"/>
                      <a:gd name="connsiteY22" fmla="*/ 954 h 4652"/>
                      <a:gd name="connsiteX23" fmla="*/ 605 w 11630"/>
                      <a:gd name="connsiteY23" fmla="*/ 1140 h 4652"/>
                      <a:gd name="connsiteX24" fmla="*/ 535 w 11630"/>
                      <a:gd name="connsiteY24" fmla="*/ 1303 h 4652"/>
                      <a:gd name="connsiteX25" fmla="*/ 116 w 11630"/>
                      <a:gd name="connsiteY25" fmla="*/ 2698 h 4652"/>
                      <a:gd name="connsiteX26" fmla="*/ 47 w 11630"/>
                      <a:gd name="connsiteY26" fmla="*/ 3024 h 4652"/>
                      <a:gd name="connsiteX27" fmla="*/ 0 w 11630"/>
                      <a:gd name="connsiteY27" fmla="*/ 3443 h 4652"/>
                      <a:gd name="connsiteX28" fmla="*/ 0 w 11630"/>
                      <a:gd name="connsiteY28" fmla="*/ 3536 h 4652"/>
                      <a:gd name="connsiteX29" fmla="*/ 0 w 11630"/>
                      <a:gd name="connsiteY29" fmla="*/ 3606 h 4652"/>
                      <a:gd name="connsiteX30" fmla="*/ 0 w 11630"/>
                      <a:gd name="connsiteY30" fmla="*/ 3838 h 4652"/>
                      <a:gd name="connsiteX31" fmla="*/ 70 w 11630"/>
                      <a:gd name="connsiteY31" fmla="*/ 4280 h 4652"/>
                      <a:gd name="connsiteX32" fmla="*/ 93 w 11630"/>
                      <a:gd name="connsiteY32" fmla="*/ 4350 h 4652"/>
                      <a:gd name="connsiteX33" fmla="*/ 116 w 11630"/>
                      <a:gd name="connsiteY33" fmla="*/ 4420 h 4652"/>
                      <a:gd name="connsiteX34" fmla="*/ 419 w 11630"/>
                      <a:gd name="connsiteY34" fmla="*/ 5071 h 4652"/>
                      <a:gd name="connsiteX35" fmla="*/ 442 w 11630"/>
                      <a:gd name="connsiteY35" fmla="*/ 5118 h 4652"/>
                      <a:gd name="connsiteX36" fmla="*/ 930 w 11630"/>
                      <a:gd name="connsiteY36" fmla="*/ 5606 h 4652"/>
                      <a:gd name="connsiteX37" fmla="*/ 954 w 11630"/>
                      <a:gd name="connsiteY37" fmla="*/ 5629 h 4652"/>
                      <a:gd name="connsiteX38" fmla="*/ 954 w 11630"/>
                      <a:gd name="connsiteY38" fmla="*/ 5629 h 4652"/>
                      <a:gd name="connsiteX39" fmla="*/ 11375 w 11630"/>
                      <a:gd name="connsiteY39" fmla="*/ 5629 h 46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</a:cxnLst>
                    <a:rect l="l" t="t" r="r" b="b"/>
                    <a:pathLst>
                      <a:path w="11630" h="4652">
                        <a:moveTo>
                          <a:pt x="11375" y="5606"/>
                        </a:moveTo>
                        <a:lnTo>
                          <a:pt x="11375" y="5606"/>
                        </a:lnTo>
                        <a:cubicBezTo>
                          <a:pt x="11375" y="5606"/>
                          <a:pt x="11375" y="5606"/>
                          <a:pt x="11375" y="5606"/>
                        </a:cubicBezTo>
                        <a:cubicBezTo>
                          <a:pt x="11212" y="5513"/>
                          <a:pt x="11119" y="5373"/>
                          <a:pt x="11003" y="5257"/>
                        </a:cubicBezTo>
                        <a:cubicBezTo>
                          <a:pt x="10956" y="5211"/>
                          <a:pt x="10886" y="5164"/>
                          <a:pt x="10863" y="5118"/>
                        </a:cubicBezTo>
                        <a:lnTo>
                          <a:pt x="10863" y="5118"/>
                        </a:lnTo>
                        <a:cubicBezTo>
                          <a:pt x="10863" y="5118"/>
                          <a:pt x="10840" y="5094"/>
                          <a:pt x="10840" y="5094"/>
                        </a:cubicBezTo>
                        <a:lnTo>
                          <a:pt x="10840" y="5094"/>
                        </a:lnTo>
                        <a:cubicBezTo>
                          <a:pt x="10817" y="5048"/>
                          <a:pt x="10793" y="4978"/>
                          <a:pt x="10770" y="4931"/>
                        </a:cubicBezTo>
                        <a:cubicBezTo>
                          <a:pt x="10421" y="4303"/>
                          <a:pt x="10305" y="3466"/>
                          <a:pt x="10538" y="2698"/>
                        </a:cubicBezTo>
                        <a:cubicBezTo>
                          <a:pt x="10677" y="2233"/>
                          <a:pt x="10840" y="1768"/>
                          <a:pt x="10980" y="1303"/>
                        </a:cubicBezTo>
                        <a:cubicBezTo>
                          <a:pt x="11235" y="488"/>
                          <a:pt x="11794" y="0"/>
                          <a:pt x="12398" y="0"/>
                        </a:cubicBezTo>
                        <a:lnTo>
                          <a:pt x="2722" y="0"/>
                        </a:lnTo>
                        <a:lnTo>
                          <a:pt x="1977" y="0"/>
                        </a:lnTo>
                        <a:cubicBezTo>
                          <a:pt x="1954" y="0"/>
                          <a:pt x="1931" y="0"/>
                          <a:pt x="1907" y="0"/>
                        </a:cubicBezTo>
                        <a:cubicBezTo>
                          <a:pt x="1791" y="0"/>
                          <a:pt x="1698" y="23"/>
                          <a:pt x="1605" y="70"/>
                        </a:cubicBezTo>
                        <a:cubicBezTo>
                          <a:pt x="1582" y="70"/>
                          <a:pt x="1582" y="70"/>
                          <a:pt x="1582" y="70"/>
                        </a:cubicBezTo>
                        <a:cubicBezTo>
                          <a:pt x="1512" y="93"/>
                          <a:pt x="1465" y="116"/>
                          <a:pt x="1419" y="163"/>
                        </a:cubicBezTo>
                        <a:cubicBezTo>
                          <a:pt x="1349" y="186"/>
                          <a:pt x="1303" y="209"/>
                          <a:pt x="1233" y="256"/>
                        </a:cubicBezTo>
                        <a:cubicBezTo>
                          <a:pt x="1210" y="279"/>
                          <a:pt x="1210" y="302"/>
                          <a:pt x="1186" y="302"/>
                        </a:cubicBezTo>
                        <a:cubicBezTo>
                          <a:pt x="1117" y="349"/>
                          <a:pt x="1070" y="419"/>
                          <a:pt x="1000" y="488"/>
                        </a:cubicBezTo>
                        <a:cubicBezTo>
                          <a:pt x="930" y="558"/>
                          <a:pt x="884" y="605"/>
                          <a:pt x="837" y="698"/>
                        </a:cubicBezTo>
                        <a:cubicBezTo>
                          <a:pt x="791" y="768"/>
                          <a:pt x="744" y="861"/>
                          <a:pt x="698" y="954"/>
                        </a:cubicBezTo>
                        <a:cubicBezTo>
                          <a:pt x="675" y="1024"/>
                          <a:pt x="628" y="1070"/>
                          <a:pt x="605" y="1140"/>
                        </a:cubicBezTo>
                        <a:cubicBezTo>
                          <a:pt x="582" y="1186"/>
                          <a:pt x="558" y="1256"/>
                          <a:pt x="535" y="1303"/>
                        </a:cubicBezTo>
                        <a:cubicBezTo>
                          <a:pt x="395" y="1768"/>
                          <a:pt x="256" y="2233"/>
                          <a:pt x="116" y="2698"/>
                        </a:cubicBezTo>
                        <a:cubicBezTo>
                          <a:pt x="93" y="2815"/>
                          <a:pt x="47" y="2908"/>
                          <a:pt x="47" y="3024"/>
                        </a:cubicBezTo>
                        <a:cubicBezTo>
                          <a:pt x="23" y="3164"/>
                          <a:pt x="0" y="3303"/>
                          <a:pt x="0" y="3443"/>
                        </a:cubicBezTo>
                        <a:cubicBezTo>
                          <a:pt x="0" y="3466"/>
                          <a:pt x="0" y="3489"/>
                          <a:pt x="0" y="3536"/>
                        </a:cubicBezTo>
                        <a:cubicBezTo>
                          <a:pt x="0" y="3559"/>
                          <a:pt x="0" y="3582"/>
                          <a:pt x="0" y="3606"/>
                        </a:cubicBezTo>
                        <a:cubicBezTo>
                          <a:pt x="0" y="3675"/>
                          <a:pt x="0" y="3768"/>
                          <a:pt x="0" y="3838"/>
                        </a:cubicBezTo>
                        <a:cubicBezTo>
                          <a:pt x="0" y="4001"/>
                          <a:pt x="23" y="4141"/>
                          <a:pt x="70" y="4280"/>
                        </a:cubicBezTo>
                        <a:cubicBezTo>
                          <a:pt x="70" y="4303"/>
                          <a:pt x="93" y="4327"/>
                          <a:pt x="93" y="4350"/>
                        </a:cubicBezTo>
                        <a:cubicBezTo>
                          <a:pt x="93" y="4373"/>
                          <a:pt x="116" y="4396"/>
                          <a:pt x="116" y="4420"/>
                        </a:cubicBezTo>
                        <a:cubicBezTo>
                          <a:pt x="186" y="4652"/>
                          <a:pt x="279" y="4885"/>
                          <a:pt x="419" y="5071"/>
                        </a:cubicBezTo>
                        <a:cubicBezTo>
                          <a:pt x="419" y="5071"/>
                          <a:pt x="442" y="5094"/>
                          <a:pt x="442" y="5118"/>
                        </a:cubicBezTo>
                        <a:cubicBezTo>
                          <a:pt x="582" y="5304"/>
                          <a:pt x="744" y="5490"/>
                          <a:pt x="930" y="5606"/>
                        </a:cubicBezTo>
                        <a:lnTo>
                          <a:pt x="954" y="5629"/>
                        </a:lnTo>
                        <a:lnTo>
                          <a:pt x="954" y="5629"/>
                        </a:lnTo>
                        <a:lnTo>
                          <a:pt x="11375" y="5629"/>
                        </a:lnTo>
                        <a:close/>
                      </a:path>
                    </a:pathLst>
                  </a:custGeom>
                  <a:solidFill>
                    <a:srgbClr val="F19439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90" name="Freeform: Shape 289">
                    <a:extLst>
                      <a:ext uri="{FF2B5EF4-FFF2-40B4-BE49-F238E27FC236}">
                        <a16:creationId xmlns:a16="http://schemas.microsoft.com/office/drawing/2014/main" id="{A2D5C59C-C194-4A94-B777-D113CA04CA2C}"/>
                      </a:ext>
                    </a:extLst>
                  </p:cNvPr>
                  <p:cNvSpPr/>
                  <p:nvPr/>
                </p:nvSpPr>
                <p:spPr>
                  <a:xfrm>
                    <a:off x="6167945" y="4070166"/>
                    <a:ext cx="2326" cy="2326"/>
                  </a:xfrm>
                  <a:custGeom>
                    <a:avLst/>
                    <a:gdLst>
                      <a:gd name="connsiteX0" fmla="*/ 0 w 0"/>
                      <a:gd name="connsiteY0" fmla="*/ 0 h 0"/>
                      <a:gd name="connsiteX1" fmla="*/ 0 w 0"/>
                      <a:gd name="connsiteY1" fmla="*/ 0 h 0"/>
                      <a:gd name="connsiteX2" fmla="*/ 0 w 0"/>
                      <a:gd name="connsiteY2" fmla="*/ 0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F19439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91" name="Freeform: Shape 290">
                    <a:extLst>
                      <a:ext uri="{FF2B5EF4-FFF2-40B4-BE49-F238E27FC236}">
                        <a16:creationId xmlns:a16="http://schemas.microsoft.com/office/drawing/2014/main" id="{BE6B4667-A055-491C-A44F-51A53388309C}"/>
                      </a:ext>
                    </a:extLst>
                  </p:cNvPr>
                  <p:cNvSpPr/>
                  <p:nvPr/>
                </p:nvSpPr>
                <p:spPr>
                  <a:xfrm>
                    <a:off x="6155221" y="4127529"/>
                    <a:ext cx="11631" cy="4652"/>
                  </a:xfrm>
                  <a:custGeom>
                    <a:avLst/>
                    <a:gdLst>
                      <a:gd name="connsiteX0" fmla="*/ 10956 w 11630"/>
                      <a:gd name="connsiteY0" fmla="*/ 4327 h 4652"/>
                      <a:gd name="connsiteX1" fmla="*/ 10538 w 11630"/>
                      <a:gd name="connsiteY1" fmla="*/ 2931 h 4652"/>
                      <a:gd name="connsiteX2" fmla="*/ 10584 w 11630"/>
                      <a:gd name="connsiteY2" fmla="*/ 1163 h 4652"/>
                      <a:gd name="connsiteX3" fmla="*/ 10584 w 11630"/>
                      <a:gd name="connsiteY3" fmla="*/ 1163 h 4652"/>
                      <a:gd name="connsiteX4" fmla="*/ 10863 w 11630"/>
                      <a:gd name="connsiteY4" fmla="*/ 558 h 4652"/>
                      <a:gd name="connsiteX5" fmla="*/ 10863 w 11630"/>
                      <a:gd name="connsiteY5" fmla="*/ 558 h 4652"/>
                      <a:gd name="connsiteX6" fmla="*/ 10886 w 11630"/>
                      <a:gd name="connsiteY6" fmla="*/ 512 h 4652"/>
                      <a:gd name="connsiteX7" fmla="*/ 10886 w 11630"/>
                      <a:gd name="connsiteY7" fmla="*/ 512 h 4652"/>
                      <a:gd name="connsiteX8" fmla="*/ 11003 w 11630"/>
                      <a:gd name="connsiteY8" fmla="*/ 395 h 4652"/>
                      <a:gd name="connsiteX9" fmla="*/ 11398 w 11630"/>
                      <a:gd name="connsiteY9" fmla="*/ 23 h 4652"/>
                      <a:gd name="connsiteX10" fmla="*/ 11445 w 11630"/>
                      <a:gd name="connsiteY10" fmla="*/ 0 h 4652"/>
                      <a:gd name="connsiteX11" fmla="*/ 11445 w 11630"/>
                      <a:gd name="connsiteY11" fmla="*/ 0 h 4652"/>
                      <a:gd name="connsiteX12" fmla="*/ 11445 w 11630"/>
                      <a:gd name="connsiteY12" fmla="*/ 0 h 4652"/>
                      <a:gd name="connsiteX13" fmla="*/ 11445 w 11630"/>
                      <a:gd name="connsiteY13" fmla="*/ 0 h 4652"/>
                      <a:gd name="connsiteX14" fmla="*/ 1000 w 11630"/>
                      <a:gd name="connsiteY14" fmla="*/ 0 h 4652"/>
                      <a:gd name="connsiteX15" fmla="*/ 977 w 11630"/>
                      <a:gd name="connsiteY15" fmla="*/ 0 h 4652"/>
                      <a:gd name="connsiteX16" fmla="*/ 837 w 11630"/>
                      <a:gd name="connsiteY16" fmla="*/ 93 h 4652"/>
                      <a:gd name="connsiteX17" fmla="*/ 465 w 11630"/>
                      <a:gd name="connsiteY17" fmla="*/ 488 h 4652"/>
                      <a:gd name="connsiteX18" fmla="*/ 419 w 11630"/>
                      <a:gd name="connsiteY18" fmla="*/ 582 h 4652"/>
                      <a:gd name="connsiteX19" fmla="*/ 186 w 11630"/>
                      <a:gd name="connsiteY19" fmla="*/ 1047 h 4652"/>
                      <a:gd name="connsiteX20" fmla="*/ 140 w 11630"/>
                      <a:gd name="connsiteY20" fmla="*/ 1186 h 4652"/>
                      <a:gd name="connsiteX21" fmla="*/ 93 w 11630"/>
                      <a:gd name="connsiteY21" fmla="*/ 1349 h 4652"/>
                      <a:gd name="connsiteX22" fmla="*/ 47 w 11630"/>
                      <a:gd name="connsiteY22" fmla="*/ 1582 h 4652"/>
                      <a:gd name="connsiteX23" fmla="*/ 0 w 11630"/>
                      <a:gd name="connsiteY23" fmla="*/ 2001 h 4652"/>
                      <a:gd name="connsiteX24" fmla="*/ 0 w 11630"/>
                      <a:gd name="connsiteY24" fmla="*/ 2070 h 4652"/>
                      <a:gd name="connsiteX25" fmla="*/ 0 w 11630"/>
                      <a:gd name="connsiteY25" fmla="*/ 2140 h 4652"/>
                      <a:gd name="connsiteX26" fmla="*/ 0 w 11630"/>
                      <a:gd name="connsiteY26" fmla="*/ 2419 h 4652"/>
                      <a:gd name="connsiteX27" fmla="*/ 70 w 11630"/>
                      <a:gd name="connsiteY27" fmla="*/ 2861 h 4652"/>
                      <a:gd name="connsiteX28" fmla="*/ 93 w 11630"/>
                      <a:gd name="connsiteY28" fmla="*/ 2977 h 4652"/>
                      <a:gd name="connsiteX29" fmla="*/ 512 w 11630"/>
                      <a:gd name="connsiteY29" fmla="*/ 4373 h 4652"/>
                      <a:gd name="connsiteX30" fmla="*/ 1954 w 11630"/>
                      <a:gd name="connsiteY30" fmla="*/ 5699 h 4652"/>
                      <a:gd name="connsiteX31" fmla="*/ 2652 w 11630"/>
                      <a:gd name="connsiteY31" fmla="*/ 5699 h 4652"/>
                      <a:gd name="connsiteX32" fmla="*/ 12375 w 11630"/>
                      <a:gd name="connsiteY32" fmla="*/ 5699 h 4652"/>
                      <a:gd name="connsiteX33" fmla="*/ 10956 w 11630"/>
                      <a:gd name="connsiteY33" fmla="*/ 4327 h 46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</a:cxnLst>
                    <a:rect l="l" t="t" r="r" b="b"/>
                    <a:pathLst>
                      <a:path w="11630" h="4652">
                        <a:moveTo>
                          <a:pt x="10956" y="4327"/>
                        </a:moveTo>
                        <a:cubicBezTo>
                          <a:pt x="10817" y="3861"/>
                          <a:pt x="10677" y="3396"/>
                          <a:pt x="10538" y="2931"/>
                        </a:cubicBezTo>
                        <a:cubicBezTo>
                          <a:pt x="10375" y="2326"/>
                          <a:pt x="10398" y="1698"/>
                          <a:pt x="10584" y="1163"/>
                        </a:cubicBezTo>
                        <a:lnTo>
                          <a:pt x="10584" y="1163"/>
                        </a:lnTo>
                        <a:cubicBezTo>
                          <a:pt x="10654" y="954"/>
                          <a:pt x="10747" y="744"/>
                          <a:pt x="10863" y="558"/>
                        </a:cubicBezTo>
                        <a:lnTo>
                          <a:pt x="10863" y="558"/>
                        </a:lnTo>
                        <a:cubicBezTo>
                          <a:pt x="10863" y="558"/>
                          <a:pt x="10863" y="535"/>
                          <a:pt x="10886" y="512"/>
                        </a:cubicBezTo>
                        <a:lnTo>
                          <a:pt x="10886" y="512"/>
                        </a:lnTo>
                        <a:cubicBezTo>
                          <a:pt x="10910" y="465"/>
                          <a:pt x="10956" y="442"/>
                          <a:pt x="11003" y="395"/>
                        </a:cubicBezTo>
                        <a:cubicBezTo>
                          <a:pt x="11119" y="256"/>
                          <a:pt x="11259" y="116"/>
                          <a:pt x="11398" y="23"/>
                        </a:cubicBezTo>
                        <a:cubicBezTo>
                          <a:pt x="11398" y="23"/>
                          <a:pt x="11422" y="0"/>
                          <a:pt x="11445" y="0"/>
                        </a:cubicBezTo>
                        <a:lnTo>
                          <a:pt x="11445" y="0"/>
                        </a:lnTo>
                        <a:lnTo>
                          <a:pt x="11445" y="0"/>
                        </a:lnTo>
                        <a:lnTo>
                          <a:pt x="11445" y="0"/>
                        </a:lnTo>
                        <a:lnTo>
                          <a:pt x="1000" y="0"/>
                        </a:lnTo>
                        <a:lnTo>
                          <a:pt x="977" y="0"/>
                        </a:lnTo>
                        <a:cubicBezTo>
                          <a:pt x="930" y="23"/>
                          <a:pt x="861" y="70"/>
                          <a:pt x="837" y="93"/>
                        </a:cubicBezTo>
                        <a:cubicBezTo>
                          <a:pt x="698" y="209"/>
                          <a:pt x="558" y="326"/>
                          <a:pt x="465" y="488"/>
                        </a:cubicBezTo>
                        <a:lnTo>
                          <a:pt x="419" y="582"/>
                        </a:lnTo>
                        <a:cubicBezTo>
                          <a:pt x="326" y="721"/>
                          <a:pt x="233" y="884"/>
                          <a:pt x="186" y="1047"/>
                        </a:cubicBezTo>
                        <a:cubicBezTo>
                          <a:pt x="163" y="1093"/>
                          <a:pt x="163" y="1140"/>
                          <a:pt x="140" y="1186"/>
                        </a:cubicBezTo>
                        <a:cubicBezTo>
                          <a:pt x="140" y="1256"/>
                          <a:pt x="116" y="1303"/>
                          <a:pt x="93" y="1349"/>
                        </a:cubicBezTo>
                        <a:cubicBezTo>
                          <a:pt x="70" y="1419"/>
                          <a:pt x="47" y="1489"/>
                          <a:pt x="47" y="1582"/>
                        </a:cubicBezTo>
                        <a:cubicBezTo>
                          <a:pt x="23" y="1721"/>
                          <a:pt x="0" y="1861"/>
                          <a:pt x="0" y="2001"/>
                        </a:cubicBezTo>
                        <a:cubicBezTo>
                          <a:pt x="0" y="2024"/>
                          <a:pt x="0" y="2047"/>
                          <a:pt x="0" y="2070"/>
                        </a:cubicBezTo>
                        <a:cubicBezTo>
                          <a:pt x="0" y="2094"/>
                          <a:pt x="0" y="2117"/>
                          <a:pt x="0" y="2140"/>
                        </a:cubicBezTo>
                        <a:cubicBezTo>
                          <a:pt x="0" y="2233"/>
                          <a:pt x="0" y="2326"/>
                          <a:pt x="0" y="2419"/>
                        </a:cubicBezTo>
                        <a:cubicBezTo>
                          <a:pt x="0" y="2559"/>
                          <a:pt x="47" y="2722"/>
                          <a:pt x="70" y="2861"/>
                        </a:cubicBezTo>
                        <a:cubicBezTo>
                          <a:pt x="70" y="2884"/>
                          <a:pt x="93" y="2931"/>
                          <a:pt x="93" y="2977"/>
                        </a:cubicBezTo>
                        <a:cubicBezTo>
                          <a:pt x="209" y="3443"/>
                          <a:pt x="349" y="3908"/>
                          <a:pt x="512" y="4373"/>
                        </a:cubicBezTo>
                        <a:cubicBezTo>
                          <a:pt x="768" y="5211"/>
                          <a:pt x="1326" y="5699"/>
                          <a:pt x="1954" y="5699"/>
                        </a:cubicBezTo>
                        <a:lnTo>
                          <a:pt x="2652" y="5699"/>
                        </a:lnTo>
                        <a:lnTo>
                          <a:pt x="12375" y="5699"/>
                        </a:lnTo>
                        <a:cubicBezTo>
                          <a:pt x="11770" y="5676"/>
                          <a:pt x="11212" y="5164"/>
                          <a:pt x="10956" y="4327"/>
                        </a:cubicBezTo>
                        <a:close/>
                      </a:path>
                    </a:pathLst>
                  </a:custGeom>
                  <a:solidFill>
                    <a:srgbClr val="F19439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92" name="Freeform: Shape 291">
                    <a:extLst>
                      <a:ext uri="{FF2B5EF4-FFF2-40B4-BE49-F238E27FC236}">
                        <a16:creationId xmlns:a16="http://schemas.microsoft.com/office/drawing/2014/main" id="{D90076F9-4511-4D1D-A56C-6739E5D0A2E3}"/>
                      </a:ext>
                    </a:extLst>
                  </p:cNvPr>
                  <p:cNvSpPr/>
                  <p:nvPr/>
                </p:nvSpPr>
                <p:spPr>
                  <a:xfrm>
                    <a:off x="6165294" y="4082774"/>
                    <a:ext cx="2326" cy="2326"/>
                  </a:xfrm>
                  <a:custGeom>
                    <a:avLst/>
                    <a:gdLst>
                      <a:gd name="connsiteX0" fmla="*/ 0 w 0"/>
                      <a:gd name="connsiteY0" fmla="*/ 0 h 0"/>
                      <a:gd name="connsiteX1" fmla="*/ 0 w 0"/>
                      <a:gd name="connsiteY1" fmla="*/ 0 h 0"/>
                      <a:gd name="connsiteX2" fmla="*/ 0 w 0"/>
                      <a:gd name="connsiteY2" fmla="*/ 0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F19439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93" name="Freeform: Shape 292">
                    <a:extLst>
                      <a:ext uri="{FF2B5EF4-FFF2-40B4-BE49-F238E27FC236}">
                        <a16:creationId xmlns:a16="http://schemas.microsoft.com/office/drawing/2014/main" id="{E4113C61-FBBC-4500-BA6B-15FBE7973590}"/>
                      </a:ext>
                    </a:extLst>
                  </p:cNvPr>
                  <p:cNvSpPr/>
                  <p:nvPr/>
                </p:nvSpPr>
                <p:spPr>
                  <a:xfrm>
                    <a:off x="6153686" y="4077051"/>
                    <a:ext cx="11631" cy="4652"/>
                  </a:xfrm>
                  <a:custGeom>
                    <a:avLst/>
                    <a:gdLst>
                      <a:gd name="connsiteX0" fmla="*/ 11561 w 11630"/>
                      <a:gd name="connsiteY0" fmla="*/ 5722 h 4652"/>
                      <a:gd name="connsiteX1" fmla="*/ 10631 w 11630"/>
                      <a:gd name="connsiteY1" fmla="*/ 4559 h 4652"/>
                      <a:gd name="connsiteX2" fmla="*/ 10631 w 11630"/>
                      <a:gd name="connsiteY2" fmla="*/ 4559 h 4652"/>
                      <a:gd name="connsiteX3" fmla="*/ 10631 w 11630"/>
                      <a:gd name="connsiteY3" fmla="*/ 4513 h 4652"/>
                      <a:gd name="connsiteX4" fmla="*/ 10538 w 11630"/>
                      <a:gd name="connsiteY4" fmla="*/ 2954 h 4652"/>
                      <a:gd name="connsiteX5" fmla="*/ 10863 w 11630"/>
                      <a:gd name="connsiteY5" fmla="*/ 1512 h 4652"/>
                      <a:gd name="connsiteX6" fmla="*/ 11003 w 11630"/>
                      <a:gd name="connsiteY6" fmla="*/ 1163 h 4652"/>
                      <a:gd name="connsiteX7" fmla="*/ 11049 w 11630"/>
                      <a:gd name="connsiteY7" fmla="*/ 1000 h 4652"/>
                      <a:gd name="connsiteX8" fmla="*/ 11049 w 11630"/>
                      <a:gd name="connsiteY8" fmla="*/ 1000 h 4652"/>
                      <a:gd name="connsiteX9" fmla="*/ 11631 w 11630"/>
                      <a:gd name="connsiteY9" fmla="*/ 256 h 4652"/>
                      <a:gd name="connsiteX10" fmla="*/ 11770 w 11630"/>
                      <a:gd name="connsiteY10" fmla="*/ 163 h 4652"/>
                      <a:gd name="connsiteX11" fmla="*/ 11770 w 11630"/>
                      <a:gd name="connsiteY11" fmla="*/ 163 h 4652"/>
                      <a:gd name="connsiteX12" fmla="*/ 11910 w 11630"/>
                      <a:gd name="connsiteY12" fmla="*/ 93 h 4652"/>
                      <a:gd name="connsiteX13" fmla="*/ 11910 w 11630"/>
                      <a:gd name="connsiteY13" fmla="*/ 93 h 4652"/>
                      <a:gd name="connsiteX14" fmla="*/ 12329 w 11630"/>
                      <a:gd name="connsiteY14" fmla="*/ 0 h 4652"/>
                      <a:gd name="connsiteX15" fmla="*/ 2466 w 11630"/>
                      <a:gd name="connsiteY15" fmla="*/ 0 h 4652"/>
                      <a:gd name="connsiteX16" fmla="*/ 1907 w 11630"/>
                      <a:gd name="connsiteY16" fmla="*/ 0 h 4652"/>
                      <a:gd name="connsiteX17" fmla="*/ 1838 w 11630"/>
                      <a:gd name="connsiteY17" fmla="*/ 0 h 4652"/>
                      <a:gd name="connsiteX18" fmla="*/ 1535 w 11630"/>
                      <a:gd name="connsiteY18" fmla="*/ 47 h 4652"/>
                      <a:gd name="connsiteX19" fmla="*/ 1465 w 11630"/>
                      <a:gd name="connsiteY19" fmla="*/ 93 h 4652"/>
                      <a:gd name="connsiteX20" fmla="*/ 1326 w 11630"/>
                      <a:gd name="connsiteY20" fmla="*/ 163 h 4652"/>
                      <a:gd name="connsiteX21" fmla="*/ 1163 w 11630"/>
                      <a:gd name="connsiteY21" fmla="*/ 233 h 4652"/>
                      <a:gd name="connsiteX22" fmla="*/ 1070 w 11630"/>
                      <a:gd name="connsiteY22" fmla="*/ 326 h 4652"/>
                      <a:gd name="connsiteX23" fmla="*/ 907 w 11630"/>
                      <a:gd name="connsiteY23" fmla="*/ 489 h 4652"/>
                      <a:gd name="connsiteX24" fmla="*/ 721 w 11630"/>
                      <a:gd name="connsiteY24" fmla="*/ 744 h 4652"/>
                      <a:gd name="connsiteX25" fmla="*/ 582 w 11630"/>
                      <a:gd name="connsiteY25" fmla="*/ 977 h 4652"/>
                      <a:gd name="connsiteX26" fmla="*/ 512 w 11630"/>
                      <a:gd name="connsiteY26" fmla="*/ 1117 h 4652"/>
                      <a:gd name="connsiteX27" fmla="*/ 395 w 11630"/>
                      <a:gd name="connsiteY27" fmla="*/ 1489 h 4652"/>
                      <a:gd name="connsiteX28" fmla="*/ 70 w 11630"/>
                      <a:gd name="connsiteY28" fmla="*/ 2931 h 4652"/>
                      <a:gd name="connsiteX29" fmla="*/ 47 w 11630"/>
                      <a:gd name="connsiteY29" fmla="*/ 3047 h 4652"/>
                      <a:gd name="connsiteX30" fmla="*/ 0 w 11630"/>
                      <a:gd name="connsiteY30" fmla="*/ 3466 h 4652"/>
                      <a:gd name="connsiteX31" fmla="*/ 0 w 11630"/>
                      <a:gd name="connsiteY31" fmla="*/ 3768 h 4652"/>
                      <a:gd name="connsiteX32" fmla="*/ 0 w 11630"/>
                      <a:gd name="connsiteY32" fmla="*/ 3838 h 4652"/>
                      <a:gd name="connsiteX33" fmla="*/ 0 w 11630"/>
                      <a:gd name="connsiteY33" fmla="*/ 3885 h 4652"/>
                      <a:gd name="connsiteX34" fmla="*/ 70 w 11630"/>
                      <a:gd name="connsiteY34" fmla="*/ 4327 h 4652"/>
                      <a:gd name="connsiteX35" fmla="*/ 140 w 11630"/>
                      <a:gd name="connsiteY35" fmla="*/ 4536 h 4652"/>
                      <a:gd name="connsiteX36" fmla="*/ 186 w 11630"/>
                      <a:gd name="connsiteY36" fmla="*/ 4676 h 4652"/>
                      <a:gd name="connsiteX37" fmla="*/ 512 w 11630"/>
                      <a:gd name="connsiteY37" fmla="*/ 5234 h 4652"/>
                      <a:gd name="connsiteX38" fmla="*/ 605 w 11630"/>
                      <a:gd name="connsiteY38" fmla="*/ 5327 h 4652"/>
                      <a:gd name="connsiteX39" fmla="*/ 1093 w 11630"/>
                      <a:gd name="connsiteY39" fmla="*/ 5699 h 4652"/>
                      <a:gd name="connsiteX40" fmla="*/ 1117 w 11630"/>
                      <a:gd name="connsiteY40" fmla="*/ 5699 h 4652"/>
                      <a:gd name="connsiteX41" fmla="*/ 1117 w 11630"/>
                      <a:gd name="connsiteY41" fmla="*/ 5699 h 4652"/>
                      <a:gd name="connsiteX42" fmla="*/ 11561 w 11630"/>
                      <a:gd name="connsiteY42" fmla="*/ 5699 h 4652"/>
                      <a:gd name="connsiteX43" fmla="*/ 11561 w 11630"/>
                      <a:gd name="connsiteY43" fmla="*/ 5722 h 46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</a:cxnLst>
                    <a:rect l="l" t="t" r="r" b="b"/>
                    <a:pathLst>
                      <a:path w="11630" h="4652">
                        <a:moveTo>
                          <a:pt x="11561" y="5722"/>
                        </a:moveTo>
                        <a:cubicBezTo>
                          <a:pt x="11119" y="5513"/>
                          <a:pt x="10817" y="5094"/>
                          <a:pt x="10631" y="4559"/>
                        </a:cubicBezTo>
                        <a:lnTo>
                          <a:pt x="10631" y="4559"/>
                        </a:lnTo>
                        <a:lnTo>
                          <a:pt x="10631" y="4513"/>
                        </a:lnTo>
                        <a:cubicBezTo>
                          <a:pt x="10468" y="4024"/>
                          <a:pt x="10421" y="3489"/>
                          <a:pt x="10538" y="2954"/>
                        </a:cubicBezTo>
                        <a:cubicBezTo>
                          <a:pt x="10654" y="2466"/>
                          <a:pt x="10747" y="1977"/>
                          <a:pt x="10863" y="1512"/>
                        </a:cubicBezTo>
                        <a:cubicBezTo>
                          <a:pt x="10886" y="1396"/>
                          <a:pt x="10956" y="1279"/>
                          <a:pt x="11003" y="1163"/>
                        </a:cubicBezTo>
                        <a:cubicBezTo>
                          <a:pt x="11026" y="1117"/>
                          <a:pt x="11026" y="1047"/>
                          <a:pt x="11049" y="1000"/>
                        </a:cubicBezTo>
                        <a:lnTo>
                          <a:pt x="11049" y="1000"/>
                        </a:lnTo>
                        <a:cubicBezTo>
                          <a:pt x="11189" y="675"/>
                          <a:pt x="11398" y="419"/>
                          <a:pt x="11631" y="256"/>
                        </a:cubicBezTo>
                        <a:cubicBezTo>
                          <a:pt x="11677" y="209"/>
                          <a:pt x="11724" y="163"/>
                          <a:pt x="11770" y="163"/>
                        </a:cubicBezTo>
                        <a:lnTo>
                          <a:pt x="11770" y="163"/>
                        </a:lnTo>
                        <a:cubicBezTo>
                          <a:pt x="11817" y="140"/>
                          <a:pt x="11863" y="93"/>
                          <a:pt x="11910" y="93"/>
                        </a:cubicBezTo>
                        <a:lnTo>
                          <a:pt x="11910" y="93"/>
                        </a:lnTo>
                        <a:cubicBezTo>
                          <a:pt x="12050" y="23"/>
                          <a:pt x="12189" y="0"/>
                          <a:pt x="12329" y="0"/>
                        </a:cubicBezTo>
                        <a:lnTo>
                          <a:pt x="2466" y="0"/>
                        </a:lnTo>
                        <a:lnTo>
                          <a:pt x="1907" y="0"/>
                        </a:lnTo>
                        <a:cubicBezTo>
                          <a:pt x="1884" y="0"/>
                          <a:pt x="1861" y="0"/>
                          <a:pt x="1838" y="0"/>
                        </a:cubicBezTo>
                        <a:cubicBezTo>
                          <a:pt x="1745" y="0"/>
                          <a:pt x="1628" y="23"/>
                          <a:pt x="1535" y="47"/>
                        </a:cubicBezTo>
                        <a:cubicBezTo>
                          <a:pt x="1512" y="47"/>
                          <a:pt x="1489" y="70"/>
                          <a:pt x="1465" y="93"/>
                        </a:cubicBezTo>
                        <a:cubicBezTo>
                          <a:pt x="1419" y="116"/>
                          <a:pt x="1372" y="140"/>
                          <a:pt x="1326" y="163"/>
                        </a:cubicBezTo>
                        <a:cubicBezTo>
                          <a:pt x="1279" y="186"/>
                          <a:pt x="1210" y="209"/>
                          <a:pt x="1163" y="233"/>
                        </a:cubicBezTo>
                        <a:cubicBezTo>
                          <a:pt x="1140" y="256"/>
                          <a:pt x="1117" y="302"/>
                          <a:pt x="1070" y="326"/>
                        </a:cubicBezTo>
                        <a:cubicBezTo>
                          <a:pt x="1024" y="372"/>
                          <a:pt x="954" y="442"/>
                          <a:pt x="907" y="489"/>
                        </a:cubicBezTo>
                        <a:cubicBezTo>
                          <a:pt x="837" y="558"/>
                          <a:pt x="791" y="651"/>
                          <a:pt x="721" y="744"/>
                        </a:cubicBezTo>
                        <a:cubicBezTo>
                          <a:pt x="675" y="814"/>
                          <a:pt x="628" y="907"/>
                          <a:pt x="582" y="977"/>
                        </a:cubicBezTo>
                        <a:cubicBezTo>
                          <a:pt x="558" y="1024"/>
                          <a:pt x="535" y="1070"/>
                          <a:pt x="512" y="1117"/>
                        </a:cubicBezTo>
                        <a:cubicBezTo>
                          <a:pt x="465" y="1233"/>
                          <a:pt x="419" y="1349"/>
                          <a:pt x="395" y="1489"/>
                        </a:cubicBezTo>
                        <a:cubicBezTo>
                          <a:pt x="279" y="1977"/>
                          <a:pt x="186" y="2443"/>
                          <a:pt x="70" y="2931"/>
                        </a:cubicBezTo>
                        <a:cubicBezTo>
                          <a:pt x="70" y="2978"/>
                          <a:pt x="47" y="3001"/>
                          <a:pt x="47" y="3047"/>
                        </a:cubicBezTo>
                        <a:cubicBezTo>
                          <a:pt x="23" y="3187"/>
                          <a:pt x="0" y="3326"/>
                          <a:pt x="0" y="3466"/>
                        </a:cubicBezTo>
                        <a:cubicBezTo>
                          <a:pt x="0" y="3582"/>
                          <a:pt x="0" y="3675"/>
                          <a:pt x="0" y="3768"/>
                        </a:cubicBezTo>
                        <a:cubicBezTo>
                          <a:pt x="0" y="3768"/>
                          <a:pt x="0" y="3815"/>
                          <a:pt x="0" y="3838"/>
                        </a:cubicBezTo>
                        <a:cubicBezTo>
                          <a:pt x="0" y="3838"/>
                          <a:pt x="0" y="3861"/>
                          <a:pt x="0" y="3885"/>
                        </a:cubicBezTo>
                        <a:cubicBezTo>
                          <a:pt x="0" y="4048"/>
                          <a:pt x="47" y="4187"/>
                          <a:pt x="70" y="4327"/>
                        </a:cubicBezTo>
                        <a:cubicBezTo>
                          <a:pt x="93" y="4420"/>
                          <a:pt x="116" y="4490"/>
                          <a:pt x="140" y="4536"/>
                        </a:cubicBezTo>
                        <a:cubicBezTo>
                          <a:pt x="140" y="4583"/>
                          <a:pt x="163" y="4629"/>
                          <a:pt x="186" y="4676"/>
                        </a:cubicBezTo>
                        <a:cubicBezTo>
                          <a:pt x="279" y="4885"/>
                          <a:pt x="372" y="5071"/>
                          <a:pt x="512" y="5234"/>
                        </a:cubicBezTo>
                        <a:cubicBezTo>
                          <a:pt x="535" y="5280"/>
                          <a:pt x="558" y="5304"/>
                          <a:pt x="605" y="5327"/>
                        </a:cubicBezTo>
                        <a:cubicBezTo>
                          <a:pt x="744" y="5490"/>
                          <a:pt x="907" y="5629"/>
                          <a:pt x="1093" y="5699"/>
                        </a:cubicBezTo>
                        <a:lnTo>
                          <a:pt x="1117" y="5699"/>
                        </a:lnTo>
                        <a:lnTo>
                          <a:pt x="1117" y="5699"/>
                        </a:lnTo>
                        <a:lnTo>
                          <a:pt x="11561" y="5699"/>
                        </a:lnTo>
                        <a:lnTo>
                          <a:pt x="11561" y="5722"/>
                        </a:lnTo>
                        <a:close/>
                      </a:path>
                    </a:pathLst>
                  </a:custGeom>
                  <a:solidFill>
                    <a:srgbClr val="F19439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94" name="Freeform: Shape 293">
                    <a:extLst>
                      <a:ext uri="{FF2B5EF4-FFF2-40B4-BE49-F238E27FC236}">
                        <a16:creationId xmlns:a16="http://schemas.microsoft.com/office/drawing/2014/main" id="{0550AB60-4135-4076-AD5F-6AC91BDA9ED2}"/>
                      </a:ext>
                    </a:extLst>
                  </p:cNvPr>
                  <p:cNvSpPr/>
                  <p:nvPr/>
                </p:nvSpPr>
                <p:spPr>
                  <a:xfrm>
                    <a:off x="6153500" y="4120574"/>
                    <a:ext cx="11631" cy="4652"/>
                  </a:xfrm>
                  <a:custGeom>
                    <a:avLst/>
                    <a:gdLst>
                      <a:gd name="connsiteX0" fmla="*/ 10793 w 11630"/>
                      <a:gd name="connsiteY0" fmla="*/ 4187 h 4652"/>
                      <a:gd name="connsiteX1" fmla="*/ 10491 w 11630"/>
                      <a:gd name="connsiteY1" fmla="*/ 2745 h 4652"/>
                      <a:gd name="connsiteX2" fmla="*/ 10445 w 11630"/>
                      <a:gd name="connsiteY2" fmla="*/ 1814 h 4652"/>
                      <a:gd name="connsiteX3" fmla="*/ 10445 w 11630"/>
                      <a:gd name="connsiteY3" fmla="*/ 1814 h 4652"/>
                      <a:gd name="connsiteX4" fmla="*/ 10607 w 11630"/>
                      <a:gd name="connsiteY4" fmla="*/ 1070 h 4652"/>
                      <a:gd name="connsiteX5" fmla="*/ 10607 w 11630"/>
                      <a:gd name="connsiteY5" fmla="*/ 1070 h 4652"/>
                      <a:gd name="connsiteX6" fmla="*/ 11073 w 11630"/>
                      <a:gd name="connsiteY6" fmla="*/ 349 h 4652"/>
                      <a:gd name="connsiteX7" fmla="*/ 11538 w 11630"/>
                      <a:gd name="connsiteY7" fmla="*/ 0 h 4652"/>
                      <a:gd name="connsiteX8" fmla="*/ 11538 w 11630"/>
                      <a:gd name="connsiteY8" fmla="*/ 0 h 4652"/>
                      <a:gd name="connsiteX9" fmla="*/ 11561 w 11630"/>
                      <a:gd name="connsiteY9" fmla="*/ 0 h 4652"/>
                      <a:gd name="connsiteX10" fmla="*/ 1140 w 11630"/>
                      <a:gd name="connsiteY10" fmla="*/ 0 h 4652"/>
                      <a:gd name="connsiteX11" fmla="*/ 1117 w 11630"/>
                      <a:gd name="connsiteY11" fmla="*/ 0 h 4652"/>
                      <a:gd name="connsiteX12" fmla="*/ 814 w 11630"/>
                      <a:gd name="connsiteY12" fmla="*/ 163 h 4652"/>
                      <a:gd name="connsiteX13" fmla="*/ 651 w 11630"/>
                      <a:gd name="connsiteY13" fmla="*/ 326 h 4652"/>
                      <a:gd name="connsiteX14" fmla="*/ 512 w 11630"/>
                      <a:gd name="connsiteY14" fmla="*/ 465 h 4652"/>
                      <a:gd name="connsiteX15" fmla="*/ 163 w 11630"/>
                      <a:gd name="connsiteY15" fmla="*/ 1047 h 4652"/>
                      <a:gd name="connsiteX16" fmla="*/ 163 w 11630"/>
                      <a:gd name="connsiteY16" fmla="*/ 1047 h 4652"/>
                      <a:gd name="connsiteX17" fmla="*/ 163 w 11630"/>
                      <a:gd name="connsiteY17" fmla="*/ 1047 h 4652"/>
                      <a:gd name="connsiteX18" fmla="*/ 23 w 11630"/>
                      <a:gd name="connsiteY18" fmla="*/ 1558 h 4652"/>
                      <a:gd name="connsiteX19" fmla="*/ 0 w 11630"/>
                      <a:gd name="connsiteY19" fmla="*/ 1814 h 4652"/>
                      <a:gd name="connsiteX20" fmla="*/ 0 w 11630"/>
                      <a:gd name="connsiteY20" fmla="*/ 1907 h 4652"/>
                      <a:gd name="connsiteX21" fmla="*/ 0 w 11630"/>
                      <a:gd name="connsiteY21" fmla="*/ 2000 h 4652"/>
                      <a:gd name="connsiteX22" fmla="*/ 0 w 11630"/>
                      <a:gd name="connsiteY22" fmla="*/ 2419 h 4652"/>
                      <a:gd name="connsiteX23" fmla="*/ 47 w 11630"/>
                      <a:gd name="connsiteY23" fmla="*/ 2768 h 4652"/>
                      <a:gd name="connsiteX24" fmla="*/ 372 w 11630"/>
                      <a:gd name="connsiteY24" fmla="*/ 4210 h 4652"/>
                      <a:gd name="connsiteX25" fmla="*/ 372 w 11630"/>
                      <a:gd name="connsiteY25" fmla="*/ 4257 h 4652"/>
                      <a:gd name="connsiteX26" fmla="*/ 488 w 11630"/>
                      <a:gd name="connsiteY26" fmla="*/ 4583 h 4652"/>
                      <a:gd name="connsiteX27" fmla="*/ 582 w 11630"/>
                      <a:gd name="connsiteY27" fmla="*/ 4862 h 4652"/>
                      <a:gd name="connsiteX28" fmla="*/ 791 w 11630"/>
                      <a:gd name="connsiteY28" fmla="*/ 5141 h 4652"/>
                      <a:gd name="connsiteX29" fmla="*/ 930 w 11630"/>
                      <a:gd name="connsiteY29" fmla="*/ 5327 h 4652"/>
                      <a:gd name="connsiteX30" fmla="*/ 1210 w 11630"/>
                      <a:gd name="connsiteY30" fmla="*/ 5536 h 4652"/>
                      <a:gd name="connsiteX31" fmla="*/ 1349 w 11630"/>
                      <a:gd name="connsiteY31" fmla="*/ 5629 h 4652"/>
                      <a:gd name="connsiteX32" fmla="*/ 1814 w 11630"/>
                      <a:gd name="connsiteY32" fmla="*/ 5746 h 4652"/>
                      <a:gd name="connsiteX33" fmla="*/ 2349 w 11630"/>
                      <a:gd name="connsiteY33" fmla="*/ 5746 h 4652"/>
                      <a:gd name="connsiteX34" fmla="*/ 12259 w 11630"/>
                      <a:gd name="connsiteY34" fmla="*/ 5746 h 4652"/>
                      <a:gd name="connsiteX35" fmla="*/ 10793 w 11630"/>
                      <a:gd name="connsiteY35" fmla="*/ 4187 h 46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</a:cxnLst>
                    <a:rect l="l" t="t" r="r" b="b"/>
                    <a:pathLst>
                      <a:path w="11630" h="4652">
                        <a:moveTo>
                          <a:pt x="10793" y="4187"/>
                        </a:moveTo>
                        <a:cubicBezTo>
                          <a:pt x="10677" y="3699"/>
                          <a:pt x="10561" y="3210"/>
                          <a:pt x="10491" y="2745"/>
                        </a:cubicBezTo>
                        <a:cubicBezTo>
                          <a:pt x="10421" y="2419"/>
                          <a:pt x="10421" y="2117"/>
                          <a:pt x="10445" y="1814"/>
                        </a:cubicBezTo>
                        <a:lnTo>
                          <a:pt x="10445" y="1814"/>
                        </a:lnTo>
                        <a:cubicBezTo>
                          <a:pt x="10468" y="1535"/>
                          <a:pt x="10514" y="1303"/>
                          <a:pt x="10607" y="1070"/>
                        </a:cubicBezTo>
                        <a:lnTo>
                          <a:pt x="10607" y="1070"/>
                        </a:lnTo>
                        <a:cubicBezTo>
                          <a:pt x="10724" y="791"/>
                          <a:pt x="10886" y="535"/>
                          <a:pt x="11073" y="349"/>
                        </a:cubicBezTo>
                        <a:cubicBezTo>
                          <a:pt x="11212" y="209"/>
                          <a:pt x="11352" y="70"/>
                          <a:pt x="11538" y="0"/>
                        </a:cubicBezTo>
                        <a:lnTo>
                          <a:pt x="11538" y="0"/>
                        </a:lnTo>
                        <a:cubicBezTo>
                          <a:pt x="11538" y="0"/>
                          <a:pt x="11561" y="0"/>
                          <a:pt x="11561" y="0"/>
                        </a:cubicBezTo>
                        <a:lnTo>
                          <a:pt x="1140" y="0"/>
                        </a:lnTo>
                        <a:cubicBezTo>
                          <a:pt x="1140" y="0"/>
                          <a:pt x="1117" y="0"/>
                          <a:pt x="1117" y="0"/>
                        </a:cubicBezTo>
                        <a:cubicBezTo>
                          <a:pt x="1000" y="46"/>
                          <a:pt x="907" y="116"/>
                          <a:pt x="814" y="163"/>
                        </a:cubicBezTo>
                        <a:cubicBezTo>
                          <a:pt x="744" y="209"/>
                          <a:pt x="698" y="279"/>
                          <a:pt x="651" y="326"/>
                        </a:cubicBezTo>
                        <a:cubicBezTo>
                          <a:pt x="605" y="372"/>
                          <a:pt x="558" y="419"/>
                          <a:pt x="512" y="465"/>
                        </a:cubicBezTo>
                        <a:cubicBezTo>
                          <a:pt x="372" y="628"/>
                          <a:pt x="256" y="837"/>
                          <a:pt x="163" y="1047"/>
                        </a:cubicBezTo>
                        <a:lnTo>
                          <a:pt x="163" y="1047"/>
                        </a:lnTo>
                        <a:lnTo>
                          <a:pt x="163" y="1047"/>
                        </a:lnTo>
                        <a:cubicBezTo>
                          <a:pt x="116" y="1210"/>
                          <a:pt x="47" y="1372"/>
                          <a:pt x="23" y="1558"/>
                        </a:cubicBezTo>
                        <a:cubicBezTo>
                          <a:pt x="23" y="1652"/>
                          <a:pt x="0" y="1721"/>
                          <a:pt x="0" y="1814"/>
                        </a:cubicBezTo>
                        <a:cubicBezTo>
                          <a:pt x="0" y="1838"/>
                          <a:pt x="0" y="1861"/>
                          <a:pt x="0" y="1907"/>
                        </a:cubicBezTo>
                        <a:cubicBezTo>
                          <a:pt x="0" y="1931"/>
                          <a:pt x="0" y="1954"/>
                          <a:pt x="0" y="2000"/>
                        </a:cubicBezTo>
                        <a:cubicBezTo>
                          <a:pt x="0" y="2140"/>
                          <a:pt x="0" y="2280"/>
                          <a:pt x="0" y="2419"/>
                        </a:cubicBezTo>
                        <a:cubicBezTo>
                          <a:pt x="0" y="2536"/>
                          <a:pt x="23" y="2652"/>
                          <a:pt x="47" y="2768"/>
                        </a:cubicBezTo>
                        <a:cubicBezTo>
                          <a:pt x="140" y="3257"/>
                          <a:pt x="256" y="3722"/>
                          <a:pt x="372" y="4210"/>
                        </a:cubicBezTo>
                        <a:cubicBezTo>
                          <a:pt x="372" y="4234"/>
                          <a:pt x="372" y="4257"/>
                          <a:pt x="372" y="4257"/>
                        </a:cubicBezTo>
                        <a:cubicBezTo>
                          <a:pt x="395" y="4373"/>
                          <a:pt x="442" y="4466"/>
                          <a:pt x="488" y="4583"/>
                        </a:cubicBezTo>
                        <a:cubicBezTo>
                          <a:pt x="535" y="4676"/>
                          <a:pt x="535" y="4769"/>
                          <a:pt x="582" y="4862"/>
                        </a:cubicBezTo>
                        <a:cubicBezTo>
                          <a:pt x="651" y="4955"/>
                          <a:pt x="721" y="5048"/>
                          <a:pt x="791" y="5141"/>
                        </a:cubicBezTo>
                        <a:cubicBezTo>
                          <a:pt x="837" y="5187"/>
                          <a:pt x="884" y="5280"/>
                          <a:pt x="930" y="5327"/>
                        </a:cubicBezTo>
                        <a:cubicBezTo>
                          <a:pt x="1024" y="5420"/>
                          <a:pt x="1117" y="5467"/>
                          <a:pt x="1210" y="5536"/>
                        </a:cubicBezTo>
                        <a:cubicBezTo>
                          <a:pt x="1256" y="5560"/>
                          <a:pt x="1303" y="5606"/>
                          <a:pt x="1349" y="5629"/>
                        </a:cubicBezTo>
                        <a:cubicBezTo>
                          <a:pt x="1512" y="5699"/>
                          <a:pt x="1652" y="5746"/>
                          <a:pt x="1814" y="5746"/>
                        </a:cubicBezTo>
                        <a:lnTo>
                          <a:pt x="2349" y="5746"/>
                        </a:lnTo>
                        <a:lnTo>
                          <a:pt x="12259" y="5746"/>
                        </a:lnTo>
                        <a:cubicBezTo>
                          <a:pt x="11631" y="5722"/>
                          <a:pt x="11003" y="5141"/>
                          <a:pt x="10793" y="4187"/>
                        </a:cubicBezTo>
                        <a:close/>
                      </a:path>
                    </a:pathLst>
                  </a:custGeom>
                  <a:solidFill>
                    <a:srgbClr val="F19439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95" name="Freeform: Shape 294">
                    <a:extLst>
                      <a:ext uri="{FF2B5EF4-FFF2-40B4-BE49-F238E27FC236}">
                        <a16:creationId xmlns:a16="http://schemas.microsoft.com/office/drawing/2014/main" id="{3BC3BEAF-3965-4F51-954E-A1DE5393BFFA}"/>
                      </a:ext>
                    </a:extLst>
                  </p:cNvPr>
                  <p:cNvSpPr/>
                  <p:nvPr/>
                </p:nvSpPr>
                <p:spPr>
                  <a:xfrm>
                    <a:off x="6164642" y="4084123"/>
                    <a:ext cx="2326" cy="2326"/>
                  </a:xfrm>
                  <a:custGeom>
                    <a:avLst/>
                    <a:gdLst>
                      <a:gd name="connsiteX0" fmla="*/ 0 w 0"/>
                      <a:gd name="connsiteY0" fmla="*/ 0 h 0"/>
                      <a:gd name="connsiteX1" fmla="*/ 0 w 0"/>
                      <a:gd name="connsiteY1" fmla="*/ 0 h 0"/>
                      <a:gd name="connsiteX2" fmla="*/ 0 w 0"/>
                      <a:gd name="connsiteY2" fmla="*/ 0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F19439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96" name="Freeform: Shape 295">
                    <a:extLst>
                      <a:ext uri="{FF2B5EF4-FFF2-40B4-BE49-F238E27FC236}">
                        <a16:creationId xmlns:a16="http://schemas.microsoft.com/office/drawing/2014/main" id="{A1061330-4B8F-437E-9786-5F4A62485A66}"/>
                      </a:ext>
                    </a:extLst>
                  </p:cNvPr>
                  <p:cNvSpPr/>
                  <p:nvPr/>
                </p:nvSpPr>
                <p:spPr>
                  <a:xfrm>
                    <a:off x="6152407" y="4084100"/>
                    <a:ext cx="11631" cy="4652"/>
                  </a:xfrm>
                  <a:custGeom>
                    <a:avLst/>
                    <a:gdLst>
                      <a:gd name="connsiteX0" fmla="*/ 11747 w 11630"/>
                      <a:gd name="connsiteY0" fmla="*/ 5839 h 4652"/>
                      <a:gd name="connsiteX1" fmla="*/ 11724 w 11630"/>
                      <a:gd name="connsiteY1" fmla="*/ 5839 h 4652"/>
                      <a:gd name="connsiteX2" fmla="*/ 11305 w 11630"/>
                      <a:gd name="connsiteY2" fmla="*/ 5606 h 4652"/>
                      <a:gd name="connsiteX3" fmla="*/ 11282 w 11630"/>
                      <a:gd name="connsiteY3" fmla="*/ 5583 h 4652"/>
                      <a:gd name="connsiteX4" fmla="*/ 11282 w 11630"/>
                      <a:gd name="connsiteY4" fmla="*/ 5583 h 4652"/>
                      <a:gd name="connsiteX5" fmla="*/ 10980 w 11630"/>
                      <a:gd name="connsiteY5" fmla="*/ 5280 h 4652"/>
                      <a:gd name="connsiteX6" fmla="*/ 10980 w 11630"/>
                      <a:gd name="connsiteY6" fmla="*/ 5280 h 4652"/>
                      <a:gd name="connsiteX7" fmla="*/ 10980 w 11630"/>
                      <a:gd name="connsiteY7" fmla="*/ 5280 h 4652"/>
                      <a:gd name="connsiteX8" fmla="*/ 10561 w 11630"/>
                      <a:gd name="connsiteY8" fmla="*/ 4373 h 4652"/>
                      <a:gd name="connsiteX9" fmla="*/ 10538 w 11630"/>
                      <a:gd name="connsiteY9" fmla="*/ 4257 h 4652"/>
                      <a:gd name="connsiteX10" fmla="*/ 10538 w 11630"/>
                      <a:gd name="connsiteY10" fmla="*/ 4257 h 4652"/>
                      <a:gd name="connsiteX11" fmla="*/ 10491 w 11630"/>
                      <a:gd name="connsiteY11" fmla="*/ 3233 h 4652"/>
                      <a:gd name="connsiteX12" fmla="*/ 10700 w 11630"/>
                      <a:gd name="connsiteY12" fmla="*/ 1745 h 4652"/>
                      <a:gd name="connsiteX13" fmla="*/ 11003 w 11630"/>
                      <a:gd name="connsiteY13" fmla="*/ 884 h 4652"/>
                      <a:gd name="connsiteX14" fmla="*/ 11003 w 11630"/>
                      <a:gd name="connsiteY14" fmla="*/ 884 h 4652"/>
                      <a:gd name="connsiteX15" fmla="*/ 11212 w 11630"/>
                      <a:gd name="connsiteY15" fmla="*/ 558 h 4652"/>
                      <a:gd name="connsiteX16" fmla="*/ 11212 w 11630"/>
                      <a:gd name="connsiteY16" fmla="*/ 558 h 4652"/>
                      <a:gd name="connsiteX17" fmla="*/ 11375 w 11630"/>
                      <a:gd name="connsiteY17" fmla="*/ 395 h 4652"/>
                      <a:gd name="connsiteX18" fmla="*/ 11375 w 11630"/>
                      <a:gd name="connsiteY18" fmla="*/ 395 h 4652"/>
                      <a:gd name="connsiteX19" fmla="*/ 11631 w 11630"/>
                      <a:gd name="connsiteY19" fmla="*/ 186 h 4652"/>
                      <a:gd name="connsiteX20" fmla="*/ 11770 w 11630"/>
                      <a:gd name="connsiteY20" fmla="*/ 93 h 4652"/>
                      <a:gd name="connsiteX21" fmla="*/ 11770 w 11630"/>
                      <a:gd name="connsiteY21" fmla="*/ 93 h 4652"/>
                      <a:gd name="connsiteX22" fmla="*/ 11887 w 11630"/>
                      <a:gd name="connsiteY22" fmla="*/ 70 h 4652"/>
                      <a:gd name="connsiteX23" fmla="*/ 12212 w 11630"/>
                      <a:gd name="connsiteY23" fmla="*/ 0 h 4652"/>
                      <a:gd name="connsiteX24" fmla="*/ 2163 w 11630"/>
                      <a:gd name="connsiteY24" fmla="*/ 0 h 4652"/>
                      <a:gd name="connsiteX25" fmla="*/ 1768 w 11630"/>
                      <a:gd name="connsiteY25" fmla="*/ 0 h 4652"/>
                      <a:gd name="connsiteX26" fmla="*/ 1721 w 11630"/>
                      <a:gd name="connsiteY26" fmla="*/ 0 h 4652"/>
                      <a:gd name="connsiteX27" fmla="*/ 1396 w 11630"/>
                      <a:gd name="connsiteY27" fmla="*/ 46 h 4652"/>
                      <a:gd name="connsiteX28" fmla="*/ 1303 w 11630"/>
                      <a:gd name="connsiteY28" fmla="*/ 93 h 4652"/>
                      <a:gd name="connsiteX29" fmla="*/ 1163 w 11630"/>
                      <a:gd name="connsiteY29" fmla="*/ 163 h 4652"/>
                      <a:gd name="connsiteX30" fmla="*/ 1047 w 11630"/>
                      <a:gd name="connsiteY30" fmla="*/ 233 h 4652"/>
                      <a:gd name="connsiteX31" fmla="*/ 907 w 11630"/>
                      <a:gd name="connsiteY31" fmla="*/ 372 h 4652"/>
                      <a:gd name="connsiteX32" fmla="*/ 744 w 11630"/>
                      <a:gd name="connsiteY32" fmla="*/ 535 h 4652"/>
                      <a:gd name="connsiteX33" fmla="*/ 535 w 11630"/>
                      <a:gd name="connsiteY33" fmla="*/ 861 h 4652"/>
                      <a:gd name="connsiteX34" fmla="*/ 419 w 11630"/>
                      <a:gd name="connsiteY34" fmla="*/ 1070 h 4652"/>
                      <a:gd name="connsiteX35" fmla="*/ 372 w 11630"/>
                      <a:gd name="connsiteY35" fmla="*/ 1140 h 4652"/>
                      <a:gd name="connsiteX36" fmla="*/ 233 w 11630"/>
                      <a:gd name="connsiteY36" fmla="*/ 1675 h 4652"/>
                      <a:gd name="connsiteX37" fmla="*/ 233 w 11630"/>
                      <a:gd name="connsiteY37" fmla="*/ 1698 h 4652"/>
                      <a:gd name="connsiteX38" fmla="*/ 23 w 11630"/>
                      <a:gd name="connsiteY38" fmla="*/ 3210 h 4652"/>
                      <a:gd name="connsiteX39" fmla="*/ 0 w 11630"/>
                      <a:gd name="connsiteY39" fmla="*/ 3536 h 4652"/>
                      <a:gd name="connsiteX40" fmla="*/ 0 w 11630"/>
                      <a:gd name="connsiteY40" fmla="*/ 3582 h 4652"/>
                      <a:gd name="connsiteX41" fmla="*/ 0 w 11630"/>
                      <a:gd name="connsiteY41" fmla="*/ 3768 h 4652"/>
                      <a:gd name="connsiteX42" fmla="*/ 0 w 11630"/>
                      <a:gd name="connsiteY42" fmla="*/ 3931 h 4652"/>
                      <a:gd name="connsiteX43" fmla="*/ 0 w 11630"/>
                      <a:gd name="connsiteY43" fmla="*/ 4001 h 4652"/>
                      <a:gd name="connsiteX44" fmla="*/ 47 w 11630"/>
                      <a:gd name="connsiteY44" fmla="*/ 4234 h 4652"/>
                      <a:gd name="connsiteX45" fmla="*/ 70 w 11630"/>
                      <a:gd name="connsiteY45" fmla="*/ 4373 h 4652"/>
                      <a:gd name="connsiteX46" fmla="*/ 70 w 11630"/>
                      <a:gd name="connsiteY46" fmla="*/ 4396 h 4652"/>
                      <a:gd name="connsiteX47" fmla="*/ 233 w 11630"/>
                      <a:gd name="connsiteY47" fmla="*/ 4862 h 4652"/>
                      <a:gd name="connsiteX48" fmla="*/ 256 w 11630"/>
                      <a:gd name="connsiteY48" fmla="*/ 4885 h 4652"/>
                      <a:gd name="connsiteX49" fmla="*/ 465 w 11630"/>
                      <a:gd name="connsiteY49" fmla="*/ 5234 h 4652"/>
                      <a:gd name="connsiteX50" fmla="*/ 558 w 11630"/>
                      <a:gd name="connsiteY50" fmla="*/ 5327 h 4652"/>
                      <a:gd name="connsiteX51" fmla="*/ 768 w 11630"/>
                      <a:gd name="connsiteY51" fmla="*/ 5536 h 4652"/>
                      <a:gd name="connsiteX52" fmla="*/ 861 w 11630"/>
                      <a:gd name="connsiteY52" fmla="*/ 5606 h 4652"/>
                      <a:gd name="connsiteX53" fmla="*/ 1210 w 11630"/>
                      <a:gd name="connsiteY53" fmla="*/ 5769 h 4652"/>
                      <a:gd name="connsiteX54" fmla="*/ 1233 w 11630"/>
                      <a:gd name="connsiteY54" fmla="*/ 5769 h 4652"/>
                      <a:gd name="connsiteX55" fmla="*/ 1233 w 11630"/>
                      <a:gd name="connsiteY55" fmla="*/ 5769 h 4652"/>
                      <a:gd name="connsiteX56" fmla="*/ 11747 w 11630"/>
                      <a:gd name="connsiteY56" fmla="*/ 5769 h 46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</a:cxnLst>
                    <a:rect l="l" t="t" r="r" b="b"/>
                    <a:pathLst>
                      <a:path w="11630" h="4652">
                        <a:moveTo>
                          <a:pt x="11747" y="5839"/>
                        </a:moveTo>
                        <a:cubicBezTo>
                          <a:pt x="11747" y="5839"/>
                          <a:pt x="11724" y="5839"/>
                          <a:pt x="11724" y="5839"/>
                        </a:cubicBezTo>
                        <a:cubicBezTo>
                          <a:pt x="11561" y="5792"/>
                          <a:pt x="11445" y="5722"/>
                          <a:pt x="11305" y="5606"/>
                        </a:cubicBezTo>
                        <a:cubicBezTo>
                          <a:pt x="11305" y="5606"/>
                          <a:pt x="11282" y="5583"/>
                          <a:pt x="11282" y="5583"/>
                        </a:cubicBezTo>
                        <a:lnTo>
                          <a:pt x="11282" y="5583"/>
                        </a:lnTo>
                        <a:cubicBezTo>
                          <a:pt x="11166" y="5490"/>
                          <a:pt x="11073" y="5397"/>
                          <a:pt x="10980" y="5280"/>
                        </a:cubicBezTo>
                        <a:lnTo>
                          <a:pt x="10980" y="5280"/>
                        </a:lnTo>
                        <a:lnTo>
                          <a:pt x="10980" y="5280"/>
                        </a:lnTo>
                        <a:cubicBezTo>
                          <a:pt x="10793" y="5024"/>
                          <a:pt x="10654" y="4722"/>
                          <a:pt x="10561" y="4373"/>
                        </a:cubicBezTo>
                        <a:cubicBezTo>
                          <a:pt x="10561" y="4327"/>
                          <a:pt x="10538" y="4303"/>
                          <a:pt x="10538" y="4257"/>
                        </a:cubicBezTo>
                        <a:lnTo>
                          <a:pt x="10538" y="4257"/>
                        </a:lnTo>
                        <a:cubicBezTo>
                          <a:pt x="10468" y="3931"/>
                          <a:pt x="10445" y="3582"/>
                          <a:pt x="10491" y="3233"/>
                        </a:cubicBezTo>
                        <a:cubicBezTo>
                          <a:pt x="10561" y="2722"/>
                          <a:pt x="10631" y="2233"/>
                          <a:pt x="10700" y="1745"/>
                        </a:cubicBezTo>
                        <a:cubicBezTo>
                          <a:pt x="10747" y="1419"/>
                          <a:pt x="10863" y="1140"/>
                          <a:pt x="11003" y="884"/>
                        </a:cubicBezTo>
                        <a:lnTo>
                          <a:pt x="11003" y="884"/>
                        </a:lnTo>
                        <a:cubicBezTo>
                          <a:pt x="11073" y="768"/>
                          <a:pt x="11119" y="651"/>
                          <a:pt x="11212" y="558"/>
                        </a:cubicBezTo>
                        <a:lnTo>
                          <a:pt x="11212" y="558"/>
                        </a:lnTo>
                        <a:cubicBezTo>
                          <a:pt x="11259" y="512"/>
                          <a:pt x="11328" y="465"/>
                          <a:pt x="11375" y="395"/>
                        </a:cubicBezTo>
                        <a:lnTo>
                          <a:pt x="11375" y="395"/>
                        </a:lnTo>
                        <a:cubicBezTo>
                          <a:pt x="11468" y="326"/>
                          <a:pt x="11538" y="256"/>
                          <a:pt x="11631" y="186"/>
                        </a:cubicBezTo>
                        <a:cubicBezTo>
                          <a:pt x="11677" y="163"/>
                          <a:pt x="11724" y="116"/>
                          <a:pt x="11770" y="93"/>
                        </a:cubicBezTo>
                        <a:lnTo>
                          <a:pt x="11770" y="93"/>
                        </a:lnTo>
                        <a:cubicBezTo>
                          <a:pt x="11817" y="93"/>
                          <a:pt x="11863" y="93"/>
                          <a:pt x="11887" y="70"/>
                        </a:cubicBezTo>
                        <a:cubicBezTo>
                          <a:pt x="11980" y="46"/>
                          <a:pt x="12096" y="0"/>
                          <a:pt x="12212" y="0"/>
                        </a:cubicBezTo>
                        <a:lnTo>
                          <a:pt x="2163" y="0"/>
                        </a:lnTo>
                        <a:lnTo>
                          <a:pt x="1768" y="0"/>
                        </a:lnTo>
                        <a:lnTo>
                          <a:pt x="1721" y="0"/>
                        </a:lnTo>
                        <a:cubicBezTo>
                          <a:pt x="1605" y="0"/>
                          <a:pt x="1512" y="23"/>
                          <a:pt x="1396" y="46"/>
                        </a:cubicBezTo>
                        <a:cubicBezTo>
                          <a:pt x="1372" y="46"/>
                          <a:pt x="1326" y="93"/>
                          <a:pt x="1303" y="93"/>
                        </a:cubicBezTo>
                        <a:cubicBezTo>
                          <a:pt x="1256" y="116"/>
                          <a:pt x="1210" y="140"/>
                          <a:pt x="1163" y="163"/>
                        </a:cubicBezTo>
                        <a:cubicBezTo>
                          <a:pt x="1117" y="186"/>
                          <a:pt x="1070" y="209"/>
                          <a:pt x="1047" y="233"/>
                        </a:cubicBezTo>
                        <a:cubicBezTo>
                          <a:pt x="1000" y="279"/>
                          <a:pt x="954" y="326"/>
                          <a:pt x="907" y="372"/>
                        </a:cubicBezTo>
                        <a:cubicBezTo>
                          <a:pt x="861" y="442"/>
                          <a:pt x="791" y="488"/>
                          <a:pt x="744" y="535"/>
                        </a:cubicBezTo>
                        <a:cubicBezTo>
                          <a:pt x="675" y="628"/>
                          <a:pt x="605" y="744"/>
                          <a:pt x="535" y="861"/>
                        </a:cubicBezTo>
                        <a:cubicBezTo>
                          <a:pt x="488" y="930"/>
                          <a:pt x="442" y="1000"/>
                          <a:pt x="419" y="1070"/>
                        </a:cubicBezTo>
                        <a:cubicBezTo>
                          <a:pt x="419" y="1093"/>
                          <a:pt x="395" y="1117"/>
                          <a:pt x="372" y="1140"/>
                        </a:cubicBezTo>
                        <a:cubicBezTo>
                          <a:pt x="326" y="1303"/>
                          <a:pt x="256" y="1465"/>
                          <a:pt x="233" y="1675"/>
                        </a:cubicBezTo>
                        <a:cubicBezTo>
                          <a:pt x="233" y="1698"/>
                          <a:pt x="233" y="1698"/>
                          <a:pt x="233" y="1698"/>
                        </a:cubicBezTo>
                        <a:cubicBezTo>
                          <a:pt x="163" y="2210"/>
                          <a:pt x="70" y="2698"/>
                          <a:pt x="23" y="3210"/>
                        </a:cubicBezTo>
                        <a:cubicBezTo>
                          <a:pt x="0" y="3303"/>
                          <a:pt x="0" y="3419"/>
                          <a:pt x="0" y="3536"/>
                        </a:cubicBezTo>
                        <a:cubicBezTo>
                          <a:pt x="0" y="3559"/>
                          <a:pt x="0" y="3582"/>
                          <a:pt x="0" y="3582"/>
                        </a:cubicBezTo>
                        <a:cubicBezTo>
                          <a:pt x="0" y="3652"/>
                          <a:pt x="0" y="3699"/>
                          <a:pt x="0" y="3768"/>
                        </a:cubicBezTo>
                        <a:cubicBezTo>
                          <a:pt x="0" y="3815"/>
                          <a:pt x="0" y="3861"/>
                          <a:pt x="0" y="3931"/>
                        </a:cubicBezTo>
                        <a:cubicBezTo>
                          <a:pt x="0" y="3954"/>
                          <a:pt x="0" y="3978"/>
                          <a:pt x="0" y="4001"/>
                        </a:cubicBezTo>
                        <a:cubicBezTo>
                          <a:pt x="0" y="4071"/>
                          <a:pt x="23" y="4164"/>
                          <a:pt x="47" y="4234"/>
                        </a:cubicBezTo>
                        <a:cubicBezTo>
                          <a:pt x="47" y="4280"/>
                          <a:pt x="70" y="4327"/>
                          <a:pt x="70" y="4373"/>
                        </a:cubicBezTo>
                        <a:cubicBezTo>
                          <a:pt x="70" y="4373"/>
                          <a:pt x="70" y="4396"/>
                          <a:pt x="70" y="4396"/>
                        </a:cubicBezTo>
                        <a:cubicBezTo>
                          <a:pt x="116" y="4559"/>
                          <a:pt x="163" y="4722"/>
                          <a:pt x="233" y="4862"/>
                        </a:cubicBezTo>
                        <a:lnTo>
                          <a:pt x="256" y="4885"/>
                        </a:lnTo>
                        <a:cubicBezTo>
                          <a:pt x="326" y="5001"/>
                          <a:pt x="395" y="5118"/>
                          <a:pt x="465" y="5234"/>
                        </a:cubicBezTo>
                        <a:cubicBezTo>
                          <a:pt x="488" y="5257"/>
                          <a:pt x="512" y="5304"/>
                          <a:pt x="558" y="5327"/>
                        </a:cubicBezTo>
                        <a:cubicBezTo>
                          <a:pt x="628" y="5397"/>
                          <a:pt x="698" y="5490"/>
                          <a:pt x="768" y="5536"/>
                        </a:cubicBezTo>
                        <a:cubicBezTo>
                          <a:pt x="791" y="5560"/>
                          <a:pt x="814" y="5583"/>
                          <a:pt x="861" y="5606"/>
                        </a:cubicBezTo>
                        <a:cubicBezTo>
                          <a:pt x="977" y="5676"/>
                          <a:pt x="1093" y="5746"/>
                          <a:pt x="1210" y="5769"/>
                        </a:cubicBezTo>
                        <a:lnTo>
                          <a:pt x="1233" y="5769"/>
                        </a:lnTo>
                        <a:lnTo>
                          <a:pt x="1233" y="5769"/>
                        </a:lnTo>
                        <a:lnTo>
                          <a:pt x="11747" y="5769"/>
                        </a:lnTo>
                        <a:close/>
                      </a:path>
                    </a:pathLst>
                  </a:custGeom>
                  <a:solidFill>
                    <a:srgbClr val="F19439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97" name="Freeform: Shape 296">
                    <a:extLst>
                      <a:ext uri="{FF2B5EF4-FFF2-40B4-BE49-F238E27FC236}">
                        <a16:creationId xmlns:a16="http://schemas.microsoft.com/office/drawing/2014/main" id="{A9DED100-B404-4019-811D-995E2FFA8276}"/>
                      </a:ext>
                    </a:extLst>
                  </p:cNvPr>
                  <p:cNvSpPr/>
                  <p:nvPr/>
                </p:nvSpPr>
                <p:spPr>
                  <a:xfrm>
                    <a:off x="6164014" y="4113340"/>
                    <a:ext cx="2326" cy="2326"/>
                  </a:xfrm>
                  <a:custGeom>
                    <a:avLst/>
                    <a:gdLst>
                      <a:gd name="connsiteX0" fmla="*/ 0 w 0"/>
                      <a:gd name="connsiteY0" fmla="*/ 0 h 0"/>
                      <a:gd name="connsiteX1" fmla="*/ 0 w 0"/>
                      <a:gd name="connsiteY1" fmla="*/ 0 h 0"/>
                      <a:gd name="connsiteX2" fmla="*/ 0 w 0"/>
                      <a:gd name="connsiteY2" fmla="*/ 0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F19439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98" name="Freeform: Shape 297">
                    <a:extLst>
                      <a:ext uri="{FF2B5EF4-FFF2-40B4-BE49-F238E27FC236}">
                        <a16:creationId xmlns:a16="http://schemas.microsoft.com/office/drawing/2014/main" id="{2092F0AD-D7C3-4E19-B22F-8A8480272D81}"/>
                      </a:ext>
                    </a:extLst>
                  </p:cNvPr>
                  <p:cNvSpPr/>
                  <p:nvPr/>
                </p:nvSpPr>
                <p:spPr>
                  <a:xfrm>
                    <a:off x="6152290" y="4113386"/>
                    <a:ext cx="11631" cy="4652"/>
                  </a:xfrm>
                  <a:custGeom>
                    <a:avLst/>
                    <a:gdLst>
                      <a:gd name="connsiteX0" fmla="*/ 11677 w 11630"/>
                      <a:gd name="connsiteY0" fmla="*/ 5699 h 4652"/>
                      <a:gd name="connsiteX1" fmla="*/ 11677 w 11630"/>
                      <a:gd name="connsiteY1" fmla="*/ 5699 h 4652"/>
                      <a:gd name="connsiteX2" fmla="*/ 11538 w 11630"/>
                      <a:gd name="connsiteY2" fmla="*/ 5606 h 4652"/>
                      <a:gd name="connsiteX3" fmla="*/ 11538 w 11630"/>
                      <a:gd name="connsiteY3" fmla="*/ 5606 h 4652"/>
                      <a:gd name="connsiteX4" fmla="*/ 11235 w 11630"/>
                      <a:gd name="connsiteY4" fmla="*/ 5373 h 4652"/>
                      <a:gd name="connsiteX5" fmla="*/ 11235 w 11630"/>
                      <a:gd name="connsiteY5" fmla="*/ 5373 h 4652"/>
                      <a:gd name="connsiteX6" fmla="*/ 10631 w 11630"/>
                      <a:gd name="connsiteY6" fmla="*/ 4071 h 4652"/>
                      <a:gd name="connsiteX7" fmla="*/ 10421 w 11630"/>
                      <a:gd name="connsiteY7" fmla="*/ 2582 h 4652"/>
                      <a:gd name="connsiteX8" fmla="*/ 10840 w 11630"/>
                      <a:gd name="connsiteY8" fmla="*/ 605 h 4652"/>
                      <a:gd name="connsiteX9" fmla="*/ 10840 w 11630"/>
                      <a:gd name="connsiteY9" fmla="*/ 605 h 4652"/>
                      <a:gd name="connsiteX10" fmla="*/ 10840 w 11630"/>
                      <a:gd name="connsiteY10" fmla="*/ 605 h 4652"/>
                      <a:gd name="connsiteX11" fmla="*/ 11654 w 11630"/>
                      <a:gd name="connsiteY11" fmla="*/ 0 h 4652"/>
                      <a:gd name="connsiteX12" fmla="*/ 11677 w 11630"/>
                      <a:gd name="connsiteY12" fmla="*/ 0 h 4652"/>
                      <a:gd name="connsiteX13" fmla="*/ 1256 w 11630"/>
                      <a:gd name="connsiteY13" fmla="*/ 0 h 4652"/>
                      <a:gd name="connsiteX14" fmla="*/ 1256 w 11630"/>
                      <a:gd name="connsiteY14" fmla="*/ 0 h 4652"/>
                      <a:gd name="connsiteX15" fmla="*/ 1233 w 11630"/>
                      <a:gd name="connsiteY15" fmla="*/ 0 h 4652"/>
                      <a:gd name="connsiteX16" fmla="*/ 1163 w 11630"/>
                      <a:gd name="connsiteY16" fmla="*/ 23 h 4652"/>
                      <a:gd name="connsiteX17" fmla="*/ 1093 w 11630"/>
                      <a:gd name="connsiteY17" fmla="*/ 70 h 4652"/>
                      <a:gd name="connsiteX18" fmla="*/ 861 w 11630"/>
                      <a:gd name="connsiteY18" fmla="*/ 186 h 4652"/>
                      <a:gd name="connsiteX19" fmla="*/ 814 w 11630"/>
                      <a:gd name="connsiteY19" fmla="*/ 209 h 4652"/>
                      <a:gd name="connsiteX20" fmla="*/ 768 w 11630"/>
                      <a:gd name="connsiteY20" fmla="*/ 256 h 4652"/>
                      <a:gd name="connsiteX21" fmla="*/ 442 w 11630"/>
                      <a:gd name="connsiteY21" fmla="*/ 582 h 4652"/>
                      <a:gd name="connsiteX22" fmla="*/ 442 w 11630"/>
                      <a:gd name="connsiteY22" fmla="*/ 605 h 4652"/>
                      <a:gd name="connsiteX23" fmla="*/ 209 w 11630"/>
                      <a:gd name="connsiteY23" fmla="*/ 1047 h 4652"/>
                      <a:gd name="connsiteX24" fmla="*/ 186 w 11630"/>
                      <a:gd name="connsiteY24" fmla="*/ 1093 h 4652"/>
                      <a:gd name="connsiteX25" fmla="*/ 163 w 11630"/>
                      <a:gd name="connsiteY25" fmla="*/ 1163 h 4652"/>
                      <a:gd name="connsiteX26" fmla="*/ 70 w 11630"/>
                      <a:gd name="connsiteY26" fmla="*/ 1512 h 4652"/>
                      <a:gd name="connsiteX27" fmla="*/ 47 w 11630"/>
                      <a:gd name="connsiteY27" fmla="*/ 1605 h 4652"/>
                      <a:gd name="connsiteX28" fmla="*/ 47 w 11630"/>
                      <a:gd name="connsiteY28" fmla="*/ 1628 h 4652"/>
                      <a:gd name="connsiteX29" fmla="*/ 23 w 11630"/>
                      <a:gd name="connsiteY29" fmla="*/ 1861 h 4652"/>
                      <a:gd name="connsiteX30" fmla="*/ 0 w 11630"/>
                      <a:gd name="connsiteY30" fmla="*/ 2047 h 4652"/>
                      <a:gd name="connsiteX31" fmla="*/ 0 w 11630"/>
                      <a:gd name="connsiteY31" fmla="*/ 2094 h 4652"/>
                      <a:gd name="connsiteX32" fmla="*/ 0 w 11630"/>
                      <a:gd name="connsiteY32" fmla="*/ 2280 h 4652"/>
                      <a:gd name="connsiteX33" fmla="*/ 0 w 11630"/>
                      <a:gd name="connsiteY33" fmla="*/ 2466 h 4652"/>
                      <a:gd name="connsiteX34" fmla="*/ 0 w 11630"/>
                      <a:gd name="connsiteY34" fmla="*/ 2582 h 4652"/>
                      <a:gd name="connsiteX35" fmla="*/ 209 w 11630"/>
                      <a:gd name="connsiteY35" fmla="*/ 4071 h 4652"/>
                      <a:gd name="connsiteX36" fmla="*/ 256 w 11630"/>
                      <a:gd name="connsiteY36" fmla="*/ 4327 h 4652"/>
                      <a:gd name="connsiteX37" fmla="*/ 349 w 11630"/>
                      <a:gd name="connsiteY37" fmla="*/ 4583 h 4652"/>
                      <a:gd name="connsiteX38" fmla="*/ 442 w 11630"/>
                      <a:gd name="connsiteY38" fmla="*/ 4838 h 4652"/>
                      <a:gd name="connsiteX39" fmla="*/ 651 w 11630"/>
                      <a:gd name="connsiteY39" fmla="*/ 5164 h 4652"/>
                      <a:gd name="connsiteX40" fmla="*/ 791 w 11630"/>
                      <a:gd name="connsiteY40" fmla="*/ 5350 h 4652"/>
                      <a:gd name="connsiteX41" fmla="*/ 1070 w 11630"/>
                      <a:gd name="connsiteY41" fmla="*/ 5583 h 4652"/>
                      <a:gd name="connsiteX42" fmla="*/ 1233 w 11630"/>
                      <a:gd name="connsiteY42" fmla="*/ 5676 h 4652"/>
                      <a:gd name="connsiteX43" fmla="*/ 1721 w 11630"/>
                      <a:gd name="connsiteY43" fmla="*/ 5792 h 4652"/>
                      <a:gd name="connsiteX44" fmla="*/ 2094 w 11630"/>
                      <a:gd name="connsiteY44" fmla="*/ 5792 h 4652"/>
                      <a:gd name="connsiteX45" fmla="*/ 12166 w 11630"/>
                      <a:gd name="connsiteY45" fmla="*/ 5792 h 4652"/>
                      <a:gd name="connsiteX46" fmla="*/ 11677 w 11630"/>
                      <a:gd name="connsiteY46" fmla="*/ 5699 h 46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</a:cxnLst>
                    <a:rect l="l" t="t" r="r" b="b"/>
                    <a:pathLst>
                      <a:path w="11630" h="4652">
                        <a:moveTo>
                          <a:pt x="11677" y="5699"/>
                        </a:moveTo>
                        <a:lnTo>
                          <a:pt x="11677" y="5699"/>
                        </a:lnTo>
                        <a:cubicBezTo>
                          <a:pt x="11631" y="5676"/>
                          <a:pt x="11584" y="5629"/>
                          <a:pt x="11538" y="5606"/>
                        </a:cubicBezTo>
                        <a:lnTo>
                          <a:pt x="11538" y="5606"/>
                        </a:lnTo>
                        <a:cubicBezTo>
                          <a:pt x="11445" y="5536"/>
                          <a:pt x="11328" y="5466"/>
                          <a:pt x="11235" y="5373"/>
                        </a:cubicBezTo>
                        <a:lnTo>
                          <a:pt x="11235" y="5373"/>
                        </a:lnTo>
                        <a:cubicBezTo>
                          <a:pt x="10956" y="5071"/>
                          <a:pt x="10724" y="4629"/>
                          <a:pt x="10631" y="4071"/>
                        </a:cubicBezTo>
                        <a:cubicBezTo>
                          <a:pt x="10561" y="3582"/>
                          <a:pt x="10491" y="3070"/>
                          <a:pt x="10421" y="2582"/>
                        </a:cubicBezTo>
                        <a:cubicBezTo>
                          <a:pt x="10328" y="1838"/>
                          <a:pt x="10491" y="1117"/>
                          <a:pt x="10840" y="605"/>
                        </a:cubicBezTo>
                        <a:lnTo>
                          <a:pt x="10840" y="605"/>
                        </a:lnTo>
                        <a:lnTo>
                          <a:pt x="10840" y="605"/>
                        </a:lnTo>
                        <a:cubicBezTo>
                          <a:pt x="11073" y="302"/>
                          <a:pt x="11328" y="70"/>
                          <a:pt x="11654" y="0"/>
                        </a:cubicBezTo>
                        <a:lnTo>
                          <a:pt x="11677" y="0"/>
                        </a:lnTo>
                        <a:lnTo>
                          <a:pt x="1256" y="0"/>
                        </a:lnTo>
                        <a:lnTo>
                          <a:pt x="1256" y="0"/>
                        </a:lnTo>
                        <a:lnTo>
                          <a:pt x="1233" y="0"/>
                        </a:lnTo>
                        <a:cubicBezTo>
                          <a:pt x="1210" y="0"/>
                          <a:pt x="1186" y="23"/>
                          <a:pt x="1163" y="23"/>
                        </a:cubicBezTo>
                        <a:cubicBezTo>
                          <a:pt x="1140" y="23"/>
                          <a:pt x="1117" y="70"/>
                          <a:pt x="1093" y="70"/>
                        </a:cubicBezTo>
                        <a:cubicBezTo>
                          <a:pt x="1000" y="93"/>
                          <a:pt x="930" y="140"/>
                          <a:pt x="861" y="186"/>
                        </a:cubicBezTo>
                        <a:cubicBezTo>
                          <a:pt x="837" y="186"/>
                          <a:pt x="814" y="209"/>
                          <a:pt x="814" y="209"/>
                        </a:cubicBezTo>
                        <a:cubicBezTo>
                          <a:pt x="791" y="209"/>
                          <a:pt x="791" y="233"/>
                          <a:pt x="768" y="256"/>
                        </a:cubicBezTo>
                        <a:cubicBezTo>
                          <a:pt x="651" y="349"/>
                          <a:pt x="535" y="465"/>
                          <a:pt x="442" y="582"/>
                        </a:cubicBezTo>
                        <a:lnTo>
                          <a:pt x="442" y="605"/>
                        </a:lnTo>
                        <a:cubicBezTo>
                          <a:pt x="349" y="721"/>
                          <a:pt x="279" y="884"/>
                          <a:pt x="209" y="1047"/>
                        </a:cubicBezTo>
                        <a:cubicBezTo>
                          <a:pt x="209" y="1070"/>
                          <a:pt x="186" y="1093"/>
                          <a:pt x="186" y="1093"/>
                        </a:cubicBezTo>
                        <a:cubicBezTo>
                          <a:pt x="186" y="1117"/>
                          <a:pt x="186" y="1140"/>
                          <a:pt x="163" y="1163"/>
                        </a:cubicBezTo>
                        <a:cubicBezTo>
                          <a:pt x="116" y="1279"/>
                          <a:pt x="93" y="1396"/>
                          <a:pt x="70" y="1512"/>
                        </a:cubicBezTo>
                        <a:cubicBezTo>
                          <a:pt x="70" y="1535"/>
                          <a:pt x="47" y="1558"/>
                          <a:pt x="47" y="1605"/>
                        </a:cubicBezTo>
                        <a:cubicBezTo>
                          <a:pt x="47" y="1605"/>
                          <a:pt x="47" y="1628"/>
                          <a:pt x="47" y="1628"/>
                        </a:cubicBezTo>
                        <a:cubicBezTo>
                          <a:pt x="23" y="1698"/>
                          <a:pt x="23" y="1768"/>
                          <a:pt x="23" y="1861"/>
                        </a:cubicBezTo>
                        <a:cubicBezTo>
                          <a:pt x="23" y="1907"/>
                          <a:pt x="0" y="1977"/>
                          <a:pt x="0" y="2047"/>
                        </a:cubicBezTo>
                        <a:lnTo>
                          <a:pt x="0" y="2094"/>
                        </a:lnTo>
                        <a:cubicBezTo>
                          <a:pt x="0" y="2140"/>
                          <a:pt x="0" y="2210"/>
                          <a:pt x="0" y="2280"/>
                        </a:cubicBezTo>
                        <a:cubicBezTo>
                          <a:pt x="0" y="2326"/>
                          <a:pt x="0" y="2396"/>
                          <a:pt x="0" y="2466"/>
                        </a:cubicBezTo>
                        <a:cubicBezTo>
                          <a:pt x="0" y="2512"/>
                          <a:pt x="0" y="2536"/>
                          <a:pt x="0" y="2582"/>
                        </a:cubicBezTo>
                        <a:cubicBezTo>
                          <a:pt x="70" y="3070"/>
                          <a:pt x="140" y="3582"/>
                          <a:pt x="209" y="4071"/>
                        </a:cubicBezTo>
                        <a:cubicBezTo>
                          <a:pt x="233" y="4164"/>
                          <a:pt x="256" y="4257"/>
                          <a:pt x="256" y="4327"/>
                        </a:cubicBezTo>
                        <a:cubicBezTo>
                          <a:pt x="279" y="4420"/>
                          <a:pt x="326" y="4489"/>
                          <a:pt x="349" y="4583"/>
                        </a:cubicBezTo>
                        <a:cubicBezTo>
                          <a:pt x="372" y="4676"/>
                          <a:pt x="419" y="4769"/>
                          <a:pt x="442" y="4838"/>
                        </a:cubicBezTo>
                        <a:cubicBezTo>
                          <a:pt x="488" y="4955"/>
                          <a:pt x="582" y="5071"/>
                          <a:pt x="651" y="5164"/>
                        </a:cubicBezTo>
                        <a:cubicBezTo>
                          <a:pt x="698" y="5234"/>
                          <a:pt x="744" y="5304"/>
                          <a:pt x="791" y="5350"/>
                        </a:cubicBezTo>
                        <a:cubicBezTo>
                          <a:pt x="884" y="5443"/>
                          <a:pt x="977" y="5513"/>
                          <a:pt x="1070" y="5583"/>
                        </a:cubicBezTo>
                        <a:cubicBezTo>
                          <a:pt x="1140" y="5606"/>
                          <a:pt x="1163" y="5653"/>
                          <a:pt x="1233" y="5676"/>
                        </a:cubicBezTo>
                        <a:cubicBezTo>
                          <a:pt x="1396" y="5746"/>
                          <a:pt x="1559" y="5792"/>
                          <a:pt x="1721" y="5792"/>
                        </a:cubicBezTo>
                        <a:lnTo>
                          <a:pt x="2094" y="5792"/>
                        </a:lnTo>
                        <a:lnTo>
                          <a:pt x="12166" y="5792"/>
                        </a:lnTo>
                        <a:cubicBezTo>
                          <a:pt x="12003" y="5815"/>
                          <a:pt x="11840" y="5769"/>
                          <a:pt x="11677" y="5699"/>
                        </a:cubicBezTo>
                        <a:close/>
                      </a:path>
                    </a:pathLst>
                  </a:custGeom>
                  <a:solidFill>
                    <a:srgbClr val="F19439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299" name="Freeform: Shape 298">
                    <a:extLst>
                      <a:ext uri="{FF2B5EF4-FFF2-40B4-BE49-F238E27FC236}">
                        <a16:creationId xmlns:a16="http://schemas.microsoft.com/office/drawing/2014/main" id="{C0DF44D9-619E-4B53-8923-DB4ECB96080F}"/>
                      </a:ext>
                    </a:extLst>
                  </p:cNvPr>
                  <p:cNvSpPr/>
                  <p:nvPr/>
                </p:nvSpPr>
                <p:spPr>
                  <a:xfrm>
                    <a:off x="6151686" y="4106082"/>
                    <a:ext cx="11631" cy="4652"/>
                  </a:xfrm>
                  <a:custGeom>
                    <a:avLst/>
                    <a:gdLst>
                      <a:gd name="connsiteX0" fmla="*/ 11701 w 11630"/>
                      <a:gd name="connsiteY0" fmla="*/ 5769 h 4652"/>
                      <a:gd name="connsiteX1" fmla="*/ 11491 w 11630"/>
                      <a:gd name="connsiteY1" fmla="*/ 5722 h 4652"/>
                      <a:gd name="connsiteX2" fmla="*/ 11491 w 11630"/>
                      <a:gd name="connsiteY2" fmla="*/ 5722 h 4652"/>
                      <a:gd name="connsiteX3" fmla="*/ 10468 w 11630"/>
                      <a:gd name="connsiteY3" fmla="*/ 3885 h 4652"/>
                      <a:gd name="connsiteX4" fmla="*/ 10375 w 11630"/>
                      <a:gd name="connsiteY4" fmla="*/ 2373 h 4652"/>
                      <a:gd name="connsiteX5" fmla="*/ 10375 w 11630"/>
                      <a:gd name="connsiteY5" fmla="*/ 2001 h 4652"/>
                      <a:gd name="connsiteX6" fmla="*/ 10375 w 11630"/>
                      <a:gd name="connsiteY6" fmla="*/ 2001 h 4652"/>
                      <a:gd name="connsiteX7" fmla="*/ 10398 w 11630"/>
                      <a:gd name="connsiteY7" fmla="*/ 1768 h 4652"/>
                      <a:gd name="connsiteX8" fmla="*/ 10421 w 11630"/>
                      <a:gd name="connsiteY8" fmla="*/ 1605 h 4652"/>
                      <a:gd name="connsiteX9" fmla="*/ 10421 w 11630"/>
                      <a:gd name="connsiteY9" fmla="*/ 1605 h 4652"/>
                      <a:gd name="connsiteX10" fmla="*/ 10538 w 11630"/>
                      <a:gd name="connsiteY10" fmla="*/ 1210 h 4652"/>
                      <a:gd name="connsiteX11" fmla="*/ 10538 w 11630"/>
                      <a:gd name="connsiteY11" fmla="*/ 1210 h 4652"/>
                      <a:gd name="connsiteX12" fmla="*/ 10538 w 11630"/>
                      <a:gd name="connsiteY12" fmla="*/ 1210 h 4652"/>
                      <a:gd name="connsiteX13" fmla="*/ 11794 w 11630"/>
                      <a:gd name="connsiteY13" fmla="*/ 0 h 4652"/>
                      <a:gd name="connsiteX14" fmla="*/ 11817 w 11630"/>
                      <a:gd name="connsiteY14" fmla="*/ 0 h 4652"/>
                      <a:gd name="connsiteX15" fmla="*/ 11817 w 11630"/>
                      <a:gd name="connsiteY15" fmla="*/ 0 h 4652"/>
                      <a:gd name="connsiteX16" fmla="*/ 11817 w 11630"/>
                      <a:gd name="connsiteY16" fmla="*/ 0 h 4652"/>
                      <a:gd name="connsiteX17" fmla="*/ 11817 w 11630"/>
                      <a:gd name="connsiteY17" fmla="*/ 0 h 4652"/>
                      <a:gd name="connsiteX18" fmla="*/ 11817 w 11630"/>
                      <a:gd name="connsiteY18" fmla="*/ 0 h 4652"/>
                      <a:gd name="connsiteX19" fmla="*/ 1396 w 11630"/>
                      <a:gd name="connsiteY19" fmla="*/ 0 h 4652"/>
                      <a:gd name="connsiteX20" fmla="*/ 1396 w 11630"/>
                      <a:gd name="connsiteY20" fmla="*/ 0 h 4652"/>
                      <a:gd name="connsiteX21" fmla="*/ 1372 w 11630"/>
                      <a:gd name="connsiteY21" fmla="*/ 0 h 4652"/>
                      <a:gd name="connsiteX22" fmla="*/ 1372 w 11630"/>
                      <a:gd name="connsiteY22" fmla="*/ 0 h 4652"/>
                      <a:gd name="connsiteX23" fmla="*/ 1372 w 11630"/>
                      <a:gd name="connsiteY23" fmla="*/ 0 h 4652"/>
                      <a:gd name="connsiteX24" fmla="*/ 1140 w 11630"/>
                      <a:gd name="connsiteY24" fmla="*/ 70 h 4652"/>
                      <a:gd name="connsiteX25" fmla="*/ 1117 w 11630"/>
                      <a:gd name="connsiteY25" fmla="*/ 93 h 4652"/>
                      <a:gd name="connsiteX26" fmla="*/ 791 w 11630"/>
                      <a:gd name="connsiteY26" fmla="*/ 256 h 4652"/>
                      <a:gd name="connsiteX27" fmla="*/ 791 w 11630"/>
                      <a:gd name="connsiteY27" fmla="*/ 256 h 4652"/>
                      <a:gd name="connsiteX28" fmla="*/ 791 w 11630"/>
                      <a:gd name="connsiteY28" fmla="*/ 256 h 4652"/>
                      <a:gd name="connsiteX29" fmla="*/ 465 w 11630"/>
                      <a:gd name="connsiteY29" fmla="*/ 605 h 4652"/>
                      <a:gd name="connsiteX30" fmla="*/ 395 w 11630"/>
                      <a:gd name="connsiteY30" fmla="*/ 698 h 4652"/>
                      <a:gd name="connsiteX31" fmla="*/ 163 w 11630"/>
                      <a:gd name="connsiteY31" fmla="*/ 1163 h 4652"/>
                      <a:gd name="connsiteX32" fmla="*/ 163 w 11630"/>
                      <a:gd name="connsiteY32" fmla="*/ 1163 h 4652"/>
                      <a:gd name="connsiteX33" fmla="*/ 163 w 11630"/>
                      <a:gd name="connsiteY33" fmla="*/ 1210 h 4652"/>
                      <a:gd name="connsiteX34" fmla="*/ 47 w 11630"/>
                      <a:gd name="connsiteY34" fmla="*/ 1605 h 4652"/>
                      <a:gd name="connsiteX35" fmla="*/ 23 w 11630"/>
                      <a:gd name="connsiteY35" fmla="*/ 1652 h 4652"/>
                      <a:gd name="connsiteX36" fmla="*/ 23 w 11630"/>
                      <a:gd name="connsiteY36" fmla="*/ 1791 h 4652"/>
                      <a:gd name="connsiteX37" fmla="*/ 0 w 11630"/>
                      <a:gd name="connsiteY37" fmla="*/ 2001 h 4652"/>
                      <a:gd name="connsiteX38" fmla="*/ 0 w 11630"/>
                      <a:gd name="connsiteY38" fmla="*/ 2070 h 4652"/>
                      <a:gd name="connsiteX39" fmla="*/ 0 w 11630"/>
                      <a:gd name="connsiteY39" fmla="*/ 2396 h 4652"/>
                      <a:gd name="connsiteX40" fmla="*/ 93 w 11630"/>
                      <a:gd name="connsiteY40" fmla="*/ 3908 h 4652"/>
                      <a:gd name="connsiteX41" fmla="*/ 93 w 11630"/>
                      <a:gd name="connsiteY41" fmla="*/ 3955 h 4652"/>
                      <a:gd name="connsiteX42" fmla="*/ 163 w 11630"/>
                      <a:gd name="connsiteY42" fmla="*/ 4420 h 4652"/>
                      <a:gd name="connsiteX43" fmla="*/ 209 w 11630"/>
                      <a:gd name="connsiteY43" fmla="*/ 4583 h 4652"/>
                      <a:gd name="connsiteX44" fmla="*/ 326 w 11630"/>
                      <a:gd name="connsiteY44" fmla="*/ 4838 h 4652"/>
                      <a:gd name="connsiteX45" fmla="*/ 535 w 11630"/>
                      <a:gd name="connsiteY45" fmla="*/ 5211 h 4652"/>
                      <a:gd name="connsiteX46" fmla="*/ 675 w 11630"/>
                      <a:gd name="connsiteY46" fmla="*/ 5397 h 4652"/>
                      <a:gd name="connsiteX47" fmla="*/ 977 w 11630"/>
                      <a:gd name="connsiteY47" fmla="*/ 5653 h 4652"/>
                      <a:gd name="connsiteX48" fmla="*/ 1140 w 11630"/>
                      <a:gd name="connsiteY48" fmla="*/ 5769 h 4652"/>
                      <a:gd name="connsiteX49" fmla="*/ 1675 w 11630"/>
                      <a:gd name="connsiteY49" fmla="*/ 5908 h 4652"/>
                      <a:gd name="connsiteX50" fmla="*/ 1861 w 11630"/>
                      <a:gd name="connsiteY50" fmla="*/ 5908 h 4652"/>
                      <a:gd name="connsiteX51" fmla="*/ 12096 w 11630"/>
                      <a:gd name="connsiteY51" fmla="*/ 5908 h 4652"/>
                      <a:gd name="connsiteX52" fmla="*/ 11701 w 11630"/>
                      <a:gd name="connsiteY52" fmla="*/ 5769 h 46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</a:cxnLst>
                    <a:rect l="l" t="t" r="r" b="b"/>
                    <a:pathLst>
                      <a:path w="11630" h="4652">
                        <a:moveTo>
                          <a:pt x="11701" y="5769"/>
                        </a:moveTo>
                        <a:cubicBezTo>
                          <a:pt x="11631" y="5746"/>
                          <a:pt x="11561" y="5746"/>
                          <a:pt x="11491" y="5722"/>
                        </a:cubicBezTo>
                        <a:lnTo>
                          <a:pt x="11491" y="5722"/>
                        </a:lnTo>
                        <a:cubicBezTo>
                          <a:pt x="10956" y="5443"/>
                          <a:pt x="10514" y="4745"/>
                          <a:pt x="10468" y="3885"/>
                        </a:cubicBezTo>
                        <a:cubicBezTo>
                          <a:pt x="10445" y="3373"/>
                          <a:pt x="10398" y="2861"/>
                          <a:pt x="10375" y="2373"/>
                        </a:cubicBezTo>
                        <a:cubicBezTo>
                          <a:pt x="10375" y="2233"/>
                          <a:pt x="10375" y="2117"/>
                          <a:pt x="10375" y="2001"/>
                        </a:cubicBezTo>
                        <a:lnTo>
                          <a:pt x="10375" y="2001"/>
                        </a:lnTo>
                        <a:cubicBezTo>
                          <a:pt x="10375" y="1907"/>
                          <a:pt x="10398" y="1838"/>
                          <a:pt x="10398" y="1768"/>
                        </a:cubicBezTo>
                        <a:cubicBezTo>
                          <a:pt x="10398" y="1721"/>
                          <a:pt x="10421" y="1652"/>
                          <a:pt x="10421" y="1605"/>
                        </a:cubicBezTo>
                        <a:lnTo>
                          <a:pt x="10421" y="1605"/>
                        </a:lnTo>
                        <a:cubicBezTo>
                          <a:pt x="10445" y="1465"/>
                          <a:pt x="10491" y="1326"/>
                          <a:pt x="10538" y="1210"/>
                        </a:cubicBezTo>
                        <a:lnTo>
                          <a:pt x="10538" y="1210"/>
                        </a:lnTo>
                        <a:lnTo>
                          <a:pt x="10538" y="1210"/>
                        </a:lnTo>
                        <a:cubicBezTo>
                          <a:pt x="10770" y="558"/>
                          <a:pt x="11235" y="70"/>
                          <a:pt x="11794" y="0"/>
                        </a:cubicBezTo>
                        <a:lnTo>
                          <a:pt x="11817" y="0"/>
                        </a:lnTo>
                        <a:lnTo>
                          <a:pt x="11817" y="0"/>
                        </a:lnTo>
                        <a:lnTo>
                          <a:pt x="11817" y="0"/>
                        </a:lnTo>
                        <a:lnTo>
                          <a:pt x="11817" y="0"/>
                        </a:lnTo>
                        <a:lnTo>
                          <a:pt x="11817" y="0"/>
                        </a:lnTo>
                        <a:lnTo>
                          <a:pt x="1396" y="0"/>
                        </a:lnTo>
                        <a:lnTo>
                          <a:pt x="1396" y="0"/>
                        </a:lnTo>
                        <a:lnTo>
                          <a:pt x="1372" y="0"/>
                        </a:lnTo>
                        <a:lnTo>
                          <a:pt x="1372" y="0"/>
                        </a:lnTo>
                        <a:lnTo>
                          <a:pt x="1372" y="0"/>
                        </a:lnTo>
                        <a:cubicBezTo>
                          <a:pt x="1303" y="23"/>
                          <a:pt x="1210" y="23"/>
                          <a:pt x="1140" y="70"/>
                        </a:cubicBezTo>
                        <a:lnTo>
                          <a:pt x="1117" y="93"/>
                        </a:lnTo>
                        <a:cubicBezTo>
                          <a:pt x="1000" y="140"/>
                          <a:pt x="907" y="186"/>
                          <a:pt x="791" y="256"/>
                        </a:cubicBezTo>
                        <a:lnTo>
                          <a:pt x="791" y="256"/>
                        </a:lnTo>
                        <a:lnTo>
                          <a:pt x="791" y="256"/>
                        </a:lnTo>
                        <a:cubicBezTo>
                          <a:pt x="675" y="349"/>
                          <a:pt x="558" y="488"/>
                          <a:pt x="465" y="605"/>
                        </a:cubicBezTo>
                        <a:cubicBezTo>
                          <a:pt x="442" y="651"/>
                          <a:pt x="419" y="675"/>
                          <a:pt x="395" y="698"/>
                        </a:cubicBezTo>
                        <a:cubicBezTo>
                          <a:pt x="302" y="837"/>
                          <a:pt x="233" y="1000"/>
                          <a:pt x="163" y="1163"/>
                        </a:cubicBezTo>
                        <a:lnTo>
                          <a:pt x="163" y="1163"/>
                        </a:lnTo>
                        <a:cubicBezTo>
                          <a:pt x="163" y="1186"/>
                          <a:pt x="163" y="1210"/>
                          <a:pt x="163" y="1210"/>
                        </a:cubicBezTo>
                        <a:cubicBezTo>
                          <a:pt x="116" y="1326"/>
                          <a:pt x="70" y="1465"/>
                          <a:pt x="47" y="1605"/>
                        </a:cubicBezTo>
                        <a:cubicBezTo>
                          <a:pt x="47" y="1628"/>
                          <a:pt x="47" y="1652"/>
                          <a:pt x="23" y="1652"/>
                        </a:cubicBezTo>
                        <a:cubicBezTo>
                          <a:pt x="23" y="1698"/>
                          <a:pt x="23" y="1745"/>
                          <a:pt x="23" y="1791"/>
                        </a:cubicBezTo>
                        <a:cubicBezTo>
                          <a:pt x="0" y="1861"/>
                          <a:pt x="0" y="1931"/>
                          <a:pt x="0" y="2001"/>
                        </a:cubicBezTo>
                        <a:cubicBezTo>
                          <a:pt x="0" y="2024"/>
                          <a:pt x="0" y="2047"/>
                          <a:pt x="0" y="2070"/>
                        </a:cubicBezTo>
                        <a:cubicBezTo>
                          <a:pt x="0" y="2163"/>
                          <a:pt x="0" y="2280"/>
                          <a:pt x="0" y="2396"/>
                        </a:cubicBezTo>
                        <a:cubicBezTo>
                          <a:pt x="23" y="2884"/>
                          <a:pt x="70" y="3396"/>
                          <a:pt x="93" y="3908"/>
                        </a:cubicBezTo>
                        <a:cubicBezTo>
                          <a:pt x="93" y="3931"/>
                          <a:pt x="93" y="3955"/>
                          <a:pt x="93" y="3955"/>
                        </a:cubicBezTo>
                        <a:cubicBezTo>
                          <a:pt x="116" y="4117"/>
                          <a:pt x="140" y="4280"/>
                          <a:pt x="163" y="4420"/>
                        </a:cubicBezTo>
                        <a:cubicBezTo>
                          <a:pt x="186" y="4489"/>
                          <a:pt x="209" y="4536"/>
                          <a:pt x="209" y="4583"/>
                        </a:cubicBezTo>
                        <a:cubicBezTo>
                          <a:pt x="233" y="4676"/>
                          <a:pt x="279" y="4745"/>
                          <a:pt x="326" y="4838"/>
                        </a:cubicBezTo>
                        <a:cubicBezTo>
                          <a:pt x="372" y="4978"/>
                          <a:pt x="442" y="5094"/>
                          <a:pt x="535" y="5211"/>
                        </a:cubicBezTo>
                        <a:cubicBezTo>
                          <a:pt x="582" y="5280"/>
                          <a:pt x="628" y="5350"/>
                          <a:pt x="675" y="5397"/>
                        </a:cubicBezTo>
                        <a:cubicBezTo>
                          <a:pt x="768" y="5513"/>
                          <a:pt x="861" y="5583"/>
                          <a:pt x="977" y="5653"/>
                        </a:cubicBezTo>
                        <a:cubicBezTo>
                          <a:pt x="1024" y="5699"/>
                          <a:pt x="1070" y="5746"/>
                          <a:pt x="1140" y="5769"/>
                        </a:cubicBezTo>
                        <a:cubicBezTo>
                          <a:pt x="1303" y="5862"/>
                          <a:pt x="1489" y="5908"/>
                          <a:pt x="1675" y="5908"/>
                        </a:cubicBezTo>
                        <a:lnTo>
                          <a:pt x="1861" y="5908"/>
                        </a:lnTo>
                        <a:lnTo>
                          <a:pt x="12096" y="5908"/>
                        </a:lnTo>
                        <a:cubicBezTo>
                          <a:pt x="11887" y="5839"/>
                          <a:pt x="11794" y="5792"/>
                          <a:pt x="11701" y="5769"/>
                        </a:cubicBezTo>
                        <a:close/>
                      </a:path>
                    </a:pathLst>
                  </a:custGeom>
                  <a:solidFill>
                    <a:srgbClr val="F19439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00" name="Freeform: Shape 299">
                    <a:extLst>
                      <a:ext uri="{FF2B5EF4-FFF2-40B4-BE49-F238E27FC236}">
                        <a16:creationId xmlns:a16="http://schemas.microsoft.com/office/drawing/2014/main" id="{98330A20-DB1B-46E3-A15A-0BD56B2C0DF3}"/>
                      </a:ext>
                    </a:extLst>
                  </p:cNvPr>
                  <p:cNvSpPr/>
                  <p:nvPr/>
                </p:nvSpPr>
                <p:spPr>
                  <a:xfrm>
                    <a:off x="6151686" y="4091381"/>
                    <a:ext cx="11631" cy="4652"/>
                  </a:xfrm>
                  <a:custGeom>
                    <a:avLst/>
                    <a:gdLst>
                      <a:gd name="connsiteX0" fmla="*/ 11840 w 11630"/>
                      <a:gd name="connsiteY0" fmla="*/ 5862 h 4652"/>
                      <a:gd name="connsiteX1" fmla="*/ 11445 w 11630"/>
                      <a:gd name="connsiteY1" fmla="*/ 5722 h 4652"/>
                      <a:gd name="connsiteX2" fmla="*/ 11445 w 11630"/>
                      <a:gd name="connsiteY2" fmla="*/ 5722 h 4652"/>
                      <a:gd name="connsiteX3" fmla="*/ 11445 w 11630"/>
                      <a:gd name="connsiteY3" fmla="*/ 5722 h 4652"/>
                      <a:gd name="connsiteX4" fmla="*/ 10445 w 11630"/>
                      <a:gd name="connsiteY4" fmla="*/ 3768 h 4652"/>
                      <a:gd name="connsiteX5" fmla="*/ 10445 w 11630"/>
                      <a:gd name="connsiteY5" fmla="*/ 3768 h 4652"/>
                      <a:gd name="connsiteX6" fmla="*/ 10445 w 11630"/>
                      <a:gd name="connsiteY6" fmla="*/ 3443 h 4652"/>
                      <a:gd name="connsiteX7" fmla="*/ 10561 w 11630"/>
                      <a:gd name="connsiteY7" fmla="*/ 1931 h 4652"/>
                      <a:gd name="connsiteX8" fmla="*/ 10747 w 11630"/>
                      <a:gd name="connsiteY8" fmla="*/ 1140 h 4652"/>
                      <a:gd name="connsiteX9" fmla="*/ 10747 w 11630"/>
                      <a:gd name="connsiteY9" fmla="*/ 1140 h 4652"/>
                      <a:gd name="connsiteX10" fmla="*/ 11049 w 11630"/>
                      <a:gd name="connsiteY10" fmla="*/ 605 h 4652"/>
                      <a:gd name="connsiteX11" fmla="*/ 11049 w 11630"/>
                      <a:gd name="connsiteY11" fmla="*/ 605 h 4652"/>
                      <a:gd name="connsiteX12" fmla="*/ 12119 w 11630"/>
                      <a:gd name="connsiteY12" fmla="*/ 0 h 4652"/>
                      <a:gd name="connsiteX13" fmla="*/ 1884 w 11630"/>
                      <a:gd name="connsiteY13" fmla="*/ 0 h 4652"/>
                      <a:gd name="connsiteX14" fmla="*/ 1675 w 11630"/>
                      <a:gd name="connsiteY14" fmla="*/ 0 h 4652"/>
                      <a:gd name="connsiteX15" fmla="*/ 1628 w 11630"/>
                      <a:gd name="connsiteY15" fmla="*/ 0 h 4652"/>
                      <a:gd name="connsiteX16" fmla="*/ 1303 w 11630"/>
                      <a:gd name="connsiteY16" fmla="*/ 47 h 4652"/>
                      <a:gd name="connsiteX17" fmla="*/ 1186 w 11630"/>
                      <a:gd name="connsiteY17" fmla="*/ 116 h 4652"/>
                      <a:gd name="connsiteX18" fmla="*/ 1047 w 11630"/>
                      <a:gd name="connsiteY18" fmla="*/ 186 h 4652"/>
                      <a:gd name="connsiteX19" fmla="*/ 930 w 11630"/>
                      <a:gd name="connsiteY19" fmla="*/ 256 h 4652"/>
                      <a:gd name="connsiteX20" fmla="*/ 744 w 11630"/>
                      <a:gd name="connsiteY20" fmla="*/ 465 h 4652"/>
                      <a:gd name="connsiteX21" fmla="*/ 605 w 11630"/>
                      <a:gd name="connsiteY21" fmla="*/ 605 h 4652"/>
                      <a:gd name="connsiteX22" fmla="*/ 302 w 11630"/>
                      <a:gd name="connsiteY22" fmla="*/ 1140 h 4652"/>
                      <a:gd name="connsiteX23" fmla="*/ 279 w 11630"/>
                      <a:gd name="connsiteY23" fmla="*/ 1163 h 4652"/>
                      <a:gd name="connsiteX24" fmla="*/ 279 w 11630"/>
                      <a:gd name="connsiteY24" fmla="*/ 1163 h 4652"/>
                      <a:gd name="connsiteX25" fmla="*/ 140 w 11630"/>
                      <a:gd name="connsiteY25" fmla="*/ 1652 h 4652"/>
                      <a:gd name="connsiteX26" fmla="*/ 116 w 11630"/>
                      <a:gd name="connsiteY26" fmla="*/ 1907 h 4652"/>
                      <a:gd name="connsiteX27" fmla="*/ 0 w 11630"/>
                      <a:gd name="connsiteY27" fmla="*/ 3419 h 4652"/>
                      <a:gd name="connsiteX28" fmla="*/ 0 w 11630"/>
                      <a:gd name="connsiteY28" fmla="*/ 3513 h 4652"/>
                      <a:gd name="connsiteX29" fmla="*/ 0 w 11630"/>
                      <a:gd name="connsiteY29" fmla="*/ 3745 h 4652"/>
                      <a:gd name="connsiteX30" fmla="*/ 0 w 11630"/>
                      <a:gd name="connsiteY30" fmla="*/ 3908 h 4652"/>
                      <a:gd name="connsiteX31" fmla="*/ 0 w 11630"/>
                      <a:gd name="connsiteY31" fmla="*/ 3931 h 4652"/>
                      <a:gd name="connsiteX32" fmla="*/ 23 w 11630"/>
                      <a:gd name="connsiteY32" fmla="*/ 4094 h 4652"/>
                      <a:gd name="connsiteX33" fmla="*/ 70 w 11630"/>
                      <a:gd name="connsiteY33" fmla="*/ 4350 h 4652"/>
                      <a:gd name="connsiteX34" fmla="*/ 70 w 11630"/>
                      <a:gd name="connsiteY34" fmla="*/ 4396 h 4652"/>
                      <a:gd name="connsiteX35" fmla="*/ 93 w 11630"/>
                      <a:gd name="connsiteY35" fmla="*/ 4466 h 4652"/>
                      <a:gd name="connsiteX36" fmla="*/ 233 w 11630"/>
                      <a:gd name="connsiteY36" fmla="*/ 4885 h 4652"/>
                      <a:gd name="connsiteX37" fmla="*/ 302 w 11630"/>
                      <a:gd name="connsiteY37" fmla="*/ 5001 h 4652"/>
                      <a:gd name="connsiteX38" fmla="*/ 558 w 11630"/>
                      <a:gd name="connsiteY38" fmla="*/ 5397 h 4652"/>
                      <a:gd name="connsiteX39" fmla="*/ 605 w 11630"/>
                      <a:gd name="connsiteY39" fmla="*/ 5443 h 4652"/>
                      <a:gd name="connsiteX40" fmla="*/ 907 w 11630"/>
                      <a:gd name="connsiteY40" fmla="*/ 5699 h 4652"/>
                      <a:gd name="connsiteX41" fmla="*/ 1000 w 11630"/>
                      <a:gd name="connsiteY41" fmla="*/ 5746 h 4652"/>
                      <a:gd name="connsiteX42" fmla="*/ 1396 w 11630"/>
                      <a:gd name="connsiteY42" fmla="*/ 5885 h 4652"/>
                      <a:gd name="connsiteX43" fmla="*/ 1419 w 11630"/>
                      <a:gd name="connsiteY43" fmla="*/ 5885 h 4652"/>
                      <a:gd name="connsiteX44" fmla="*/ 11840 w 11630"/>
                      <a:gd name="connsiteY44" fmla="*/ 5885 h 4652"/>
                      <a:gd name="connsiteX45" fmla="*/ 11840 w 11630"/>
                      <a:gd name="connsiteY45" fmla="*/ 5885 h 46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</a:cxnLst>
                    <a:rect l="l" t="t" r="r" b="b"/>
                    <a:pathLst>
                      <a:path w="11630" h="4652">
                        <a:moveTo>
                          <a:pt x="11840" y="5862"/>
                        </a:moveTo>
                        <a:cubicBezTo>
                          <a:pt x="11701" y="5839"/>
                          <a:pt x="11584" y="5792"/>
                          <a:pt x="11445" y="5722"/>
                        </a:cubicBezTo>
                        <a:lnTo>
                          <a:pt x="11445" y="5722"/>
                        </a:lnTo>
                        <a:lnTo>
                          <a:pt x="11445" y="5722"/>
                        </a:lnTo>
                        <a:cubicBezTo>
                          <a:pt x="10863" y="5420"/>
                          <a:pt x="10468" y="4652"/>
                          <a:pt x="10445" y="3768"/>
                        </a:cubicBezTo>
                        <a:lnTo>
                          <a:pt x="10445" y="3768"/>
                        </a:lnTo>
                        <a:cubicBezTo>
                          <a:pt x="10445" y="3652"/>
                          <a:pt x="10445" y="3536"/>
                          <a:pt x="10445" y="3443"/>
                        </a:cubicBezTo>
                        <a:cubicBezTo>
                          <a:pt x="10491" y="2931"/>
                          <a:pt x="10514" y="2419"/>
                          <a:pt x="10561" y="1931"/>
                        </a:cubicBezTo>
                        <a:cubicBezTo>
                          <a:pt x="10584" y="1652"/>
                          <a:pt x="10654" y="1372"/>
                          <a:pt x="10747" y="1140"/>
                        </a:cubicBezTo>
                        <a:lnTo>
                          <a:pt x="10747" y="1140"/>
                        </a:lnTo>
                        <a:cubicBezTo>
                          <a:pt x="10817" y="931"/>
                          <a:pt x="10933" y="768"/>
                          <a:pt x="11049" y="605"/>
                        </a:cubicBezTo>
                        <a:lnTo>
                          <a:pt x="11049" y="605"/>
                        </a:lnTo>
                        <a:cubicBezTo>
                          <a:pt x="11328" y="233"/>
                          <a:pt x="11724" y="0"/>
                          <a:pt x="12119" y="0"/>
                        </a:cubicBezTo>
                        <a:lnTo>
                          <a:pt x="1884" y="0"/>
                        </a:lnTo>
                        <a:lnTo>
                          <a:pt x="1675" y="0"/>
                        </a:lnTo>
                        <a:cubicBezTo>
                          <a:pt x="1652" y="0"/>
                          <a:pt x="1628" y="0"/>
                          <a:pt x="1628" y="0"/>
                        </a:cubicBezTo>
                        <a:cubicBezTo>
                          <a:pt x="1512" y="0"/>
                          <a:pt x="1419" y="23"/>
                          <a:pt x="1303" y="47"/>
                        </a:cubicBezTo>
                        <a:cubicBezTo>
                          <a:pt x="1256" y="70"/>
                          <a:pt x="1233" y="93"/>
                          <a:pt x="1186" y="116"/>
                        </a:cubicBezTo>
                        <a:cubicBezTo>
                          <a:pt x="1140" y="140"/>
                          <a:pt x="1093" y="163"/>
                          <a:pt x="1047" y="186"/>
                        </a:cubicBezTo>
                        <a:cubicBezTo>
                          <a:pt x="1000" y="209"/>
                          <a:pt x="954" y="233"/>
                          <a:pt x="930" y="256"/>
                        </a:cubicBezTo>
                        <a:cubicBezTo>
                          <a:pt x="861" y="302"/>
                          <a:pt x="814" y="395"/>
                          <a:pt x="744" y="465"/>
                        </a:cubicBezTo>
                        <a:cubicBezTo>
                          <a:pt x="698" y="512"/>
                          <a:pt x="651" y="558"/>
                          <a:pt x="605" y="605"/>
                        </a:cubicBezTo>
                        <a:cubicBezTo>
                          <a:pt x="488" y="768"/>
                          <a:pt x="372" y="931"/>
                          <a:pt x="302" y="1140"/>
                        </a:cubicBezTo>
                        <a:lnTo>
                          <a:pt x="279" y="1163"/>
                        </a:lnTo>
                        <a:lnTo>
                          <a:pt x="279" y="1163"/>
                        </a:lnTo>
                        <a:cubicBezTo>
                          <a:pt x="233" y="1326"/>
                          <a:pt x="163" y="1489"/>
                          <a:pt x="140" y="1652"/>
                        </a:cubicBezTo>
                        <a:cubicBezTo>
                          <a:pt x="140" y="1745"/>
                          <a:pt x="116" y="1838"/>
                          <a:pt x="116" y="1907"/>
                        </a:cubicBezTo>
                        <a:cubicBezTo>
                          <a:pt x="70" y="2419"/>
                          <a:pt x="47" y="2931"/>
                          <a:pt x="0" y="3419"/>
                        </a:cubicBezTo>
                        <a:cubicBezTo>
                          <a:pt x="0" y="3443"/>
                          <a:pt x="0" y="3489"/>
                          <a:pt x="0" y="3513"/>
                        </a:cubicBezTo>
                        <a:cubicBezTo>
                          <a:pt x="0" y="3582"/>
                          <a:pt x="0" y="3675"/>
                          <a:pt x="0" y="3745"/>
                        </a:cubicBezTo>
                        <a:cubicBezTo>
                          <a:pt x="0" y="3792"/>
                          <a:pt x="0" y="3838"/>
                          <a:pt x="0" y="3908"/>
                        </a:cubicBezTo>
                        <a:lnTo>
                          <a:pt x="0" y="3931"/>
                        </a:lnTo>
                        <a:cubicBezTo>
                          <a:pt x="0" y="3978"/>
                          <a:pt x="23" y="4024"/>
                          <a:pt x="23" y="4094"/>
                        </a:cubicBezTo>
                        <a:cubicBezTo>
                          <a:pt x="23" y="4187"/>
                          <a:pt x="47" y="4257"/>
                          <a:pt x="70" y="4350"/>
                        </a:cubicBezTo>
                        <a:lnTo>
                          <a:pt x="70" y="4396"/>
                        </a:lnTo>
                        <a:cubicBezTo>
                          <a:pt x="70" y="4420"/>
                          <a:pt x="93" y="4443"/>
                          <a:pt x="93" y="4466"/>
                        </a:cubicBezTo>
                        <a:cubicBezTo>
                          <a:pt x="140" y="4606"/>
                          <a:pt x="186" y="4745"/>
                          <a:pt x="233" y="4885"/>
                        </a:cubicBezTo>
                        <a:cubicBezTo>
                          <a:pt x="256" y="4932"/>
                          <a:pt x="279" y="4955"/>
                          <a:pt x="302" y="5001"/>
                        </a:cubicBezTo>
                        <a:cubicBezTo>
                          <a:pt x="372" y="5141"/>
                          <a:pt x="465" y="5280"/>
                          <a:pt x="558" y="5397"/>
                        </a:cubicBezTo>
                        <a:cubicBezTo>
                          <a:pt x="558" y="5420"/>
                          <a:pt x="582" y="5420"/>
                          <a:pt x="605" y="5443"/>
                        </a:cubicBezTo>
                        <a:cubicBezTo>
                          <a:pt x="698" y="5536"/>
                          <a:pt x="791" y="5629"/>
                          <a:pt x="907" y="5699"/>
                        </a:cubicBezTo>
                        <a:cubicBezTo>
                          <a:pt x="954" y="5722"/>
                          <a:pt x="977" y="5746"/>
                          <a:pt x="1000" y="5746"/>
                        </a:cubicBezTo>
                        <a:cubicBezTo>
                          <a:pt x="1140" y="5815"/>
                          <a:pt x="1256" y="5862"/>
                          <a:pt x="1396" y="5885"/>
                        </a:cubicBezTo>
                        <a:lnTo>
                          <a:pt x="1419" y="5885"/>
                        </a:lnTo>
                        <a:lnTo>
                          <a:pt x="11840" y="5885"/>
                        </a:lnTo>
                        <a:lnTo>
                          <a:pt x="11840" y="5885"/>
                        </a:lnTo>
                        <a:close/>
                      </a:path>
                    </a:pathLst>
                  </a:custGeom>
                  <a:solidFill>
                    <a:srgbClr val="F19439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01" name="Freeform: Shape 300">
                    <a:extLst>
                      <a:ext uri="{FF2B5EF4-FFF2-40B4-BE49-F238E27FC236}">
                        <a16:creationId xmlns:a16="http://schemas.microsoft.com/office/drawing/2014/main" id="{7EFACC05-5248-404F-9E41-F588D18CCCC7}"/>
                      </a:ext>
                    </a:extLst>
                  </p:cNvPr>
                  <p:cNvSpPr/>
                  <p:nvPr/>
                </p:nvSpPr>
                <p:spPr>
                  <a:xfrm>
                    <a:off x="6163433" y="4104524"/>
                    <a:ext cx="2326" cy="2326"/>
                  </a:xfrm>
                  <a:custGeom>
                    <a:avLst/>
                    <a:gdLst>
                      <a:gd name="connsiteX0" fmla="*/ 0 w 0"/>
                      <a:gd name="connsiteY0" fmla="*/ 0 h 0"/>
                      <a:gd name="connsiteX1" fmla="*/ 0 w 0"/>
                      <a:gd name="connsiteY1" fmla="*/ 0 h 0"/>
                      <a:gd name="connsiteX2" fmla="*/ 0 w 0"/>
                      <a:gd name="connsiteY2" fmla="*/ 0 h 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F19439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02" name="Freeform: Shape 301">
                    <a:extLst>
                      <a:ext uri="{FF2B5EF4-FFF2-40B4-BE49-F238E27FC236}">
                        <a16:creationId xmlns:a16="http://schemas.microsoft.com/office/drawing/2014/main" id="{E0624144-4EF2-4585-A688-E3FE645D5D7A}"/>
                      </a:ext>
                    </a:extLst>
                  </p:cNvPr>
                  <p:cNvSpPr/>
                  <p:nvPr/>
                </p:nvSpPr>
                <p:spPr>
                  <a:xfrm>
                    <a:off x="6151453" y="4098708"/>
                    <a:ext cx="11631" cy="4652"/>
                  </a:xfrm>
                  <a:custGeom>
                    <a:avLst/>
                    <a:gdLst>
                      <a:gd name="connsiteX0" fmla="*/ 11538 w 11630"/>
                      <a:gd name="connsiteY0" fmla="*/ 5722 h 4652"/>
                      <a:gd name="connsiteX1" fmla="*/ 11538 w 11630"/>
                      <a:gd name="connsiteY1" fmla="*/ 5722 h 4652"/>
                      <a:gd name="connsiteX2" fmla="*/ 11538 w 11630"/>
                      <a:gd name="connsiteY2" fmla="*/ 5722 h 4652"/>
                      <a:gd name="connsiteX3" fmla="*/ 10421 w 11630"/>
                      <a:gd name="connsiteY3" fmla="*/ 3675 h 4652"/>
                      <a:gd name="connsiteX4" fmla="*/ 10421 w 11630"/>
                      <a:gd name="connsiteY4" fmla="*/ 3536 h 4652"/>
                      <a:gd name="connsiteX5" fmla="*/ 10445 w 11630"/>
                      <a:gd name="connsiteY5" fmla="*/ 2187 h 4652"/>
                      <a:gd name="connsiteX6" fmla="*/ 10910 w 11630"/>
                      <a:gd name="connsiteY6" fmla="*/ 651 h 4652"/>
                      <a:gd name="connsiteX7" fmla="*/ 10910 w 11630"/>
                      <a:gd name="connsiteY7" fmla="*/ 651 h 4652"/>
                      <a:gd name="connsiteX8" fmla="*/ 10910 w 11630"/>
                      <a:gd name="connsiteY8" fmla="*/ 651 h 4652"/>
                      <a:gd name="connsiteX9" fmla="*/ 10910 w 11630"/>
                      <a:gd name="connsiteY9" fmla="*/ 651 h 4652"/>
                      <a:gd name="connsiteX10" fmla="*/ 11608 w 11630"/>
                      <a:gd name="connsiteY10" fmla="*/ 93 h 4652"/>
                      <a:gd name="connsiteX11" fmla="*/ 11677 w 11630"/>
                      <a:gd name="connsiteY11" fmla="*/ 70 h 4652"/>
                      <a:gd name="connsiteX12" fmla="*/ 11677 w 11630"/>
                      <a:gd name="connsiteY12" fmla="*/ 70 h 4652"/>
                      <a:gd name="connsiteX13" fmla="*/ 11794 w 11630"/>
                      <a:gd name="connsiteY13" fmla="*/ 46 h 4652"/>
                      <a:gd name="connsiteX14" fmla="*/ 11794 w 11630"/>
                      <a:gd name="connsiteY14" fmla="*/ 46 h 4652"/>
                      <a:gd name="connsiteX15" fmla="*/ 12003 w 11630"/>
                      <a:gd name="connsiteY15" fmla="*/ 0 h 4652"/>
                      <a:gd name="connsiteX16" fmla="*/ 1628 w 11630"/>
                      <a:gd name="connsiteY16" fmla="*/ 0 h 4652"/>
                      <a:gd name="connsiteX17" fmla="*/ 1559 w 11630"/>
                      <a:gd name="connsiteY17" fmla="*/ 0 h 4652"/>
                      <a:gd name="connsiteX18" fmla="*/ 1512 w 11630"/>
                      <a:gd name="connsiteY18" fmla="*/ 0 h 4652"/>
                      <a:gd name="connsiteX19" fmla="*/ 1372 w 11630"/>
                      <a:gd name="connsiteY19" fmla="*/ 46 h 4652"/>
                      <a:gd name="connsiteX20" fmla="*/ 1233 w 11630"/>
                      <a:gd name="connsiteY20" fmla="*/ 70 h 4652"/>
                      <a:gd name="connsiteX21" fmla="*/ 1210 w 11630"/>
                      <a:gd name="connsiteY21" fmla="*/ 70 h 4652"/>
                      <a:gd name="connsiteX22" fmla="*/ 1140 w 11630"/>
                      <a:gd name="connsiteY22" fmla="*/ 116 h 4652"/>
                      <a:gd name="connsiteX23" fmla="*/ 884 w 11630"/>
                      <a:gd name="connsiteY23" fmla="*/ 256 h 4652"/>
                      <a:gd name="connsiteX24" fmla="*/ 837 w 11630"/>
                      <a:gd name="connsiteY24" fmla="*/ 279 h 4652"/>
                      <a:gd name="connsiteX25" fmla="*/ 791 w 11630"/>
                      <a:gd name="connsiteY25" fmla="*/ 326 h 4652"/>
                      <a:gd name="connsiteX26" fmla="*/ 465 w 11630"/>
                      <a:gd name="connsiteY26" fmla="*/ 675 h 4652"/>
                      <a:gd name="connsiteX27" fmla="*/ 465 w 11630"/>
                      <a:gd name="connsiteY27" fmla="*/ 675 h 4652"/>
                      <a:gd name="connsiteX28" fmla="*/ 209 w 11630"/>
                      <a:gd name="connsiteY28" fmla="*/ 1140 h 4652"/>
                      <a:gd name="connsiteX29" fmla="*/ 186 w 11630"/>
                      <a:gd name="connsiteY29" fmla="*/ 1186 h 4652"/>
                      <a:gd name="connsiteX30" fmla="*/ 163 w 11630"/>
                      <a:gd name="connsiteY30" fmla="*/ 1256 h 4652"/>
                      <a:gd name="connsiteX31" fmla="*/ 70 w 11630"/>
                      <a:gd name="connsiteY31" fmla="*/ 1605 h 4652"/>
                      <a:gd name="connsiteX32" fmla="*/ 47 w 11630"/>
                      <a:gd name="connsiteY32" fmla="*/ 1698 h 4652"/>
                      <a:gd name="connsiteX33" fmla="*/ 47 w 11630"/>
                      <a:gd name="connsiteY33" fmla="*/ 1721 h 4652"/>
                      <a:gd name="connsiteX34" fmla="*/ 23 w 11630"/>
                      <a:gd name="connsiteY34" fmla="*/ 1907 h 4652"/>
                      <a:gd name="connsiteX35" fmla="*/ 0 w 11630"/>
                      <a:gd name="connsiteY35" fmla="*/ 2117 h 4652"/>
                      <a:gd name="connsiteX36" fmla="*/ 0 w 11630"/>
                      <a:gd name="connsiteY36" fmla="*/ 2210 h 4652"/>
                      <a:gd name="connsiteX37" fmla="*/ 0 w 11630"/>
                      <a:gd name="connsiteY37" fmla="*/ 3559 h 4652"/>
                      <a:gd name="connsiteX38" fmla="*/ 0 w 11630"/>
                      <a:gd name="connsiteY38" fmla="*/ 3699 h 4652"/>
                      <a:gd name="connsiteX39" fmla="*/ 0 w 11630"/>
                      <a:gd name="connsiteY39" fmla="*/ 3978 h 4652"/>
                      <a:gd name="connsiteX40" fmla="*/ 23 w 11630"/>
                      <a:gd name="connsiteY40" fmla="*/ 4048 h 4652"/>
                      <a:gd name="connsiteX41" fmla="*/ 70 w 11630"/>
                      <a:gd name="connsiteY41" fmla="*/ 4257 h 4652"/>
                      <a:gd name="connsiteX42" fmla="*/ 93 w 11630"/>
                      <a:gd name="connsiteY42" fmla="*/ 4396 h 4652"/>
                      <a:gd name="connsiteX43" fmla="*/ 116 w 11630"/>
                      <a:gd name="connsiteY43" fmla="*/ 4443 h 4652"/>
                      <a:gd name="connsiteX44" fmla="*/ 302 w 11630"/>
                      <a:gd name="connsiteY44" fmla="*/ 4955 h 4652"/>
                      <a:gd name="connsiteX45" fmla="*/ 349 w 11630"/>
                      <a:gd name="connsiteY45" fmla="*/ 5024 h 4652"/>
                      <a:gd name="connsiteX46" fmla="*/ 628 w 11630"/>
                      <a:gd name="connsiteY46" fmla="*/ 5397 h 4652"/>
                      <a:gd name="connsiteX47" fmla="*/ 675 w 11630"/>
                      <a:gd name="connsiteY47" fmla="*/ 5466 h 4652"/>
                      <a:gd name="connsiteX48" fmla="*/ 1070 w 11630"/>
                      <a:gd name="connsiteY48" fmla="*/ 5722 h 4652"/>
                      <a:gd name="connsiteX49" fmla="*/ 1163 w 11630"/>
                      <a:gd name="connsiteY49" fmla="*/ 5769 h 4652"/>
                      <a:gd name="connsiteX50" fmla="*/ 1605 w 11630"/>
                      <a:gd name="connsiteY50" fmla="*/ 5862 h 4652"/>
                      <a:gd name="connsiteX51" fmla="*/ 1628 w 11630"/>
                      <a:gd name="connsiteY51" fmla="*/ 5862 h 4652"/>
                      <a:gd name="connsiteX52" fmla="*/ 12026 w 11630"/>
                      <a:gd name="connsiteY52" fmla="*/ 5862 h 4652"/>
                      <a:gd name="connsiteX53" fmla="*/ 11538 w 11630"/>
                      <a:gd name="connsiteY53" fmla="*/ 5722 h 46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</a:cxnLst>
                    <a:rect l="l" t="t" r="r" b="b"/>
                    <a:pathLst>
                      <a:path w="11630" h="4652">
                        <a:moveTo>
                          <a:pt x="11538" y="5722"/>
                        </a:moveTo>
                        <a:lnTo>
                          <a:pt x="11538" y="5722"/>
                        </a:lnTo>
                        <a:lnTo>
                          <a:pt x="11538" y="5722"/>
                        </a:lnTo>
                        <a:cubicBezTo>
                          <a:pt x="10886" y="5443"/>
                          <a:pt x="10421" y="4676"/>
                          <a:pt x="10421" y="3675"/>
                        </a:cubicBezTo>
                        <a:lnTo>
                          <a:pt x="10421" y="3536"/>
                        </a:lnTo>
                        <a:cubicBezTo>
                          <a:pt x="10421" y="3094"/>
                          <a:pt x="10421" y="2629"/>
                          <a:pt x="10445" y="2187"/>
                        </a:cubicBezTo>
                        <a:cubicBezTo>
                          <a:pt x="10445" y="1582"/>
                          <a:pt x="10631" y="1047"/>
                          <a:pt x="10910" y="651"/>
                        </a:cubicBezTo>
                        <a:lnTo>
                          <a:pt x="10910" y="651"/>
                        </a:lnTo>
                        <a:lnTo>
                          <a:pt x="10910" y="651"/>
                        </a:lnTo>
                        <a:lnTo>
                          <a:pt x="10910" y="651"/>
                        </a:lnTo>
                        <a:cubicBezTo>
                          <a:pt x="11096" y="395"/>
                          <a:pt x="11352" y="209"/>
                          <a:pt x="11608" y="93"/>
                        </a:cubicBezTo>
                        <a:cubicBezTo>
                          <a:pt x="11631" y="93"/>
                          <a:pt x="11654" y="70"/>
                          <a:pt x="11677" y="70"/>
                        </a:cubicBezTo>
                        <a:lnTo>
                          <a:pt x="11677" y="70"/>
                        </a:lnTo>
                        <a:cubicBezTo>
                          <a:pt x="11724" y="70"/>
                          <a:pt x="11747" y="46"/>
                          <a:pt x="11794" y="46"/>
                        </a:cubicBezTo>
                        <a:lnTo>
                          <a:pt x="11794" y="46"/>
                        </a:lnTo>
                        <a:cubicBezTo>
                          <a:pt x="11863" y="23"/>
                          <a:pt x="11933" y="0"/>
                          <a:pt x="12003" y="0"/>
                        </a:cubicBezTo>
                        <a:lnTo>
                          <a:pt x="1628" y="0"/>
                        </a:lnTo>
                        <a:lnTo>
                          <a:pt x="1559" y="0"/>
                        </a:lnTo>
                        <a:cubicBezTo>
                          <a:pt x="1535" y="0"/>
                          <a:pt x="1512" y="0"/>
                          <a:pt x="1512" y="0"/>
                        </a:cubicBezTo>
                        <a:cubicBezTo>
                          <a:pt x="1465" y="0"/>
                          <a:pt x="1419" y="23"/>
                          <a:pt x="1372" y="46"/>
                        </a:cubicBezTo>
                        <a:cubicBezTo>
                          <a:pt x="1326" y="46"/>
                          <a:pt x="1279" y="46"/>
                          <a:pt x="1233" y="70"/>
                        </a:cubicBezTo>
                        <a:lnTo>
                          <a:pt x="1210" y="70"/>
                        </a:lnTo>
                        <a:cubicBezTo>
                          <a:pt x="1186" y="93"/>
                          <a:pt x="1163" y="93"/>
                          <a:pt x="1140" y="116"/>
                        </a:cubicBezTo>
                        <a:cubicBezTo>
                          <a:pt x="1047" y="163"/>
                          <a:pt x="977" y="186"/>
                          <a:pt x="884" y="256"/>
                        </a:cubicBezTo>
                        <a:cubicBezTo>
                          <a:pt x="884" y="256"/>
                          <a:pt x="861" y="279"/>
                          <a:pt x="837" y="279"/>
                        </a:cubicBezTo>
                        <a:cubicBezTo>
                          <a:pt x="837" y="279"/>
                          <a:pt x="814" y="302"/>
                          <a:pt x="791" y="326"/>
                        </a:cubicBezTo>
                        <a:cubicBezTo>
                          <a:pt x="675" y="419"/>
                          <a:pt x="558" y="535"/>
                          <a:pt x="465" y="675"/>
                        </a:cubicBezTo>
                        <a:lnTo>
                          <a:pt x="465" y="675"/>
                        </a:lnTo>
                        <a:cubicBezTo>
                          <a:pt x="372" y="814"/>
                          <a:pt x="279" y="977"/>
                          <a:pt x="209" y="1140"/>
                        </a:cubicBezTo>
                        <a:cubicBezTo>
                          <a:pt x="209" y="1163"/>
                          <a:pt x="186" y="1186"/>
                          <a:pt x="186" y="1186"/>
                        </a:cubicBezTo>
                        <a:cubicBezTo>
                          <a:pt x="186" y="1210"/>
                          <a:pt x="186" y="1233"/>
                          <a:pt x="163" y="1256"/>
                        </a:cubicBezTo>
                        <a:cubicBezTo>
                          <a:pt x="116" y="1372"/>
                          <a:pt x="93" y="1489"/>
                          <a:pt x="70" y="1605"/>
                        </a:cubicBezTo>
                        <a:cubicBezTo>
                          <a:pt x="70" y="1628"/>
                          <a:pt x="47" y="1652"/>
                          <a:pt x="47" y="1698"/>
                        </a:cubicBezTo>
                        <a:lnTo>
                          <a:pt x="47" y="1721"/>
                        </a:lnTo>
                        <a:cubicBezTo>
                          <a:pt x="47" y="1791"/>
                          <a:pt x="23" y="1861"/>
                          <a:pt x="23" y="1907"/>
                        </a:cubicBezTo>
                        <a:cubicBezTo>
                          <a:pt x="23" y="1977"/>
                          <a:pt x="0" y="2047"/>
                          <a:pt x="0" y="2117"/>
                        </a:cubicBezTo>
                        <a:cubicBezTo>
                          <a:pt x="0" y="2140"/>
                          <a:pt x="0" y="2187"/>
                          <a:pt x="0" y="2210"/>
                        </a:cubicBezTo>
                        <a:cubicBezTo>
                          <a:pt x="0" y="2675"/>
                          <a:pt x="0" y="3117"/>
                          <a:pt x="0" y="3559"/>
                        </a:cubicBezTo>
                        <a:lnTo>
                          <a:pt x="0" y="3699"/>
                        </a:lnTo>
                        <a:cubicBezTo>
                          <a:pt x="0" y="3792"/>
                          <a:pt x="0" y="3885"/>
                          <a:pt x="0" y="3978"/>
                        </a:cubicBezTo>
                        <a:cubicBezTo>
                          <a:pt x="0" y="4001"/>
                          <a:pt x="23" y="4024"/>
                          <a:pt x="23" y="4048"/>
                        </a:cubicBezTo>
                        <a:cubicBezTo>
                          <a:pt x="23" y="4117"/>
                          <a:pt x="47" y="4187"/>
                          <a:pt x="70" y="4257"/>
                        </a:cubicBezTo>
                        <a:cubicBezTo>
                          <a:pt x="70" y="4303"/>
                          <a:pt x="70" y="4350"/>
                          <a:pt x="93" y="4396"/>
                        </a:cubicBezTo>
                        <a:cubicBezTo>
                          <a:pt x="93" y="4396"/>
                          <a:pt x="93" y="4420"/>
                          <a:pt x="116" y="4443"/>
                        </a:cubicBezTo>
                        <a:cubicBezTo>
                          <a:pt x="163" y="4629"/>
                          <a:pt x="233" y="4792"/>
                          <a:pt x="302" y="4955"/>
                        </a:cubicBezTo>
                        <a:cubicBezTo>
                          <a:pt x="326" y="4978"/>
                          <a:pt x="349" y="5001"/>
                          <a:pt x="349" y="5024"/>
                        </a:cubicBezTo>
                        <a:cubicBezTo>
                          <a:pt x="442" y="5164"/>
                          <a:pt x="512" y="5280"/>
                          <a:pt x="628" y="5397"/>
                        </a:cubicBezTo>
                        <a:cubicBezTo>
                          <a:pt x="651" y="5420"/>
                          <a:pt x="675" y="5443"/>
                          <a:pt x="675" y="5466"/>
                        </a:cubicBezTo>
                        <a:cubicBezTo>
                          <a:pt x="791" y="5560"/>
                          <a:pt x="930" y="5653"/>
                          <a:pt x="1070" y="5722"/>
                        </a:cubicBezTo>
                        <a:cubicBezTo>
                          <a:pt x="1093" y="5746"/>
                          <a:pt x="1117" y="5746"/>
                          <a:pt x="1163" y="5769"/>
                        </a:cubicBezTo>
                        <a:cubicBezTo>
                          <a:pt x="1303" y="5815"/>
                          <a:pt x="1442" y="5862"/>
                          <a:pt x="1605" y="5862"/>
                        </a:cubicBezTo>
                        <a:lnTo>
                          <a:pt x="1628" y="5862"/>
                        </a:lnTo>
                        <a:lnTo>
                          <a:pt x="12026" y="5862"/>
                        </a:lnTo>
                        <a:cubicBezTo>
                          <a:pt x="11817" y="5815"/>
                          <a:pt x="11677" y="5769"/>
                          <a:pt x="11538" y="5722"/>
                        </a:cubicBezTo>
                        <a:close/>
                      </a:path>
                    </a:pathLst>
                  </a:custGeom>
                  <a:solidFill>
                    <a:srgbClr val="F19439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03" name="Freeform: Shape 302">
                    <a:extLst>
                      <a:ext uri="{FF2B5EF4-FFF2-40B4-BE49-F238E27FC236}">
                        <a16:creationId xmlns:a16="http://schemas.microsoft.com/office/drawing/2014/main" id="{6AB74AF6-6A72-4300-9FE5-381DE08E6433}"/>
                      </a:ext>
                    </a:extLst>
                  </p:cNvPr>
                  <p:cNvSpPr/>
                  <p:nvPr/>
                </p:nvSpPr>
                <p:spPr>
                  <a:xfrm>
                    <a:off x="6266017" y="4099732"/>
                    <a:ext cx="2326" cy="4652"/>
                  </a:xfrm>
                  <a:custGeom>
                    <a:avLst/>
                    <a:gdLst>
                      <a:gd name="connsiteX0" fmla="*/ 70 w 0"/>
                      <a:gd name="connsiteY0" fmla="*/ 0 h 4652"/>
                      <a:gd name="connsiteX1" fmla="*/ 70 w 0"/>
                      <a:gd name="connsiteY1" fmla="*/ 0 h 4652"/>
                      <a:gd name="connsiteX2" fmla="*/ 70 w 0"/>
                      <a:gd name="connsiteY2" fmla="*/ 2512 h 4652"/>
                      <a:gd name="connsiteX3" fmla="*/ 0 w 0"/>
                      <a:gd name="connsiteY3" fmla="*/ 6188 h 4652"/>
                      <a:gd name="connsiteX4" fmla="*/ 23 w 0"/>
                      <a:gd name="connsiteY4" fmla="*/ 6188 h 4652"/>
                      <a:gd name="connsiteX5" fmla="*/ 23 w 0"/>
                      <a:gd name="connsiteY5" fmla="*/ 6188 h 4652"/>
                      <a:gd name="connsiteX6" fmla="*/ 47 w 0"/>
                      <a:gd name="connsiteY6" fmla="*/ 6188 h 4652"/>
                      <a:gd name="connsiteX7" fmla="*/ 1605 w 0"/>
                      <a:gd name="connsiteY7" fmla="*/ 4024 h 4652"/>
                      <a:gd name="connsiteX8" fmla="*/ 1605 w 0"/>
                      <a:gd name="connsiteY8" fmla="*/ 2512 h 4652"/>
                      <a:gd name="connsiteX9" fmla="*/ 1605 w 0"/>
                      <a:gd name="connsiteY9" fmla="*/ 2233 h 4652"/>
                      <a:gd name="connsiteX10" fmla="*/ 70 w 0"/>
                      <a:gd name="connsiteY10" fmla="*/ 0 h 46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h="4652">
                        <a:moveTo>
                          <a:pt x="70" y="0"/>
                        </a:moveTo>
                        <a:cubicBezTo>
                          <a:pt x="70" y="0"/>
                          <a:pt x="47" y="0"/>
                          <a:pt x="70" y="0"/>
                        </a:cubicBezTo>
                        <a:cubicBezTo>
                          <a:pt x="70" y="837"/>
                          <a:pt x="70" y="1652"/>
                          <a:pt x="70" y="2512"/>
                        </a:cubicBezTo>
                        <a:cubicBezTo>
                          <a:pt x="70" y="3745"/>
                          <a:pt x="47" y="4978"/>
                          <a:pt x="0" y="6188"/>
                        </a:cubicBezTo>
                        <a:lnTo>
                          <a:pt x="23" y="6188"/>
                        </a:lnTo>
                        <a:lnTo>
                          <a:pt x="23" y="6188"/>
                        </a:lnTo>
                        <a:lnTo>
                          <a:pt x="47" y="6188"/>
                        </a:lnTo>
                        <a:cubicBezTo>
                          <a:pt x="907" y="6188"/>
                          <a:pt x="1605" y="5234"/>
                          <a:pt x="1605" y="4024"/>
                        </a:cubicBezTo>
                        <a:cubicBezTo>
                          <a:pt x="1605" y="3536"/>
                          <a:pt x="1605" y="3024"/>
                          <a:pt x="1605" y="2512"/>
                        </a:cubicBezTo>
                        <a:lnTo>
                          <a:pt x="1605" y="2233"/>
                        </a:lnTo>
                        <a:cubicBezTo>
                          <a:pt x="1652" y="977"/>
                          <a:pt x="954" y="0"/>
                          <a:pt x="70" y="0"/>
                        </a:cubicBezTo>
                        <a:close/>
                      </a:path>
                    </a:pathLst>
                  </a:custGeom>
                  <a:solidFill>
                    <a:srgbClr val="FAAB3C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04" name="Freeform: Shape 303">
                    <a:extLst>
                      <a:ext uri="{FF2B5EF4-FFF2-40B4-BE49-F238E27FC236}">
                        <a16:creationId xmlns:a16="http://schemas.microsoft.com/office/drawing/2014/main" id="{C3C4641F-F11F-4827-AB41-A081FED3B880}"/>
                      </a:ext>
                    </a:extLst>
                  </p:cNvPr>
                  <p:cNvSpPr/>
                  <p:nvPr/>
                </p:nvSpPr>
                <p:spPr>
                  <a:xfrm>
                    <a:off x="6265621" y="4092381"/>
                    <a:ext cx="2326" cy="4652"/>
                  </a:xfrm>
                  <a:custGeom>
                    <a:avLst/>
                    <a:gdLst>
                      <a:gd name="connsiteX0" fmla="*/ 419 w 0"/>
                      <a:gd name="connsiteY0" fmla="*/ 5885 h 4652"/>
                      <a:gd name="connsiteX1" fmla="*/ 1861 w 0"/>
                      <a:gd name="connsiteY1" fmla="*/ 3489 h 4652"/>
                      <a:gd name="connsiteX2" fmla="*/ 1745 w 0"/>
                      <a:gd name="connsiteY2" fmla="*/ 1977 h 4652"/>
                      <a:gd name="connsiteX3" fmla="*/ 186 w 0"/>
                      <a:gd name="connsiteY3" fmla="*/ 0 h 4652"/>
                      <a:gd name="connsiteX4" fmla="*/ 23 w 0"/>
                      <a:gd name="connsiteY4" fmla="*/ 0 h 4652"/>
                      <a:gd name="connsiteX5" fmla="*/ 0 w 0"/>
                      <a:gd name="connsiteY5" fmla="*/ 0 h 4652"/>
                      <a:gd name="connsiteX6" fmla="*/ 233 w 0"/>
                      <a:gd name="connsiteY6" fmla="*/ 2908 h 4652"/>
                      <a:gd name="connsiteX7" fmla="*/ 395 w 0"/>
                      <a:gd name="connsiteY7" fmla="*/ 5862 h 4652"/>
                      <a:gd name="connsiteX8" fmla="*/ 419 w 0"/>
                      <a:gd name="connsiteY8" fmla="*/ 5862 h 46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h="4652">
                        <a:moveTo>
                          <a:pt x="419" y="5885"/>
                        </a:moveTo>
                        <a:cubicBezTo>
                          <a:pt x="1279" y="5792"/>
                          <a:pt x="1907" y="4699"/>
                          <a:pt x="1861" y="3489"/>
                        </a:cubicBezTo>
                        <a:cubicBezTo>
                          <a:pt x="1838" y="2977"/>
                          <a:pt x="1791" y="2466"/>
                          <a:pt x="1745" y="1977"/>
                        </a:cubicBezTo>
                        <a:cubicBezTo>
                          <a:pt x="1675" y="861"/>
                          <a:pt x="1000" y="0"/>
                          <a:pt x="186" y="0"/>
                        </a:cubicBezTo>
                        <a:cubicBezTo>
                          <a:pt x="140" y="0"/>
                          <a:pt x="70" y="0"/>
                          <a:pt x="23" y="0"/>
                        </a:cubicBezTo>
                        <a:lnTo>
                          <a:pt x="0" y="0"/>
                        </a:lnTo>
                        <a:cubicBezTo>
                          <a:pt x="93" y="977"/>
                          <a:pt x="163" y="1931"/>
                          <a:pt x="233" y="2908"/>
                        </a:cubicBezTo>
                        <a:cubicBezTo>
                          <a:pt x="302" y="3885"/>
                          <a:pt x="349" y="4862"/>
                          <a:pt x="395" y="5862"/>
                        </a:cubicBezTo>
                        <a:lnTo>
                          <a:pt x="419" y="5862"/>
                        </a:lnTo>
                        <a:close/>
                      </a:path>
                    </a:pathLst>
                  </a:custGeom>
                  <a:solidFill>
                    <a:srgbClr val="FAAB3C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05" name="Freeform: Shape 304">
                    <a:extLst>
                      <a:ext uri="{FF2B5EF4-FFF2-40B4-BE49-F238E27FC236}">
                        <a16:creationId xmlns:a16="http://schemas.microsoft.com/office/drawing/2014/main" id="{D50972C5-36C1-44B7-8243-27E008F60533}"/>
                      </a:ext>
                    </a:extLst>
                  </p:cNvPr>
                  <p:cNvSpPr/>
                  <p:nvPr/>
                </p:nvSpPr>
                <p:spPr>
                  <a:xfrm>
                    <a:off x="6265505" y="4107361"/>
                    <a:ext cx="2326" cy="4652"/>
                  </a:xfrm>
                  <a:custGeom>
                    <a:avLst/>
                    <a:gdLst>
                      <a:gd name="connsiteX0" fmla="*/ 23 w 0"/>
                      <a:gd name="connsiteY0" fmla="*/ 5862 h 4652"/>
                      <a:gd name="connsiteX1" fmla="*/ 209 w 0"/>
                      <a:gd name="connsiteY1" fmla="*/ 5885 h 4652"/>
                      <a:gd name="connsiteX2" fmla="*/ 1768 w 0"/>
                      <a:gd name="connsiteY2" fmla="*/ 3931 h 4652"/>
                      <a:gd name="connsiteX3" fmla="*/ 1884 w 0"/>
                      <a:gd name="connsiteY3" fmla="*/ 2419 h 4652"/>
                      <a:gd name="connsiteX4" fmla="*/ 489 w 0"/>
                      <a:gd name="connsiteY4" fmla="*/ 0 h 4652"/>
                      <a:gd name="connsiteX5" fmla="*/ 465 w 0"/>
                      <a:gd name="connsiteY5" fmla="*/ 0 h 4652"/>
                      <a:gd name="connsiteX6" fmla="*/ 0 w 0"/>
                      <a:gd name="connsiteY6" fmla="*/ 5862 h 4652"/>
                      <a:gd name="connsiteX7" fmla="*/ 23 w 0"/>
                      <a:gd name="connsiteY7" fmla="*/ 5862 h 46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h="4652">
                        <a:moveTo>
                          <a:pt x="23" y="5862"/>
                        </a:moveTo>
                        <a:lnTo>
                          <a:pt x="209" y="5885"/>
                        </a:lnTo>
                        <a:cubicBezTo>
                          <a:pt x="977" y="5885"/>
                          <a:pt x="1675" y="5071"/>
                          <a:pt x="1768" y="3931"/>
                        </a:cubicBezTo>
                        <a:cubicBezTo>
                          <a:pt x="1814" y="3443"/>
                          <a:pt x="1861" y="2931"/>
                          <a:pt x="1884" y="2419"/>
                        </a:cubicBezTo>
                        <a:cubicBezTo>
                          <a:pt x="1954" y="1210"/>
                          <a:pt x="1326" y="116"/>
                          <a:pt x="489" y="0"/>
                        </a:cubicBezTo>
                        <a:lnTo>
                          <a:pt x="465" y="0"/>
                        </a:lnTo>
                        <a:cubicBezTo>
                          <a:pt x="372" y="1977"/>
                          <a:pt x="209" y="3931"/>
                          <a:pt x="0" y="5862"/>
                        </a:cubicBezTo>
                        <a:lnTo>
                          <a:pt x="23" y="5862"/>
                        </a:lnTo>
                        <a:close/>
                      </a:path>
                    </a:pathLst>
                  </a:custGeom>
                  <a:solidFill>
                    <a:srgbClr val="FAAB3C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06" name="Freeform: Shape 305">
                    <a:extLst>
                      <a:ext uri="{FF2B5EF4-FFF2-40B4-BE49-F238E27FC236}">
                        <a16:creationId xmlns:a16="http://schemas.microsoft.com/office/drawing/2014/main" id="{ABFD977A-700C-4AD2-8AA4-992F714828D4}"/>
                      </a:ext>
                    </a:extLst>
                  </p:cNvPr>
                  <p:cNvSpPr/>
                  <p:nvPr/>
                </p:nvSpPr>
                <p:spPr>
                  <a:xfrm>
                    <a:off x="6264621" y="4085147"/>
                    <a:ext cx="2326" cy="4652"/>
                  </a:xfrm>
                  <a:custGeom>
                    <a:avLst/>
                    <a:gdLst>
                      <a:gd name="connsiteX0" fmla="*/ 744 w 0"/>
                      <a:gd name="connsiteY0" fmla="*/ 5118 h 4652"/>
                      <a:gd name="connsiteX1" fmla="*/ 837 w 0"/>
                      <a:gd name="connsiteY1" fmla="*/ 5815 h 4652"/>
                      <a:gd name="connsiteX2" fmla="*/ 861 w 0"/>
                      <a:gd name="connsiteY2" fmla="*/ 5815 h 4652"/>
                      <a:gd name="connsiteX3" fmla="*/ 2117 w 0"/>
                      <a:gd name="connsiteY3" fmla="*/ 3233 h 4652"/>
                      <a:gd name="connsiteX4" fmla="*/ 1884 w 0"/>
                      <a:gd name="connsiteY4" fmla="*/ 1768 h 4652"/>
                      <a:gd name="connsiteX5" fmla="*/ 349 w 0"/>
                      <a:gd name="connsiteY5" fmla="*/ 0 h 4652"/>
                      <a:gd name="connsiteX6" fmla="*/ 23 w 0"/>
                      <a:gd name="connsiteY6" fmla="*/ 46 h 4652"/>
                      <a:gd name="connsiteX7" fmla="*/ 0 w 0"/>
                      <a:gd name="connsiteY7" fmla="*/ 46 h 4652"/>
                      <a:gd name="connsiteX8" fmla="*/ 0 w 0"/>
                      <a:gd name="connsiteY8" fmla="*/ 46 h 4652"/>
                      <a:gd name="connsiteX9" fmla="*/ 744 w 0"/>
                      <a:gd name="connsiteY9" fmla="*/ 5118 h 46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h="4652">
                        <a:moveTo>
                          <a:pt x="744" y="5118"/>
                        </a:moveTo>
                        <a:cubicBezTo>
                          <a:pt x="768" y="5350"/>
                          <a:pt x="814" y="5583"/>
                          <a:pt x="837" y="5815"/>
                        </a:cubicBezTo>
                        <a:lnTo>
                          <a:pt x="861" y="5815"/>
                        </a:lnTo>
                        <a:cubicBezTo>
                          <a:pt x="1721" y="5583"/>
                          <a:pt x="2280" y="4420"/>
                          <a:pt x="2117" y="3233"/>
                        </a:cubicBezTo>
                        <a:cubicBezTo>
                          <a:pt x="2047" y="2745"/>
                          <a:pt x="1977" y="2256"/>
                          <a:pt x="1884" y="1768"/>
                        </a:cubicBezTo>
                        <a:cubicBezTo>
                          <a:pt x="1745" y="698"/>
                          <a:pt x="1070" y="0"/>
                          <a:pt x="349" y="0"/>
                        </a:cubicBezTo>
                        <a:cubicBezTo>
                          <a:pt x="233" y="0"/>
                          <a:pt x="140" y="23"/>
                          <a:pt x="23" y="46"/>
                        </a:cubicBezTo>
                        <a:lnTo>
                          <a:pt x="0" y="46"/>
                        </a:lnTo>
                        <a:lnTo>
                          <a:pt x="0" y="46"/>
                        </a:lnTo>
                        <a:cubicBezTo>
                          <a:pt x="326" y="1698"/>
                          <a:pt x="558" y="3396"/>
                          <a:pt x="744" y="5118"/>
                        </a:cubicBezTo>
                        <a:close/>
                      </a:path>
                    </a:pathLst>
                  </a:custGeom>
                  <a:solidFill>
                    <a:srgbClr val="FAAB3C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07" name="Freeform: Shape 306">
                    <a:extLst>
                      <a:ext uri="{FF2B5EF4-FFF2-40B4-BE49-F238E27FC236}">
                        <a16:creationId xmlns:a16="http://schemas.microsoft.com/office/drawing/2014/main" id="{2D937AF3-16E5-46FE-9812-67E0013A96B6}"/>
                      </a:ext>
                    </a:extLst>
                  </p:cNvPr>
                  <p:cNvSpPr/>
                  <p:nvPr/>
                </p:nvSpPr>
                <p:spPr>
                  <a:xfrm>
                    <a:off x="6264458" y="4114666"/>
                    <a:ext cx="2326" cy="4652"/>
                  </a:xfrm>
                  <a:custGeom>
                    <a:avLst/>
                    <a:gdLst>
                      <a:gd name="connsiteX0" fmla="*/ 0 w 0"/>
                      <a:gd name="connsiteY0" fmla="*/ 5769 h 4652"/>
                      <a:gd name="connsiteX1" fmla="*/ 0 w 0"/>
                      <a:gd name="connsiteY1" fmla="*/ 5769 h 4652"/>
                      <a:gd name="connsiteX2" fmla="*/ 23 w 0"/>
                      <a:gd name="connsiteY2" fmla="*/ 5769 h 4652"/>
                      <a:gd name="connsiteX3" fmla="*/ 372 w 0"/>
                      <a:gd name="connsiteY3" fmla="*/ 5815 h 4652"/>
                      <a:gd name="connsiteX4" fmla="*/ 1907 w 0"/>
                      <a:gd name="connsiteY4" fmla="*/ 4094 h 4652"/>
                      <a:gd name="connsiteX5" fmla="*/ 2117 w 0"/>
                      <a:gd name="connsiteY5" fmla="*/ 2605 h 4652"/>
                      <a:gd name="connsiteX6" fmla="*/ 907 w 0"/>
                      <a:gd name="connsiteY6" fmla="*/ 0 h 4652"/>
                      <a:gd name="connsiteX7" fmla="*/ 884 w 0"/>
                      <a:gd name="connsiteY7" fmla="*/ 0 h 4652"/>
                      <a:gd name="connsiteX8" fmla="*/ 884 w 0"/>
                      <a:gd name="connsiteY8" fmla="*/ 0 h 4652"/>
                      <a:gd name="connsiteX9" fmla="*/ 0 w 0"/>
                      <a:gd name="connsiteY9" fmla="*/ 5769 h 4652"/>
                      <a:gd name="connsiteX10" fmla="*/ 0 w 0"/>
                      <a:gd name="connsiteY10" fmla="*/ 5769 h 46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h="4652">
                        <a:moveTo>
                          <a:pt x="0" y="5769"/>
                        </a:moveTo>
                        <a:lnTo>
                          <a:pt x="0" y="5769"/>
                        </a:lnTo>
                        <a:lnTo>
                          <a:pt x="23" y="5769"/>
                        </a:lnTo>
                        <a:cubicBezTo>
                          <a:pt x="140" y="5815"/>
                          <a:pt x="256" y="5815"/>
                          <a:pt x="372" y="5815"/>
                        </a:cubicBezTo>
                        <a:cubicBezTo>
                          <a:pt x="1093" y="5815"/>
                          <a:pt x="1721" y="5118"/>
                          <a:pt x="1907" y="4094"/>
                        </a:cubicBezTo>
                        <a:cubicBezTo>
                          <a:pt x="1977" y="3606"/>
                          <a:pt x="2047" y="3117"/>
                          <a:pt x="2117" y="2605"/>
                        </a:cubicBezTo>
                        <a:cubicBezTo>
                          <a:pt x="2280" y="1419"/>
                          <a:pt x="1745" y="233"/>
                          <a:pt x="907" y="0"/>
                        </a:cubicBezTo>
                        <a:cubicBezTo>
                          <a:pt x="884" y="0"/>
                          <a:pt x="884" y="0"/>
                          <a:pt x="884" y="0"/>
                        </a:cubicBezTo>
                        <a:lnTo>
                          <a:pt x="884" y="0"/>
                        </a:lnTo>
                        <a:cubicBezTo>
                          <a:pt x="651" y="1954"/>
                          <a:pt x="349" y="3861"/>
                          <a:pt x="0" y="5769"/>
                        </a:cubicBezTo>
                        <a:lnTo>
                          <a:pt x="0" y="5769"/>
                        </a:lnTo>
                        <a:close/>
                      </a:path>
                    </a:pathLst>
                  </a:custGeom>
                  <a:solidFill>
                    <a:srgbClr val="FAAB3C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08" name="Freeform: Shape 307">
                    <a:extLst>
                      <a:ext uri="{FF2B5EF4-FFF2-40B4-BE49-F238E27FC236}">
                        <a16:creationId xmlns:a16="http://schemas.microsoft.com/office/drawing/2014/main" id="{CD1A1A37-3A42-4952-9734-33F80C6E2434}"/>
                      </a:ext>
                    </a:extLst>
                  </p:cNvPr>
                  <p:cNvSpPr/>
                  <p:nvPr/>
                </p:nvSpPr>
                <p:spPr>
                  <a:xfrm>
                    <a:off x="6263202" y="4078028"/>
                    <a:ext cx="2326" cy="4652"/>
                  </a:xfrm>
                  <a:custGeom>
                    <a:avLst/>
                    <a:gdLst>
                      <a:gd name="connsiteX0" fmla="*/ 0 w 2326"/>
                      <a:gd name="connsiteY0" fmla="*/ 93 h 4652"/>
                      <a:gd name="connsiteX1" fmla="*/ 1233 w 2326"/>
                      <a:gd name="connsiteY1" fmla="*/ 5746 h 4652"/>
                      <a:gd name="connsiteX2" fmla="*/ 1233 w 2326"/>
                      <a:gd name="connsiteY2" fmla="*/ 5746 h 4652"/>
                      <a:gd name="connsiteX3" fmla="*/ 1256 w 2326"/>
                      <a:gd name="connsiteY3" fmla="*/ 5746 h 4652"/>
                      <a:gd name="connsiteX4" fmla="*/ 2326 w 2326"/>
                      <a:gd name="connsiteY4" fmla="*/ 3001 h 4652"/>
                      <a:gd name="connsiteX5" fmla="*/ 2024 w 2326"/>
                      <a:gd name="connsiteY5" fmla="*/ 1559 h 4652"/>
                      <a:gd name="connsiteX6" fmla="*/ 512 w 2326"/>
                      <a:gd name="connsiteY6" fmla="*/ 0 h 4652"/>
                      <a:gd name="connsiteX7" fmla="*/ 46 w 2326"/>
                      <a:gd name="connsiteY7" fmla="*/ 116 h 4652"/>
                      <a:gd name="connsiteX8" fmla="*/ 0 w 2326"/>
                      <a:gd name="connsiteY8" fmla="*/ 93 h 46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2326" h="4652">
                        <a:moveTo>
                          <a:pt x="0" y="93"/>
                        </a:moveTo>
                        <a:cubicBezTo>
                          <a:pt x="465" y="1931"/>
                          <a:pt x="861" y="3815"/>
                          <a:pt x="1233" y="5746"/>
                        </a:cubicBezTo>
                        <a:lnTo>
                          <a:pt x="1233" y="5746"/>
                        </a:lnTo>
                        <a:lnTo>
                          <a:pt x="1256" y="5746"/>
                        </a:lnTo>
                        <a:cubicBezTo>
                          <a:pt x="2094" y="5397"/>
                          <a:pt x="2559" y="4164"/>
                          <a:pt x="2326" y="3001"/>
                        </a:cubicBezTo>
                        <a:cubicBezTo>
                          <a:pt x="2233" y="2512"/>
                          <a:pt x="2117" y="2024"/>
                          <a:pt x="2024" y="1559"/>
                        </a:cubicBezTo>
                        <a:cubicBezTo>
                          <a:pt x="1814" y="605"/>
                          <a:pt x="1186" y="0"/>
                          <a:pt x="512" y="0"/>
                        </a:cubicBezTo>
                        <a:cubicBezTo>
                          <a:pt x="349" y="0"/>
                          <a:pt x="186" y="23"/>
                          <a:pt x="46" y="116"/>
                        </a:cubicBezTo>
                        <a:lnTo>
                          <a:pt x="0" y="93"/>
                        </a:lnTo>
                        <a:close/>
                      </a:path>
                    </a:pathLst>
                  </a:custGeom>
                  <a:solidFill>
                    <a:srgbClr val="FAAB3C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09" name="Freeform: Shape 308">
                    <a:extLst>
                      <a:ext uri="{FF2B5EF4-FFF2-40B4-BE49-F238E27FC236}">
                        <a16:creationId xmlns:a16="http://schemas.microsoft.com/office/drawing/2014/main" id="{5BCF00AE-5681-4DA9-9126-F60253DAA1EE}"/>
                      </a:ext>
                    </a:extLst>
                  </p:cNvPr>
                  <p:cNvSpPr/>
                  <p:nvPr/>
                </p:nvSpPr>
                <p:spPr>
                  <a:xfrm>
                    <a:off x="6262923" y="4121830"/>
                    <a:ext cx="2326" cy="4652"/>
                  </a:xfrm>
                  <a:custGeom>
                    <a:avLst/>
                    <a:gdLst>
                      <a:gd name="connsiteX0" fmla="*/ 0 w 2326"/>
                      <a:gd name="connsiteY0" fmla="*/ 5629 h 4652"/>
                      <a:gd name="connsiteX1" fmla="*/ 512 w 2326"/>
                      <a:gd name="connsiteY1" fmla="*/ 5746 h 4652"/>
                      <a:gd name="connsiteX2" fmla="*/ 2001 w 2326"/>
                      <a:gd name="connsiteY2" fmla="*/ 4234 h 4652"/>
                      <a:gd name="connsiteX3" fmla="*/ 2326 w 2326"/>
                      <a:gd name="connsiteY3" fmla="*/ 2791 h 4652"/>
                      <a:gd name="connsiteX4" fmla="*/ 1303 w 2326"/>
                      <a:gd name="connsiteY4" fmla="*/ 23 h 4652"/>
                      <a:gd name="connsiteX5" fmla="*/ 1279 w 2326"/>
                      <a:gd name="connsiteY5" fmla="*/ 0 h 4652"/>
                      <a:gd name="connsiteX6" fmla="*/ 0 w 2326"/>
                      <a:gd name="connsiteY6" fmla="*/ 5629 h 4652"/>
                      <a:gd name="connsiteX7" fmla="*/ 0 w 2326"/>
                      <a:gd name="connsiteY7" fmla="*/ 5629 h 4652"/>
                      <a:gd name="connsiteX8" fmla="*/ 0 w 2326"/>
                      <a:gd name="connsiteY8" fmla="*/ 5629 h 46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2326" h="4652">
                        <a:moveTo>
                          <a:pt x="0" y="5629"/>
                        </a:moveTo>
                        <a:cubicBezTo>
                          <a:pt x="163" y="5699"/>
                          <a:pt x="326" y="5746"/>
                          <a:pt x="512" y="5746"/>
                        </a:cubicBezTo>
                        <a:cubicBezTo>
                          <a:pt x="1163" y="5746"/>
                          <a:pt x="1768" y="5141"/>
                          <a:pt x="2001" y="4234"/>
                        </a:cubicBezTo>
                        <a:cubicBezTo>
                          <a:pt x="2117" y="3745"/>
                          <a:pt x="2233" y="3280"/>
                          <a:pt x="2326" y="2791"/>
                        </a:cubicBezTo>
                        <a:cubicBezTo>
                          <a:pt x="2582" y="1628"/>
                          <a:pt x="2117" y="372"/>
                          <a:pt x="1303" y="23"/>
                        </a:cubicBezTo>
                        <a:lnTo>
                          <a:pt x="1279" y="0"/>
                        </a:lnTo>
                        <a:cubicBezTo>
                          <a:pt x="907" y="1907"/>
                          <a:pt x="465" y="3792"/>
                          <a:pt x="0" y="5629"/>
                        </a:cubicBezTo>
                        <a:lnTo>
                          <a:pt x="0" y="5629"/>
                        </a:lnTo>
                        <a:lnTo>
                          <a:pt x="0" y="5629"/>
                        </a:lnTo>
                        <a:close/>
                      </a:path>
                    </a:pathLst>
                  </a:custGeom>
                  <a:solidFill>
                    <a:srgbClr val="FAAB3C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10" name="Freeform: Shape 309">
                    <a:extLst>
                      <a:ext uri="{FF2B5EF4-FFF2-40B4-BE49-F238E27FC236}">
                        <a16:creationId xmlns:a16="http://schemas.microsoft.com/office/drawing/2014/main" id="{D3C48FEF-E983-4A68-A688-84FA03BB0AFC}"/>
                      </a:ext>
                    </a:extLst>
                  </p:cNvPr>
                  <p:cNvSpPr/>
                  <p:nvPr/>
                </p:nvSpPr>
                <p:spPr>
                  <a:xfrm>
                    <a:off x="6261225" y="4071120"/>
                    <a:ext cx="2326" cy="4652"/>
                  </a:xfrm>
                  <a:custGeom>
                    <a:avLst/>
                    <a:gdLst>
                      <a:gd name="connsiteX0" fmla="*/ 0 w 2326"/>
                      <a:gd name="connsiteY0" fmla="*/ 209 h 4652"/>
                      <a:gd name="connsiteX1" fmla="*/ 1628 w 2326"/>
                      <a:gd name="connsiteY1" fmla="*/ 5629 h 4652"/>
                      <a:gd name="connsiteX2" fmla="*/ 1628 w 2326"/>
                      <a:gd name="connsiteY2" fmla="*/ 5629 h 4652"/>
                      <a:gd name="connsiteX3" fmla="*/ 1628 w 2326"/>
                      <a:gd name="connsiteY3" fmla="*/ 5629 h 4652"/>
                      <a:gd name="connsiteX4" fmla="*/ 2489 w 2326"/>
                      <a:gd name="connsiteY4" fmla="*/ 2745 h 4652"/>
                      <a:gd name="connsiteX5" fmla="*/ 2070 w 2326"/>
                      <a:gd name="connsiteY5" fmla="*/ 1349 h 4652"/>
                      <a:gd name="connsiteX6" fmla="*/ 628 w 2326"/>
                      <a:gd name="connsiteY6" fmla="*/ 0 h 4652"/>
                      <a:gd name="connsiteX7" fmla="*/ 582 w 2326"/>
                      <a:gd name="connsiteY7" fmla="*/ 0 h 4652"/>
                      <a:gd name="connsiteX8" fmla="*/ 0 w 2326"/>
                      <a:gd name="connsiteY8" fmla="*/ 209 h 4652"/>
                      <a:gd name="connsiteX9" fmla="*/ 0 w 2326"/>
                      <a:gd name="connsiteY9" fmla="*/ 209 h 46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2326" h="4652">
                        <a:moveTo>
                          <a:pt x="0" y="209"/>
                        </a:moveTo>
                        <a:cubicBezTo>
                          <a:pt x="582" y="1977"/>
                          <a:pt x="1117" y="3792"/>
                          <a:pt x="1628" y="5629"/>
                        </a:cubicBezTo>
                        <a:lnTo>
                          <a:pt x="1628" y="5629"/>
                        </a:lnTo>
                        <a:lnTo>
                          <a:pt x="1628" y="5629"/>
                        </a:lnTo>
                        <a:cubicBezTo>
                          <a:pt x="2442" y="5164"/>
                          <a:pt x="2815" y="3861"/>
                          <a:pt x="2489" y="2745"/>
                        </a:cubicBezTo>
                        <a:cubicBezTo>
                          <a:pt x="2349" y="2280"/>
                          <a:pt x="2210" y="1814"/>
                          <a:pt x="2070" y="1349"/>
                        </a:cubicBezTo>
                        <a:cubicBezTo>
                          <a:pt x="1814" y="512"/>
                          <a:pt x="1233" y="0"/>
                          <a:pt x="628" y="0"/>
                        </a:cubicBezTo>
                        <a:cubicBezTo>
                          <a:pt x="628" y="0"/>
                          <a:pt x="605" y="0"/>
                          <a:pt x="582" y="0"/>
                        </a:cubicBezTo>
                        <a:cubicBezTo>
                          <a:pt x="419" y="23"/>
                          <a:pt x="209" y="70"/>
                          <a:pt x="0" y="209"/>
                        </a:cubicBezTo>
                        <a:cubicBezTo>
                          <a:pt x="23" y="209"/>
                          <a:pt x="0" y="209"/>
                          <a:pt x="0" y="209"/>
                        </a:cubicBezTo>
                        <a:close/>
                      </a:path>
                    </a:pathLst>
                  </a:custGeom>
                  <a:solidFill>
                    <a:srgbClr val="FAAB3C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11" name="Freeform: Shape 310">
                    <a:extLst>
                      <a:ext uri="{FF2B5EF4-FFF2-40B4-BE49-F238E27FC236}">
                        <a16:creationId xmlns:a16="http://schemas.microsoft.com/office/drawing/2014/main" id="{91575C28-9959-4B85-B45A-BB0C4BE4B1EB}"/>
                      </a:ext>
                    </a:extLst>
                  </p:cNvPr>
                  <p:cNvSpPr/>
                  <p:nvPr/>
                </p:nvSpPr>
                <p:spPr>
                  <a:xfrm>
                    <a:off x="6260899" y="4128809"/>
                    <a:ext cx="2326" cy="4652"/>
                  </a:xfrm>
                  <a:custGeom>
                    <a:avLst/>
                    <a:gdLst>
                      <a:gd name="connsiteX0" fmla="*/ 0 w 2326"/>
                      <a:gd name="connsiteY0" fmla="*/ 5420 h 4652"/>
                      <a:gd name="connsiteX1" fmla="*/ 651 w 2326"/>
                      <a:gd name="connsiteY1" fmla="*/ 5629 h 4652"/>
                      <a:gd name="connsiteX2" fmla="*/ 2070 w 2326"/>
                      <a:gd name="connsiteY2" fmla="*/ 4327 h 4652"/>
                      <a:gd name="connsiteX3" fmla="*/ 2512 w 2326"/>
                      <a:gd name="connsiteY3" fmla="*/ 2931 h 4652"/>
                      <a:gd name="connsiteX4" fmla="*/ 1698 w 2326"/>
                      <a:gd name="connsiteY4" fmla="*/ 23 h 4652"/>
                      <a:gd name="connsiteX5" fmla="*/ 1675 w 2326"/>
                      <a:gd name="connsiteY5" fmla="*/ 0 h 4652"/>
                      <a:gd name="connsiteX6" fmla="*/ 0 w 2326"/>
                      <a:gd name="connsiteY6" fmla="*/ 5397 h 4652"/>
                      <a:gd name="connsiteX7" fmla="*/ 0 w 2326"/>
                      <a:gd name="connsiteY7" fmla="*/ 5420 h 46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2326" h="4652">
                        <a:moveTo>
                          <a:pt x="0" y="5420"/>
                        </a:moveTo>
                        <a:cubicBezTo>
                          <a:pt x="209" y="5560"/>
                          <a:pt x="419" y="5629"/>
                          <a:pt x="651" y="5629"/>
                        </a:cubicBezTo>
                        <a:cubicBezTo>
                          <a:pt x="1256" y="5629"/>
                          <a:pt x="1814" y="5141"/>
                          <a:pt x="2070" y="4327"/>
                        </a:cubicBezTo>
                        <a:cubicBezTo>
                          <a:pt x="2233" y="3861"/>
                          <a:pt x="2349" y="3419"/>
                          <a:pt x="2512" y="2931"/>
                        </a:cubicBezTo>
                        <a:cubicBezTo>
                          <a:pt x="2861" y="1814"/>
                          <a:pt x="2489" y="512"/>
                          <a:pt x="1698" y="23"/>
                        </a:cubicBezTo>
                        <a:lnTo>
                          <a:pt x="1675" y="0"/>
                        </a:lnTo>
                        <a:cubicBezTo>
                          <a:pt x="1163" y="1838"/>
                          <a:pt x="605" y="3629"/>
                          <a:pt x="0" y="5397"/>
                        </a:cubicBezTo>
                        <a:lnTo>
                          <a:pt x="0" y="5420"/>
                        </a:lnTo>
                        <a:close/>
                      </a:path>
                    </a:pathLst>
                  </a:custGeom>
                  <a:solidFill>
                    <a:srgbClr val="FAAB3C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12" name="Freeform: Shape 311">
                    <a:extLst>
                      <a:ext uri="{FF2B5EF4-FFF2-40B4-BE49-F238E27FC236}">
                        <a16:creationId xmlns:a16="http://schemas.microsoft.com/office/drawing/2014/main" id="{7B1115AA-177F-4374-BCF0-1F56D31ED91E}"/>
                      </a:ext>
                    </a:extLst>
                  </p:cNvPr>
                  <p:cNvSpPr/>
                  <p:nvPr/>
                </p:nvSpPr>
                <p:spPr>
                  <a:xfrm>
                    <a:off x="6258782" y="4064537"/>
                    <a:ext cx="2326" cy="4652"/>
                  </a:xfrm>
                  <a:custGeom>
                    <a:avLst/>
                    <a:gdLst>
                      <a:gd name="connsiteX0" fmla="*/ 23 w 2326"/>
                      <a:gd name="connsiteY0" fmla="*/ 302 h 4652"/>
                      <a:gd name="connsiteX1" fmla="*/ 23 w 2326"/>
                      <a:gd name="connsiteY1" fmla="*/ 302 h 4652"/>
                      <a:gd name="connsiteX2" fmla="*/ 0 w 2326"/>
                      <a:gd name="connsiteY2" fmla="*/ 326 h 4652"/>
                      <a:gd name="connsiteX3" fmla="*/ 2001 w 2326"/>
                      <a:gd name="connsiteY3" fmla="*/ 5490 h 4652"/>
                      <a:gd name="connsiteX4" fmla="*/ 2001 w 2326"/>
                      <a:gd name="connsiteY4" fmla="*/ 5490 h 4652"/>
                      <a:gd name="connsiteX5" fmla="*/ 2024 w 2326"/>
                      <a:gd name="connsiteY5" fmla="*/ 5466 h 4652"/>
                      <a:gd name="connsiteX6" fmla="*/ 2675 w 2326"/>
                      <a:gd name="connsiteY6" fmla="*/ 2466 h 4652"/>
                      <a:gd name="connsiteX7" fmla="*/ 2163 w 2326"/>
                      <a:gd name="connsiteY7" fmla="*/ 1140 h 4652"/>
                      <a:gd name="connsiteX8" fmla="*/ 791 w 2326"/>
                      <a:gd name="connsiteY8" fmla="*/ 0 h 4652"/>
                      <a:gd name="connsiteX9" fmla="*/ 791 w 2326"/>
                      <a:gd name="connsiteY9" fmla="*/ 0 h 4652"/>
                      <a:gd name="connsiteX10" fmla="*/ 186 w 2326"/>
                      <a:gd name="connsiteY10" fmla="*/ 186 h 4652"/>
                      <a:gd name="connsiteX11" fmla="*/ 23 w 2326"/>
                      <a:gd name="connsiteY11" fmla="*/ 302 h 46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</a:cxnLst>
                    <a:rect l="l" t="t" r="r" b="b"/>
                    <a:pathLst>
                      <a:path w="2326" h="4652">
                        <a:moveTo>
                          <a:pt x="23" y="302"/>
                        </a:moveTo>
                        <a:lnTo>
                          <a:pt x="23" y="302"/>
                        </a:lnTo>
                        <a:lnTo>
                          <a:pt x="0" y="326"/>
                        </a:lnTo>
                        <a:cubicBezTo>
                          <a:pt x="721" y="2000"/>
                          <a:pt x="1396" y="3745"/>
                          <a:pt x="2001" y="5490"/>
                        </a:cubicBezTo>
                        <a:lnTo>
                          <a:pt x="2001" y="5490"/>
                        </a:lnTo>
                        <a:cubicBezTo>
                          <a:pt x="2001" y="5490"/>
                          <a:pt x="2001" y="5490"/>
                          <a:pt x="2024" y="5466"/>
                        </a:cubicBezTo>
                        <a:cubicBezTo>
                          <a:pt x="2791" y="4885"/>
                          <a:pt x="3071" y="3536"/>
                          <a:pt x="2675" y="2466"/>
                        </a:cubicBezTo>
                        <a:cubicBezTo>
                          <a:pt x="2512" y="2024"/>
                          <a:pt x="2349" y="1582"/>
                          <a:pt x="2163" y="1140"/>
                        </a:cubicBezTo>
                        <a:cubicBezTo>
                          <a:pt x="1884" y="419"/>
                          <a:pt x="1349" y="0"/>
                          <a:pt x="791" y="0"/>
                        </a:cubicBezTo>
                        <a:lnTo>
                          <a:pt x="791" y="0"/>
                        </a:lnTo>
                        <a:cubicBezTo>
                          <a:pt x="582" y="0"/>
                          <a:pt x="395" y="70"/>
                          <a:pt x="186" y="186"/>
                        </a:cubicBezTo>
                        <a:cubicBezTo>
                          <a:pt x="140" y="256"/>
                          <a:pt x="70" y="256"/>
                          <a:pt x="23" y="302"/>
                        </a:cubicBezTo>
                        <a:close/>
                      </a:path>
                    </a:pathLst>
                  </a:custGeom>
                  <a:solidFill>
                    <a:srgbClr val="FAAB3C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13" name="Freeform: Shape 312">
                    <a:extLst>
                      <a:ext uri="{FF2B5EF4-FFF2-40B4-BE49-F238E27FC236}">
                        <a16:creationId xmlns:a16="http://schemas.microsoft.com/office/drawing/2014/main" id="{524DC7EE-855B-4FDA-8FD3-30375574E95F}"/>
                      </a:ext>
                    </a:extLst>
                  </p:cNvPr>
                  <p:cNvSpPr/>
                  <p:nvPr/>
                </p:nvSpPr>
                <p:spPr>
                  <a:xfrm>
                    <a:off x="6258340" y="4135508"/>
                    <a:ext cx="2326" cy="4652"/>
                  </a:xfrm>
                  <a:custGeom>
                    <a:avLst/>
                    <a:gdLst>
                      <a:gd name="connsiteX0" fmla="*/ 23 w 2326"/>
                      <a:gd name="connsiteY0" fmla="*/ 5164 h 4652"/>
                      <a:gd name="connsiteX1" fmla="*/ 814 w 2326"/>
                      <a:gd name="connsiteY1" fmla="*/ 5443 h 4652"/>
                      <a:gd name="connsiteX2" fmla="*/ 814 w 2326"/>
                      <a:gd name="connsiteY2" fmla="*/ 5443 h 4652"/>
                      <a:gd name="connsiteX3" fmla="*/ 2163 w 2326"/>
                      <a:gd name="connsiteY3" fmla="*/ 4350 h 4652"/>
                      <a:gd name="connsiteX4" fmla="*/ 2698 w 2326"/>
                      <a:gd name="connsiteY4" fmla="*/ 3024 h 4652"/>
                      <a:gd name="connsiteX5" fmla="*/ 2094 w 2326"/>
                      <a:gd name="connsiteY5" fmla="*/ 23 h 4652"/>
                      <a:gd name="connsiteX6" fmla="*/ 2070 w 2326"/>
                      <a:gd name="connsiteY6" fmla="*/ 0 h 4652"/>
                      <a:gd name="connsiteX7" fmla="*/ 2070 w 2326"/>
                      <a:gd name="connsiteY7" fmla="*/ 0 h 4652"/>
                      <a:gd name="connsiteX8" fmla="*/ 0 w 2326"/>
                      <a:gd name="connsiteY8" fmla="*/ 5118 h 4652"/>
                      <a:gd name="connsiteX9" fmla="*/ 23 w 2326"/>
                      <a:gd name="connsiteY9" fmla="*/ 5164 h 46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2326" h="4652">
                        <a:moveTo>
                          <a:pt x="23" y="5164"/>
                        </a:moveTo>
                        <a:cubicBezTo>
                          <a:pt x="256" y="5350"/>
                          <a:pt x="535" y="5443"/>
                          <a:pt x="814" y="5443"/>
                        </a:cubicBezTo>
                        <a:lnTo>
                          <a:pt x="814" y="5443"/>
                        </a:lnTo>
                        <a:cubicBezTo>
                          <a:pt x="1349" y="5443"/>
                          <a:pt x="1884" y="5048"/>
                          <a:pt x="2163" y="4350"/>
                        </a:cubicBezTo>
                        <a:cubicBezTo>
                          <a:pt x="2326" y="3908"/>
                          <a:pt x="2512" y="3466"/>
                          <a:pt x="2698" y="3024"/>
                        </a:cubicBezTo>
                        <a:cubicBezTo>
                          <a:pt x="3117" y="1954"/>
                          <a:pt x="2861" y="605"/>
                          <a:pt x="2094" y="23"/>
                        </a:cubicBezTo>
                        <a:lnTo>
                          <a:pt x="2070" y="0"/>
                        </a:lnTo>
                        <a:lnTo>
                          <a:pt x="2070" y="0"/>
                        </a:lnTo>
                        <a:cubicBezTo>
                          <a:pt x="1419" y="1745"/>
                          <a:pt x="744" y="3466"/>
                          <a:pt x="0" y="5118"/>
                        </a:cubicBezTo>
                        <a:cubicBezTo>
                          <a:pt x="0" y="5118"/>
                          <a:pt x="0" y="5141"/>
                          <a:pt x="23" y="5164"/>
                        </a:cubicBezTo>
                        <a:close/>
                      </a:path>
                    </a:pathLst>
                  </a:custGeom>
                  <a:solidFill>
                    <a:srgbClr val="FAAB3C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14" name="Freeform: Shape 313">
                    <a:extLst>
                      <a:ext uri="{FF2B5EF4-FFF2-40B4-BE49-F238E27FC236}">
                        <a16:creationId xmlns:a16="http://schemas.microsoft.com/office/drawing/2014/main" id="{D5C75AAD-8E1A-470F-B00E-9AC78F550FD8}"/>
                      </a:ext>
                    </a:extLst>
                  </p:cNvPr>
                  <p:cNvSpPr/>
                  <p:nvPr/>
                </p:nvSpPr>
                <p:spPr>
                  <a:xfrm>
                    <a:off x="6255875" y="4058302"/>
                    <a:ext cx="2326" cy="4652"/>
                  </a:xfrm>
                  <a:custGeom>
                    <a:avLst/>
                    <a:gdLst>
                      <a:gd name="connsiteX0" fmla="*/ 512 w 2326"/>
                      <a:gd name="connsiteY0" fmla="*/ 116 h 4652"/>
                      <a:gd name="connsiteX1" fmla="*/ 372 w 2326"/>
                      <a:gd name="connsiteY1" fmla="*/ 186 h 4652"/>
                      <a:gd name="connsiteX2" fmla="*/ 23 w 2326"/>
                      <a:gd name="connsiteY2" fmla="*/ 419 h 4652"/>
                      <a:gd name="connsiteX3" fmla="*/ 0 w 2326"/>
                      <a:gd name="connsiteY3" fmla="*/ 442 h 4652"/>
                      <a:gd name="connsiteX4" fmla="*/ 2373 w 2326"/>
                      <a:gd name="connsiteY4" fmla="*/ 5304 h 4652"/>
                      <a:gd name="connsiteX5" fmla="*/ 2373 w 2326"/>
                      <a:gd name="connsiteY5" fmla="*/ 5280 h 4652"/>
                      <a:gd name="connsiteX6" fmla="*/ 2815 w 2326"/>
                      <a:gd name="connsiteY6" fmla="*/ 2187 h 4652"/>
                      <a:gd name="connsiteX7" fmla="*/ 2210 w 2326"/>
                      <a:gd name="connsiteY7" fmla="*/ 954 h 4652"/>
                      <a:gd name="connsiteX8" fmla="*/ 930 w 2326"/>
                      <a:gd name="connsiteY8" fmla="*/ 0 h 4652"/>
                      <a:gd name="connsiteX9" fmla="*/ 930 w 2326"/>
                      <a:gd name="connsiteY9" fmla="*/ 0 h 4652"/>
                      <a:gd name="connsiteX10" fmla="*/ 768 w 2326"/>
                      <a:gd name="connsiteY10" fmla="*/ 23 h 4652"/>
                      <a:gd name="connsiteX11" fmla="*/ 512 w 2326"/>
                      <a:gd name="connsiteY11" fmla="*/ 116 h 46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</a:cxnLst>
                    <a:rect l="l" t="t" r="r" b="b"/>
                    <a:pathLst>
                      <a:path w="2326" h="4652">
                        <a:moveTo>
                          <a:pt x="512" y="116"/>
                        </a:moveTo>
                        <a:cubicBezTo>
                          <a:pt x="465" y="140"/>
                          <a:pt x="419" y="163"/>
                          <a:pt x="372" y="186"/>
                        </a:cubicBezTo>
                        <a:cubicBezTo>
                          <a:pt x="256" y="233"/>
                          <a:pt x="140" y="326"/>
                          <a:pt x="23" y="419"/>
                        </a:cubicBezTo>
                        <a:cubicBezTo>
                          <a:pt x="23" y="419"/>
                          <a:pt x="0" y="442"/>
                          <a:pt x="0" y="442"/>
                        </a:cubicBezTo>
                        <a:cubicBezTo>
                          <a:pt x="837" y="2001"/>
                          <a:pt x="1605" y="3629"/>
                          <a:pt x="2373" y="5304"/>
                        </a:cubicBezTo>
                        <a:lnTo>
                          <a:pt x="2373" y="5280"/>
                        </a:lnTo>
                        <a:cubicBezTo>
                          <a:pt x="3117" y="4583"/>
                          <a:pt x="3280" y="3210"/>
                          <a:pt x="2815" y="2187"/>
                        </a:cubicBezTo>
                        <a:cubicBezTo>
                          <a:pt x="2629" y="1768"/>
                          <a:pt x="2419" y="1373"/>
                          <a:pt x="2210" y="954"/>
                        </a:cubicBezTo>
                        <a:cubicBezTo>
                          <a:pt x="1907" y="326"/>
                          <a:pt x="1419" y="0"/>
                          <a:pt x="930" y="0"/>
                        </a:cubicBezTo>
                        <a:lnTo>
                          <a:pt x="930" y="0"/>
                        </a:lnTo>
                        <a:cubicBezTo>
                          <a:pt x="884" y="0"/>
                          <a:pt x="814" y="23"/>
                          <a:pt x="768" y="23"/>
                        </a:cubicBezTo>
                        <a:cubicBezTo>
                          <a:pt x="698" y="93"/>
                          <a:pt x="582" y="93"/>
                          <a:pt x="512" y="116"/>
                        </a:cubicBezTo>
                        <a:close/>
                      </a:path>
                    </a:pathLst>
                  </a:custGeom>
                  <a:solidFill>
                    <a:srgbClr val="FAAB3C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15" name="Freeform: Shape 314">
                    <a:extLst>
                      <a:ext uri="{FF2B5EF4-FFF2-40B4-BE49-F238E27FC236}">
                        <a16:creationId xmlns:a16="http://schemas.microsoft.com/office/drawing/2014/main" id="{6DF73FFA-FF67-4175-9C03-76AA6A80C16D}"/>
                      </a:ext>
                    </a:extLst>
                  </p:cNvPr>
                  <p:cNvSpPr/>
                  <p:nvPr/>
                </p:nvSpPr>
                <p:spPr>
                  <a:xfrm>
                    <a:off x="6255386" y="4141882"/>
                    <a:ext cx="2326" cy="4652"/>
                  </a:xfrm>
                  <a:custGeom>
                    <a:avLst/>
                    <a:gdLst>
                      <a:gd name="connsiteX0" fmla="*/ 0 w 2326"/>
                      <a:gd name="connsiteY0" fmla="*/ 4815 h 4652"/>
                      <a:gd name="connsiteX1" fmla="*/ 930 w 2326"/>
                      <a:gd name="connsiteY1" fmla="*/ 5257 h 4652"/>
                      <a:gd name="connsiteX2" fmla="*/ 2187 w 2326"/>
                      <a:gd name="connsiteY2" fmla="*/ 4350 h 4652"/>
                      <a:gd name="connsiteX3" fmla="*/ 2815 w 2326"/>
                      <a:gd name="connsiteY3" fmla="*/ 3117 h 4652"/>
                      <a:gd name="connsiteX4" fmla="*/ 2442 w 2326"/>
                      <a:gd name="connsiteY4" fmla="*/ 23 h 4652"/>
                      <a:gd name="connsiteX5" fmla="*/ 2419 w 2326"/>
                      <a:gd name="connsiteY5" fmla="*/ 0 h 4652"/>
                      <a:gd name="connsiteX6" fmla="*/ 0 w 2326"/>
                      <a:gd name="connsiteY6" fmla="*/ 4815 h 4652"/>
                      <a:gd name="connsiteX7" fmla="*/ 0 w 2326"/>
                      <a:gd name="connsiteY7" fmla="*/ 4815 h 46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2326" h="4652">
                        <a:moveTo>
                          <a:pt x="0" y="4815"/>
                        </a:moveTo>
                        <a:cubicBezTo>
                          <a:pt x="279" y="5118"/>
                          <a:pt x="605" y="5257"/>
                          <a:pt x="930" y="5257"/>
                        </a:cubicBezTo>
                        <a:cubicBezTo>
                          <a:pt x="1419" y="5257"/>
                          <a:pt x="1884" y="4931"/>
                          <a:pt x="2187" y="4350"/>
                        </a:cubicBezTo>
                        <a:cubicBezTo>
                          <a:pt x="2396" y="3954"/>
                          <a:pt x="2605" y="3536"/>
                          <a:pt x="2815" y="3117"/>
                        </a:cubicBezTo>
                        <a:cubicBezTo>
                          <a:pt x="3303" y="2117"/>
                          <a:pt x="3140" y="744"/>
                          <a:pt x="2442" y="23"/>
                        </a:cubicBezTo>
                        <a:cubicBezTo>
                          <a:pt x="2442" y="23"/>
                          <a:pt x="2419" y="23"/>
                          <a:pt x="2419" y="0"/>
                        </a:cubicBezTo>
                        <a:cubicBezTo>
                          <a:pt x="1628" y="1628"/>
                          <a:pt x="814" y="3233"/>
                          <a:pt x="0" y="4815"/>
                        </a:cubicBezTo>
                        <a:lnTo>
                          <a:pt x="0" y="4815"/>
                        </a:lnTo>
                        <a:close/>
                      </a:path>
                    </a:pathLst>
                  </a:custGeom>
                  <a:solidFill>
                    <a:srgbClr val="FAAB3C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16" name="Freeform: Shape 315">
                    <a:extLst>
                      <a:ext uri="{FF2B5EF4-FFF2-40B4-BE49-F238E27FC236}">
                        <a16:creationId xmlns:a16="http://schemas.microsoft.com/office/drawing/2014/main" id="{A0F78EF6-34BB-4111-BA70-640E8DC5997D}"/>
                      </a:ext>
                    </a:extLst>
                  </p:cNvPr>
                  <p:cNvSpPr/>
                  <p:nvPr/>
                </p:nvSpPr>
                <p:spPr>
                  <a:xfrm>
                    <a:off x="6252572" y="4052534"/>
                    <a:ext cx="2326" cy="4652"/>
                  </a:xfrm>
                  <a:custGeom>
                    <a:avLst/>
                    <a:gdLst>
                      <a:gd name="connsiteX0" fmla="*/ 23 w 2326"/>
                      <a:gd name="connsiteY0" fmla="*/ 535 h 4652"/>
                      <a:gd name="connsiteX1" fmla="*/ 0 w 2326"/>
                      <a:gd name="connsiteY1" fmla="*/ 558 h 4652"/>
                      <a:gd name="connsiteX2" fmla="*/ 2675 w 2326"/>
                      <a:gd name="connsiteY2" fmla="*/ 5071 h 4652"/>
                      <a:gd name="connsiteX3" fmla="*/ 2675 w 2326"/>
                      <a:gd name="connsiteY3" fmla="*/ 5071 h 4652"/>
                      <a:gd name="connsiteX4" fmla="*/ 2675 w 2326"/>
                      <a:gd name="connsiteY4" fmla="*/ 5071 h 4652"/>
                      <a:gd name="connsiteX5" fmla="*/ 2698 w 2326"/>
                      <a:gd name="connsiteY5" fmla="*/ 5048 h 4652"/>
                      <a:gd name="connsiteX6" fmla="*/ 2908 w 2326"/>
                      <a:gd name="connsiteY6" fmla="*/ 1931 h 4652"/>
                      <a:gd name="connsiteX7" fmla="*/ 2210 w 2326"/>
                      <a:gd name="connsiteY7" fmla="*/ 768 h 4652"/>
                      <a:gd name="connsiteX8" fmla="*/ 1024 w 2326"/>
                      <a:gd name="connsiteY8" fmla="*/ 0 h 4652"/>
                      <a:gd name="connsiteX9" fmla="*/ 535 w 2326"/>
                      <a:gd name="connsiteY9" fmla="*/ 116 h 4652"/>
                      <a:gd name="connsiteX10" fmla="*/ 116 w 2326"/>
                      <a:gd name="connsiteY10" fmla="*/ 442 h 4652"/>
                      <a:gd name="connsiteX11" fmla="*/ 23 w 2326"/>
                      <a:gd name="connsiteY11" fmla="*/ 535 h 46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</a:cxnLst>
                    <a:rect l="l" t="t" r="r" b="b"/>
                    <a:pathLst>
                      <a:path w="2326" h="4652">
                        <a:moveTo>
                          <a:pt x="23" y="535"/>
                        </a:moveTo>
                        <a:lnTo>
                          <a:pt x="0" y="558"/>
                        </a:lnTo>
                        <a:cubicBezTo>
                          <a:pt x="930" y="2000"/>
                          <a:pt x="1838" y="3512"/>
                          <a:pt x="2675" y="5071"/>
                        </a:cubicBezTo>
                        <a:lnTo>
                          <a:pt x="2675" y="5071"/>
                        </a:lnTo>
                        <a:lnTo>
                          <a:pt x="2675" y="5071"/>
                        </a:lnTo>
                        <a:cubicBezTo>
                          <a:pt x="2675" y="5071"/>
                          <a:pt x="2698" y="5048"/>
                          <a:pt x="2698" y="5048"/>
                        </a:cubicBezTo>
                        <a:cubicBezTo>
                          <a:pt x="3350" y="4257"/>
                          <a:pt x="3443" y="2884"/>
                          <a:pt x="2908" y="1931"/>
                        </a:cubicBezTo>
                        <a:cubicBezTo>
                          <a:pt x="2675" y="1558"/>
                          <a:pt x="2442" y="1163"/>
                          <a:pt x="2210" y="768"/>
                        </a:cubicBezTo>
                        <a:cubicBezTo>
                          <a:pt x="1884" y="256"/>
                          <a:pt x="1465" y="0"/>
                          <a:pt x="1024" y="0"/>
                        </a:cubicBezTo>
                        <a:cubicBezTo>
                          <a:pt x="861" y="0"/>
                          <a:pt x="698" y="46"/>
                          <a:pt x="535" y="116"/>
                        </a:cubicBezTo>
                        <a:cubicBezTo>
                          <a:pt x="395" y="186"/>
                          <a:pt x="256" y="302"/>
                          <a:pt x="116" y="442"/>
                        </a:cubicBezTo>
                        <a:cubicBezTo>
                          <a:pt x="93" y="488"/>
                          <a:pt x="47" y="512"/>
                          <a:pt x="23" y="535"/>
                        </a:cubicBezTo>
                        <a:close/>
                      </a:path>
                    </a:pathLst>
                  </a:custGeom>
                  <a:solidFill>
                    <a:srgbClr val="FAAB3C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17" name="Freeform: Shape 316">
                    <a:extLst>
                      <a:ext uri="{FF2B5EF4-FFF2-40B4-BE49-F238E27FC236}">
                        <a16:creationId xmlns:a16="http://schemas.microsoft.com/office/drawing/2014/main" id="{ABAE57BE-A065-4A16-9DA2-F4B8874B42CB}"/>
                      </a:ext>
                    </a:extLst>
                  </p:cNvPr>
                  <p:cNvSpPr/>
                  <p:nvPr/>
                </p:nvSpPr>
                <p:spPr>
                  <a:xfrm>
                    <a:off x="6251967" y="4147790"/>
                    <a:ext cx="2326" cy="4652"/>
                  </a:xfrm>
                  <a:custGeom>
                    <a:avLst/>
                    <a:gdLst>
                      <a:gd name="connsiteX0" fmla="*/ 0 w 2326"/>
                      <a:gd name="connsiteY0" fmla="*/ 4443 h 4652"/>
                      <a:gd name="connsiteX1" fmla="*/ 23 w 2326"/>
                      <a:gd name="connsiteY1" fmla="*/ 4466 h 4652"/>
                      <a:gd name="connsiteX2" fmla="*/ 1070 w 2326"/>
                      <a:gd name="connsiteY2" fmla="*/ 5025 h 4652"/>
                      <a:gd name="connsiteX3" fmla="*/ 1070 w 2326"/>
                      <a:gd name="connsiteY3" fmla="*/ 5025 h 4652"/>
                      <a:gd name="connsiteX4" fmla="*/ 2233 w 2326"/>
                      <a:gd name="connsiteY4" fmla="*/ 4280 h 4652"/>
                      <a:gd name="connsiteX5" fmla="*/ 2931 w 2326"/>
                      <a:gd name="connsiteY5" fmla="*/ 3140 h 4652"/>
                      <a:gd name="connsiteX6" fmla="*/ 2768 w 2326"/>
                      <a:gd name="connsiteY6" fmla="*/ 23 h 4652"/>
                      <a:gd name="connsiteX7" fmla="*/ 2745 w 2326"/>
                      <a:gd name="connsiteY7" fmla="*/ 0 h 4652"/>
                      <a:gd name="connsiteX8" fmla="*/ 2745 w 2326"/>
                      <a:gd name="connsiteY8" fmla="*/ 0 h 4652"/>
                      <a:gd name="connsiteX9" fmla="*/ 0 w 2326"/>
                      <a:gd name="connsiteY9" fmla="*/ 4443 h 46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2326" h="4652">
                        <a:moveTo>
                          <a:pt x="0" y="4443"/>
                        </a:moveTo>
                        <a:lnTo>
                          <a:pt x="23" y="4466"/>
                        </a:lnTo>
                        <a:cubicBezTo>
                          <a:pt x="326" y="4838"/>
                          <a:pt x="698" y="5025"/>
                          <a:pt x="1070" y="5025"/>
                        </a:cubicBezTo>
                        <a:lnTo>
                          <a:pt x="1070" y="5025"/>
                        </a:lnTo>
                        <a:cubicBezTo>
                          <a:pt x="1512" y="5025"/>
                          <a:pt x="1931" y="4769"/>
                          <a:pt x="2233" y="4280"/>
                        </a:cubicBezTo>
                        <a:cubicBezTo>
                          <a:pt x="2466" y="3908"/>
                          <a:pt x="2722" y="3536"/>
                          <a:pt x="2931" y="3140"/>
                        </a:cubicBezTo>
                        <a:cubicBezTo>
                          <a:pt x="3489" y="2233"/>
                          <a:pt x="3419" y="814"/>
                          <a:pt x="2768" y="23"/>
                        </a:cubicBezTo>
                        <a:lnTo>
                          <a:pt x="2745" y="0"/>
                        </a:lnTo>
                        <a:lnTo>
                          <a:pt x="2745" y="0"/>
                        </a:lnTo>
                        <a:cubicBezTo>
                          <a:pt x="1884" y="1535"/>
                          <a:pt x="954" y="3024"/>
                          <a:pt x="0" y="4443"/>
                        </a:cubicBezTo>
                        <a:close/>
                      </a:path>
                    </a:pathLst>
                  </a:custGeom>
                  <a:solidFill>
                    <a:srgbClr val="FAAB3C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18" name="Freeform: Shape 317">
                    <a:extLst>
                      <a:ext uri="{FF2B5EF4-FFF2-40B4-BE49-F238E27FC236}">
                        <a16:creationId xmlns:a16="http://schemas.microsoft.com/office/drawing/2014/main" id="{5AC975AF-20CF-46F1-A3DA-3FB74610345E}"/>
                      </a:ext>
                    </a:extLst>
                  </p:cNvPr>
                  <p:cNvSpPr/>
                  <p:nvPr/>
                </p:nvSpPr>
                <p:spPr>
                  <a:xfrm>
                    <a:off x="6248826" y="4047230"/>
                    <a:ext cx="2326" cy="4652"/>
                  </a:xfrm>
                  <a:custGeom>
                    <a:avLst/>
                    <a:gdLst>
                      <a:gd name="connsiteX0" fmla="*/ 744 w 2326"/>
                      <a:gd name="connsiteY0" fmla="*/ 116 h 4652"/>
                      <a:gd name="connsiteX1" fmla="*/ 419 w 2326"/>
                      <a:gd name="connsiteY1" fmla="*/ 302 h 4652"/>
                      <a:gd name="connsiteX2" fmla="*/ 395 w 2326"/>
                      <a:gd name="connsiteY2" fmla="*/ 302 h 4652"/>
                      <a:gd name="connsiteX3" fmla="*/ 23 w 2326"/>
                      <a:gd name="connsiteY3" fmla="*/ 698 h 4652"/>
                      <a:gd name="connsiteX4" fmla="*/ 0 w 2326"/>
                      <a:gd name="connsiteY4" fmla="*/ 721 h 4652"/>
                      <a:gd name="connsiteX5" fmla="*/ 1535 w 2326"/>
                      <a:gd name="connsiteY5" fmla="*/ 2722 h 4652"/>
                      <a:gd name="connsiteX6" fmla="*/ 3001 w 2326"/>
                      <a:gd name="connsiteY6" fmla="*/ 4815 h 4652"/>
                      <a:gd name="connsiteX7" fmla="*/ 3024 w 2326"/>
                      <a:gd name="connsiteY7" fmla="*/ 4792 h 4652"/>
                      <a:gd name="connsiteX8" fmla="*/ 3001 w 2326"/>
                      <a:gd name="connsiteY8" fmla="*/ 1652 h 4652"/>
                      <a:gd name="connsiteX9" fmla="*/ 2233 w 2326"/>
                      <a:gd name="connsiteY9" fmla="*/ 605 h 4652"/>
                      <a:gd name="connsiteX10" fmla="*/ 1163 w 2326"/>
                      <a:gd name="connsiteY10" fmla="*/ 0 h 4652"/>
                      <a:gd name="connsiteX11" fmla="*/ 837 w 2326"/>
                      <a:gd name="connsiteY11" fmla="*/ 46 h 4652"/>
                      <a:gd name="connsiteX12" fmla="*/ 744 w 2326"/>
                      <a:gd name="connsiteY12" fmla="*/ 116 h 46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</a:cxnLst>
                    <a:rect l="l" t="t" r="r" b="b"/>
                    <a:pathLst>
                      <a:path w="2326" h="4652">
                        <a:moveTo>
                          <a:pt x="744" y="116"/>
                        </a:moveTo>
                        <a:cubicBezTo>
                          <a:pt x="651" y="163"/>
                          <a:pt x="535" y="233"/>
                          <a:pt x="419" y="302"/>
                        </a:cubicBezTo>
                        <a:lnTo>
                          <a:pt x="395" y="302"/>
                        </a:lnTo>
                        <a:cubicBezTo>
                          <a:pt x="256" y="419"/>
                          <a:pt x="140" y="535"/>
                          <a:pt x="23" y="698"/>
                        </a:cubicBezTo>
                        <a:lnTo>
                          <a:pt x="0" y="721"/>
                        </a:lnTo>
                        <a:cubicBezTo>
                          <a:pt x="512" y="1372"/>
                          <a:pt x="1024" y="2047"/>
                          <a:pt x="1535" y="2722"/>
                        </a:cubicBezTo>
                        <a:cubicBezTo>
                          <a:pt x="2024" y="3396"/>
                          <a:pt x="2536" y="4094"/>
                          <a:pt x="3001" y="4815"/>
                        </a:cubicBezTo>
                        <a:lnTo>
                          <a:pt x="3024" y="4792"/>
                        </a:lnTo>
                        <a:cubicBezTo>
                          <a:pt x="3629" y="3931"/>
                          <a:pt x="3629" y="2536"/>
                          <a:pt x="3001" y="1652"/>
                        </a:cubicBezTo>
                        <a:cubicBezTo>
                          <a:pt x="2745" y="1303"/>
                          <a:pt x="2489" y="954"/>
                          <a:pt x="2233" y="605"/>
                        </a:cubicBezTo>
                        <a:cubicBezTo>
                          <a:pt x="1931" y="209"/>
                          <a:pt x="1535" y="0"/>
                          <a:pt x="1163" y="0"/>
                        </a:cubicBezTo>
                        <a:cubicBezTo>
                          <a:pt x="1047" y="0"/>
                          <a:pt x="930" y="23"/>
                          <a:pt x="837" y="46"/>
                        </a:cubicBezTo>
                        <a:cubicBezTo>
                          <a:pt x="814" y="70"/>
                          <a:pt x="791" y="93"/>
                          <a:pt x="744" y="116"/>
                        </a:cubicBezTo>
                        <a:close/>
                      </a:path>
                    </a:pathLst>
                  </a:custGeom>
                  <a:solidFill>
                    <a:srgbClr val="FAAB3C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19" name="Freeform: Shape 318">
                    <a:extLst>
                      <a:ext uri="{FF2B5EF4-FFF2-40B4-BE49-F238E27FC236}">
                        <a16:creationId xmlns:a16="http://schemas.microsoft.com/office/drawing/2014/main" id="{0C725949-7C4E-4DEC-B558-37BD466C2096}"/>
                      </a:ext>
                    </a:extLst>
                  </p:cNvPr>
                  <p:cNvSpPr/>
                  <p:nvPr/>
                </p:nvSpPr>
                <p:spPr>
                  <a:xfrm>
                    <a:off x="6248198" y="4153303"/>
                    <a:ext cx="2326" cy="4652"/>
                  </a:xfrm>
                  <a:custGeom>
                    <a:avLst/>
                    <a:gdLst>
                      <a:gd name="connsiteX0" fmla="*/ 1559 w 2326"/>
                      <a:gd name="connsiteY0" fmla="*/ 2047 h 4652"/>
                      <a:gd name="connsiteX1" fmla="*/ 0 w 2326"/>
                      <a:gd name="connsiteY1" fmla="*/ 4001 h 4652"/>
                      <a:gd name="connsiteX2" fmla="*/ 0 w 2326"/>
                      <a:gd name="connsiteY2" fmla="*/ 4001 h 4652"/>
                      <a:gd name="connsiteX3" fmla="*/ 0 w 2326"/>
                      <a:gd name="connsiteY3" fmla="*/ 4024 h 4652"/>
                      <a:gd name="connsiteX4" fmla="*/ 1163 w 2326"/>
                      <a:gd name="connsiteY4" fmla="*/ 4745 h 4652"/>
                      <a:gd name="connsiteX5" fmla="*/ 1163 w 2326"/>
                      <a:gd name="connsiteY5" fmla="*/ 4745 h 4652"/>
                      <a:gd name="connsiteX6" fmla="*/ 2233 w 2326"/>
                      <a:gd name="connsiteY6" fmla="*/ 4164 h 4652"/>
                      <a:gd name="connsiteX7" fmla="*/ 3001 w 2326"/>
                      <a:gd name="connsiteY7" fmla="*/ 3140 h 4652"/>
                      <a:gd name="connsiteX8" fmla="*/ 3071 w 2326"/>
                      <a:gd name="connsiteY8" fmla="*/ 0 h 4652"/>
                      <a:gd name="connsiteX9" fmla="*/ 3071 w 2326"/>
                      <a:gd name="connsiteY9" fmla="*/ 0 h 4652"/>
                      <a:gd name="connsiteX10" fmla="*/ 3071 w 2326"/>
                      <a:gd name="connsiteY10" fmla="*/ 0 h 4652"/>
                      <a:gd name="connsiteX11" fmla="*/ 1559 w 2326"/>
                      <a:gd name="connsiteY11" fmla="*/ 2047 h 46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</a:cxnLst>
                    <a:rect l="l" t="t" r="r" b="b"/>
                    <a:pathLst>
                      <a:path w="2326" h="4652">
                        <a:moveTo>
                          <a:pt x="1559" y="2047"/>
                        </a:moveTo>
                        <a:cubicBezTo>
                          <a:pt x="1047" y="2722"/>
                          <a:pt x="535" y="3373"/>
                          <a:pt x="0" y="4001"/>
                        </a:cubicBezTo>
                        <a:lnTo>
                          <a:pt x="0" y="4001"/>
                        </a:lnTo>
                        <a:lnTo>
                          <a:pt x="0" y="4024"/>
                        </a:lnTo>
                        <a:cubicBezTo>
                          <a:pt x="326" y="4513"/>
                          <a:pt x="744" y="4745"/>
                          <a:pt x="1163" y="4745"/>
                        </a:cubicBezTo>
                        <a:lnTo>
                          <a:pt x="1163" y="4745"/>
                        </a:lnTo>
                        <a:cubicBezTo>
                          <a:pt x="1535" y="4745"/>
                          <a:pt x="1907" y="4559"/>
                          <a:pt x="2233" y="4164"/>
                        </a:cubicBezTo>
                        <a:cubicBezTo>
                          <a:pt x="2489" y="3815"/>
                          <a:pt x="2768" y="3466"/>
                          <a:pt x="3001" y="3140"/>
                        </a:cubicBezTo>
                        <a:cubicBezTo>
                          <a:pt x="3629" y="2280"/>
                          <a:pt x="3652" y="884"/>
                          <a:pt x="3071" y="0"/>
                        </a:cubicBezTo>
                        <a:lnTo>
                          <a:pt x="3071" y="0"/>
                        </a:lnTo>
                        <a:lnTo>
                          <a:pt x="3071" y="0"/>
                        </a:lnTo>
                        <a:cubicBezTo>
                          <a:pt x="2559" y="698"/>
                          <a:pt x="2070" y="1372"/>
                          <a:pt x="1559" y="2047"/>
                        </a:cubicBezTo>
                        <a:close/>
                      </a:path>
                    </a:pathLst>
                  </a:custGeom>
                  <a:solidFill>
                    <a:srgbClr val="FAAB3C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20" name="Freeform: Shape 319">
                    <a:extLst>
                      <a:ext uri="{FF2B5EF4-FFF2-40B4-BE49-F238E27FC236}">
                        <a16:creationId xmlns:a16="http://schemas.microsoft.com/office/drawing/2014/main" id="{B9576C73-846E-49C6-8938-32C4863E638C}"/>
                      </a:ext>
                    </a:extLst>
                  </p:cNvPr>
                  <p:cNvSpPr/>
                  <p:nvPr/>
                </p:nvSpPr>
                <p:spPr>
                  <a:xfrm>
                    <a:off x="6244849" y="4042485"/>
                    <a:ext cx="2326" cy="2326"/>
                  </a:xfrm>
                  <a:custGeom>
                    <a:avLst/>
                    <a:gdLst>
                      <a:gd name="connsiteX0" fmla="*/ 768 w 2326"/>
                      <a:gd name="connsiteY0" fmla="*/ 93 h 2326"/>
                      <a:gd name="connsiteX1" fmla="*/ 512 w 2326"/>
                      <a:gd name="connsiteY1" fmla="*/ 233 h 2326"/>
                      <a:gd name="connsiteX2" fmla="*/ 326 w 2326"/>
                      <a:gd name="connsiteY2" fmla="*/ 395 h 2326"/>
                      <a:gd name="connsiteX3" fmla="*/ 233 w 2326"/>
                      <a:gd name="connsiteY3" fmla="*/ 488 h 2326"/>
                      <a:gd name="connsiteX4" fmla="*/ 209 w 2326"/>
                      <a:gd name="connsiteY4" fmla="*/ 535 h 2326"/>
                      <a:gd name="connsiteX5" fmla="*/ 0 w 2326"/>
                      <a:gd name="connsiteY5" fmla="*/ 861 h 2326"/>
                      <a:gd name="connsiteX6" fmla="*/ 0 w 2326"/>
                      <a:gd name="connsiteY6" fmla="*/ 861 h 2326"/>
                      <a:gd name="connsiteX7" fmla="*/ 0 w 2326"/>
                      <a:gd name="connsiteY7" fmla="*/ 884 h 2326"/>
                      <a:gd name="connsiteX8" fmla="*/ 0 w 2326"/>
                      <a:gd name="connsiteY8" fmla="*/ 884 h 2326"/>
                      <a:gd name="connsiteX9" fmla="*/ 675 w 2326"/>
                      <a:gd name="connsiteY9" fmla="*/ 1582 h 2326"/>
                      <a:gd name="connsiteX10" fmla="*/ 1675 w 2326"/>
                      <a:gd name="connsiteY10" fmla="*/ 2652 h 2326"/>
                      <a:gd name="connsiteX11" fmla="*/ 3280 w 2326"/>
                      <a:gd name="connsiteY11" fmla="*/ 4536 h 2326"/>
                      <a:gd name="connsiteX12" fmla="*/ 3303 w 2326"/>
                      <a:gd name="connsiteY12" fmla="*/ 4513 h 2326"/>
                      <a:gd name="connsiteX13" fmla="*/ 3071 w 2326"/>
                      <a:gd name="connsiteY13" fmla="*/ 1396 h 2326"/>
                      <a:gd name="connsiteX14" fmla="*/ 2233 w 2326"/>
                      <a:gd name="connsiteY14" fmla="*/ 465 h 2326"/>
                      <a:gd name="connsiteX15" fmla="*/ 1279 w 2326"/>
                      <a:gd name="connsiteY15" fmla="*/ 0 h 2326"/>
                      <a:gd name="connsiteX16" fmla="*/ 1279 w 2326"/>
                      <a:gd name="connsiteY16" fmla="*/ 0 h 2326"/>
                      <a:gd name="connsiteX17" fmla="*/ 861 w 2326"/>
                      <a:gd name="connsiteY17" fmla="*/ 93 h 2326"/>
                      <a:gd name="connsiteX18" fmla="*/ 768 w 2326"/>
                      <a:gd name="connsiteY18" fmla="*/ 93 h 232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</a:cxnLst>
                    <a:rect l="l" t="t" r="r" b="b"/>
                    <a:pathLst>
                      <a:path w="2326" h="2326">
                        <a:moveTo>
                          <a:pt x="768" y="93"/>
                        </a:moveTo>
                        <a:cubicBezTo>
                          <a:pt x="675" y="140"/>
                          <a:pt x="605" y="163"/>
                          <a:pt x="512" y="233"/>
                        </a:cubicBezTo>
                        <a:cubicBezTo>
                          <a:pt x="442" y="279"/>
                          <a:pt x="395" y="326"/>
                          <a:pt x="326" y="395"/>
                        </a:cubicBezTo>
                        <a:cubicBezTo>
                          <a:pt x="302" y="419"/>
                          <a:pt x="256" y="442"/>
                          <a:pt x="233" y="488"/>
                        </a:cubicBezTo>
                        <a:cubicBezTo>
                          <a:pt x="233" y="488"/>
                          <a:pt x="209" y="512"/>
                          <a:pt x="209" y="535"/>
                        </a:cubicBezTo>
                        <a:cubicBezTo>
                          <a:pt x="140" y="628"/>
                          <a:pt x="46" y="721"/>
                          <a:pt x="0" y="861"/>
                        </a:cubicBezTo>
                        <a:lnTo>
                          <a:pt x="0" y="861"/>
                        </a:lnTo>
                        <a:lnTo>
                          <a:pt x="0" y="884"/>
                        </a:lnTo>
                        <a:lnTo>
                          <a:pt x="0" y="884"/>
                        </a:lnTo>
                        <a:cubicBezTo>
                          <a:pt x="233" y="1117"/>
                          <a:pt x="442" y="1372"/>
                          <a:pt x="675" y="1582"/>
                        </a:cubicBezTo>
                        <a:cubicBezTo>
                          <a:pt x="1000" y="1931"/>
                          <a:pt x="1326" y="2280"/>
                          <a:pt x="1675" y="2652"/>
                        </a:cubicBezTo>
                        <a:cubicBezTo>
                          <a:pt x="2210" y="3257"/>
                          <a:pt x="2745" y="3885"/>
                          <a:pt x="3280" y="4536"/>
                        </a:cubicBezTo>
                        <a:lnTo>
                          <a:pt x="3303" y="4513"/>
                        </a:lnTo>
                        <a:cubicBezTo>
                          <a:pt x="3838" y="3559"/>
                          <a:pt x="3745" y="2163"/>
                          <a:pt x="3071" y="1396"/>
                        </a:cubicBezTo>
                        <a:cubicBezTo>
                          <a:pt x="2791" y="1070"/>
                          <a:pt x="2512" y="768"/>
                          <a:pt x="2233" y="465"/>
                        </a:cubicBezTo>
                        <a:cubicBezTo>
                          <a:pt x="1931" y="140"/>
                          <a:pt x="1605" y="0"/>
                          <a:pt x="1279" y="0"/>
                        </a:cubicBezTo>
                        <a:lnTo>
                          <a:pt x="1279" y="0"/>
                        </a:lnTo>
                        <a:cubicBezTo>
                          <a:pt x="1140" y="0"/>
                          <a:pt x="1000" y="23"/>
                          <a:pt x="861" y="93"/>
                        </a:cubicBezTo>
                        <a:lnTo>
                          <a:pt x="768" y="93"/>
                        </a:lnTo>
                        <a:close/>
                      </a:path>
                    </a:pathLst>
                  </a:custGeom>
                  <a:solidFill>
                    <a:srgbClr val="FAAB3C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21" name="Freeform: Shape 320">
                    <a:extLst>
                      <a:ext uri="{FF2B5EF4-FFF2-40B4-BE49-F238E27FC236}">
                        <a16:creationId xmlns:a16="http://schemas.microsoft.com/office/drawing/2014/main" id="{5E5139C1-1236-48F2-B5AE-C5F937205E6B}"/>
                      </a:ext>
                    </a:extLst>
                  </p:cNvPr>
                  <p:cNvSpPr/>
                  <p:nvPr/>
                </p:nvSpPr>
                <p:spPr>
                  <a:xfrm>
                    <a:off x="6244104" y="4158235"/>
                    <a:ext cx="2326" cy="2326"/>
                  </a:xfrm>
                  <a:custGeom>
                    <a:avLst/>
                    <a:gdLst>
                      <a:gd name="connsiteX0" fmla="*/ 1675 w 2326"/>
                      <a:gd name="connsiteY0" fmla="*/ 1838 h 2326"/>
                      <a:gd name="connsiteX1" fmla="*/ 0 w 2326"/>
                      <a:gd name="connsiteY1" fmla="*/ 3559 h 2326"/>
                      <a:gd name="connsiteX2" fmla="*/ 0 w 2326"/>
                      <a:gd name="connsiteY2" fmla="*/ 3559 h 2326"/>
                      <a:gd name="connsiteX3" fmla="*/ 0 w 2326"/>
                      <a:gd name="connsiteY3" fmla="*/ 3582 h 2326"/>
                      <a:gd name="connsiteX4" fmla="*/ 279 w 2326"/>
                      <a:gd name="connsiteY4" fmla="*/ 3978 h 2326"/>
                      <a:gd name="connsiteX5" fmla="*/ 582 w 2326"/>
                      <a:gd name="connsiteY5" fmla="*/ 4257 h 2326"/>
                      <a:gd name="connsiteX6" fmla="*/ 1279 w 2326"/>
                      <a:gd name="connsiteY6" fmla="*/ 4489 h 2326"/>
                      <a:gd name="connsiteX7" fmla="*/ 1279 w 2326"/>
                      <a:gd name="connsiteY7" fmla="*/ 4489 h 2326"/>
                      <a:gd name="connsiteX8" fmla="*/ 2210 w 2326"/>
                      <a:gd name="connsiteY8" fmla="*/ 4048 h 2326"/>
                      <a:gd name="connsiteX9" fmla="*/ 3071 w 2326"/>
                      <a:gd name="connsiteY9" fmla="*/ 3140 h 2326"/>
                      <a:gd name="connsiteX10" fmla="*/ 3350 w 2326"/>
                      <a:gd name="connsiteY10" fmla="*/ 23 h 2326"/>
                      <a:gd name="connsiteX11" fmla="*/ 3350 w 2326"/>
                      <a:gd name="connsiteY11" fmla="*/ 0 h 2326"/>
                      <a:gd name="connsiteX12" fmla="*/ 1675 w 2326"/>
                      <a:gd name="connsiteY12" fmla="*/ 1838 h 232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</a:cxnLst>
                    <a:rect l="l" t="t" r="r" b="b"/>
                    <a:pathLst>
                      <a:path w="2326" h="2326">
                        <a:moveTo>
                          <a:pt x="1675" y="1838"/>
                        </a:moveTo>
                        <a:cubicBezTo>
                          <a:pt x="1140" y="2442"/>
                          <a:pt x="558" y="3001"/>
                          <a:pt x="0" y="3559"/>
                        </a:cubicBezTo>
                        <a:lnTo>
                          <a:pt x="0" y="3559"/>
                        </a:lnTo>
                        <a:cubicBezTo>
                          <a:pt x="0" y="3559"/>
                          <a:pt x="0" y="3582"/>
                          <a:pt x="0" y="3582"/>
                        </a:cubicBezTo>
                        <a:cubicBezTo>
                          <a:pt x="93" y="3745"/>
                          <a:pt x="163" y="3861"/>
                          <a:pt x="279" y="3978"/>
                        </a:cubicBezTo>
                        <a:cubicBezTo>
                          <a:pt x="372" y="4094"/>
                          <a:pt x="489" y="4187"/>
                          <a:pt x="582" y="4257"/>
                        </a:cubicBezTo>
                        <a:cubicBezTo>
                          <a:pt x="814" y="4420"/>
                          <a:pt x="1047" y="4489"/>
                          <a:pt x="1279" y="4489"/>
                        </a:cubicBezTo>
                        <a:lnTo>
                          <a:pt x="1279" y="4489"/>
                        </a:lnTo>
                        <a:cubicBezTo>
                          <a:pt x="1605" y="4489"/>
                          <a:pt x="1931" y="4350"/>
                          <a:pt x="2210" y="4048"/>
                        </a:cubicBezTo>
                        <a:cubicBezTo>
                          <a:pt x="2489" y="3768"/>
                          <a:pt x="2791" y="3443"/>
                          <a:pt x="3071" y="3140"/>
                        </a:cubicBezTo>
                        <a:cubicBezTo>
                          <a:pt x="3768" y="2396"/>
                          <a:pt x="3885" y="977"/>
                          <a:pt x="3350" y="23"/>
                        </a:cubicBezTo>
                        <a:lnTo>
                          <a:pt x="3350" y="0"/>
                        </a:lnTo>
                        <a:cubicBezTo>
                          <a:pt x="2768" y="651"/>
                          <a:pt x="2233" y="1256"/>
                          <a:pt x="1675" y="1838"/>
                        </a:cubicBezTo>
                        <a:close/>
                      </a:path>
                    </a:pathLst>
                  </a:custGeom>
                  <a:solidFill>
                    <a:srgbClr val="FAAB3C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22" name="Freeform: Shape 321">
                    <a:extLst>
                      <a:ext uri="{FF2B5EF4-FFF2-40B4-BE49-F238E27FC236}">
                        <a16:creationId xmlns:a16="http://schemas.microsoft.com/office/drawing/2014/main" id="{C6F57AC7-DCED-407C-A200-29475D87AFC5}"/>
                      </a:ext>
                    </a:extLst>
                  </p:cNvPr>
                  <p:cNvSpPr/>
                  <p:nvPr/>
                </p:nvSpPr>
                <p:spPr>
                  <a:xfrm>
                    <a:off x="6240452" y="4038251"/>
                    <a:ext cx="2326" cy="2326"/>
                  </a:xfrm>
                  <a:custGeom>
                    <a:avLst/>
                    <a:gdLst>
                      <a:gd name="connsiteX0" fmla="*/ 721 w 2326"/>
                      <a:gd name="connsiteY0" fmla="*/ 209 h 2326"/>
                      <a:gd name="connsiteX1" fmla="*/ 372 w 2326"/>
                      <a:gd name="connsiteY1" fmla="*/ 512 h 2326"/>
                      <a:gd name="connsiteX2" fmla="*/ 326 w 2326"/>
                      <a:gd name="connsiteY2" fmla="*/ 558 h 2326"/>
                      <a:gd name="connsiteX3" fmla="*/ 0 w 2326"/>
                      <a:gd name="connsiteY3" fmla="*/ 1093 h 2326"/>
                      <a:gd name="connsiteX4" fmla="*/ 0 w 2326"/>
                      <a:gd name="connsiteY4" fmla="*/ 1093 h 2326"/>
                      <a:gd name="connsiteX5" fmla="*/ 1256 w 2326"/>
                      <a:gd name="connsiteY5" fmla="*/ 2187 h 2326"/>
                      <a:gd name="connsiteX6" fmla="*/ 1768 w 2326"/>
                      <a:gd name="connsiteY6" fmla="*/ 2629 h 2326"/>
                      <a:gd name="connsiteX7" fmla="*/ 3513 w 2326"/>
                      <a:gd name="connsiteY7" fmla="*/ 4257 h 2326"/>
                      <a:gd name="connsiteX8" fmla="*/ 3513 w 2326"/>
                      <a:gd name="connsiteY8" fmla="*/ 4234 h 2326"/>
                      <a:gd name="connsiteX9" fmla="*/ 3513 w 2326"/>
                      <a:gd name="connsiteY9" fmla="*/ 4210 h 2326"/>
                      <a:gd name="connsiteX10" fmla="*/ 3047 w 2326"/>
                      <a:gd name="connsiteY10" fmla="*/ 1163 h 2326"/>
                      <a:gd name="connsiteX11" fmla="*/ 2140 w 2326"/>
                      <a:gd name="connsiteY11" fmla="*/ 349 h 2326"/>
                      <a:gd name="connsiteX12" fmla="*/ 1303 w 2326"/>
                      <a:gd name="connsiteY12" fmla="*/ 0 h 2326"/>
                      <a:gd name="connsiteX13" fmla="*/ 1303 w 2326"/>
                      <a:gd name="connsiteY13" fmla="*/ 0 h 2326"/>
                      <a:gd name="connsiteX14" fmla="*/ 768 w 2326"/>
                      <a:gd name="connsiteY14" fmla="*/ 163 h 2326"/>
                      <a:gd name="connsiteX15" fmla="*/ 721 w 2326"/>
                      <a:gd name="connsiteY15" fmla="*/ 209 h 232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</a:cxnLst>
                    <a:rect l="l" t="t" r="r" b="b"/>
                    <a:pathLst>
                      <a:path w="2326" h="2326">
                        <a:moveTo>
                          <a:pt x="721" y="209"/>
                        </a:moveTo>
                        <a:cubicBezTo>
                          <a:pt x="605" y="279"/>
                          <a:pt x="465" y="372"/>
                          <a:pt x="372" y="512"/>
                        </a:cubicBezTo>
                        <a:cubicBezTo>
                          <a:pt x="349" y="512"/>
                          <a:pt x="349" y="535"/>
                          <a:pt x="326" y="558"/>
                        </a:cubicBezTo>
                        <a:cubicBezTo>
                          <a:pt x="209" y="721"/>
                          <a:pt x="70" y="884"/>
                          <a:pt x="0" y="1093"/>
                        </a:cubicBezTo>
                        <a:lnTo>
                          <a:pt x="0" y="1093"/>
                        </a:lnTo>
                        <a:cubicBezTo>
                          <a:pt x="419" y="1465"/>
                          <a:pt x="837" y="1838"/>
                          <a:pt x="1256" y="2187"/>
                        </a:cubicBezTo>
                        <a:cubicBezTo>
                          <a:pt x="1419" y="2349"/>
                          <a:pt x="1605" y="2466"/>
                          <a:pt x="1768" y="2629"/>
                        </a:cubicBezTo>
                        <a:cubicBezTo>
                          <a:pt x="2349" y="3164"/>
                          <a:pt x="2931" y="3699"/>
                          <a:pt x="3513" y="4257"/>
                        </a:cubicBezTo>
                        <a:lnTo>
                          <a:pt x="3513" y="4234"/>
                        </a:lnTo>
                        <a:lnTo>
                          <a:pt x="3513" y="4210"/>
                        </a:lnTo>
                        <a:cubicBezTo>
                          <a:pt x="3978" y="3187"/>
                          <a:pt x="3768" y="1814"/>
                          <a:pt x="3047" y="1163"/>
                        </a:cubicBezTo>
                        <a:cubicBezTo>
                          <a:pt x="2745" y="884"/>
                          <a:pt x="2442" y="628"/>
                          <a:pt x="2140" y="349"/>
                        </a:cubicBezTo>
                        <a:cubicBezTo>
                          <a:pt x="1884" y="116"/>
                          <a:pt x="1605" y="0"/>
                          <a:pt x="1303" y="0"/>
                        </a:cubicBezTo>
                        <a:lnTo>
                          <a:pt x="1303" y="0"/>
                        </a:lnTo>
                        <a:cubicBezTo>
                          <a:pt x="1117" y="0"/>
                          <a:pt x="930" y="70"/>
                          <a:pt x="768" y="163"/>
                        </a:cubicBezTo>
                        <a:cubicBezTo>
                          <a:pt x="744" y="186"/>
                          <a:pt x="744" y="209"/>
                          <a:pt x="721" y="209"/>
                        </a:cubicBezTo>
                        <a:close/>
                      </a:path>
                    </a:pathLst>
                  </a:custGeom>
                  <a:solidFill>
                    <a:srgbClr val="FAAB3C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23" name="Freeform: Shape 322">
                    <a:extLst>
                      <a:ext uri="{FF2B5EF4-FFF2-40B4-BE49-F238E27FC236}">
                        <a16:creationId xmlns:a16="http://schemas.microsoft.com/office/drawing/2014/main" id="{D55E179C-A7E7-40B4-87E9-AC194C32BAA6}"/>
                      </a:ext>
                    </a:extLst>
                  </p:cNvPr>
                  <p:cNvSpPr/>
                  <p:nvPr/>
                </p:nvSpPr>
                <p:spPr>
                  <a:xfrm>
                    <a:off x="6200175" y="4029411"/>
                    <a:ext cx="2326" cy="2326"/>
                  </a:xfrm>
                  <a:custGeom>
                    <a:avLst/>
                    <a:gdLst>
                      <a:gd name="connsiteX0" fmla="*/ 4035 w 2326"/>
                      <a:gd name="connsiteY0" fmla="*/ 1442 h 2326"/>
                      <a:gd name="connsiteX1" fmla="*/ 2593 w 2326"/>
                      <a:gd name="connsiteY1" fmla="*/ 0 h 2326"/>
                      <a:gd name="connsiteX2" fmla="*/ 2221 w 2326"/>
                      <a:gd name="connsiteY2" fmla="*/ 70 h 2326"/>
                      <a:gd name="connsiteX3" fmla="*/ 1174 w 2326"/>
                      <a:gd name="connsiteY3" fmla="*/ 442 h 2326"/>
                      <a:gd name="connsiteX4" fmla="*/ 197 w 2326"/>
                      <a:gd name="connsiteY4" fmla="*/ 1489 h 2326"/>
                      <a:gd name="connsiteX5" fmla="*/ 174 w 2326"/>
                      <a:gd name="connsiteY5" fmla="*/ 1605 h 2326"/>
                      <a:gd name="connsiteX6" fmla="*/ 58 w 2326"/>
                      <a:gd name="connsiteY6" fmla="*/ 3140 h 2326"/>
                      <a:gd name="connsiteX7" fmla="*/ 58 w 2326"/>
                      <a:gd name="connsiteY7" fmla="*/ 3187 h 2326"/>
                      <a:gd name="connsiteX8" fmla="*/ 4105 w 2326"/>
                      <a:gd name="connsiteY8" fmla="*/ 1745 h 2326"/>
                      <a:gd name="connsiteX9" fmla="*/ 4105 w 2326"/>
                      <a:gd name="connsiteY9" fmla="*/ 1698 h 2326"/>
                      <a:gd name="connsiteX10" fmla="*/ 4035 w 2326"/>
                      <a:gd name="connsiteY10" fmla="*/ 1442 h 232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2326" h="2326">
                        <a:moveTo>
                          <a:pt x="4035" y="1442"/>
                        </a:moveTo>
                        <a:cubicBezTo>
                          <a:pt x="3803" y="582"/>
                          <a:pt x="3245" y="0"/>
                          <a:pt x="2593" y="0"/>
                        </a:cubicBezTo>
                        <a:cubicBezTo>
                          <a:pt x="2477" y="0"/>
                          <a:pt x="2337" y="23"/>
                          <a:pt x="2221" y="70"/>
                        </a:cubicBezTo>
                        <a:cubicBezTo>
                          <a:pt x="1872" y="186"/>
                          <a:pt x="1523" y="302"/>
                          <a:pt x="1174" y="442"/>
                        </a:cubicBezTo>
                        <a:cubicBezTo>
                          <a:pt x="732" y="605"/>
                          <a:pt x="407" y="977"/>
                          <a:pt x="197" y="1489"/>
                        </a:cubicBezTo>
                        <a:cubicBezTo>
                          <a:pt x="197" y="1512"/>
                          <a:pt x="174" y="1558"/>
                          <a:pt x="174" y="1605"/>
                        </a:cubicBezTo>
                        <a:cubicBezTo>
                          <a:pt x="11" y="2070"/>
                          <a:pt x="-59" y="2605"/>
                          <a:pt x="58" y="3140"/>
                        </a:cubicBezTo>
                        <a:lnTo>
                          <a:pt x="58" y="3187"/>
                        </a:lnTo>
                        <a:cubicBezTo>
                          <a:pt x="1384" y="2629"/>
                          <a:pt x="2733" y="2163"/>
                          <a:pt x="4105" y="1745"/>
                        </a:cubicBezTo>
                        <a:lnTo>
                          <a:pt x="4105" y="1698"/>
                        </a:lnTo>
                        <a:cubicBezTo>
                          <a:pt x="4082" y="1605"/>
                          <a:pt x="4059" y="1535"/>
                          <a:pt x="4035" y="1442"/>
                        </a:cubicBezTo>
                        <a:close/>
                      </a:path>
                    </a:pathLst>
                  </a:custGeom>
                  <a:solidFill>
                    <a:srgbClr val="FAAB3C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24" name="Freeform: Shape 323">
                    <a:extLst>
                      <a:ext uri="{FF2B5EF4-FFF2-40B4-BE49-F238E27FC236}">
                        <a16:creationId xmlns:a16="http://schemas.microsoft.com/office/drawing/2014/main" id="{42B5DE20-4CED-4B4C-8D05-66BF5F244A00}"/>
                      </a:ext>
                    </a:extLst>
                  </p:cNvPr>
                  <p:cNvSpPr/>
                  <p:nvPr/>
                </p:nvSpPr>
                <p:spPr>
                  <a:xfrm>
                    <a:off x="6199386" y="4171541"/>
                    <a:ext cx="2326" cy="2326"/>
                  </a:xfrm>
                  <a:custGeom>
                    <a:avLst/>
                    <a:gdLst>
                      <a:gd name="connsiteX0" fmla="*/ 56 w 2326"/>
                      <a:gd name="connsiteY0" fmla="*/ 0 h 2326"/>
                      <a:gd name="connsiteX1" fmla="*/ 56 w 2326"/>
                      <a:gd name="connsiteY1" fmla="*/ 23 h 2326"/>
                      <a:gd name="connsiteX2" fmla="*/ 9 w 2326"/>
                      <a:gd name="connsiteY2" fmla="*/ 791 h 2326"/>
                      <a:gd name="connsiteX3" fmla="*/ 9 w 2326"/>
                      <a:gd name="connsiteY3" fmla="*/ 861 h 2326"/>
                      <a:gd name="connsiteX4" fmla="*/ 9 w 2326"/>
                      <a:gd name="connsiteY4" fmla="*/ 930 h 2326"/>
                      <a:gd name="connsiteX5" fmla="*/ 9 w 2326"/>
                      <a:gd name="connsiteY5" fmla="*/ 930 h 2326"/>
                      <a:gd name="connsiteX6" fmla="*/ 79 w 2326"/>
                      <a:gd name="connsiteY6" fmla="*/ 1303 h 2326"/>
                      <a:gd name="connsiteX7" fmla="*/ 102 w 2326"/>
                      <a:gd name="connsiteY7" fmla="*/ 1372 h 2326"/>
                      <a:gd name="connsiteX8" fmla="*/ 218 w 2326"/>
                      <a:gd name="connsiteY8" fmla="*/ 1745 h 2326"/>
                      <a:gd name="connsiteX9" fmla="*/ 242 w 2326"/>
                      <a:gd name="connsiteY9" fmla="*/ 1768 h 2326"/>
                      <a:gd name="connsiteX10" fmla="*/ 1126 w 2326"/>
                      <a:gd name="connsiteY10" fmla="*/ 2722 h 2326"/>
                      <a:gd name="connsiteX11" fmla="*/ 2172 w 2326"/>
                      <a:gd name="connsiteY11" fmla="*/ 3117 h 2326"/>
                      <a:gd name="connsiteX12" fmla="*/ 2545 w 2326"/>
                      <a:gd name="connsiteY12" fmla="*/ 3187 h 2326"/>
                      <a:gd name="connsiteX13" fmla="*/ 3987 w 2326"/>
                      <a:gd name="connsiteY13" fmla="*/ 1791 h 2326"/>
                      <a:gd name="connsiteX14" fmla="*/ 4080 w 2326"/>
                      <a:gd name="connsiteY14" fmla="*/ 1512 h 2326"/>
                      <a:gd name="connsiteX15" fmla="*/ 4080 w 2326"/>
                      <a:gd name="connsiteY15" fmla="*/ 1489 h 2326"/>
                      <a:gd name="connsiteX16" fmla="*/ 2033 w 2326"/>
                      <a:gd name="connsiteY16" fmla="*/ 768 h 2326"/>
                      <a:gd name="connsiteX17" fmla="*/ 56 w 2326"/>
                      <a:gd name="connsiteY17" fmla="*/ 0 h 2326"/>
                      <a:gd name="connsiteX18" fmla="*/ 56 w 2326"/>
                      <a:gd name="connsiteY18" fmla="*/ 0 h 232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</a:cxnLst>
                    <a:rect l="l" t="t" r="r" b="b"/>
                    <a:pathLst>
                      <a:path w="2326" h="2326">
                        <a:moveTo>
                          <a:pt x="56" y="0"/>
                        </a:moveTo>
                        <a:lnTo>
                          <a:pt x="56" y="23"/>
                        </a:lnTo>
                        <a:cubicBezTo>
                          <a:pt x="9" y="279"/>
                          <a:pt x="-14" y="535"/>
                          <a:pt x="9" y="791"/>
                        </a:cubicBezTo>
                        <a:cubicBezTo>
                          <a:pt x="9" y="814"/>
                          <a:pt x="9" y="837"/>
                          <a:pt x="9" y="861"/>
                        </a:cubicBezTo>
                        <a:cubicBezTo>
                          <a:pt x="9" y="884"/>
                          <a:pt x="9" y="907"/>
                          <a:pt x="9" y="930"/>
                        </a:cubicBezTo>
                        <a:lnTo>
                          <a:pt x="9" y="930"/>
                        </a:lnTo>
                        <a:cubicBezTo>
                          <a:pt x="9" y="1070"/>
                          <a:pt x="56" y="1186"/>
                          <a:pt x="79" y="1303"/>
                        </a:cubicBezTo>
                        <a:cubicBezTo>
                          <a:pt x="79" y="1326"/>
                          <a:pt x="102" y="1349"/>
                          <a:pt x="102" y="1372"/>
                        </a:cubicBezTo>
                        <a:cubicBezTo>
                          <a:pt x="149" y="1489"/>
                          <a:pt x="172" y="1628"/>
                          <a:pt x="218" y="1745"/>
                        </a:cubicBezTo>
                        <a:cubicBezTo>
                          <a:pt x="218" y="1768"/>
                          <a:pt x="242" y="1768"/>
                          <a:pt x="242" y="1768"/>
                        </a:cubicBezTo>
                        <a:cubicBezTo>
                          <a:pt x="451" y="2233"/>
                          <a:pt x="753" y="2559"/>
                          <a:pt x="1126" y="2722"/>
                        </a:cubicBezTo>
                        <a:cubicBezTo>
                          <a:pt x="1475" y="2861"/>
                          <a:pt x="1824" y="3001"/>
                          <a:pt x="2172" y="3117"/>
                        </a:cubicBezTo>
                        <a:cubicBezTo>
                          <a:pt x="2312" y="3164"/>
                          <a:pt x="2428" y="3187"/>
                          <a:pt x="2545" y="3187"/>
                        </a:cubicBezTo>
                        <a:cubicBezTo>
                          <a:pt x="3196" y="3187"/>
                          <a:pt x="3731" y="2629"/>
                          <a:pt x="3987" y="1791"/>
                        </a:cubicBezTo>
                        <a:cubicBezTo>
                          <a:pt x="4010" y="1698"/>
                          <a:pt x="4057" y="1628"/>
                          <a:pt x="4080" y="1512"/>
                        </a:cubicBezTo>
                        <a:lnTo>
                          <a:pt x="4080" y="1489"/>
                        </a:lnTo>
                        <a:cubicBezTo>
                          <a:pt x="3405" y="1256"/>
                          <a:pt x="2731" y="1024"/>
                          <a:pt x="2033" y="768"/>
                        </a:cubicBezTo>
                        <a:cubicBezTo>
                          <a:pt x="1382" y="558"/>
                          <a:pt x="730" y="302"/>
                          <a:pt x="56" y="0"/>
                        </a:cubicBezTo>
                        <a:lnTo>
                          <a:pt x="56" y="0"/>
                        </a:lnTo>
                        <a:close/>
                      </a:path>
                    </a:pathLst>
                  </a:custGeom>
                  <a:solidFill>
                    <a:srgbClr val="FAAB3C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25" name="Freeform: Shape 324">
                    <a:extLst>
                      <a:ext uri="{FF2B5EF4-FFF2-40B4-BE49-F238E27FC236}">
                        <a16:creationId xmlns:a16="http://schemas.microsoft.com/office/drawing/2014/main" id="{E85275B3-E175-4122-AA81-C54C2591E11E}"/>
                      </a:ext>
                    </a:extLst>
                  </p:cNvPr>
                  <p:cNvSpPr/>
                  <p:nvPr/>
                </p:nvSpPr>
                <p:spPr>
                  <a:xfrm>
                    <a:off x="6189710" y="4165772"/>
                    <a:ext cx="2326" cy="2326"/>
                  </a:xfrm>
                  <a:custGeom>
                    <a:avLst/>
                    <a:gdLst>
                      <a:gd name="connsiteX0" fmla="*/ 172 w 2326"/>
                      <a:gd name="connsiteY0" fmla="*/ 23 h 2326"/>
                      <a:gd name="connsiteX1" fmla="*/ 9 w 2326"/>
                      <a:gd name="connsiteY1" fmla="*/ 837 h 2326"/>
                      <a:gd name="connsiteX2" fmla="*/ 79 w 2326"/>
                      <a:gd name="connsiteY2" fmla="*/ 1745 h 2326"/>
                      <a:gd name="connsiteX3" fmla="*/ 265 w 2326"/>
                      <a:gd name="connsiteY3" fmla="*/ 2233 h 2326"/>
                      <a:gd name="connsiteX4" fmla="*/ 846 w 2326"/>
                      <a:gd name="connsiteY4" fmla="*/ 3001 h 2326"/>
                      <a:gd name="connsiteX5" fmla="*/ 1149 w 2326"/>
                      <a:gd name="connsiteY5" fmla="*/ 3233 h 2326"/>
                      <a:gd name="connsiteX6" fmla="*/ 1800 w 2326"/>
                      <a:gd name="connsiteY6" fmla="*/ 3699 h 2326"/>
                      <a:gd name="connsiteX7" fmla="*/ 2498 w 2326"/>
                      <a:gd name="connsiteY7" fmla="*/ 3908 h 2326"/>
                      <a:gd name="connsiteX8" fmla="*/ 3614 w 2326"/>
                      <a:gd name="connsiteY8" fmla="*/ 3233 h 2326"/>
                      <a:gd name="connsiteX9" fmla="*/ 3893 w 2326"/>
                      <a:gd name="connsiteY9" fmla="*/ 2675 h 2326"/>
                      <a:gd name="connsiteX10" fmla="*/ 3893 w 2326"/>
                      <a:gd name="connsiteY10" fmla="*/ 2652 h 2326"/>
                      <a:gd name="connsiteX11" fmla="*/ 172 w 2326"/>
                      <a:gd name="connsiteY11" fmla="*/ 0 h 2326"/>
                      <a:gd name="connsiteX12" fmla="*/ 172 w 2326"/>
                      <a:gd name="connsiteY12" fmla="*/ 0 h 2326"/>
                      <a:gd name="connsiteX13" fmla="*/ 172 w 2326"/>
                      <a:gd name="connsiteY13" fmla="*/ 0 h 2326"/>
                      <a:gd name="connsiteX14" fmla="*/ 172 w 2326"/>
                      <a:gd name="connsiteY14" fmla="*/ 23 h 232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</a:cxnLst>
                    <a:rect l="l" t="t" r="r" b="b"/>
                    <a:pathLst>
                      <a:path w="2326" h="2326">
                        <a:moveTo>
                          <a:pt x="172" y="23"/>
                        </a:moveTo>
                        <a:cubicBezTo>
                          <a:pt x="79" y="279"/>
                          <a:pt x="32" y="558"/>
                          <a:pt x="9" y="837"/>
                        </a:cubicBezTo>
                        <a:cubicBezTo>
                          <a:pt x="-15" y="1140"/>
                          <a:pt x="9" y="1442"/>
                          <a:pt x="79" y="1745"/>
                        </a:cubicBezTo>
                        <a:cubicBezTo>
                          <a:pt x="125" y="1907"/>
                          <a:pt x="195" y="2070"/>
                          <a:pt x="265" y="2233"/>
                        </a:cubicBezTo>
                        <a:cubicBezTo>
                          <a:pt x="404" y="2536"/>
                          <a:pt x="590" y="2838"/>
                          <a:pt x="846" y="3001"/>
                        </a:cubicBezTo>
                        <a:cubicBezTo>
                          <a:pt x="962" y="3071"/>
                          <a:pt x="1055" y="3164"/>
                          <a:pt x="1149" y="3233"/>
                        </a:cubicBezTo>
                        <a:cubicBezTo>
                          <a:pt x="1358" y="3396"/>
                          <a:pt x="1591" y="3536"/>
                          <a:pt x="1800" y="3699"/>
                        </a:cubicBezTo>
                        <a:cubicBezTo>
                          <a:pt x="2032" y="3861"/>
                          <a:pt x="2265" y="3908"/>
                          <a:pt x="2498" y="3908"/>
                        </a:cubicBezTo>
                        <a:cubicBezTo>
                          <a:pt x="2916" y="3908"/>
                          <a:pt x="3335" y="3675"/>
                          <a:pt x="3614" y="3233"/>
                        </a:cubicBezTo>
                        <a:cubicBezTo>
                          <a:pt x="3731" y="3071"/>
                          <a:pt x="3824" y="2884"/>
                          <a:pt x="3893" y="2675"/>
                        </a:cubicBezTo>
                        <a:lnTo>
                          <a:pt x="3893" y="2652"/>
                        </a:lnTo>
                        <a:cubicBezTo>
                          <a:pt x="2614" y="1838"/>
                          <a:pt x="1381" y="954"/>
                          <a:pt x="172" y="0"/>
                        </a:cubicBezTo>
                        <a:lnTo>
                          <a:pt x="172" y="0"/>
                        </a:lnTo>
                        <a:lnTo>
                          <a:pt x="172" y="0"/>
                        </a:lnTo>
                        <a:lnTo>
                          <a:pt x="172" y="23"/>
                        </a:lnTo>
                        <a:close/>
                      </a:path>
                    </a:pathLst>
                  </a:custGeom>
                  <a:solidFill>
                    <a:srgbClr val="FAAB3C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26" name="Freeform: Shape 325">
                    <a:extLst>
                      <a:ext uri="{FF2B5EF4-FFF2-40B4-BE49-F238E27FC236}">
                        <a16:creationId xmlns:a16="http://schemas.microsoft.com/office/drawing/2014/main" id="{A328E552-E003-4CA6-94F0-A3427C02A021}"/>
                      </a:ext>
                    </a:extLst>
                  </p:cNvPr>
                  <p:cNvSpPr/>
                  <p:nvPr/>
                </p:nvSpPr>
                <p:spPr>
                  <a:xfrm>
                    <a:off x="6185225" y="4161887"/>
                    <a:ext cx="2326" cy="2326"/>
                  </a:xfrm>
                  <a:custGeom>
                    <a:avLst/>
                    <a:gdLst>
                      <a:gd name="connsiteX0" fmla="*/ 97 w 2326"/>
                      <a:gd name="connsiteY0" fmla="*/ 558 h 2326"/>
                      <a:gd name="connsiteX1" fmla="*/ 27 w 2326"/>
                      <a:gd name="connsiteY1" fmla="*/ 791 h 2326"/>
                      <a:gd name="connsiteX2" fmla="*/ 27 w 2326"/>
                      <a:gd name="connsiteY2" fmla="*/ 907 h 2326"/>
                      <a:gd name="connsiteX3" fmla="*/ 27 w 2326"/>
                      <a:gd name="connsiteY3" fmla="*/ 1652 h 2326"/>
                      <a:gd name="connsiteX4" fmla="*/ 306 w 2326"/>
                      <a:gd name="connsiteY4" fmla="*/ 2536 h 2326"/>
                      <a:gd name="connsiteX5" fmla="*/ 446 w 2326"/>
                      <a:gd name="connsiteY5" fmla="*/ 2722 h 2326"/>
                      <a:gd name="connsiteX6" fmla="*/ 725 w 2326"/>
                      <a:gd name="connsiteY6" fmla="*/ 3094 h 2326"/>
                      <a:gd name="connsiteX7" fmla="*/ 1632 w 2326"/>
                      <a:gd name="connsiteY7" fmla="*/ 3908 h 2326"/>
                      <a:gd name="connsiteX8" fmla="*/ 2446 w 2326"/>
                      <a:gd name="connsiteY8" fmla="*/ 4257 h 2326"/>
                      <a:gd name="connsiteX9" fmla="*/ 3283 w 2326"/>
                      <a:gd name="connsiteY9" fmla="*/ 3885 h 2326"/>
                      <a:gd name="connsiteX10" fmla="*/ 3772 w 2326"/>
                      <a:gd name="connsiteY10" fmla="*/ 3187 h 2326"/>
                      <a:gd name="connsiteX11" fmla="*/ 3772 w 2326"/>
                      <a:gd name="connsiteY11" fmla="*/ 3164 h 2326"/>
                      <a:gd name="connsiteX12" fmla="*/ 259 w 2326"/>
                      <a:gd name="connsiteY12" fmla="*/ 0 h 2326"/>
                      <a:gd name="connsiteX13" fmla="*/ 259 w 2326"/>
                      <a:gd name="connsiteY13" fmla="*/ 23 h 2326"/>
                      <a:gd name="connsiteX14" fmla="*/ 97 w 2326"/>
                      <a:gd name="connsiteY14" fmla="*/ 558 h 232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</a:cxnLst>
                    <a:rect l="l" t="t" r="r" b="b"/>
                    <a:pathLst>
                      <a:path w="2326" h="2326">
                        <a:moveTo>
                          <a:pt x="97" y="558"/>
                        </a:moveTo>
                        <a:cubicBezTo>
                          <a:pt x="73" y="628"/>
                          <a:pt x="50" y="721"/>
                          <a:pt x="27" y="791"/>
                        </a:cubicBezTo>
                        <a:cubicBezTo>
                          <a:pt x="27" y="837"/>
                          <a:pt x="27" y="861"/>
                          <a:pt x="27" y="907"/>
                        </a:cubicBezTo>
                        <a:cubicBezTo>
                          <a:pt x="-20" y="1163"/>
                          <a:pt x="4" y="1396"/>
                          <a:pt x="27" y="1652"/>
                        </a:cubicBezTo>
                        <a:cubicBezTo>
                          <a:pt x="73" y="1977"/>
                          <a:pt x="166" y="2256"/>
                          <a:pt x="306" y="2536"/>
                        </a:cubicBezTo>
                        <a:cubicBezTo>
                          <a:pt x="353" y="2605"/>
                          <a:pt x="399" y="2652"/>
                          <a:pt x="446" y="2722"/>
                        </a:cubicBezTo>
                        <a:cubicBezTo>
                          <a:pt x="539" y="2861"/>
                          <a:pt x="608" y="3001"/>
                          <a:pt x="725" y="3094"/>
                        </a:cubicBezTo>
                        <a:cubicBezTo>
                          <a:pt x="1004" y="3373"/>
                          <a:pt x="1306" y="3629"/>
                          <a:pt x="1632" y="3908"/>
                        </a:cubicBezTo>
                        <a:cubicBezTo>
                          <a:pt x="1888" y="4141"/>
                          <a:pt x="2167" y="4257"/>
                          <a:pt x="2446" y="4257"/>
                        </a:cubicBezTo>
                        <a:cubicBezTo>
                          <a:pt x="2748" y="4257"/>
                          <a:pt x="3028" y="4117"/>
                          <a:pt x="3283" y="3885"/>
                        </a:cubicBezTo>
                        <a:cubicBezTo>
                          <a:pt x="3470" y="3722"/>
                          <a:pt x="3656" y="3489"/>
                          <a:pt x="3772" y="3187"/>
                        </a:cubicBezTo>
                        <a:lnTo>
                          <a:pt x="3772" y="3164"/>
                        </a:lnTo>
                        <a:cubicBezTo>
                          <a:pt x="2586" y="2187"/>
                          <a:pt x="1399" y="1117"/>
                          <a:pt x="259" y="0"/>
                        </a:cubicBezTo>
                        <a:cubicBezTo>
                          <a:pt x="259" y="0"/>
                          <a:pt x="259" y="23"/>
                          <a:pt x="259" y="23"/>
                        </a:cubicBezTo>
                        <a:cubicBezTo>
                          <a:pt x="166" y="186"/>
                          <a:pt x="120" y="372"/>
                          <a:pt x="97" y="558"/>
                        </a:cubicBezTo>
                        <a:close/>
                      </a:path>
                    </a:pathLst>
                  </a:custGeom>
                  <a:solidFill>
                    <a:srgbClr val="FAAB3C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27" name="Freeform: Shape 326">
                    <a:extLst>
                      <a:ext uri="{FF2B5EF4-FFF2-40B4-BE49-F238E27FC236}">
                        <a16:creationId xmlns:a16="http://schemas.microsoft.com/office/drawing/2014/main" id="{1194CEC5-425C-439D-85CB-6DF4F9B65266}"/>
                      </a:ext>
                    </a:extLst>
                  </p:cNvPr>
                  <p:cNvSpPr/>
                  <p:nvPr/>
                </p:nvSpPr>
                <p:spPr>
                  <a:xfrm>
                    <a:off x="6181702" y="4041810"/>
                    <a:ext cx="2326" cy="2326"/>
                  </a:xfrm>
                  <a:custGeom>
                    <a:avLst/>
                    <a:gdLst>
                      <a:gd name="connsiteX0" fmla="*/ 2806 w 2326"/>
                      <a:gd name="connsiteY0" fmla="*/ 93 h 2326"/>
                      <a:gd name="connsiteX1" fmla="*/ 2364 w 2326"/>
                      <a:gd name="connsiteY1" fmla="*/ 0 h 2326"/>
                      <a:gd name="connsiteX2" fmla="*/ 1434 w 2326"/>
                      <a:gd name="connsiteY2" fmla="*/ 442 h 2326"/>
                      <a:gd name="connsiteX3" fmla="*/ 573 w 2326"/>
                      <a:gd name="connsiteY3" fmla="*/ 1372 h 2326"/>
                      <a:gd name="connsiteX4" fmla="*/ 178 w 2326"/>
                      <a:gd name="connsiteY4" fmla="*/ 2047 h 2326"/>
                      <a:gd name="connsiteX5" fmla="*/ 85 w 2326"/>
                      <a:gd name="connsiteY5" fmla="*/ 2419 h 2326"/>
                      <a:gd name="connsiteX6" fmla="*/ 317 w 2326"/>
                      <a:gd name="connsiteY6" fmla="*/ 4466 h 2326"/>
                      <a:gd name="connsiteX7" fmla="*/ 340 w 2326"/>
                      <a:gd name="connsiteY7" fmla="*/ 4490 h 2326"/>
                      <a:gd name="connsiteX8" fmla="*/ 3644 w 2326"/>
                      <a:gd name="connsiteY8" fmla="*/ 907 h 2326"/>
                      <a:gd name="connsiteX9" fmla="*/ 3644 w 2326"/>
                      <a:gd name="connsiteY9" fmla="*/ 884 h 2326"/>
                      <a:gd name="connsiteX10" fmla="*/ 2806 w 2326"/>
                      <a:gd name="connsiteY10" fmla="*/ 93 h 232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2326" h="2326">
                        <a:moveTo>
                          <a:pt x="2806" y="93"/>
                        </a:moveTo>
                        <a:cubicBezTo>
                          <a:pt x="2643" y="23"/>
                          <a:pt x="2504" y="0"/>
                          <a:pt x="2364" y="0"/>
                        </a:cubicBezTo>
                        <a:cubicBezTo>
                          <a:pt x="2039" y="0"/>
                          <a:pt x="1713" y="140"/>
                          <a:pt x="1434" y="442"/>
                        </a:cubicBezTo>
                        <a:cubicBezTo>
                          <a:pt x="1155" y="744"/>
                          <a:pt x="875" y="1047"/>
                          <a:pt x="573" y="1372"/>
                        </a:cubicBezTo>
                        <a:cubicBezTo>
                          <a:pt x="410" y="1559"/>
                          <a:pt x="271" y="1791"/>
                          <a:pt x="178" y="2047"/>
                        </a:cubicBezTo>
                        <a:cubicBezTo>
                          <a:pt x="131" y="2163"/>
                          <a:pt x="131" y="2303"/>
                          <a:pt x="85" y="2419"/>
                        </a:cubicBezTo>
                        <a:cubicBezTo>
                          <a:pt x="-78" y="3094"/>
                          <a:pt x="-9" y="3861"/>
                          <a:pt x="317" y="4466"/>
                        </a:cubicBezTo>
                        <a:lnTo>
                          <a:pt x="340" y="4490"/>
                        </a:lnTo>
                        <a:cubicBezTo>
                          <a:pt x="1410" y="3233"/>
                          <a:pt x="2504" y="2047"/>
                          <a:pt x="3644" y="907"/>
                        </a:cubicBezTo>
                        <a:lnTo>
                          <a:pt x="3644" y="884"/>
                        </a:lnTo>
                        <a:cubicBezTo>
                          <a:pt x="3411" y="489"/>
                          <a:pt x="3109" y="233"/>
                          <a:pt x="2806" y="93"/>
                        </a:cubicBezTo>
                        <a:close/>
                      </a:path>
                    </a:pathLst>
                  </a:custGeom>
                  <a:solidFill>
                    <a:srgbClr val="FAAB3C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28" name="Freeform: Shape 327">
                    <a:extLst>
                      <a:ext uri="{FF2B5EF4-FFF2-40B4-BE49-F238E27FC236}">
                        <a16:creationId xmlns:a16="http://schemas.microsoft.com/office/drawing/2014/main" id="{9C97B053-CE6E-4D28-A63B-3FB37069A50E}"/>
                      </a:ext>
                    </a:extLst>
                  </p:cNvPr>
                  <p:cNvSpPr/>
                  <p:nvPr/>
                </p:nvSpPr>
                <p:spPr>
                  <a:xfrm>
                    <a:off x="6168248" y="4036460"/>
                    <a:ext cx="90721" cy="130266"/>
                  </a:xfrm>
                  <a:custGeom>
                    <a:avLst/>
                    <a:gdLst>
                      <a:gd name="connsiteX0" fmla="*/ 92186 w 90720"/>
                      <a:gd name="connsiteY0" fmla="*/ 78206 h 130265"/>
                      <a:gd name="connsiteX1" fmla="*/ 92372 w 90720"/>
                      <a:gd name="connsiteY1" fmla="*/ 76787 h 130265"/>
                      <a:gd name="connsiteX2" fmla="*/ 92884 w 90720"/>
                      <a:gd name="connsiteY2" fmla="*/ 70902 h 130265"/>
                      <a:gd name="connsiteX3" fmla="*/ 92954 w 90720"/>
                      <a:gd name="connsiteY3" fmla="*/ 69459 h 130265"/>
                      <a:gd name="connsiteX4" fmla="*/ 93024 w 90720"/>
                      <a:gd name="connsiteY4" fmla="*/ 65784 h 130265"/>
                      <a:gd name="connsiteX5" fmla="*/ 91558 w 90720"/>
                      <a:gd name="connsiteY5" fmla="*/ 49338 h 130265"/>
                      <a:gd name="connsiteX6" fmla="*/ 90930 w 90720"/>
                      <a:gd name="connsiteY6" fmla="*/ 46221 h 130265"/>
                      <a:gd name="connsiteX7" fmla="*/ 66668 w 90720"/>
                      <a:gd name="connsiteY7" fmla="*/ 6490 h 130265"/>
                      <a:gd name="connsiteX8" fmla="*/ 64621 w 90720"/>
                      <a:gd name="connsiteY8" fmla="*/ 5164 h 130265"/>
                      <a:gd name="connsiteX9" fmla="*/ 46523 w 90720"/>
                      <a:gd name="connsiteY9" fmla="*/ 0 h 130265"/>
                      <a:gd name="connsiteX10" fmla="*/ 28426 w 90720"/>
                      <a:gd name="connsiteY10" fmla="*/ 5164 h 130265"/>
                      <a:gd name="connsiteX11" fmla="*/ 26356 w 90720"/>
                      <a:gd name="connsiteY11" fmla="*/ 6490 h 130265"/>
                      <a:gd name="connsiteX12" fmla="*/ 13631 w 90720"/>
                      <a:gd name="connsiteY12" fmla="*/ 19261 h 130265"/>
                      <a:gd name="connsiteX13" fmla="*/ 12096 w 90720"/>
                      <a:gd name="connsiteY13" fmla="*/ 21540 h 130265"/>
                      <a:gd name="connsiteX14" fmla="*/ 2094 w 90720"/>
                      <a:gd name="connsiteY14" fmla="*/ 46198 h 130265"/>
                      <a:gd name="connsiteX15" fmla="*/ 1465 w 90720"/>
                      <a:gd name="connsiteY15" fmla="*/ 49315 h 130265"/>
                      <a:gd name="connsiteX16" fmla="*/ 0 w 90720"/>
                      <a:gd name="connsiteY16" fmla="*/ 65761 h 130265"/>
                      <a:gd name="connsiteX17" fmla="*/ 2094 w 90720"/>
                      <a:gd name="connsiteY17" fmla="*/ 85324 h 130265"/>
                      <a:gd name="connsiteX18" fmla="*/ 6746 w 90720"/>
                      <a:gd name="connsiteY18" fmla="*/ 99886 h 130265"/>
                      <a:gd name="connsiteX19" fmla="*/ 9258 w 90720"/>
                      <a:gd name="connsiteY19" fmla="*/ 105143 h 130265"/>
                      <a:gd name="connsiteX20" fmla="*/ 10654 w 90720"/>
                      <a:gd name="connsiteY20" fmla="*/ 107632 h 130265"/>
                      <a:gd name="connsiteX21" fmla="*/ 13655 w 90720"/>
                      <a:gd name="connsiteY21" fmla="*/ 112308 h 130265"/>
                      <a:gd name="connsiteX22" fmla="*/ 18702 w 90720"/>
                      <a:gd name="connsiteY22" fmla="*/ 118518 h 130265"/>
                      <a:gd name="connsiteX23" fmla="*/ 46547 w 90720"/>
                      <a:gd name="connsiteY23" fmla="*/ 131592 h 130265"/>
                      <a:gd name="connsiteX24" fmla="*/ 76136 w 90720"/>
                      <a:gd name="connsiteY24" fmla="*/ 116564 h 130265"/>
                      <a:gd name="connsiteX25" fmla="*/ 77810 w 90720"/>
                      <a:gd name="connsiteY25" fmla="*/ 114494 h 130265"/>
                      <a:gd name="connsiteX26" fmla="*/ 82416 w 90720"/>
                      <a:gd name="connsiteY26" fmla="*/ 107655 h 130265"/>
                      <a:gd name="connsiteX27" fmla="*/ 83812 w 90720"/>
                      <a:gd name="connsiteY27" fmla="*/ 105166 h 130265"/>
                      <a:gd name="connsiteX28" fmla="*/ 86324 w 90720"/>
                      <a:gd name="connsiteY28" fmla="*/ 99909 h 130265"/>
                      <a:gd name="connsiteX29" fmla="*/ 88464 w 90720"/>
                      <a:gd name="connsiteY29" fmla="*/ 94326 h 130265"/>
                      <a:gd name="connsiteX30" fmla="*/ 90232 w 90720"/>
                      <a:gd name="connsiteY30" fmla="*/ 88418 h 130265"/>
                      <a:gd name="connsiteX31" fmla="*/ 90953 w 90720"/>
                      <a:gd name="connsiteY31" fmla="*/ 85347 h 130265"/>
                      <a:gd name="connsiteX32" fmla="*/ 91209 w 90720"/>
                      <a:gd name="connsiteY32" fmla="*/ 84045 h 130265"/>
                      <a:gd name="connsiteX33" fmla="*/ 92186 w 90720"/>
                      <a:gd name="connsiteY33" fmla="*/ 78206 h 13026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</a:cxnLst>
                    <a:rect l="l" t="t" r="r" b="b"/>
                    <a:pathLst>
                      <a:path w="90720" h="130265">
                        <a:moveTo>
                          <a:pt x="92186" y="78206"/>
                        </a:moveTo>
                        <a:cubicBezTo>
                          <a:pt x="92256" y="77741"/>
                          <a:pt x="92302" y="77252"/>
                          <a:pt x="92372" y="76787"/>
                        </a:cubicBezTo>
                        <a:cubicBezTo>
                          <a:pt x="92605" y="74856"/>
                          <a:pt x="92768" y="72879"/>
                          <a:pt x="92884" y="70902"/>
                        </a:cubicBezTo>
                        <a:cubicBezTo>
                          <a:pt x="92907" y="70413"/>
                          <a:pt x="92931" y="69948"/>
                          <a:pt x="92954" y="69459"/>
                        </a:cubicBezTo>
                        <a:cubicBezTo>
                          <a:pt x="93000" y="68227"/>
                          <a:pt x="93024" y="67017"/>
                          <a:pt x="93024" y="65784"/>
                        </a:cubicBezTo>
                        <a:cubicBezTo>
                          <a:pt x="93024" y="60108"/>
                          <a:pt x="92512" y="54595"/>
                          <a:pt x="91558" y="49338"/>
                        </a:cubicBezTo>
                        <a:cubicBezTo>
                          <a:pt x="91372" y="48291"/>
                          <a:pt x="91163" y="47245"/>
                          <a:pt x="90930" y="46221"/>
                        </a:cubicBezTo>
                        <a:cubicBezTo>
                          <a:pt x="87092" y="28705"/>
                          <a:pt x="78206" y="14329"/>
                          <a:pt x="66668" y="6490"/>
                        </a:cubicBezTo>
                        <a:cubicBezTo>
                          <a:pt x="65993" y="6025"/>
                          <a:pt x="65296" y="5583"/>
                          <a:pt x="64621" y="5164"/>
                        </a:cubicBezTo>
                        <a:cubicBezTo>
                          <a:pt x="59061" y="1838"/>
                          <a:pt x="52944" y="0"/>
                          <a:pt x="46523" y="0"/>
                        </a:cubicBezTo>
                        <a:cubicBezTo>
                          <a:pt x="40103" y="0"/>
                          <a:pt x="33985" y="1838"/>
                          <a:pt x="28426" y="5164"/>
                        </a:cubicBezTo>
                        <a:cubicBezTo>
                          <a:pt x="27728" y="5583"/>
                          <a:pt x="27030" y="6025"/>
                          <a:pt x="26356" y="6490"/>
                        </a:cubicBezTo>
                        <a:cubicBezTo>
                          <a:pt x="21610" y="9723"/>
                          <a:pt x="17307" y="14050"/>
                          <a:pt x="13631" y="19261"/>
                        </a:cubicBezTo>
                        <a:cubicBezTo>
                          <a:pt x="13096" y="20005"/>
                          <a:pt x="12585" y="20773"/>
                          <a:pt x="12096" y="21540"/>
                        </a:cubicBezTo>
                        <a:cubicBezTo>
                          <a:pt x="7583" y="28542"/>
                          <a:pt x="4141" y="36940"/>
                          <a:pt x="2094" y="46198"/>
                        </a:cubicBezTo>
                        <a:cubicBezTo>
                          <a:pt x="1861" y="47221"/>
                          <a:pt x="1652" y="48268"/>
                          <a:pt x="1465" y="49315"/>
                        </a:cubicBezTo>
                        <a:cubicBezTo>
                          <a:pt x="512" y="54572"/>
                          <a:pt x="0" y="60085"/>
                          <a:pt x="0" y="65761"/>
                        </a:cubicBezTo>
                        <a:cubicBezTo>
                          <a:pt x="0" y="72577"/>
                          <a:pt x="744" y="79136"/>
                          <a:pt x="2094" y="85324"/>
                        </a:cubicBezTo>
                        <a:cubicBezTo>
                          <a:pt x="3233" y="90488"/>
                          <a:pt x="4792" y="95350"/>
                          <a:pt x="6746" y="99886"/>
                        </a:cubicBezTo>
                        <a:cubicBezTo>
                          <a:pt x="7514" y="101700"/>
                          <a:pt x="8351" y="103445"/>
                          <a:pt x="9258" y="105143"/>
                        </a:cubicBezTo>
                        <a:cubicBezTo>
                          <a:pt x="9700" y="105980"/>
                          <a:pt x="10165" y="106818"/>
                          <a:pt x="10654" y="107632"/>
                        </a:cubicBezTo>
                        <a:cubicBezTo>
                          <a:pt x="11608" y="109260"/>
                          <a:pt x="12608" y="110819"/>
                          <a:pt x="13655" y="112308"/>
                        </a:cubicBezTo>
                        <a:cubicBezTo>
                          <a:pt x="15236" y="114541"/>
                          <a:pt x="16935" y="116611"/>
                          <a:pt x="18702" y="118518"/>
                        </a:cubicBezTo>
                        <a:cubicBezTo>
                          <a:pt x="26472" y="126730"/>
                          <a:pt x="36102" y="131592"/>
                          <a:pt x="46547" y="131592"/>
                        </a:cubicBezTo>
                        <a:cubicBezTo>
                          <a:pt x="57782" y="131592"/>
                          <a:pt x="68087" y="125962"/>
                          <a:pt x="76136" y="116564"/>
                        </a:cubicBezTo>
                        <a:cubicBezTo>
                          <a:pt x="76717" y="115890"/>
                          <a:pt x="77275" y="115215"/>
                          <a:pt x="77810" y="114494"/>
                        </a:cubicBezTo>
                        <a:cubicBezTo>
                          <a:pt x="79462" y="112377"/>
                          <a:pt x="80997" y="110098"/>
                          <a:pt x="82416" y="107655"/>
                        </a:cubicBezTo>
                        <a:cubicBezTo>
                          <a:pt x="82905" y="106841"/>
                          <a:pt x="83347" y="106004"/>
                          <a:pt x="83812" y="105166"/>
                        </a:cubicBezTo>
                        <a:cubicBezTo>
                          <a:pt x="84696" y="103468"/>
                          <a:pt x="85533" y="101724"/>
                          <a:pt x="86324" y="99909"/>
                        </a:cubicBezTo>
                        <a:cubicBezTo>
                          <a:pt x="87092" y="98095"/>
                          <a:pt x="87813" y="96234"/>
                          <a:pt x="88464" y="94326"/>
                        </a:cubicBezTo>
                        <a:cubicBezTo>
                          <a:pt x="89116" y="92396"/>
                          <a:pt x="89697" y="90442"/>
                          <a:pt x="90232" y="88418"/>
                        </a:cubicBezTo>
                        <a:cubicBezTo>
                          <a:pt x="90488" y="87418"/>
                          <a:pt x="90744" y="86394"/>
                          <a:pt x="90953" y="85347"/>
                        </a:cubicBezTo>
                        <a:cubicBezTo>
                          <a:pt x="91046" y="84905"/>
                          <a:pt x="91116" y="84487"/>
                          <a:pt x="91209" y="84045"/>
                        </a:cubicBezTo>
                        <a:cubicBezTo>
                          <a:pt x="91605" y="82114"/>
                          <a:pt x="91930" y="80183"/>
                          <a:pt x="92186" y="78206"/>
                        </a:cubicBezTo>
                        <a:close/>
                      </a:path>
                    </a:pathLst>
                  </a:custGeom>
                  <a:solidFill>
                    <a:srgbClr val="FFD744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29" name="Freeform: Shape 328">
                    <a:extLst>
                      <a:ext uri="{FF2B5EF4-FFF2-40B4-BE49-F238E27FC236}">
                        <a16:creationId xmlns:a16="http://schemas.microsoft.com/office/drawing/2014/main" id="{FDAB1B40-75A1-4B21-97F5-CFB52FF88BBD}"/>
                      </a:ext>
                    </a:extLst>
                  </p:cNvPr>
                  <p:cNvSpPr/>
                  <p:nvPr/>
                </p:nvSpPr>
                <p:spPr>
                  <a:xfrm>
                    <a:off x="6162037" y="4106036"/>
                    <a:ext cx="2326" cy="4652"/>
                  </a:xfrm>
                  <a:custGeom>
                    <a:avLst/>
                    <a:gdLst>
                      <a:gd name="connsiteX0" fmla="*/ 1442 w 0"/>
                      <a:gd name="connsiteY0" fmla="*/ 0 h 4652"/>
                      <a:gd name="connsiteX1" fmla="*/ 1419 w 0"/>
                      <a:gd name="connsiteY1" fmla="*/ 0 h 4652"/>
                      <a:gd name="connsiteX2" fmla="*/ 163 w 0"/>
                      <a:gd name="connsiteY2" fmla="*/ 1210 h 4652"/>
                      <a:gd name="connsiteX3" fmla="*/ 163 w 0"/>
                      <a:gd name="connsiteY3" fmla="*/ 1210 h 4652"/>
                      <a:gd name="connsiteX4" fmla="*/ 47 w 0"/>
                      <a:gd name="connsiteY4" fmla="*/ 1605 h 4652"/>
                      <a:gd name="connsiteX5" fmla="*/ 23 w 0"/>
                      <a:gd name="connsiteY5" fmla="*/ 1768 h 4652"/>
                      <a:gd name="connsiteX6" fmla="*/ 0 w 0"/>
                      <a:gd name="connsiteY6" fmla="*/ 2000 h 4652"/>
                      <a:gd name="connsiteX7" fmla="*/ 0 w 0"/>
                      <a:gd name="connsiteY7" fmla="*/ 2373 h 4652"/>
                      <a:gd name="connsiteX8" fmla="*/ 93 w 0"/>
                      <a:gd name="connsiteY8" fmla="*/ 3885 h 4652"/>
                      <a:gd name="connsiteX9" fmla="*/ 1117 w 0"/>
                      <a:gd name="connsiteY9" fmla="*/ 5722 h 4652"/>
                      <a:gd name="connsiteX10" fmla="*/ 1326 w 0"/>
                      <a:gd name="connsiteY10" fmla="*/ 5769 h 4652"/>
                      <a:gd name="connsiteX11" fmla="*/ 1652 w 0"/>
                      <a:gd name="connsiteY11" fmla="*/ 5862 h 4652"/>
                      <a:gd name="connsiteX12" fmla="*/ 1652 w 0"/>
                      <a:gd name="connsiteY12" fmla="*/ 5862 h 4652"/>
                      <a:gd name="connsiteX13" fmla="*/ 1814 w 0"/>
                      <a:gd name="connsiteY13" fmla="*/ 5862 h 4652"/>
                      <a:gd name="connsiteX14" fmla="*/ 1838 w 0"/>
                      <a:gd name="connsiteY14" fmla="*/ 5862 h 4652"/>
                      <a:gd name="connsiteX15" fmla="*/ 1838 w 0"/>
                      <a:gd name="connsiteY15" fmla="*/ 5746 h 4652"/>
                      <a:gd name="connsiteX16" fmla="*/ 1791 w 0"/>
                      <a:gd name="connsiteY16" fmla="*/ 5257 h 4652"/>
                      <a:gd name="connsiteX17" fmla="*/ 1605 w 0"/>
                      <a:gd name="connsiteY17" fmla="*/ 2931 h 4652"/>
                      <a:gd name="connsiteX18" fmla="*/ 1442 w 0"/>
                      <a:gd name="connsiteY18" fmla="*/ 0 h 4652"/>
                      <a:gd name="connsiteX19" fmla="*/ 1442 w 0"/>
                      <a:gd name="connsiteY19" fmla="*/ 0 h 4652"/>
                      <a:gd name="connsiteX20" fmla="*/ 1442 w 0"/>
                      <a:gd name="connsiteY20" fmla="*/ 0 h 46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</a:cxnLst>
                    <a:rect l="l" t="t" r="r" b="b"/>
                    <a:pathLst>
                      <a:path h="4652">
                        <a:moveTo>
                          <a:pt x="1442" y="0"/>
                        </a:moveTo>
                        <a:lnTo>
                          <a:pt x="1419" y="0"/>
                        </a:lnTo>
                        <a:cubicBezTo>
                          <a:pt x="884" y="70"/>
                          <a:pt x="395" y="558"/>
                          <a:pt x="163" y="1210"/>
                        </a:cubicBezTo>
                        <a:lnTo>
                          <a:pt x="163" y="1210"/>
                        </a:lnTo>
                        <a:cubicBezTo>
                          <a:pt x="116" y="1326"/>
                          <a:pt x="70" y="1465"/>
                          <a:pt x="47" y="1605"/>
                        </a:cubicBezTo>
                        <a:cubicBezTo>
                          <a:pt x="47" y="1652"/>
                          <a:pt x="23" y="1721"/>
                          <a:pt x="23" y="1768"/>
                        </a:cubicBezTo>
                        <a:cubicBezTo>
                          <a:pt x="23" y="1838"/>
                          <a:pt x="0" y="1907"/>
                          <a:pt x="0" y="2000"/>
                        </a:cubicBezTo>
                        <a:cubicBezTo>
                          <a:pt x="0" y="2117"/>
                          <a:pt x="0" y="2256"/>
                          <a:pt x="0" y="2373"/>
                        </a:cubicBezTo>
                        <a:cubicBezTo>
                          <a:pt x="23" y="2861"/>
                          <a:pt x="70" y="3373"/>
                          <a:pt x="93" y="3885"/>
                        </a:cubicBezTo>
                        <a:cubicBezTo>
                          <a:pt x="163" y="4745"/>
                          <a:pt x="582" y="5443"/>
                          <a:pt x="1117" y="5722"/>
                        </a:cubicBezTo>
                        <a:cubicBezTo>
                          <a:pt x="1186" y="5769"/>
                          <a:pt x="1256" y="5769"/>
                          <a:pt x="1326" y="5769"/>
                        </a:cubicBezTo>
                        <a:cubicBezTo>
                          <a:pt x="1442" y="5792"/>
                          <a:pt x="1535" y="5862"/>
                          <a:pt x="1652" y="5862"/>
                        </a:cubicBezTo>
                        <a:lnTo>
                          <a:pt x="1652" y="5862"/>
                        </a:lnTo>
                        <a:lnTo>
                          <a:pt x="1814" y="5862"/>
                        </a:lnTo>
                        <a:lnTo>
                          <a:pt x="1838" y="5862"/>
                        </a:lnTo>
                        <a:cubicBezTo>
                          <a:pt x="1838" y="5815"/>
                          <a:pt x="1838" y="5769"/>
                          <a:pt x="1838" y="5746"/>
                        </a:cubicBezTo>
                        <a:cubicBezTo>
                          <a:pt x="1838" y="5583"/>
                          <a:pt x="1814" y="5420"/>
                          <a:pt x="1791" y="5257"/>
                        </a:cubicBezTo>
                        <a:cubicBezTo>
                          <a:pt x="1721" y="4489"/>
                          <a:pt x="1652" y="3699"/>
                          <a:pt x="1605" y="2931"/>
                        </a:cubicBezTo>
                        <a:cubicBezTo>
                          <a:pt x="1559" y="1977"/>
                          <a:pt x="1512" y="1000"/>
                          <a:pt x="1442" y="0"/>
                        </a:cubicBezTo>
                        <a:lnTo>
                          <a:pt x="1442" y="0"/>
                        </a:lnTo>
                        <a:lnTo>
                          <a:pt x="1442" y="0"/>
                        </a:lnTo>
                        <a:close/>
                      </a:path>
                    </a:pathLst>
                  </a:custGeom>
                  <a:solidFill>
                    <a:srgbClr val="FAAB3C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30" name="Freeform: Shape 329">
                    <a:extLst>
                      <a:ext uri="{FF2B5EF4-FFF2-40B4-BE49-F238E27FC236}">
                        <a16:creationId xmlns:a16="http://schemas.microsoft.com/office/drawing/2014/main" id="{6E05F49B-B3D5-4B66-8A6B-FF6806475975}"/>
                      </a:ext>
                    </a:extLst>
                  </p:cNvPr>
                  <p:cNvSpPr/>
                  <p:nvPr/>
                </p:nvSpPr>
                <p:spPr>
                  <a:xfrm>
                    <a:off x="6163409" y="4029667"/>
                    <a:ext cx="102352" cy="144223"/>
                  </a:xfrm>
                  <a:custGeom>
                    <a:avLst/>
                    <a:gdLst>
                      <a:gd name="connsiteX0" fmla="*/ 102677 w 102351"/>
                      <a:gd name="connsiteY0" fmla="*/ 72553 h 144222"/>
                      <a:gd name="connsiteX1" fmla="*/ 102654 w 102351"/>
                      <a:gd name="connsiteY1" fmla="*/ 70041 h 144222"/>
                      <a:gd name="connsiteX2" fmla="*/ 102607 w 102351"/>
                      <a:gd name="connsiteY2" fmla="*/ 68576 h 144222"/>
                      <a:gd name="connsiteX3" fmla="*/ 102445 w 102351"/>
                      <a:gd name="connsiteY3" fmla="*/ 65621 h 144222"/>
                      <a:gd name="connsiteX4" fmla="*/ 102212 w 102351"/>
                      <a:gd name="connsiteY4" fmla="*/ 62714 h 144222"/>
                      <a:gd name="connsiteX5" fmla="*/ 102072 w 102351"/>
                      <a:gd name="connsiteY5" fmla="*/ 61271 h 144222"/>
                      <a:gd name="connsiteX6" fmla="*/ 101979 w 102351"/>
                      <a:gd name="connsiteY6" fmla="*/ 60574 h 144222"/>
                      <a:gd name="connsiteX7" fmla="*/ 101281 w 102351"/>
                      <a:gd name="connsiteY7" fmla="*/ 55502 h 144222"/>
                      <a:gd name="connsiteX8" fmla="*/ 101281 w 102351"/>
                      <a:gd name="connsiteY8" fmla="*/ 55502 h 144222"/>
                      <a:gd name="connsiteX9" fmla="*/ 101026 w 102351"/>
                      <a:gd name="connsiteY9" fmla="*/ 54107 h 144222"/>
                      <a:gd name="connsiteX10" fmla="*/ 99793 w 102351"/>
                      <a:gd name="connsiteY10" fmla="*/ 48454 h 144222"/>
                      <a:gd name="connsiteX11" fmla="*/ 99769 w 102351"/>
                      <a:gd name="connsiteY11" fmla="*/ 48338 h 144222"/>
                      <a:gd name="connsiteX12" fmla="*/ 99444 w 102351"/>
                      <a:gd name="connsiteY12" fmla="*/ 47082 h 144222"/>
                      <a:gd name="connsiteX13" fmla="*/ 99444 w 102351"/>
                      <a:gd name="connsiteY13" fmla="*/ 47082 h 144222"/>
                      <a:gd name="connsiteX14" fmla="*/ 97815 w 102351"/>
                      <a:gd name="connsiteY14" fmla="*/ 41662 h 144222"/>
                      <a:gd name="connsiteX15" fmla="*/ 97746 w 102351"/>
                      <a:gd name="connsiteY15" fmla="*/ 41452 h 144222"/>
                      <a:gd name="connsiteX16" fmla="*/ 97374 w 102351"/>
                      <a:gd name="connsiteY16" fmla="*/ 40359 h 144222"/>
                      <a:gd name="connsiteX17" fmla="*/ 95373 w 102351"/>
                      <a:gd name="connsiteY17" fmla="*/ 35195 h 144222"/>
                      <a:gd name="connsiteX18" fmla="*/ 95233 w 102351"/>
                      <a:gd name="connsiteY18" fmla="*/ 34893 h 144222"/>
                      <a:gd name="connsiteX19" fmla="*/ 94838 w 102351"/>
                      <a:gd name="connsiteY19" fmla="*/ 33962 h 144222"/>
                      <a:gd name="connsiteX20" fmla="*/ 94838 w 102351"/>
                      <a:gd name="connsiteY20" fmla="*/ 33962 h 144222"/>
                      <a:gd name="connsiteX21" fmla="*/ 92465 w 102351"/>
                      <a:gd name="connsiteY21" fmla="*/ 29100 h 144222"/>
                      <a:gd name="connsiteX22" fmla="*/ 92233 w 102351"/>
                      <a:gd name="connsiteY22" fmla="*/ 28658 h 144222"/>
                      <a:gd name="connsiteX23" fmla="*/ 91837 w 102351"/>
                      <a:gd name="connsiteY23" fmla="*/ 27937 h 144222"/>
                      <a:gd name="connsiteX24" fmla="*/ 91837 w 102351"/>
                      <a:gd name="connsiteY24" fmla="*/ 27937 h 144222"/>
                      <a:gd name="connsiteX25" fmla="*/ 91837 w 102351"/>
                      <a:gd name="connsiteY25" fmla="*/ 27937 h 144222"/>
                      <a:gd name="connsiteX26" fmla="*/ 89162 w 102351"/>
                      <a:gd name="connsiteY26" fmla="*/ 23425 h 144222"/>
                      <a:gd name="connsiteX27" fmla="*/ 88767 w 102351"/>
                      <a:gd name="connsiteY27" fmla="*/ 22866 h 144222"/>
                      <a:gd name="connsiteX28" fmla="*/ 88441 w 102351"/>
                      <a:gd name="connsiteY28" fmla="*/ 22378 h 144222"/>
                      <a:gd name="connsiteX29" fmla="*/ 86976 w 102351"/>
                      <a:gd name="connsiteY29" fmla="*/ 20284 h 144222"/>
                      <a:gd name="connsiteX30" fmla="*/ 85440 w 102351"/>
                      <a:gd name="connsiteY30" fmla="*/ 18284 h 144222"/>
                      <a:gd name="connsiteX31" fmla="*/ 84859 w 102351"/>
                      <a:gd name="connsiteY31" fmla="*/ 17563 h 144222"/>
                      <a:gd name="connsiteX32" fmla="*/ 84649 w 102351"/>
                      <a:gd name="connsiteY32" fmla="*/ 17330 h 144222"/>
                      <a:gd name="connsiteX33" fmla="*/ 84649 w 102351"/>
                      <a:gd name="connsiteY33" fmla="*/ 17330 h 144222"/>
                      <a:gd name="connsiteX34" fmla="*/ 83044 w 102351"/>
                      <a:gd name="connsiteY34" fmla="*/ 15446 h 144222"/>
                      <a:gd name="connsiteX35" fmla="*/ 82044 w 102351"/>
                      <a:gd name="connsiteY35" fmla="*/ 14399 h 144222"/>
                      <a:gd name="connsiteX36" fmla="*/ 81369 w 102351"/>
                      <a:gd name="connsiteY36" fmla="*/ 13678 h 144222"/>
                      <a:gd name="connsiteX37" fmla="*/ 81369 w 102351"/>
                      <a:gd name="connsiteY37" fmla="*/ 13678 h 144222"/>
                      <a:gd name="connsiteX38" fmla="*/ 81369 w 102351"/>
                      <a:gd name="connsiteY38" fmla="*/ 13678 h 144222"/>
                      <a:gd name="connsiteX39" fmla="*/ 80532 w 102351"/>
                      <a:gd name="connsiteY39" fmla="*/ 12841 h 144222"/>
                      <a:gd name="connsiteX40" fmla="*/ 78787 w 102351"/>
                      <a:gd name="connsiteY40" fmla="*/ 11212 h 144222"/>
                      <a:gd name="connsiteX41" fmla="*/ 78276 w 102351"/>
                      <a:gd name="connsiteY41" fmla="*/ 10770 h 144222"/>
                      <a:gd name="connsiteX42" fmla="*/ 77020 w 102351"/>
                      <a:gd name="connsiteY42" fmla="*/ 9700 h 144222"/>
                      <a:gd name="connsiteX43" fmla="*/ 76112 w 102351"/>
                      <a:gd name="connsiteY43" fmla="*/ 8979 h 144222"/>
                      <a:gd name="connsiteX44" fmla="*/ 72390 w 102351"/>
                      <a:gd name="connsiteY44" fmla="*/ 6350 h 144222"/>
                      <a:gd name="connsiteX45" fmla="*/ 71437 w 102351"/>
                      <a:gd name="connsiteY45" fmla="*/ 5769 h 144222"/>
                      <a:gd name="connsiteX46" fmla="*/ 71437 w 102351"/>
                      <a:gd name="connsiteY46" fmla="*/ 5769 h 144222"/>
                      <a:gd name="connsiteX47" fmla="*/ 71437 w 102351"/>
                      <a:gd name="connsiteY47" fmla="*/ 5769 h 144222"/>
                      <a:gd name="connsiteX48" fmla="*/ 67529 w 102351"/>
                      <a:gd name="connsiteY48" fmla="*/ 3675 h 144222"/>
                      <a:gd name="connsiteX49" fmla="*/ 67529 w 102351"/>
                      <a:gd name="connsiteY49" fmla="*/ 3675 h 144222"/>
                      <a:gd name="connsiteX50" fmla="*/ 67529 w 102351"/>
                      <a:gd name="connsiteY50" fmla="*/ 3675 h 144222"/>
                      <a:gd name="connsiteX51" fmla="*/ 66552 w 102351"/>
                      <a:gd name="connsiteY51" fmla="*/ 3233 h 144222"/>
                      <a:gd name="connsiteX52" fmla="*/ 62527 w 102351"/>
                      <a:gd name="connsiteY52" fmla="*/ 1721 h 144222"/>
                      <a:gd name="connsiteX53" fmla="*/ 61527 w 102351"/>
                      <a:gd name="connsiteY53" fmla="*/ 1419 h 144222"/>
                      <a:gd name="connsiteX54" fmla="*/ 61527 w 102351"/>
                      <a:gd name="connsiteY54" fmla="*/ 1419 h 144222"/>
                      <a:gd name="connsiteX55" fmla="*/ 61527 w 102351"/>
                      <a:gd name="connsiteY55" fmla="*/ 1419 h 144222"/>
                      <a:gd name="connsiteX56" fmla="*/ 59480 w 102351"/>
                      <a:gd name="connsiteY56" fmla="*/ 907 h 144222"/>
                      <a:gd name="connsiteX57" fmla="*/ 57410 w 102351"/>
                      <a:gd name="connsiteY57" fmla="*/ 489 h 144222"/>
                      <a:gd name="connsiteX58" fmla="*/ 56386 w 102351"/>
                      <a:gd name="connsiteY58" fmla="*/ 326 h 144222"/>
                      <a:gd name="connsiteX59" fmla="*/ 52223 w 102351"/>
                      <a:gd name="connsiteY59" fmla="*/ 0 h 144222"/>
                      <a:gd name="connsiteX60" fmla="*/ 51199 w 102351"/>
                      <a:gd name="connsiteY60" fmla="*/ 0 h 144222"/>
                      <a:gd name="connsiteX61" fmla="*/ 47035 w 102351"/>
                      <a:gd name="connsiteY61" fmla="*/ 256 h 144222"/>
                      <a:gd name="connsiteX62" fmla="*/ 47035 w 102351"/>
                      <a:gd name="connsiteY62" fmla="*/ 256 h 144222"/>
                      <a:gd name="connsiteX63" fmla="*/ 46337 w 102351"/>
                      <a:gd name="connsiteY63" fmla="*/ 349 h 144222"/>
                      <a:gd name="connsiteX64" fmla="*/ 46012 w 102351"/>
                      <a:gd name="connsiteY64" fmla="*/ 395 h 144222"/>
                      <a:gd name="connsiteX65" fmla="*/ 43941 w 102351"/>
                      <a:gd name="connsiteY65" fmla="*/ 768 h 144222"/>
                      <a:gd name="connsiteX66" fmla="*/ 41894 w 102351"/>
                      <a:gd name="connsiteY66" fmla="*/ 1256 h 144222"/>
                      <a:gd name="connsiteX67" fmla="*/ 40871 w 102351"/>
                      <a:gd name="connsiteY67" fmla="*/ 1535 h 144222"/>
                      <a:gd name="connsiteX68" fmla="*/ 36823 w 102351"/>
                      <a:gd name="connsiteY68" fmla="*/ 2977 h 144222"/>
                      <a:gd name="connsiteX69" fmla="*/ 35846 w 102351"/>
                      <a:gd name="connsiteY69" fmla="*/ 3396 h 144222"/>
                      <a:gd name="connsiteX70" fmla="*/ 33869 w 102351"/>
                      <a:gd name="connsiteY70" fmla="*/ 4350 h 144222"/>
                      <a:gd name="connsiteX71" fmla="*/ 31938 w 102351"/>
                      <a:gd name="connsiteY71" fmla="*/ 5420 h 144222"/>
                      <a:gd name="connsiteX72" fmla="*/ 31938 w 102351"/>
                      <a:gd name="connsiteY72" fmla="*/ 5420 h 144222"/>
                      <a:gd name="connsiteX73" fmla="*/ 31938 w 102351"/>
                      <a:gd name="connsiteY73" fmla="*/ 5420 h 144222"/>
                      <a:gd name="connsiteX74" fmla="*/ 30985 w 102351"/>
                      <a:gd name="connsiteY74" fmla="*/ 5978 h 144222"/>
                      <a:gd name="connsiteX75" fmla="*/ 28565 w 102351"/>
                      <a:gd name="connsiteY75" fmla="*/ 7583 h 144222"/>
                      <a:gd name="connsiteX76" fmla="*/ 28193 w 102351"/>
                      <a:gd name="connsiteY76" fmla="*/ 7862 h 144222"/>
                      <a:gd name="connsiteX77" fmla="*/ 27239 w 102351"/>
                      <a:gd name="connsiteY77" fmla="*/ 8537 h 144222"/>
                      <a:gd name="connsiteX78" fmla="*/ 27239 w 102351"/>
                      <a:gd name="connsiteY78" fmla="*/ 8537 h 144222"/>
                      <a:gd name="connsiteX79" fmla="*/ 26542 w 102351"/>
                      <a:gd name="connsiteY79" fmla="*/ 9072 h 144222"/>
                      <a:gd name="connsiteX80" fmla="*/ 26332 w 102351"/>
                      <a:gd name="connsiteY80" fmla="*/ 9235 h 144222"/>
                      <a:gd name="connsiteX81" fmla="*/ 24518 w 102351"/>
                      <a:gd name="connsiteY81" fmla="*/ 10724 h 144222"/>
                      <a:gd name="connsiteX82" fmla="*/ 22773 w 102351"/>
                      <a:gd name="connsiteY82" fmla="*/ 12329 h 144222"/>
                      <a:gd name="connsiteX83" fmla="*/ 22773 w 102351"/>
                      <a:gd name="connsiteY83" fmla="*/ 12329 h 144222"/>
                      <a:gd name="connsiteX84" fmla="*/ 21913 w 102351"/>
                      <a:gd name="connsiteY84" fmla="*/ 13143 h 144222"/>
                      <a:gd name="connsiteX85" fmla="*/ 18609 w 102351"/>
                      <a:gd name="connsiteY85" fmla="*/ 16725 h 144222"/>
                      <a:gd name="connsiteX86" fmla="*/ 17818 w 102351"/>
                      <a:gd name="connsiteY86" fmla="*/ 17679 h 144222"/>
                      <a:gd name="connsiteX87" fmla="*/ 14771 w 102351"/>
                      <a:gd name="connsiteY87" fmla="*/ 21703 h 144222"/>
                      <a:gd name="connsiteX88" fmla="*/ 14422 w 102351"/>
                      <a:gd name="connsiteY88" fmla="*/ 22238 h 144222"/>
                      <a:gd name="connsiteX89" fmla="*/ 14050 w 102351"/>
                      <a:gd name="connsiteY89" fmla="*/ 22773 h 144222"/>
                      <a:gd name="connsiteX90" fmla="*/ 11305 w 102351"/>
                      <a:gd name="connsiteY90" fmla="*/ 27216 h 144222"/>
                      <a:gd name="connsiteX91" fmla="*/ 10654 w 102351"/>
                      <a:gd name="connsiteY91" fmla="*/ 28379 h 144222"/>
                      <a:gd name="connsiteX92" fmla="*/ 8235 w 102351"/>
                      <a:gd name="connsiteY92" fmla="*/ 33171 h 144222"/>
                      <a:gd name="connsiteX93" fmla="*/ 7676 w 102351"/>
                      <a:gd name="connsiteY93" fmla="*/ 34404 h 144222"/>
                      <a:gd name="connsiteX94" fmla="*/ 7676 w 102351"/>
                      <a:gd name="connsiteY94" fmla="*/ 34404 h 144222"/>
                      <a:gd name="connsiteX95" fmla="*/ 5629 w 102351"/>
                      <a:gd name="connsiteY95" fmla="*/ 39522 h 144222"/>
                      <a:gd name="connsiteX96" fmla="*/ 5164 w 102351"/>
                      <a:gd name="connsiteY96" fmla="*/ 40848 h 144222"/>
                      <a:gd name="connsiteX97" fmla="*/ 5164 w 102351"/>
                      <a:gd name="connsiteY97" fmla="*/ 40848 h 144222"/>
                      <a:gd name="connsiteX98" fmla="*/ 3489 w 102351"/>
                      <a:gd name="connsiteY98" fmla="*/ 46244 h 144222"/>
                      <a:gd name="connsiteX99" fmla="*/ 3489 w 102351"/>
                      <a:gd name="connsiteY99" fmla="*/ 46244 h 144222"/>
                      <a:gd name="connsiteX100" fmla="*/ 3489 w 102351"/>
                      <a:gd name="connsiteY100" fmla="*/ 46244 h 144222"/>
                      <a:gd name="connsiteX101" fmla="*/ 3117 w 102351"/>
                      <a:gd name="connsiteY101" fmla="*/ 47617 h 144222"/>
                      <a:gd name="connsiteX102" fmla="*/ 1838 w 102351"/>
                      <a:gd name="connsiteY102" fmla="*/ 53223 h 144222"/>
                      <a:gd name="connsiteX103" fmla="*/ 1582 w 102351"/>
                      <a:gd name="connsiteY103" fmla="*/ 54619 h 144222"/>
                      <a:gd name="connsiteX104" fmla="*/ 721 w 102351"/>
                      <a:gd name="connsiteY104" fmla="*/ 60364 h 144222"/>
                      <a:gd name="connsiteX105" fmla="*/ 558 w 102351"/>
                      <a:gd name="connsiteY105" fmla="*/ 61806 h 144222"/>
                      <a:gd name="connsiteX106" fmla="*/ 558 w 102351"/>
                      <a:gd name="connsiteY106" fmla="*/ 61806 h 144222"/>
                      <a:gd name="connsiteX107" fmla="*/ 558 w 102351"/>
                      <a:gd name="connsiteY107" fmla="*/ 61806 h 144222"/>
                      <a:gd name="connsiteX108" fmla="*/ 116 w 102351"/>
                      <a:gd name="connsiteY108" fmla="*/ 67668 h 144222"/>
                      <a:gd name="connsiteX109" fmla="*/ 70 w 102351"/>
                      <a:gd name="connsiteY109" fmla="*/ 69134 h 144222"/>
                      <a:gd name="connsiteX110" fmla="*/ 70 w 102351"/>
                      <a:gd name="connsiteY110" fmla="*/ 69134 h 144222"/>
                      <a:gd name="connsiteX111" fmla="*/ 0 w 102351"/>
                      <a:gd name="connsiteY111" fmla="*/ 72670 h 144222"/>
                      <a:gd name="connsiteX112" fmla="*/ 23 w 102351"/>
                      <a:gd name="connsiteY112" fmla="*/ 74949 h 144222"/>
                      <a:gd name="connsiteX113" fmla="*/ 23 w 102351"/>
                      <a:gd name="connsiteY113" fmla="*/ 74949 h 144222"/>
                      <a:gd name="connsiteX114" fmla="*/ 23 w 102351"/>
                      <a:gd name="connsiteY114" fmla="*/ 74949 h 144222"/>
                      <a:gd name="connsiteX115" fmla="*/ 47 w 102351"/>
                      <a:gd name="connsiteY115" fmla="*/ 75973 h 144222"/>
                      <a:gd name="connsiteX116" fmla="*/ 70 w 102351"/>
                      <a:gd name="connsiteY116" fmla="*/ 76461 h 144222"/>
                      <a:gd name="connsiteX117" fmla="*/ 70 w 102351"/>
                      <a:gd name="connsiteY117" fmla="*/ 76461 h 144222"/>
                      <a:gd name="connsiteX118" fmla="*/ 70 w 102351"/>
                      <a:gd name="connsiteY118" fmla="*/ 76461 h 144222"/>
                      <a:gd name="connsiteX119" fmla="*/ 233 w 102351"/>
                      <a:gd name="connsiteY119" fmla="*/ 79416 h 144222"/>
                      <a:gd name="connsiteX120" fmla="*/ 419 w 102351"/>
                      <a:gd name="connsiteY120" fmla="*/ 81742 h 144222"/>
                      <a:gd name="connsiteX121" fmla="*/ 465 w 102351"/>
                      <a:gd name="connsiteY121" fmla="*/ 82323 h 144222"/>
                      <a:gd name="connsiteX122" fmla="*/ 605 w 102351"/>
                      <a:gd name="connsiteY122" fmla="*/ 83765 h 144222"/>
                      <a:gd name="connsiteX123" fmla="*/ 1419 w 102351"/>
                      <a:gd name="connsiteY123" fmla="*/ 89558 h 144222"/>
                      <a:gd name="connsiteX124" fmla="*/ 1675 w 102351"/>
                      <a:gd name="connsiteY124" fmla="*/ 90977 h 144222"/>
                      <a:gd name="connsiteX125" fmla="*/ 2884 w 102351"/>
                      <a:gd name="connsiteY125" fmla="*/ 96629 h 144222"/>
                      <a:gd name="connsiteX126" fmla="*/ 3233 w 102351"/>
                      <a:gd name="connsiteY126" fmla="*/ 98002 h 144222"/>
                      <a:gd name="connsiteX127" fmla="*/ 3233 w 102351"/>
                      <a:gd name="connsiteY127" fmla="*/ 98002 h 144222"/>
                      <a:gd name="connsiteX128" fmla="*/ 3233 w 102351"/>
                      <a:gd name="connsiteY128" fmla="*/ 98002 h 144222"/>
                      <a:gd name="connsiteX129" fmla="*/ 4280 w 102351"/>
                      <a:gd name="connsiteY129" fmla="*/ 101514 h 144222"/>
                      <a:gd name="connsiteX130" fmla="*/ 4838 w 102351"/>
                      <a:gd name="connsiteY130" fmla="*/ 103422 h 144222"/>
                      <a:gd name="connsiteX131" fmla="*/ 5280 w 102351"/>
                      <a:gd name="connsiteY131" fmla="*/ 104724 h 144222"/>
                      <a:gd name="connsiteX132" fmla="*/ 7281 w 102351"/>
                      <a:gd name="connsiteY132" fmla="*/ 109888 h 144222"/>
                      <a:gd name="connsiteX133" fmla="*/ 7281 w 102351"/>
                      <a:gd name="connsiteY133" fmla="*/ 109888 h 144222"/>
                      <a:gd name="connsiteX134" fmla="*/ 7281 w 102351"/>
                      <a:gd name="connsiteY134" fmla="*/ 109888 h 144222"/>
                      <a:gd name="connsiteX135" fmla="*/ 7816 w 102351"/>
                      <a:gd name="connsiteY135" fmla="*/ 111121 h 144222"/>
                      <a:gd name="connsiteX136" fmla="*/ 7816 w 102351"/>
                      <a:gd name="connsiteY136" fmla="*/ 111121 h 144222"/>
                      <a:gd name="connsiteX137" fmla="*/ 7816 w 102351"/>
                      <a:gd name="connsiteY137" fmla="*/ 111121 h 144222"/>
                      <a:gd name="connsiteX138" fmla="*/ 10165 w 102351"/>
                      <a:gd name="connsiteY138" fmla="*/ 115983 h 144222"/>
                      <a:gd name="connsiteX139" fmla="*/ 10793 w 102351"/>
                      <a:gd name="connsiteY139" fmla="*/ 117146 h 144222"/>
                      <a:gd name="connsiteX140" fmla="*/ 13469 w 102351"/>
                      <a:gd name="connsiteY140" fmla="*/ 121659 h 144222"/>
                      <a:gd name="connsiteX141" fmla="*/ 13469 w 102351"/>
                      <a:gd name="connsiteY141" fmla="*/ 121659 h 144222"/>
                      <a:gd name="connsiteX142" fmla="*/ 13469 w 102351"/>
                      <a:gd name="connsiteY142" fmla="*/ 121659 h 144222"/>
                      <a:gd name="connsiteX143" fmla="*/ 14166 w 102351"/>
                      <a:gd name="connsiteY143" fmla="*/ 122729 h 144222"/>
                      <a:gd name="connsiteX144" fmla="*/ 14166 w 102351"/>
                      <a:gd name="connsiteY144" fmla="*/ 122729 h 144222"/>
                      <a:gd name="connsiteX145" fmla="*/ 14166 w 102351"/>
                      <a:gd name="connsiteY145" fmla="*/ 122729 h 144222"/>
                      <a:gd name="connsiteX146" fmla="*/ 14771 w 102351"/>
                      <a:gd name="connsiteY146" fmla="*/ 123590 h 144222"/>
                      <a:gd name="connsiteX147" fmla="*/ 16400 w 102351"/>
                      <a:gd name="connsiteY147" fmla="*/ 125823 h 144222"/>
                      <a:gd name="connsiteX148" fmla="*/ 17144 w 102351"/>
                      <a:gd name="connsiteY148" fmla="*/ 126823 h 144222"/>
                      <a:gd name="connsiteX149" fmla="*/ 17144 w 102351"/>
                      <a:gd name="connsiteY149" fmla="*/ 126823 h 144222"/>
                      <a:gd name="connsiteX150" fmla="*/ 17144 w 102351"/>
                      <a:gd name="connsiteY150" fmla="*/ 126823 h 144222"/>
                      <a:gd name="connsiteX151" fmla="*/ 17912 w 102351"/>
                      <a:gd name="connsiteY151" fmla="*/ 127800 h 144222"/>
                      <a:gd name="connsiteX152" fmla="*/ 17912 w 102351"/>
                      <a:gd name="connsiteY152" fmla="*/ 127800 h 144222"/>
                      <a:gd name="connsiteX153" fmla="*/ 17912 w 102351"/>
                      <a:gd name="connsiteY153" fmla="*/ 127800 h 144222"/>
                      <a:gd name="connsiteX154" fmla="*/ 19517 w 102351"/>
                      <a:gd name="connsiteY154" fmla="*/ 129661 h 144222"/>
                      <a:gd name="connsiteX155" fmla="*/ 21168 w 102351"/>
                      <a:gd name="connsiteY155" fmla="*/ 131452 h 144222"/>
                      <a:gd name="connsiteX156" fmla="*/ 22006 w 102351"/>
                      <a:gd name="connsiteY156" fmla="*/ 132289 h 144222"/>
                      <a:gd name="connsiteX157" fmla="*/ 25518 w 102351"/>
                      <a:gd name="connsiteY157" fmla="*/ 135453 h 144222"/>
                      <a:gd name="connsiteX158" fmla="*/ 26425 w 102351"/>
                      <a:gd name="connsiteY158" fmla="*/ 136174 h 144222"/>
                      <a:gd name="connsiteX159" fmla="*/ 26425 w 102351"/>
                      <a:gd name="connsiteY159" fmla="*/ 136174 h 144222"/>
                      <a:gd name="connsiteX160" fmla="*/ 28263 w 102351"/>
                      <a:gd name="connsiteY160" fmla="*/ 137547 h 144222"/>
                      <a:gd name="connsiteX161" fmla="*/ 30147 w 102351"/>
                      <a:gd name="connsiteY161" fmla="*/ 138826 h 144222"/>
                      <a:gd name="connsiteX162" fmla="*/ 31101 w 102351"/>
                      <a:gd name="connsiteY162" fmla="*/ 139408 h 144222"/>
                      <a:gd name="connsiteX163" fmla="*/ 33032 w 102351"/>
                      <a:gd name="connsiteY163" fmla="*/ 140524 h 144222"/>
                      <a:gd name="connsiteX164" fmla="*/ 35009 w 102351"/>
                      <a:gd name="connsiteY164" fmla="*/ 141524 h 144222"/>
                      <a:gd name="connsiteX165" fmla="*/ 35986 w 102351"/>
                      <a:gd name="connsiteY165" fmla="*/ 141966 h 144222"/>
                      <a:gd name="connsiteX166" fmla="*/ 37963 w 102351"/>
                      <a:gd name="connsiteY166" fmla="*/ 142780 h 144222"/>
                      <a:gd name="connsiteX167" fmla="*/ 40010 w 102351"/>
                      <a:gd name="connsiteY167" fmla="*/ 143478 h 144222"/>
                      <a:gd name="connsiteX168" fmla="*/ 40010 w 102351"/>
                      <a:gd name="connsiteY168" fmla="*/ 143478 h 144222"/>
                      <a:gd name="connsiteX169" fmla="*/ 40499 w 102351"/>
                      <a:gd name="connsiteY169" fmla="*/ 143641 h 144222"/>
                      <a:gd name="connsiteX170" fmla="*/ 41010 w 102351"/>
                      <a:gd name="connsiteY170" fmla="*/ 143804 h 144222"/>
                      <a:gd name="connsiteX171" fmla="*/ 45128 w 102351"/>
                      <a:gd name="connsiteY171" fmla="*/ 144734 h 144222"/>
                      <a:gd name="connsiteX172" fmla="*/ 45128 w 102351"/>
                      <a:gd name="connsiteY172" fmla="*/ 144734 h 144222"/>
                      <a:gd name="connsiteX173" fmla="*/ 45128 w 102351"/>
                      <a:gd name="connsiteY173" fmla="*/ 144734 h 144222"/>
                      <a:gd name="connsiteX174" fmla="*/ 46081 w 102351"/>
                      <a:gd name="connsiteY174" fmla="*/ 144897 h 144222"/>
                      <a:gd name="connsiteX175" fmla="*/ 46128 w 102351"/>
                      <a:gd name="connsiteY175" fmla="*/ 144897 h 144222"/>
                      <a:gd name="connsiteX176" fmla="*/ 46128 w 102351"/>
                      <a:gd name="connsiteY176" fmla="*/ 144897 h 144222"/>
                      <a:gd name="connsiteX177" fmla="*/ 48198 w 102351"/>
                      <a:gd name="connsiteY177" fmla="*/ 145130 h 144222"/>
                      <a:gd name="connsiteX178" fmla="*/ 50292 w 102351"/>
                      <a:gd name="connsiteY178" fmla="*/ 145246 h 144222"/>
                      <a:gd name="connsiteX179" fmla="*/ 51315 w 102351"/>
                      <a:gd name="connsiteY179" fmla="*/ 145246 h 144222"/>
                      <a:gd name="connsiteX180" fmla="*/ 54432 w 102351"/>
                      <a:gd name="connsiteY180" fmla="*/ 145083 h 144222"/>
                      <a:gd name="connsiteX181" fmla="*/ 55456 w 102351"/>
                      <a:gd name="connsiteY181" fmla="*/ 144990 h 144222"/>
                      <a:gd name="connsiteX182" fmla="*/ 55456 w 102351"/>
                      <a:gd name="connsiteY182" fmla="*/ 144990 h 144222"/>
                      <a:gd name="connsiteX183" fmla="*/ 56479 w 102351"/>
                      <a:gd name="connsiteY183" fmla="*/ 144851 h 144222"/>
                      <a:gd name="connsiteX184" fmla="*/ 60597 w 102351"/>
                      <a:gd name="connsiteY184" fmla="*/ 144013 h 144222"/>
                      <a:gd name="connsiteX185" fmla="*/ 61620 w 102351"/>
                      <a:gd name="connsiteY185" fmla="*/ 143734 h 144222"/>
                      <a:gd name="connsiteX186" fmla="*/ 63667 w 102351"/>
                      <a:gd name="connsiteY186" fmla="*/ 143083 h 144222"/>
                      <a:gd name="connsiteX187" fmla="*/ 65668 w 102351"/>
                      <a:gd name="connsiteY187" fmla="*/ 142315 h 144222"/>
                      <a:gd name="connsiteX188" fmla="*/ 65668 w 102351"/>
                      <a:gd name="connsiteY188" fmla="*/ 142315 h 144222"/>
                      <a:gd name="connsiteX189" fmla="*/ 66645 w 102351"/>
                      <a:gd name="connsiteY189" fmla="*/ 141896 h 144222"/>
                      <a:gd name="connsiteX190" fmla="*/ 67761 w 102351"/>
                      <a:gd name="connsiteY190" fmla="*/ 141361 h 144222"/>
                      <a:gd name="connsiteX191" fmla="*/ 68622 w 102351"/>
                      <a:gd name="connsiteY191" fmla="*/ 140943 h 144222"/>
                      <a:gd name="connsiteX192" fmla="*/ 70553 w 102351"/>
                      <a:gd name="connsiteY192" fmla="*/ 139896 h 144222"/>
                      <a:gd name="connsiteX193" fmla="*/ 71506 w 102351"/>
                      <a:gd name="connsiteY193" fmla="*/ 139338 h 144222"/>
                      <a:gd name="connsiteX194" fmla="*/ 75275 w 102351"/>
                      <a:gd name="connsiteY194" fmla="*/ 136802 h 144222"/>
                      <a:gd name="connsiteX195" fmla="*/ 76182 w 102351"/>
                      <a:gd name="connsiteY195" fmla="*/ 136104 h 144222"/>
                      <a:gd name="connsiteX196" fmla="*/ 79718 w 102351"/>
                      <a:gd name="connsiteY196" fmla="*/ 133034 h 144222"/>
                      <a:gd name="connsiteX197" fmla="*/ 80579 w 102351"/>
                      <a:gd name="connsiteY197" fmla="*/ 132220 h 144222"/>
                      <a:gd name="connsiteX198" fmla="*/ 80579 w 102351"/>
                      <a:gd name="connsiteY198" fmla="*/ 132220 h 144222"/>
                      <a:gd name="connsiteX199" fmla="*/ 82253 w 102351"/>
                      <a:gd name="connsiteY199" fmla="*/ 130498 h 144222"/>
                      <a:gd name="connsiteX200" fmla="*/ 83882 w 102351"/>
                      <a:gd name="connsiteY200" fmla="*/ 128661 h 144222"/>
                      <a:gd name="connsiteX201" fmla="*/ 84045 w 102351"/>
                      <a:gd name="connsiteY201" fmla="*/ 128451 h 144222"/>
                      <a:gd name="connsiteX202" fmla="*/ 84673 w 102351"/>
                      <a:gd name="connsiteY202" fmla="*/ 127707 h 144222"/>
                      <a:gd name="connsiteX203" fmla="*/ 84696 w 102351"/>
                      <a:gd name="connsiteY203" fmla="*/ 127684 h 144222"/>
                      <a:gd name="connsiteX204" fmla="*/ 86231 w 102351"/>
                      <a:gd name="connsiteY204" fmla="*/ 125753 h 144222"/>
                      <a:gd name="connsiteX205" fmla="*/ 87720 w 102351"/>
                      <a:gd name="connsiteY205" fmla="*/ 123706 h 144222"/>
                      <a:gd name="connsiteX206" fmla="*/ 88046 w 102351"/>
                      <a:gd name="connsiteY206" fmla="*/ 123241 h 144222"/>
                      <a:gd name="connsiteX207" fmla="*/ 88464 w 102351"/>
                      <a:gd name="connsiteY207" fmla="*/ 122636 h 144222"/>
                      <a:gd name="connsiteX208" fmla="*/ 88464 w 102351"/>
                      <a:gd name="connsiteY208" fmla="*/ 122636 h 144222"/>
                      <a:gd name="connsiteX209" fmla="*/ 91209 w 102351"/>
                      <a:gd name="connsiteY209" fmla="*/ 118193 h 144222"/>
                      <a:gd name="connsiteX210" fmla="*/ 91209 w 102351"/>
                      <a:gd name="connsiteY210" fmla="*/ 118193 h 144222"/>
                      <a:gd name="connsiteX211" fmla="*/ 91605 w 102351"/>
                      <a:gd name="connsiteY211" fmla="*/ 117495 h 144222"/>
                      <a:gd name="connsiteX212" fmla="*/ 91860 w 102351"/>
                      <a:gd name="connsiteY212" fmla="*/ 117053 h 144222"/>
                      <a:gd name="connsiteX213" fmla="*/ 94280 w 102351"/>
                      <a:gd name="connsiteY213" fmla="*/ 112238 h 144222"/>
                      <a:gd name="connsiteX214" fmla="*/ 94698 w 102351"/>
                      <a:gd name="connsiteY214" fmla="*/ 111331 h 144222"/>
                      <a:gd name="connsiteX215" fmla="*/ 94838 w 102351"/>
                      <a:gd name="connsiteY215" fmla="*/ 111005 h 144222"/>
                      <a:gd name="connsiteX216" fmla="*/ 96908 w 102351"/>
                      <a:gd name="connsiteY216" fmla="*/ 105887 h 144222"/>
                      <a:gd name="connsiteX217" fmla="*/ 96908 w 102351"/>
                      <a:gd name="connsiteY217" fmla="*/ 105887 h 144222"/>
                      <a:gd name="connsiteX218" fmla="*/ 97304 w 102351"/>
                      <a:gd name="connsiteY218" fmla="*/ 104794 h 144222"/>
                      <a:gd name="connsiteX219" fmla="*/ 97374 w 102351"/>
                      <a:gd name="connsiteY219" fmla="*/ 104585 h 144222"/>
                      <a:gd name="connsiteX220" fmla="*/ 97374 w 102351"/>
                      <a:gd name="connsiteY220" fmla="*/ 104585 h 144222"/>
                      <a:gd name="connsiteX221" fmla="*/ 99048 w 102351"/>
                      <a:gd name="connsiteY221" fmla="*/ 99188 h 144222"/>
                      <a:gd name="connsiteX222" fmla="*/ 99048 w 102351"/>
                      <a:gd name="connsiteY222" fmla="*/ 99188 h 144222"/>
                      <a:gd name="connsiteX223" fmla="*/ 99374 w 102351"/>
                      <a:gd name="connsiteY223" fmla="*/ 97955 h 144222"/>
                      <a:gd name="connsiteX224" fmla="*/ 99421 w 102351"/>
                      <a:gd name="connsiteY224" fmla="*/ 97816 h 144222"/>
                      <a:gd name="connsiteX225" fmla="*/ 99421 w 102351"/>
                      <a:gd name="connsiteY225" fmla="*/ 97816 h 144222"/>
                      <a:gd name="connsiteX226" fmla="*/ 100700 w 102351"/>
                      <a:gd name="connsiteY226" fmla="*/ 92186 h 144222"/>
                      <a:gd name="connsiteX227" fmla="*/ 100956 w 102351"/>
                      <a:gd name="connsiteY227" fmla="*/ 90837 h 144222"/>
                      <a:gd name="connsiteX228" fmla="*/ 100956 w 102351"/>
                      <a:gd name="connsiteY228" fmla="*/ 90767 h 144222"/>
                      <a:gd name="connsiteX229" fmla="*/ 100956 w 102351"/>
                      <a:gd name="connsiteY229" fmla="*/ 90767 h 144222"/>
                      <a:gd name="connsiteX230" fmla="*/ 100956 w 102351"/>
                      <a:gd name="connsiteY230" fmla="*/ 90767 h 144222"/>
                      <a:gd name="connsiteX231" fmla="*/ 101840 w 102351"/>
                      <a:gd name="connsiteY231" fmla="*/ 85022 h 144222"/>
                      <a:gd name="connsiteX232" fmla="*/ 102003 w 102351"/>
                      <a:gd name="connsiteY232" fmla="*/ 83603 h 144222"/>
                      <a:gd name="connsiteX233" fmla="*/ 102003 w 102351"/>
                      <a:gd name="connsiteY233" fmla="*/ 83579 h 144222"/>
                      <a:gd name="connsiteX234" fmla="*/ 102468 w 102351"/>
                      <a:gd name="connsiteY234" fmla="*/ 77717 h 144222"/>
                      <a:gd name="connsiteX235" fmla="*/ 102538 w 102351"/>
                      <a:gd name="connsiteY235" fmla="*/ 76275 h 144222"/>
                      <a:gd name="connsiteX236" fmla="*/ 102538 w 102351"/>
                      <a:gd name="connsiteY236" fmla="*/ 76275 h 144222"/>
                      <a:gd name="connsiteX237" fmla="*/ 102677 w 102351"/>
                      <a:gd name="connsiteY237" fmla="*/ 72553 h 144222"/>
                      <a:gd name="connsiteX238" fmla="*/ 97722 w 102351"/>
                      <a:gd name="connsiteY238" fmla="*/ 77694 h 144222"/>
                      <a:gd name="connsiteX239" fmla="*/ 97211 w 102351"/>
                      <a:gd name="connsiteY239" fmla="*/ 83579 h 144222"/>
                      <a:gd name="connsiteX240" fmla="*/ 97025 w 102351"/>
                      <a:gd name="connsiteY240" fmla="*/ 84998 h 144222"/>
                      <a:gd name="connsiteX241" fmla="*/ 96048 w 102351"/>
                      <a:gd name="connsiteY241" fmla="*/ 90814 h 144222"/>
                      <a:gd name="connsiteX242" fmla="*/ 95792 w 102351"/>
                      <a:gd name="connsiteY242" fmla="*/ 92116 h 144222"/>
                      <a:gd name="connsiteX243" fmla="*/ 95071 w 102351"/>
                      <a:gd name="connsiteY243" fmla="*/ 95187 h 144222"/>
                      <a:gd name="connsiteX244" fmla="*/ 93303 w 102351"/>
                      <a:gd name="connsiteY244" fmla="*/ 101095 h 144222"/>
                      <a:gd name="connsiteX245" fmla="*/ 91163 w 102351"/>
                      <a:gd name="connsiteY245" fmla="*/ 106678 h 144222"/>
                      <a:gd name="connsiteX246" fmla="*/ 88650 w 102351"/>
                      <a:gd name="connsiteY246" fmla="*/ 111935 h 144222"/>
                      <a:gd name="connsiteX247" fmla="*/ 87255 w 102351"/>
                      <a:gd name="connsiteY247" fmla="*/ 114424 h 144222"/>
                      <a:gd name="connsiteX248" fmla="*/ 82649 w 102351"/>
                      <a:gd name="connsiteY248" fmla="*/ 121263 h 144222"/>
                      <a:gd name="connsiteX249" fmla="*/ 80974 w 102351"/>
                      <a:gd name="connsiteY249" fmla="*/ 123334 h 144222"/>
                      <a:gd name="connsiteX250" fmla="*/ 51385 w 102351"/>
                      <a:gd name="connsiteY250" fmla="*/ 138361 h 144222"/>
                      <a:gd name="connsiteX251" fmla="*/ 23541 w 102351"/>
                      <a:gd name="connsiteY251" fmla="*/ 125288 h 144222"/>
                      <a:gd name="connsiteX252" fmla="*/ 18493 w 102351"/>
                      <a:gd name="connsiteY252" fmla="*/ 119077 h 144222"/>
                      <a:gd name="connsiteX253" fmla="*/ 15492 w 102351"/>
                      <a:gd name="connsiteY253" fmla="*/ 114401 h 144222"/>
                      <a:gd name="connsiteX254" fmla="*/ 14097 w 102351"/>
                      <a:gd name="connsiteY254" fmla="*/ 111912 h 144222"/>
                      <a:gd name="connsiteX255" fmla="*/ 11584 w 102351"/>
                      <a:gd name="connsiteY255" fmla="*/ 106655 h 144222"/>
                      <a:gd name="connsiteX256" fmla="*/ 6932 w 102351"/>
                      <a:gd name="connsiteY256" fmla="*/ 92093 h 144222"/>
                      <a:gd name="connsiteX257" fmla="*/ 4838 w 102351"/>
                      <a:gd name="connsiteY257" fmla="*/ 72530 h 144222"/>
                      <a:gd name="connsiteX258" fmla="*/ 4838 w 102351"/>
                      <a:gd name="connsiteY258" fmla="*/ 72530 h 144222"/>
                      <a:gd name="connsiteX259" fmla="*/ 6304 w 102351"/>
                      <a:gd name="connsiteY259" fmla="*/ 56084 h 144222"/>
                      <a:gd name="connsiteX260" fmla="*/ 6932 w 102351"/>
                      <a:gd name="connsiteY260" fmla="*/ 52967 h 144222"/>
                      <a:gd name="connsiteX261" fmla="*/ 16935 w 102351"/>
                      <a:gd name="connsiteY261" fmla="*/ 28310 h 144222"/>
                      <a:gd name="connsiteX262" fmla="*/ 18470 w 102351"/>
                      <a:gd name="connsiteY262" fmla="*/ 26030 h 144222"/>
                      <a:gd name="connsiteX263" fmla="*/ 31194 w 102351"/>
                      <a:gd name="connsiteY263" fmla="*/ 13259 h 144222"/>
                      <a:gd name="connsiteX264" fmla="*/ 33264 w 102351"/>
                      <a:gd name="connsiteY264" fmla="*/ 11933 h 144222"/>
                      <a:gd name="connsiteX265" fmla="*/ 51362 w 102351"/>
                      <a:gd name="connsiteY265" fmla="*/ 6769 h 144222"/>
                      <a:gd name="connsiteX266" fmla="*/ 69459 w 102351"/>
                      <a:gd name="connsiteY266" fmla="*/ 11933 h 144222"/>
                      <a:gd name="connsiteX267" fmla="*/ 71506 w 102351"/>
                      <a:gd name="connsiteY267" fmla="*/ 13259 h 144222"/>
                      <a:gd name="connsiteX268" fmla="*/ 95768 w 102351"/>
                      <a:gd name="connsiteY268" fmla="*/ 52990 h 144222"/>
                      <a:gd name="connsiteX269" fmla="*/ 96397 w 102351"/>
                      <a:gd name="connsiteY269" fmla="*/ 56107 h 144222"/>
                      <a:gd name="connsiteX270" fmla="*/ 97862 w 102351"/>
                      <a:gd name="connsiteY270" fmla="*/ 72553 h 144222"/>
                      <a:gd name="connsiteX271" fmla="*/ 97862 w 102351"/>
                      <a:gd name="connsiteY271" fmla="*/ 72553 h 144222"/>
                      <a:gd name="connsiteX272" fmla="*/ 97792 w 102351"/>
                      <a:gd name="connsiteY272" fmla="*/ 76229 h 144222"/>
                      <a:gd name="connsiteX273" fmla="*/ 97722 w 102351"/>
                      <a:gd name="connsiteY273" fmla="*/ 77694 h 14422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  <a:cxn ang="0">
                        <a:pos x="connsiteX80" y="connsiteY80"/>
                      </a:cxn>
                      <a:cxn ang="0">
                        <a:pos x="connsiteX81" y="connsiteY81"/>
                      </a:cxn>
                      <a:cxn ang="0">
                        <a:pos x="connsiteX82" y="connsiteY82"/>
                      </a:cxn>
                      <a:cxn ang="0">
                        <a:pos x="connsiteX83" y="connsiteY83"/>
                      </a:cxn>
                      <a:cxn ang="0">
                        <a:pos x="connsiteX84" y="connsiteY84"/>
                      </a:cxn>
                      <a:cxn ang="0">
                        <a:pos x="connsiteX85" y="connsiteY85"/>
                      </a:cxn>
                      <a:cxn ang="0">
                        <a:pos x="connsiteX86" y="connsiteY86"/>
                      </a:cxn>
                      <a:cxn ang="0">
                        <a:pos x="connsiteX87" y="connsiteY87"/>
                      </a:cxn>
                      <a:cxn ang="0">
                        <a:pos x="connsiteX88" y="connsiteY88"/>
                      </a:cxn>
                      <a:cxn ang="0">
                        <a:pos x="connsiteX89" y="connsiteY89"/>
                      </a:cxn>
                      <a:cxn ang="0">
                        <a:pos x="connsiteX90" y="connsiteY90"/>
                      </a:cxn>
                      <a:cxn ang="0">
                        <a:pos x="connsiteX91" y="connsiteY91"/>
                      </a:cxn>
                      <a:cxn ang="0">
                        <a:pos x="connsiteX92" y="connsiteY92"/>
                      </a:cxn>
                      <a:cxn ang="0">
                        <a:pos x="connsiteX93" y="connsiteY93"/>
                      </a:cxn>
                      <a:cxn ang="0">
                        <a:pos x="connsiteX94" y="connsiteY94"/>
                      </a:cxn>
                      <a:cxn ang="0">
                        <a:pos x="connsiteX95" y="connsiteY95"/>
                      </a:cxn>
                      <a:cxn ang="0">
                        <a:pos x="connsiteX96" y="connsiteY96"/>
                      </a:cxn>
                      <a:cxn ang="0">
                        <a:pos x="connsiteX97" y="connsiteY97"/>
                      </a:cxn>
                      <a:cxn ang="0">
                        <a:pos x="connsiteX98" y="connsiteY98"/>
                      </a:cxn>
                      <a:cxn ang="0">
                        <a:pos x="connsiteX99" y="connsiteY99"/>
                      </a:cxn>
                      <a:cxn ang="0">
                        <a:pos x="connsiteX100" y="connsiteY100"/>
                      </a:cxn>
                      <a:cxn ang="0">
                        <a:pos x="connsiteX101" y="connsiteY101"/>
                      </a:cxn>
                      <a:cxn ang="0">
                        <a:pos x="connsiteX102" y="connsiteY102"/>
                      </a:cxn>
                      <a:cxn ang="0">
                        <a:pos x="connsiteX103" y="connsiteY103"/>
                      </a:cxn>
                      <a:cxn ang="0">
                        <a:pos x="connsiteX104" y="connsiteY104"/>
                      </a:cxn>
                      <a:cxn ang="0">
                        <a:pos x="connsiteX105" y="connsiteY105"/>
                      </a:cxn>
                      <a:cxn ang="0">
                        <a:pos x="connsiteX106" y="connsiteY106"/>
                      </a:cxn>
                      <a:cxn ang="0">
                        <a:pos x="connsiteX107" y="connsiteY107"/>
                      </a:cxn>
                      <a:cxn ang="0">
                        <a:pos x="connsiteX108" y="connsiteY108"/>
                      </a:cxn>
                      <a:cxn ang="0">
                        <a:pos x="connsiteX109" y="connsiteY109"/>
                      </a:cxn>
                      <a:cxn ang="0">
                        <a:pos x="connsiteX110" y="connsiteY110"/>
                      </a:cxn>
                      <a:cxn ang="0">
                        <a:pos x="connsiteX111" y="connsiteY111"/>
                      </a:cxn>
                      <a:cxn ang="0">
                        <a:pos x="connsiteX112" y="connsiteY112"/>
                      </a:cxn>
                      <a:cxn ang="0">
                        <a:pos x="connsiteX113" y="connsiteY113"/>
                      </a:cxn>
                      <a:cxn ang="0">
                        <a:pos x="connsiteX114" y="connsiteY114"/>
                      </a:cxn>
                      <a:cxn ang="0">
                        <a:pos x="connsiteX115" y="connsiteY115"/>
                      </a:cxn>
                      <a:cxn ang="0">
                        <a:pos x="connsiteX116" y="connsiteY116"/>
                      </a:cxn>
                      <a:cxn ang="0">
                        <a:pos x="connsiteX117" y="connsiteY117"/>
                      </a:cxn>
                      <a:cxn ang="0">
                        <a:pos x="connsiteX118" y="connsiteY118"/>
                      </a:cxn>
                      <a:cxn ang="0">
                        <a:pos x="connsiteX119" y="connsiteY119"/>
                      </a:cxn>
                      <a:cxn ang="0">
                        <a:pos x="connsiteX120" y="connsiteY120"/>
                      </a:cxn>
                      <a:cxn ang="0">
                        <a:pos x="connsiteX121" y="connsiteY121"/>
                      </a:cxn>
                      <a:cxn ang="0">
                        <a:pos x="connsiteX122" y="connsiteY122"/>
                      </a:cxn>
                      <a:cxn ang="0">
                        <a:pos x="connsiteX123" y="connsiteY123"/>
                      </a:cxn>
                      <a:cxn ang="0">
                        <a:pos x="connsiteX124" y="connsiteY124"/>
                      </a:cxn>
                      <a:cxn ang="0">
                        <a:pos x="connsiteX125" y="connsiteY125"/>
                      </a:cxn>
                      <a:cxn ang="0">
                        <a:pos x="connsiteX126" y="connsiteY126"/>
                      </a:cxn>
                      <a:cxn ang="0">
                        <a:pos x="connsiteX127" y="connsiteY127"/>
                      </a:cxn>
                      <a:cxn ang="0">
                        <a:pos x="connsiteX128" y="connsiteY128"/>
                      </a:cxn>
                      <a:cxn ang="0">
                        <a:pos x="connsiteX129" y="connsiteY129"/>
                      </a:cxn>
                      <a:cxn ang="0">
                        <a:pos x="connsiteX130" y="connsiteY130"/>
                      </a:cxn>
                      <a:cxn ang="0">
                        <a:pos x="connsiteX131" y="connsiteY131"/>
                      </a:cxn>
                      <a:cxn ang="0">
                        <a:pos x="connsiteX132" y="connsiteY132"/>
                      </a:cxn>
                      <a:cxn ang="0">
                        <a:pos x="connsiteX133" y="connsiteY133"/>
                      </a:cxn>
                      <a:cxn ang="0">
                        <a:pos x="connsiteX134" y="connsiteY134"/>
                      </a:cxn>
                      <a:cxn ang="0">
                        <a:pos x="connsiteX135" y="connsiteY135"/>
                      </a:cxn>
                      <a:cxn ang="0">
                        <a:pos x="connsiteX136" y="connsiteY136"/>
                      </a:cxn>
                      <a:cxn ang="0">
                        <a:pos x="connsiteX137" y="connsiteY137"/>
                      </a:cxn>
                      <a:cxn ang="0">
                        <a:pos x="connsiteX138" y="connsiteY138"/>
                      </a:cxn>
                      <a:cxn ang="0">
                        <a:pos x="connsiteX139" y="connsiteY139"/>
                      </a:cxn>
                      <a:cxn ang="0">
                        <a:pos x="connsiteX140" y="connsiteY140"/>
                      </a:cxn>
                      <a:cxn ang="0">
                        <a:pos x="connsiteX141" y="connsiteY141"/>
                      </a:cxn>
                      <a:cxn ang="0">
                        <a:pos x="connsiteX142" y="connsiteY142"/>
                      </a:cxn>
                      <a:cxn ang="0">
                        <a:pos x="connsiteX143" y="connsiteY143"/>
                      </a:cxn>
                      <a:cxn ang="0">
                        <a:pos x="connsiteX144" y="connsiteY144"/>
                      </a:cxn>
                      <a:cxn ang="0">
                        <a:pos x="connsiteX145" y="connsiteY145"/>
                      </a:cxn>
                      <a:cxn ang="0">
                        <a:pos x="connsiteX146" y="connsiteY146"/>
                      </a:cxn>
                      <a:cxn ang="0">
                        <a:pos x="connsiteX147" y="connsiteY147"/>
                      </a:cxn>
                      <a:cxn ang="0">
                        <a:pos x="connsiteX148" y="connsiteY148"/>
                      </a:cxn>
                      <a:cxn ang="0">
                        <a:pos x="connsiteX149" y="connsiteY149"/>
                      </a:cxn>
                      <a:cxn ang="0">
                        <a:pos x="connsiteX150" y="connsiteY150"/>
                      </a:cxn>
                      <a:cxn ang="0">
                        <a:pos x="connsiteX151" y="connsiteY151"/>
                      </a:cxn>
                      <a:cxn ang="0">
                        <a:pos x="connsiteX152" y="connsiteY152"/>
                      </a:cxn>
                      <a:cxn ang="0">
                        <a:pos x="connsiteX153" y="connsiteY153"/>
                      </a:cxn>
                      <a:cxn ang="0">
                        <a:pos x="connsiteX154" y="connsiteY154"/>
                      </a:cxn>
                      <a:cxn ang="0">
                        <a:pos x="connsiteX155" y="connsiteY155"/>
                      </a:cxn>
                      <a:cxn ang="0">
                        <a:pos x="connsiteX156" y="connsiteY156"/>
                      </a:cxn>
                      <a:cxn ang="0">
                        <a:pos x="connsiteX157" y="connsiteY157"/>
                      </a:cxn>
                      <a:cxn ang="0">
                        <a:pos x="connsiteX158" y="connsiteY158"/>
                      </a:cxn>
                      <a:cxn ang="0">
                        <a:pos x="connsiteX159" y="connsiteY159"/>
                      </a:cxn>
                      <a:cxn ang="0">
                        <a:pos x="connsiteX160" y="connsiteY160"/>
                      </a:cxn>
                      <a:cxn ang="0">
                        <a:pos x="connsiteX161" y="connsiteY161"/>
                      </a:cxn>
                      <a:cxn ang="0">
                        <a:pos x="connsiteX162" y="connsiteY162"/>
                      </a:cxn>
                      <a:cxn ang="0">
                        <a:pos x="connsiteX163" y="connsiteY163"/>
                      </a:cxn>
                      <a:cxn ang="0">
                        <a:pos x="connsiteX164" y="connsiteY164"/>
                      </a:cxn>
                      <a:cxn ang="0">
                        <a:pos x="connsiteX165" y="connsiteY165"/>
                      </a:cxn>
                      <a:cxn ang="0">
                        <a:pos x="connsiteX166" y="connsiteY166"/>
                      </a:cxn>
                      <a:cxn ang="0">
                        <a:pos x="connsiteX167" y="connsiteY167"/>
                      </a:cxn>
                      <a:cxn ang="0">
                        <a:pos x="connsiteX168" y="connsiteY168"/>
                      </a:cxn>
                      <a:cxn ang="0">
                        <a:pos x="connsiteX169" y="connsiteY169"/>
                      </a:cxn>
                      <a:cxn ang="0">
                        <a:pos x="connsiteX170" y="connsiteY170"/>
                      </a:cxn>
                      <a:cxn ang="0">
                        <a:pos x="connsiteX171" y="connsiteY171"/>
                      </a:cxn>
                      <a:cxn ang="0">
                        <a:pos x="connsiteX172" y="connsiteY172"/>
                      </a:cxn>
                      <a:cxn ang="0">
                        <a:pos x="connsiteX173" y="connsiteY173"/>
                      </a:cxn>
                      <a:cxn ang="0">
                        <a:pos x="connsiteX174" y="connsiteY174"/>
                      </a:cxn>
                      <a:cxn ang="0">
                        <a:pos x="connsiteX175" y="connsiteY175"/>
                      </a:cxn>
                      <a:cxn ang="0">
                        <a:pos x="connsiteX176" y="connsiteY176"/>
                      </a:cxn>
                      <a:cxn ang="0">
                        <a:pos x="connsiteX177" y="connsiteY177"/>
                      </a:cxn>
                      <a:cxn ang="0">
                        <a:pos x="connsiteX178" y="connsiteY178"/>
                      </a:cxn>
                      <a:cxn ang="0">
                        <a:pos x="connsiteX179" y="connsiteY179"/>
                      </a:cxn>
                      <a:cxn ang="0">
                        <a:pos x="connsiteX180" y="connsiteY180"/>
                      </a:cxn>
                      <a:cxn ang="0">
                        <a:pos x="connsiteX181" y="connsiteY181"/>
                      </a:cxn>
                      <a:cxn ang="0">
                        <a:pos x="connsiteX182" y="connsiteY182"/>
                      </a:cxn>
                      <a:cxn ang="0">
                        <a:pos x="connsiteX183" y="connsiteY183"/>
                      </a:cxn>
                      <a:cxn ang="0">
                        <a:pos x="connsiteX184" y="connsiteY184"/>
                      </a:cxn>
                      <a:cxn ang="0">
                        <a:pos x="connsiteX185" y="connsiteY185"/>
                      </a:cxn>
                      <a:cxn ang="0">
                        <a:pos x="connsiteX186" y="connsiteY186"/>
                      </a:cxn>
                      <a:cxn ang="0">
                        <a:pos x="connsiteX187" y="connsiteY187"/>
                      </a:cxn>
                      <a:cxn ang="0">
                        <a:pos x="connsiteX188" y="connsiteY188"/>
                      </a:cxn>
                      <a:cxn ang="0">
                        <a:pos x="connsiteX189" y="connsiteY189"/>
                      </a:cxn>
                      <a:cxn ang="0">
                        <a:pos x="connsiteX190" y="connsiteY190"/>
                      </a:cxn>
                      <a:cxn ang="0">
                        <a:pos x="connsiteX191" y="connsiteY191"/>
                      </a:cxn>
                      <a:cxn ang="0">
                        <a:pos x="connsiteX192" y="connsiteY192"/>
                      </a:cxn>
                      <a:cxn ang="0">
                        <a:pos x="connsiteX193" y="connsiteY193"/>
                      </a:cxn>
                      <a:cxn ang="0">
                        <a:pos x="connsiteX194" y="connsiteY194"/>
                      </a:cxn>
                      <a:cxn ang="0">
                        <a:pos x="connsiteX195" y="connsiteY195"/>
                      </a:cxn>
                      <a:cxn ang="0">
                        <a:pos x="connsiteX196" y="connsiteY196"/>
                      </a:cxn>
                      <a:cxn ang="0">
                        <a:pos x="connsiteX197" y="connsiteY197"/>
                      </a:cxn>
                      <a:cxn ang="0">
                        <a:pos x="connsiteX198" y="connsiteY198"/>
                      </a:cxn>
                      <a:cxn ang="0">
                        <a:pos x="connsiteX199" y="connsiteY199"/>
                      </a:cxn>
                      <a:cxn ang="0">
                        <a:pos x="connsiteX200" y="connsiteY200"/>
                      </a:cxn>
                      <a:cxn ang="0">
                        <a:pos x="connsiteX201" y="connsiteY201"/>
                      </a:cxn>
                      <a:cxn ang="0">
                        <a:pos x="connsiteX202" y="connsiteY202"/>
                      </a:cxn>
                      <a:cxn ang="0">
                        <a:pos x="connsiteX203" y="connsiteY203"/>
                      </a:cxn>
                      <a:cxn ang="0">
                        <a:pos x="connsiteX204" y="connsiteY204"/>
                      </a:cxn>
                      <a:cxn ang="0">
                        <a:pos x="connsiteX205" y="connsiteY205"/>
                      </a:cxn>
                      <a:cxn ang="0">
                        <a:pos x="connsiteX206" y="connsiteY206"/>
                      </a:cxn>
                      <a:cxn ang="0">
                        <a:pos x="connsiteX207" y="connsiteY207"/>
                      </a:cxn>
                      <a:cxn ang="0">
                        <a:pos x="connsiteX208" y="connsiteY208"/>
                      </a:cxn>
                      <a:cxn ang="0">
                        <a:pos x="connsiteX209" y="connsiteY209"/>
                      </a:cxn>
                      <a:cxn ang="0">
                        <a:pos x="connsiteX210" y="connsiteY210"/>
                      </a:cxn>
                      <a:cxn ang="0">
                        <a:pos x="connsiteX211" y="connsiteY211"/>
                      </a:cxn>
                      <a:cxn ang="0">
                        <a:pos x="connsiteX212" y="connsiteY212"/>
                      </a:cxn>
                      <a:cxn ang="0">
                        <a:pos x="connsiteX213" y="connsiteY213"/>
                      </a:cxn>
                      <a:cxn ang="0">
                        <a:pos x="connsiteX214" y="connsiteY214"/>
                      </a:cxn>
                      <a:cxn ang="0">
                        <a:pos x="connsiteX215" y="connsiteY215"/>
                      </a:cxn>
                      <a:cxn ang="0">
                        <a:pos x="connsiteX216" y="connsiteY216"/>
                      </a:cxn>
                      <a:cxn ang="0">
                        <a:pos x="connsiteX217" y="connsiteY217"/>
                      </a:cxn>
                      <a:cxn ang="0">
                        <a:pos x="connsiteX218" y="connsiteY218"/>
                      </a:cxn>
                      <a:cxn ang="0">
                        <a:pos x="connsiteX219" y="connsiteY219"/>
                      </a:cxn>
                      <a:cxn ang="0">
                        <a:pos x="connsiteX220" y="connsiteY220"/>
                      </a:cxn>
                      <a:cxn ang="0">
                        <a:pos x="connsiteX221" y="connsiteY221"/>
                      </a:cxn>
                      <a:cxn ang="0">
                        <a:pos x="connsiteX222" y="connsiteY222"/>
                      </a:cxn>
                      <a:cxn ang="0">
                        <a:pos x="connsiteX223" y="connsiteY223"/>
                      </a:cxn>
                      <a:cxn ang="0">
                        <a:pos x="connsiteX224" y="connsiteY224"/>
                      </a:cxn>
                      <a:cxn ang="0">
                        <a:pos x="connsiteX225" y="connsiteY225"/>
                      </a:cxn>
                      <a:cxn ang="0">
                        <a:pos x="connsiteX226" y="connsiteY226"/>
                      </a:cxn>
                      <a:cxn ang="0">
                        <a:pos x="connsiteX227" y="connsiteY227"/>
                      </a:cxn>
                      <a:cxn ang="0">
                        <a:pos x="connsiteX228" y="connsiteY228"/>
                      </a:cxn>
                      <a:cxn ang="0">
                        <a:pos x="connsiteX229" y="connsiteY229"/>
                      </a:cxn>
                      <a:cxn ang="0">
                        <a:pos x="connsiteX230" y="connsiteY230"/>
                      </a:cxn>
                      <a:cxn ang="0">
                        <a:pos x="connsiteX231" y="connsiteY231"/>
                      </a:cxn>
                      <a:cxn ang="0">
                        <a:pos x="connsiteX232" y="connsiteY232"/>
                      </a:cxn>
                      <a:cxn ang="0">
                        <a:pos x="connsiteX233" y="connsiteY233"/>
                      </a:cxn>
                      <a:cxn ang="0">
                        <a:pos x="connsiteX234" y="connsiteY234"/>
                      </a:cxn>
                      <a:cxn ang="0">
                        <a:pos x="connsiteX235" y="connsiteY235"/>
                      </a:cxn>
                      <a:cxn ang="0">
                        <a:pos x="connsiteX236" y="connsiteY236"/>
                      </a:cxn>
                      <a:cxn ang="0">
                        <a:pos x="connsiteX237" y="connsiteY237"/>
                      </a:cxn>
                      <a:cxn ang="0">
                        <a:pos x="connsiteX238" y="connsiteY238"/>
                      </a:cxn>
                      <a:cxn ang="0">
                        <a:pos x="connsiteX239" y="connsiteY239"/>
                      </a:cxn>
                      <a:cxn ang="0">
                        <a:pos x="connsiteX240" y="connsiteY240"/>
                      </a:cxn>
                      <a:cxn ang="0">
                        <a:pos x="connsiteX241" y="connsiteY241"/>
                      </a:cxn>
                      <a:cxn ang="0">
                        <a:pos x="connsiteX242" y="connsiteY242"/>
                      </a:cxn>
                      <a:cxn ang="0">
                        <a:pos x="connsiteX243" y="connsiteY243"/>
                      </a:cxn>
                      <a:cxn ang="0">
                        <a:pos x="connsiteX244" y="connsiteY244"/>
                      </a:cxn>
                      <a:cxn ang="0">
                        <a:pos x="connsiteX245" y="connsiteY245"/>
                      </a:cxn>
                      <a:cxn ang="0">
                        <a:pos x="connsiteX246" y="connsiteY246"/>
                      </a:cxn>
                      <a:cxn ang="0">
                        <a:pos x="connsiteX247" y="connsiteY247"/>
                      </a:cxn>
                      <a:cxn ang="0">
                        <a:pos x="connsiteX248" y="connsiteY248"/>
                      </a:cxn>
                      <a:cxn ang="0">
                        <a:pos x="connsiteX249" y="connsiteY249"/>
                      </a:cxn>
                      <a:cxn ang="0">
                        <a:pos x="connsiteX250" y="connsiteY250"/>
                      </a:cxn>
                      <a:cxn ang="0">
                        <a:pos x="connsiteX251" y="connsiteY251"/>
                      </a:cxn>
                      <a:cxn ang="0">
                        <a:pos x="connsiteX252" y="connsiteY252"/>
                      </a:cxn>
                      <a:cxn ang="0">
                        <a:pos x="connsiteX253" y="connsiteY253"/>
                      </a:cxn>
                      <a:cxn ang="0">
                        <a:pos x="connsiteX254" y="connsiteY254"/>
                      </a:cxn>
                      <a:cxn ang="0">
                        <a:pos x="connsiteX255" y="connsiteY255"/>
                      </a:cxn>
                      <a:cxn ang="0">
                        <a:pos x="connsiteX256" y="connsiteY256"/>
                      </a:cxn>
                      <a:cxn ang="0">
                        <a:pos x="connsiteX257" y="connsiteY257"/>
                      </a:cxn>
                      <a:cxn ang="0">
                        <a:pos x="connsiteX258" y="connsiteY258"/>
                      </a:cxn>
                      <a:cxn ang="0">
                        <a:pos x="connsiteX259" y="connsiteY259"/>
                      </a:cxn>
                      <a:cxn ang="0">
                        <a:pos x="connsiteX260" y="connsiteY260"/>
                      </a:cxn>
                      <a:cxn ang="0">
                        <a:pos x="connsiteX261" y="connsiteY261"/>
                      </a:cxn>
                      <a:cxn ang="0">
                        <a:pos x="connsiteX262" y="connsiteY262"/>
                      </a:cxn>
                      <a:cxn ang="0">
                        <a:pos x="connsiteX263" y="connsiteY263"/>
                      </a:cxn>
                      <a:cxn ang="0">
                        <a:pos x="connsiteX264" y="connsiteY264"/>
                      </a:cxn>
                      <a:cxn ang="0">
                        <a:pos x="connsiteX265" y="connsiteY265"/>
                      </a:cxn>
                      <a:cxn ang="0">
                        <a:pos x="connsiteX266" y="connsiteY266"/>
                      </a:cxn>
                      <a:cxn ang="0">
                        <a:pos x="connsiteX267" y="connsiteY267"/>
                      </a:cxn>
                      <a:cxn ang="0">
                        <a:pos x="connsiteX268" y="connsiteY268"/>
                      </a:cxn>
                      <a:cxn ang="0">
                        <a:pos x="connsiteX269" y="connsiteY269"/>
                      </a:cxn>
                      <a:cxn ang="0">
                        <a:pos x="connsiteX270" y="connsiteY270"/>
                      </a:cxn>
                      <a:cxn ang="0">
                        <a:pos x="connsiteX271" y="connsiteY271"/>
                      </a:cxn>
                      <a:cxn ang="0">
                        <a:pos x="connsiteX272" y="connsiteY272"/>
                      </a:cxn>
                      <a:cxn ang="0">
                        <a:pos x="connsiteX273" y="connsiteY273"/>
                      </a:cxn>
                    </a:cxnLst>
                    <a:rect l="l" t="t" r="r" b="b"/>
                    <a:pathLst>
                      <a:path w="102351" h="144222">
                        <a:moveTo>
                          <a:pt x="102677" y="72553"/>
                        </a:moveTo>
                        <a:cubicBezTo>
                          <a:pt x="102677" y="71716"/>
                          <a:pt x="102677" y="70878"/>
                          <a:pt x="102654" y="70041"/>
                        </a:cubicBezTo>
                        <a:cubicBezTo>
                          <a:pt x="102654" y="69553"/>
                          <a:pt x="102631" y="69064"/>
                          <a:pt x="102607" y="68576"/>
                        </a:cubicBezTo>
                        <a:cubicBezTo>
                          <a:pt x="102561" y="67599"/>
                          <a:pt x="102514" y="66598"/>
                          <a:pt x="102445" y="65621"/>
                        </a:cubicBezTo>
                        <a:cubicBezTo>
                          <a:pt x="102375" y="64644"/>
                          <a:pt x="102305" y="63667"/>
                          <a:pt x="102212" y="62714"/>
                        </a:cubicBezTo>
                        <a:cubicBezTo>
                          <a:pt x="102165" y="62225"/>
                          <a:pt x="102119" y="61760"/>
                          <a:pt x="102072" y="61271"/>
                        </a:cubicBezTo>
                        <a:cubicBezTo>
                          <a:pt x="102049" y="61039"/>
                          <a:pt x="102003" y="60806"/>
                          <a:pt x="101979" y="60574"/>
                        </a:cubicBezTo>
                        <a:cubicBezTo>
                          <a:pt x="101770" y="58852"/>
                          <a:pt x="101561" y="57154"/>
                          <a:pt x="101281" y="55502"/>
                        </a:cubicBezTo>
                        <a:lnTo>
                          <a:pt x="101281" y="55502"/>
                        </a:lnTo>
                        <a:cubicBezTo>
                          <a:pt x="101212" y="55037"/>
                          <a:pt x="101119" y="54572"/>
                          <a:pt x="101026" y="54107"/>
                        </a:cubicBezTo>
                        <a:cubicBezTo>
                          <a:pt x="100677" y="52199"/>
                          <a:pt x="100258" y="50315"/>
                          <a:pt x="99793" y="48454"/>
                        </a:cubicBezTo>
                        <a:cubicBezTo>
                          <a:pt x="99793" y="48408"/>
                          <a:pt x="99769" y="48384"/>
                          <a:pt x="99769" y="48338"/>
                        </a:cubicBezTo>
                        <a:cubicBezTo>
                          <a:pt x="99653" y="47919"/>
                          <a:pt x="99560" y="47500"/>
                          <a:pt x="99444" y="47082"/>
                        </a:cubicBezTo>
                        <a:lnTo>
                          <a:pt x="99444" y="47082"/>
                        </a:lnTo>
                        <a:cubicBezTo>
                          <a:pt x="98955" y="45244"/>
                          <a:pt x="98420" y="43430"/>
                          <a:pt x="97815" y="41662"/>
                        </a:cubicBezTo>
                        <a:cubicBezTo>
                          <a:pt x="97792" y="41592"/>
                          <a:pt x="97769" y="41522"/>
                          <a:pt x="97746" y="41452"/>
                        </a:cubicBezTo>
                        <a:cubicBezTo>
                          <a:pt x="97629" y="41080"/>
                          <a:pt x="97490" y="40708"/>
                          <a:pt x="97374" y="40359"/>
                        </a:cubicBezTo>
                        <a:cubicBezTo>
                          <a:pt x="96745" y="38591"/>
                          <a:pt x="96094" y="36870"/>
                          <a:pt x="95373" y="35195"/>
                        </a:cubicBezTo>
                        <a:cubicBezTo>
                          <a:pt x="95326" y="35079"/>
                          <a:pt x="95280" y="34986"/>
                          <a:pt x="95233" y="34893"/>
                        </a:cubicBezTo>
                        <a:cubicBezTo>
                          <a:pt x="95094" y="34590"/>
                          <a:pt x="94978" y="34265"/>
                          <a:pt x="94838" y="33962"/>
                        </a:cubicBezTo>
                        <a:lnTo>
                          <a:pt x="94838" y="33962"/>
                        </a:lnTo>
                        <a:cubicBezTo>
                          <a:pt x="94094" y="32311"/>
                          <a:pt x="93303" y="30682"/>
                          <a:pt x="92465" y="29100"/>
                        </a:cubicBezTo>
                        <a:cubicBezTo>
                          <a:pt x="92395" y="28961"/>
                          <a:pt x="92302" y="28821"/>
                          <a:pt x="92233" y="28658"/>
                        </a:cubicBezTo>
                        <a:cubicBezTo>
                          <a:pt x="92093" y="28426"/>
                          <a:pt x="91977" y="28170"/>
                          <a:pt x="91837" y="27937"/>
                        </a:cubicBezTo>
                        <a:lnTo>
                          <a:pt x="91837" y="27937"/>
                        </a:lnTo>
                        <a:lnTo>
                          <a:pt x="91837" y="27937"/>
                        </a:lnTo>
                        <a:cubicBezTo>
                          <a:pt x="90977" y="26379"/>
                          <a:pt x="90093" y="24890"/>
                          <a:pt x="89162" y="23425"/>
                        </a:cubicBezTo>
                        <a:cubicBezTo>
                          <a:pt x="89046" y="23239"/>
                          <a:pt x="88906" y="23052"/>
                          <a:pt x="88767" y="22866"/>
                        </a:cubicBezTo>
                        <a:cubicBezTo>
                          <a:pt x="88674" y="22703"/>
                          <a:pt x="88557" y="22541"/>
                          <a:pt x="88441" y="22378"/>
                        </a:cubicBezTo>
                        <a:cubicBezTo>
                          <a:pt x="87953" y="21680"/>
                          <a:pt x="87464" y="20982"/>
                          <a:pt x="86976" y="20284"/>
                        </a:cubicBezTo>
                        <a:cubicBezTo>
                          <a:pt x="86487" y="19610"/>
                          <a:pt x="85952" y="18935"/>
                          <a:pt x="85440" y="18284"/>
                        </a:cubicBezTo>
                        <a:cubicBezTo>
                          <a:pt x="85254" y="18051"/>
                          <a:pt x="85045" y="17795"/>
                          <a:pt x="84859" y="17563"/>
                        </a:cubicBezTo>
                        <a:cubicBezTo>
                          <a:pt x="84789" y="17493"/>
                          <a:pt x="84719" y="17400"/>
                          <a:pt x="84649" y="17330"/>
                        </a:cubicBezTo>
                        <a:lnTo>
                          <a:pt x="84649" y="17330"/>
                        </a:lnTo>
                        <a:cubicBezTo>
                          <a:pt x="84114" y="16679"/>
                          <a:pt x="83579" y="16074"/>
                          <a:pt x="83044" y="15446"/>
                        </a:cubicBezTo>
                        <a:cubicBezTo>
                          <a:pt x="82719" y="15097"/>
                          <a:pt x="82370" y="14748"/>
                          <a:pt x="82044" y="14399"/>
                        </a:cubicBezTo>
                        <a:cubicBezTo>
                          <a:pt x="81811" y="14166"/>
                          <a:pt x="81602" y="13911"/>
                          <a:pt x="81369" y="13678"/>
                        </a:cubicBezTo>
                        <a:lnTo>
                          <a:pt x="81369" y="13678"/>
                        </a:lnTo>
                        <a:lnTo>
                          <a:pt x="81369" y="13678"/>
                        </a:lnTo>
                        <a:cubicBezTo>
                          <a:pt x="81090" y="13399"/>
                          <a:pt x="80811" y="13120"/>
                          <a:pt x="80532" y="12841"/>
                        </a:cubicBezTo>
                        <a:cubicBezTo>
                          <a:pt x="79951" y="12282"/>
                          <a:pt x="79392" y="11747"/>
                          <a:pt x="78787" y="11212"/>
                        </a:cubicBezTo>
                        <a:cubicBezTo>
                          <a:pt x="78625" y="11049"/>
                          <a:pt x="78438" y="10933"/>
                          <a:pt x="78276" y="10770"/>
                        </a:cubicBezTo>
                        <a:cubicBezTo>
                          <a:pt x="77857" y="10398"/>
                          <a:pt x="77438" y="10026"/>
                          <a:pt x="77020" y="9700"/>
                        </a:cubicBezTo>
                        <a:cubicBezTo>
                          <a:pt x="76717" y="9444"/>
                          <a:pt x="76415" y="9212"/>
                          <a:pt x="76112" y="8979"/>
                        </a:cubicBezTo>
                        <a:cubicBezTo>
                          <a:pt x="74903" y="8025"/>
                          <a:pt x="73647" y="7165"/>
                          <a:pt x="72390" y="6350"/>
                        </a:cubicBezTo>
                        <a:cubicBezTo>
                          <a:pt x="72065" y="6141"/>
                          <a:pt x="71762" y="5955"/>
                          <a:pt x="71437" y="5769"/>
                        </a:cubicBezTo>
                        <a:lnTo>
                          <a:pt x="71437" y="5769"/>
                        </a:lnTo>
                        <a:lnTo>
                          <a:pt x="71437" y="5769"/>
                        </a:lnTo>
                        <a:cubicBezTo>
                          <a:pt x="70157" y="5001"/>
                          <a:pt x="68855" y="4303"/>
                          <a:pt x="67529" y="3675"/>
                        </a:cubicBezTo>
                        <a:lnTo>
                          <a:pt x="67529" y="3675"/>
                        </a:lnTo>
                        <a:lnTo>
                          <a:pt x="67529" y="3675"/>
                        </a:lnTo>
                        <a:cubicBezTo>
                          <a:pt x="67203" y="3513"/>
                          <a:pt x="66877" y="3373"/>
                          <a:pt x="66552" y="3233"/>
                        </a:cubicBezTo>
                        <a:cubicBezTo>
                          <a:pt x="65226" y="2652"/>
                          <a:pt x="63877" y="2140"/>
                          <a:pt x="62527" y="1721"/>
                        </a:cubicBezTo>
                        <a:cubicBezTo>
                          <a:pt x="62202" y="1605"/>
                          <a:pt x="61853" y="1512"/>
                          <a:pt x="61527" y="1419"/>
                        </a:cubicBezTo>
                        <a:lnTo>
                          <a:pt x="61527" y="1419"/>
                        </a:lnTo>
                        <a:lnTo>
                          <a:pt x="61527" y="1419"/>
                        </a:lnTo>
                        <a:cubicBezTo>
                          <a:pt x="60853" y="1233"/>
                          <a:pt x="60178" y="1047"/>
                          <a:pt x="59480" y="907"/>
                        </a:cubicBezTo>
                        <a:cubicBezTo>
                          <a:pt x="58782" y="744"/>
                          <a:pt x="58108" y="605"/>
                          <a:pt x="57410" y="489"/>
                        </a:cubicBezTo>
                        <a:cubicBezTo>
                          <a:pt x="57061" y="419"/>
                          <a:pt x="56735" y="372"/>
                          <a:pt x="56386" y="326"/>
                        </a:cubicBezTo>
                        <a:cubicBezTo>
                          <a:pt x="55014" y="140"/>
                          <a:pt x="53642" y="23"/>
                          <a:pt x="52223" y="0"/>
                        </a:cubicBezTo>
                        <a:cubicBezTo>
                          <a:pt x="51920" y="0"/>
                          <a:pt x="51641" y="0"/>
                          <a:pt x="51199" y="0"/>
                        </a:cubicBezTo>
                        <a:cubicBezTo>
                          <a:pt x="49803" y="0"/>
                          <a:pt x="48408" y="93"/>
                          <a:pt x="47035" y="256"/>
                        </a:cubicBezTo>
                        <a:lnTo>
                          <a:pt x="47035" y="256"/>
                        </a:lnTo>
                        <a:cubicBezTo>
                          <a:pt x="46803" y="279"/>
                          <a:pt x="46570" y="302"/>
                          <a:pt x="46337" y="349"/>
                        </a:cubicBezTo>
                        <a:cubicBezTo>
                          <a:pt x="46244" y="349"/>
                          <a:pt x="46128" y="372"/>
                          <a:pt x="46012" y="395"/>
                        </a:cubicBezTo>
                        <a:cubicBezTo>
                          <a:pt x="45314" y="512"/>
                          <a:pt x="44616" y="605"/>
                          <a:pt x="43941" y="768"/>
                        </a:cubicBezTo>
                        <a:cubicBezTo>
                          <a:pt x="43244" y="907"/>
                          <a:pt x="42569" y="1070"/>
                          <a:pt x="41894" y="1256"/>
                        </a:cubicBezTo>
                        <a:cubicBezTo>
                          <a:pt x="41569" y="1349"/>
                          <a:pt x="41220" y="1442"/>
                          <a:pt x="40871" y="1535"/>
                        </a:cubicBezTo>
                        <a:cubicBezTo>
                          <a:pt x="39498" y="1931"/>
                          <a:pt x="38149" y="2419"/>
                          <a:pt x="36823" y="2977"/>
                        </a:cubicBezTo>
                        <a:cubicBezTo>
                          <a:pt x="36498" y="3117"/>
                          <a:pt x="36172" y="3257"/>
                          <a:pt x="35846" y="3396"/>
                        </a:cubicBezTo>
                        <a:cubicBezTo>
                          <a:pt x="35172" y="3699"/>
                          <a:pt x="34520" y="4001"/>
                          <a:pt x="33869" y="4350"/>
                        </a:cubicBezTo>
                        <a:cubicBezTo>
                          <a:pt x="33218" y="4676"/>
                          <a:pt x="32566" y="5048"/>
                          <a:pt x="31938" y="5420"/>
                        </a:cubicBezTo>
                        <a:lnTo>
                          <a:pt x="31938" y="5420"/>
                        </a:lnTo>
                        <a:lnTo>
                          <a:pt x="31938" y="5420"/>
                        </a:lnTo>
                        <a:cubicBezTo>
                          <a:pt x="31613" y="5606"/>
                          <a:pt x="31310" y="5792"/>
                          <a:pt x="30985" y="5978"/>
                        </a:cubicBezTo>
                        <a:cubicBezTo>
                          <a:pt x="30170" y="6467"/>
                          <a:pt x="29356" y="7025"/>
                          <a:pt x="28565" y="7583"/>
                        </a:cubicBezTo>
                        <a:cubicBezTo>
                          <a:pt x="28449" y="7676"/>
                          <a:pt x="28310" y="7769"/>
                          <a:pt x="28193" y="7862"/>
                        </a:cubicBezTo>
                        <a:cubicBezTo>
                          <a:pt x="27868" y="8095"/>
                          <a:pt x="27565" y="8304"/>
                          <a:pt x="27239" y="8537"/>
                        </a:cubicBezTo>
                        <a:lnTo>
                          <a:pt x="27239" y="8537"/>
                        </a:lnTo>
                        <a:cubicBezTo>
                          <a:pt x="27007" y="8700"/>
                          <a:pt x="26774" y="8886"/>
                          <a:pt x="26542" y="9072"/>
                        </a:cubicBezTo>
                        <a:cubicBezTo>
                          <a:pt x="26472" y="9119"/>
                          <a:pt x="26402" y="9188"/>
                          <a:pt x="26332" y="9235"/>
                        </a:cubicBezTo>
                        <a:cubicBezTo>
                          <a:pt x="25727" y="9723"/>
                          <a:pt x="25123" y="10212"/>
                          <a:pt x="24518" y="10724"/>
                        </a:cubicBezTo>
                        <a:cubicBezTo>
                          <a:pt x="23913" y="11235"/>
                          <a:pt x="23332" y="11770"/>
                          <a:pt x="22773" y="12329"/>
                        </a:cubicBezTo>
                        <a:lnTo>
                          <a:pt x="22773" y="12329"/>
                        </a:lnTo>
                        <a:cubicBezTo>
                          <a:pt x="22494" y="12608"/>
                          <a:pt x="22215" y="12864"/>
                          <a:pt x="21913" y="13143"/>
                        </a:cubicBezTo>
                        <a:cubicBezTo>
                          <a:pt x="20773" y="14283"/>
                          <a:pt x="19679" y="15469"/>
                          <a:pt x="18609" y="16725"/>
                        </a:cubicBezTo>
                        <a:cubicBezTo>
                          <a:pt x="18354" y="17028"/>
                          <a:pt x="18074" y="17353"/>
                          <a:pt x="17818" y="17679"/>
                        </a:cubicBezTo>
                        <a:cubicBezTo>
                          <a:pt x="16772" y="18958"/>
                          <a:pt x="15748" y="20308"/>
                          <a:pt x="14771" y="21703"/>
                        </a:cubicBezTo>
                        <a:cubicBezTo>
                          <a:pt x="14655" y="21866"/>
                          <a:pt x="14539" y="22052"/>
                          <a:pt x="14422" y="22238"/>
                        </a:cubicBezTo>
                        <a:cubicBezTo>
                          <a:pt x="14306" y="22401"/>
                          <a:pt x="14190" y="22587"/>
                          <a:pt x="14050" y="22773"/>
                        </a:cubicBezTo>
                        <a:cubicBezTo>
                          <a:pt x="13096" y="24192"/>
                          <a:pt x="12189" y="25681"/>
                          <a:pt x="11305" y="27216"/>
                        </a:cubicBezTo>
                        <a:cubicBezTo>
                          <a:pt x="11096" y="27588"/>
                          <a:pt x="10863" y="27984"/>
                          <a:pt x="10654" y="28379"/>
                        </a:cubicBezTo>
                        <a:cubicBezTo>
                          <a:pt x="9816" y="29938"/>
                          <a:pt x="9002" y="31543"/>
                          <a:pt x="8235" y="33171"/>
                        </a:cubicBezTo>
                        <a:cubicBezTo>
                          <a:pt x="8049" y="33590"/>
                          <a:pt x="7862" y="33985"/>
                          <a:pt x="7676" y="34404"/>
                        </a:cubicBezTo>
                        <a:lnTo>
                          <a:pt x="7676" y="34404"/>
                        </a:lnTo>
                        <a:cubicBezTo>
                          <a:pt x="6955" y="36079"/>
                          <a:pt x="6257" y="37777"/>
                          <a:pt x="5629" y="39522"/>
                        </a:cubicBezTo>
                        <a:cubicBezTo>
                          <a:pt x="5467" y="39964"/>
                          <a:pt x="5304" y="40406"/>
                          <a:pt x="5164" y="40848"/>
                        </a:cubicBezTo>
                        <a:lnTo>
                          <a:pt x="5164" y="40848"/>
                        </a:lnTo>
                        <a:cubicBezTo>
                          <a:pt x="4559" y="42615"/>
                          <a:pt x="4001" y="44407"/>
                          <a:pt x="3489" y="46244"/>
                        </a:cubicBezTo>
                        <a:lnTo>
                          <a:pt x="3489" y="46244"/>
                        </a:lnTo>
                        <a:lnTo>
                          <a:pt x="3489" y="46244"/>
                        </a:lnTo>
                        <a:cubicBezTo>
                          <a:pt x="3373" y="46686"/>
                          <a:pt x="3257" y="47152"/>
                          <a:pt x="3117" y="47617"/>
                        </a:cubicBezTo>
                        <a:cubicBezTo>
                          <a:pt x="2629" y="49454"/>
                          <a:pt x="2210" y="51339"/>
                          <a:pt x="1838" y="53223"/>
                        </a:cubicBezTo>
                        <a:cubicBezTo>
                          <a:pt x="1745" y="53688"/>
                          <a:pt x="1652" y="54153"/>
                          <a:pt x="1582" y="54619"/>
                        </a:cubicBezTo>
                        <a:cubicBezTo>
                          <a:pt x="1233" y="56503"/>
                          <a:pt x="954" y="58433"/>
                          <a:pt x="721" y="60364"/>
                        </a:cubicBezTo>
                        <a:cubicBezTo>
                          <a:pt x="675" y="60853"/>
                          <a:pt x="605" y="61318"/>
                          <a:pt x="558" y="61806"/>
                        </a:cubicBezTo>
                        <a:lnTo>
                          <a:pt x="558" y="61806"/>
                        </a:lnTo>
                        <a:lnTo>
                          <a:pt x="558" y="61806"/>
                        </a:lnTo>
                        <a:cubicBezTo>
                          <a:pt x="349" y="63737"/>
                          <a:pt x="209" y="65668"/>
                          <a:pt x="116" y="67668"/>
                        </a:cubicBezTo>
                        <a:cubicBezTo>
                          <a:pt x="93" y="68157"/>
                          <a:pt x="70" y="68645"/>
                          <a:pt x="70" y="69134"/>
                        </a:cubicBezTo>
                        <a:lnTo>
                          <a:pt x="70" y="69134"/>
                        </a:lnTo>
                        <a:cubicBezTo>
                          <a:pt x="23" y="70297"/>
                          <a:pt x="0" y="71483"/>
                          <a:pt x="0" y="72670"/>
                        </a:cubicBezTo>
                        <a:cubicBezTo>
                          <a:pt x="0" y="73437"/>
                          <a:pt x="23" y="74205"/>
                          <a:pt x="23" y="74949"/>
                        </a:cubicBezTo>
                        <a:lnTo>
                          <a:pt x="23" y="74949"/>
                        </a:lnTo>
                        <a:lnTo>
                          <a:pt x="23" y="74949"/>
                        </a:lnTo>
                        <a:cubicBezTo>
                          <a:pt x="23" y="75275"/>
                          <a:pt x="47" y="75624"/>
                          <a:pt x="47" y="75973"/>
                        </a:cubicBezTo>
                        <a:cubicBezTo>
                          <a:pt x="47" y="76136"/>
                          <a:pt x="47" y="76298"/>
                          <a:pt x="70" y="76461"/>
                        </a:cubicBezTo>
                        <a:lnTo>
                          <a:pt x="70" y="76461"/>
                        </a:lnTo>
                        <a:lnTo>
                          <a:pt x="70" y="76461"/>
                        </a:lnTo>
                        <a:cubicBezTo>
                          <a:pt x="116" y="77462"/>
                          <a:pt x="163" y="78439"/>
                          <a:pt x="233" y="79416"/>
                        </a:cubicBezTo>
                        <a:cubicBezTo>
                          <a:pt x="279" y="80183"/>
                          <a:pt x="349" y="80974"/>
                          <a:pt x="419" y="81742"/>
                        </a:cubicBezTo>
                        <a:cubicBezTo>
                          <a:pt x="442" y="81951"/>
                          <a:pt x="442" y="82137"/>
                          <a:pt x="465" y="82323"/>
                        </a:cubicBezTo>
                        <a:cubicBezTo>
                          <a:pt x="512" y="82812"/>
                          <a:pt x="558" y="83300"/>
                          <a:pt x="605" y="83765"/>
                        </a:cubicBezTo>
                        <a:cubicBezTo>
                          <a:pt x="814" y="85719"/>
                          <a:pt x="1093" y="87650"/>
                          <a:pt x="1419" y="89558"/>
                        </a:cubicBezTo>
                        <a:cubicBezTo>
                          <a:pt x="1489" y="90046"/>
                          <a:pt x="1582" y="90511"/>
                          <a:pt x="1675" y="90977"/>
                        </a:cubicBezTo>
                        <a:cubicBezTo>
                          <a:pt x="2024" y="92884"/>
                          <a:pt x="2419" y="94768"/>
                          <a:pt x="2884" y="96629"/>
                        </a:cubicBezTo>
                        <a:cubicBezTo>
                          <a:pt x="3001" y="97094"/>
                          <a:pt x="3117" y="97536"/>
                          <a:pt x="3233" y="98002"/>
                        </a:cubicBezTo>
                        <a:lnTo>
                          <a:pt x="3233" y="98002"/>
                        </a:lnTo>
                        <a:lnTo>
                          <a:pt x="3233" y="98002"/>
                        </a:lnTo>
                        <a:cubicBezTo>
                          <a:pt x="3536" y="99188"/>
                          <a:pt x="3908" y="100351"/>
                          <a:pt x="4280" y="101514"/>
                        </a:cubicBezTo>
                        <a:cubicBezTo>
                          <a:pt x="4466" y="102142"/>
                          <a:pt x="4629" y="102794"/>
                          <a:pt x="4838" y="103422"/>
                        </a:cubicBezTo>
                        <a:cubicBezTo>
                          <a:pt x="4978" y="103864"/>
                          <a:pt x="5118" y="104306"/>
                          <a:pt x="5280" y="104724"/>
                        </a:cubicBezTo>
                        <a:cubicBezTo>
                          <a:pt x="5908" y="106492"/>
                          <a:pt x="6560" y="108214"/>
                          <a:pt x="7281" y="109888"/>
                        </a:cubicBezTo>
                        <a:lnTo>
                          <a:pt x="7281" y="109888"/>
                        </a:lnTo>
                        <a:lnTo>
                          <a:pt x="7281" y="109888"/>
                        </a:lnTo>
                        <a:cubicBezTo>
                          <a:pt x="7444" y="110307"/>
                          <a:pt x="7630" y="110703"/>
                          <a:pt x="7816" y="111121"/>
                        </a:cubicBezTo>
                        <a:lnTo>
                          <a:pt x="7816" y="111121"/>
                        </a:lnTo>
                        <a:lnTo>
                          <a:pt x="7816" y="111121"/>
                        </a:lnTo>
                        <a:cubicBezTo>
                          <a:pt x="8560" y="112796"/>
                          <a:pt x="9351" y="114401"/>
                          <a:pt x="10165" y="115983"/>
                        </a:cubicBezTo>
                        <a:cubicBezTo>
                          <a:pt x="10375" y="116378"/>
                          <a:pt x="10584" y="116774"/>
                          <a:pt x="10793" y="117146"/>
                        </a:cubicBezTo>
                        <a:cubicBezTo>
                          <a:pt x="11654" y="118705"/>
                          <a:pt x="12538" y="120193"/>
                          <a:pt x="13469" y="121659"/>
                        </a:cubicBezTo>
                        <a:lnTo>
                          <a:pt x="13469" y="121659"/>
                        </a:lnTo>
                        <a:lnTo>
                          <a:pt x="13469" y="121659"/>
                        </a:lnTo>
                        <a:cubicBezTo>
                          <a:pt x="13701" y="122008"/>
                          <a:pt x="13934" y="122357"/>
                          <a:pt x="14166" y="122729"/>
                        </a:cubicBezTo>
                        <a:lnTo>
                          <a:pt x="14166" y="122729"/>
                        </a:lnTo>
                        <a:lnTo>
                          <a:pt x="14166" y="122729"/>
                        </a:lnTo>
                        <a:cubicBezTo>
                          <a:pt x="14352" y="123008"/>
                          <a:pt x="14562" y="123310"/>
                          <a:pt x="14771" y="123590"/>
                        </a:cubicBezTo>
                        <a:cubicBezTo>
                          <a:pt x="15306" y="124357"/>
                          <a:pt x="15841" y="125102"/>
                          <a:pt x="16400" y="125823"/>
                        </a:cubicBezTo>
                        <a:cubicBezTo>
                          <a:pt x="16655" y="126148"/>
                          <a:pt x="16888" y="126497"/>
                          <a:pt x="17144" y="126823"/>
                        </a:cubicBezTo>
                        <a:lnTo>
                          <a:pt x="17144" y="126823"/>
                        </a:lnTo>
                        <a:lnTo>
                          <a:pt x="17144" y="126823"/>
                        </a:lnTo>
                        <a:cubicBezTo>
                          <a:pt x="17400" y="127149"/>
                          <a:pt x="17656" y="127474"/>
                          <a:pt x="17912" y="127800"/>
                        </a:cubicBezTo>
                        <a:lnTo>
                          <a:pt x="17912" y="127800"/>
                        </a:lnTo>
                        <a:lnTo>
                          <a:pt x="17912" y="127800"/>
                        </a:lnTo>
                        <a:cubicBezTo>
                          <a:pt x="18447" y="128428"/>
                          <a:pt x="18982" y="129056"/>
                          <a:pt x="19517" y="129661"/>
                        </a:cubicBezTo>
                        <a:cubicBezTo>
                          <a:pt x="20052" y="130266"/>
                          <a:pt x="20610" y="130870"/>
                          <a:pt x="21168" y="131452"/>
                        </a:cubicBezTo>
                        <a:cubicBezTo>
                          <a:pt x="21447" y="131731"/>
                          <a:pt x="21726" y="132010"/>
                          <a:pt x="22006" y="132289"/>
                        </a:cubicBezTo>
                        <a:cubicBezTo>
                          <a:pt x="23145" y="133406"/>
                          <a:pt x="24308" y="134476"/>
                          <a:pt x="25518" y="135453"/>
                        </a:cubicBezTo>
                        <a:cubicBezTo>
                          <a:pt x="25821" y="135709"/>
                          <a:pt x="26123" y="135941"/>
                          <a:pt x="26425" y="136174"/>
                        </a:cubicBezTo>
                        <a:lnTo>
                          <a:pt x="26425" y="136174"/>
                        </a:lnTo>
                        <a:cubicBezTo>
                          <a:pt x="27030" y="136663"/>
                          <a:pt x="27658" y="137105"/>
                          <a:pt x="28263" y="137547"/>
                        </a:cubicBezTo>
                        <a:cubicBezTo>
                          <a:pt x="28891" y="137989"/>
                          <a:pt x="29519" y="138407"/>
                          <a:pt x="30147" y="138826"/>
                        </a:cubicBezTo>
                        <a:cubicBezTo>
                          <a:pt x="30473" y="139012"/>
                          <a:pt x="30775" y="139221"/>
                          <a:pt x="31101" y="139408"/>
                        </a:cubicBezTo>
                        <a:cubicBezTo>
                          <a:pt x="31752" y="139803"/>
                          <a:pt x="32380" y="140152"/>
                          <a:pt x="33032" y="140524"/>
                        </a:cubicBezTo>
                        <a:cubicBezTo>
                          <a:pt x="33683" y="140873"/>
                          <a:pt x="34334" y="141199"/>
                          <a:pt x="35009" y="141524"/>
                        </a:cubicBezTo>
                        <a:cubicBezTo>
                          <a:pt x="35335" y="141687"/>
                          <a:pt x="35660" y="141827"/>
                          <a:pt x="35986" y="141966"/>
                        </a:cubicBezTo>
                        <a:cubicBezTo>
                          <a:pt x="36637" y="142245"/>
                          <a:pt x="37312" y="142525"/>
                          <a:pt x="37963" y="142780"/>
                        </a:cubicBezTo>
                        <a:cubicBezTo>
                          <a:pt x="38638" y="143036"/>
                          <a:pt x="39312" y="143269"/>
                          <a:pt x="40010" y="143478"/>
                        </a:cubicBezTo>
                        <a:lnTo>
                          <a:pt x="40010" y="143478"/>
                        </a:lnTo>
                        <a:cubicBezTo>
                          <a:pt x="40173" y="143525"/>
                          <a:pt x="40336" y="143571"/>
                          <a:pt x="40499" y="143641"/>
                        </a:cubicBezTo>
                        <a:cubicBezTo>
                          <a:pt x="40661" y="143688"/>
                          <a:pt x="40824" y="143757"/>
                          <a:pt x="41010" y="143804"/>
                        </a:cubicBezTo>
                        <a:cubicBezTo>
                          <a:pt x="42360" y="144199"/>
                          <a:pt x="43755" y="144502"/>
                          <a:pt x="45128" y="144734"/>
                        </a:cubicBezTo>
                        <a:lnTo>
                          <a:pt x="45128" y="144734"/>
                        </a:lnTo>
                        <a:lnTo>
                          <a:pt x="45128" y="144734"/>
                        </a:lnTo>
                        <a:cubicBezTo>
                          <a:pt x="45453" y="144804"/>
                          <a:pt x="45779" y="144851"/>
                          <a:pt x="46081" y="144897"/>
                        </a:cubicBezTo>
                        <a:lnTo>
                          <a:pt x="46128" y="144897"/>
                        </a:lnTo>
                        <a:lnTo>
                          <a:pt x="46128" y="144897"/>
                        </a:lnTo>
                        <a:cubicBezTo>
                          <a:pt x="46803" y="144990"/>
                          <a:pt x="47500" y="145060"/>
                          <a:pt x="48198" y="145130"/>
                        </a:cubicBezTo>
                        <a:cubicBezTo>
                          <a:pt x="48896" y="145176"/>
                          <a:pt x="49594" y="145223"/>
                          <a:pt x="50292" y="145246"/>
                        </a:cubicBezTo>
                        <a:cubicBezTo>
                          <a:pt x="50617" y="145246"/>
                          <a:pt x="50943" y="145246"/>
                          <a:pt x="51315" y="145246"/>
                        </a:cubicBezTo>
                        <a:cubicBezTo>
                          <a:pt x="52362" y="145246"/>
                          <a:pt x="53409" y="145200"/>
                          <a:pt x="54432" y="145083"/>
                        </a:cubicBezTo>
                        <a:cubicBezTo>
                          <a:pt x="54758" y="145060"/>
                          <a:pt x="55130" y="145037"/>
                          <a:pt x="55456" y="144990"/>
                        </a:cubicBezTo>
                        <a:lnTo>
                          <a:pt x="55456" y="144990"/>
                        </a:lnTo>
                        <a:cubicBezTo>
                          <a:pt x="55805" y="144944"/>
                          <a:pt x="56154" y="144921"/>
                          <a:pt x="56479" y="144851"/>
                        </a:cubicBezTo>
                        <a:cubicBezTo>
                          <a:pt x="57875" y="144665"/>
                          <a:pt x="59248" y="144362"/>
                          <a:pt x="60597" y="144013"/>
                        </a:cubicBezTo>
                        <a:cubicBezTo>
                          <a:pt x="60946" y="143920"/>
                          <a:pt x="61271" y="143850"/>
                          <a:pt x="61620" y="143734"/>
                        </a:cubicBezTo>
                        <a:cubicBezTo>
                          <a:pt x="62318" y="143548"/>
                          <a:pt x="62993" y="143315"/>
                          <a:pt x="63667" y="143083"/>
                        </a:cubicBezTo>
                        <a:cubicBezTo>
                          <a:pt x="64342" y="142850"/>
                          <a:pt x="65016" y="142594"/>
                          <a:pt x="65668" y="142315"/>
                        </a:cubicBezTo>
                        <a:lnTo>
                          <a:pt x="65668" y="142315"/>
                        </a:lnTo>
                        <a:cubicBezTo>
                          <a:pt x="65993" y="142176"/>
                          <a:pt x="66319" y="142036"/>
                          <a:pt x="66645" y="141896"/>
                        </a:cubicBezTo>
                        <a:cubicBezTo>
                          <a:pt x="67017" y="141734"/>
                          <a:pt x="67389" y="141548"/>
                          <a:pt x="67761" y="141361"/>
                        </a:cubicBezTo>
                        <a:cubicBezTo>
                          <a:pt x="68040" y="141222"/>
                          <a:pt x="68343" y="141106"/>
                          <a:pt x="68622" y="140943"/>
                        </a:cubicBezTo>
                        <a:cubicBezTo>
                          <a:pt x="69273" y="140617"/>
                          <a:pt x="69925" y="140268"/>
                          <a:pt x="70553" y="139896"/>
                        </a:cubicBezTo>
                        <a:cubicBezTo>
                          <a:pt x="70878" y="139710"/>
                          <a:pt x="71181" y="139524"/>
                          <a:pt x="71506" y="139338"/>
                        </a:cubicBezTo>
                        <a:cubicBezTo>
                          <a:pt x="72786" y="138570"/>
                          <a:pt x="74042" y="137709"/>
                          <a:pt x="75275" y="136802"/>
                        </a:cubicBezTo>
                        <a:cubicBezTo>
                          <a:pt x="75577" y="136570"/>
                          <a:pt x="75880" y="136337"/>
                          <a:pt x="76182" y="136104"/>
                        </a:cubicBezTo>
                        <a:cubicBezTo>
                          <a:pt x="77392" y="135151"/>
                          <a:pt x="78578" y="134127"/>
                          <a:pt x="79718" y="133034"/>
                        </a:cubicBezTo>
                        <a:cubicBezTo>
                          <a:pt x="79997" y="132755"/>
                          <a:pt x="80299" y="132499"/>
                          <a:pt x="80579" y="132220"/>
                        </a:cubicBezTo>
                        <a:lnTo>
                          <a:pt x="80579" y="132220"/>
                        </a:lnTo>
                        <a:cubicBezTo>
                          <a:pt x="81160" y="131661"/>
                          <a:pt x="81718" y="131080"/>
                          <a:pt x="82253" y="130498"/>
                        </a:cubicBezTo>
                        <a:cubicBezTo>
                          <a:pt x="82812" y="129893"/>
                          <a:pt x="83347" y="129289"/>
                          <a:pt x="83882" y="128661"/>
                        </a:cubicBezTo>
                        <a:cubicBezTo>
                          <a:pt x="83928" y="128591"/>
                          <a:pt x="83998" y="128521"/>
                          <a:pt x="84045" y="128451"/>
                        </a:cubicBezTo>
                        <a:cubicBezTo>
                          <a:pt x="84254" y="128195"/>
                          <a:pt x="84463" y="127963"/>
                          <a:pt x="84673" y="127707"/>
                        </a:cubicBezTo>
                        <a:lnTo>
                          <a:pt x="84696" y="127684"/>
                        </a:lnTo>
                        <a:cubicBezTo>
                          <a:pt x="85231" y="127055"/>
                          <a:pt x="85743" y="126404"/>
                          <a:pt x="86231" y="125753"/>
                        </a:cubicBezTo>
                        <a:cubicBezTo>
                          <a:pt x="86743" y="125078"/>
                          <a:pt x="87231" y="124404"/>
                          <a:pt x="87720" y="123706"/>
                        </a:cubicBezTo>
                        <a:cubicBezTo>
                          <a:pt x="87836" y="123543"/>
                          <a:pt x="87929" y="123403"/>
                          <a:pt x="88046" y="123241"/>
                        </a:cubicBezTo>
                        <a:cubicBezTo>
                          <a:pt x="88185" y="123031"/>
                          <a:pt x="88325" y="122845"/>
                          <a:pt x="88464" y="122636"/>
                        </a:cubicBezTo>
                        <a:lnTo>
                          <a:pt x="88464" y="122636"/>
                        </a:lnTo>
                        <a:cubicBezTo>
                          <a:pt x="89418" y="121217"/>
                          <a:pt x="90348" y="119728"/>
                          <a:pt x="91209" y="118193"/>
                        </a:cubicBezTo>
                        <a:lnTo>
                          <a:pt x="91209" y="118193"/>
                        </a:lnTo>
                        <a:cubicBezTo>
                          <a:pt x="91325" y="117960"/>
                          <a:pt x="91465" y="117728"/>
                          <a:pt x="91605" y="117495"/>
                        </a:cubicBezTo>
                        <a:cubicBezTo>
                          <a:pt x="91698" y="117332"/>
                          <a:pt x="91767" y="117193"/>
                          <a:pt x="91860" y="117053"/>
                        </a:cubicBezTo>
                        <a:cubicBezTo>
                          <a:pt x="92721" y="115494"/>
                          <a:pt x="93512" y="113889"/>
                          <a:pt x="94280" y="112238"/>
                        </a:cubicBezTo>
                        <a:cubicBezTo>
                          <a:pt x="94419" y="111935"/>
                          <a:pt x="94559" y="111633"/>
                          <a:pt x="94698" y="111331"/>
                        </a:cubicBezTo>
                        <a:cubicBezTo>
                          <a:pt x="94745" y="111238"/>
                          <a:pt x="94791" y="111121"/>
                          <a:pt x="94838" y="111005"/>
                        </a:cubicBezTo>
                        <a:cubicBezTo>
                          <a:pt x="95582" y="109353"/>
                          <a:pt x="96257" y="107632"/>
                          <a:pt x="96908" y="105887"/>
                        </a:cubicBezTo>
                        <a:lnTo>
                          <a:pt x="96908" y="105887"/>
                        </a:lnTo>
                        <a:cubicBezTo>
                          <a:pt x="97048" y="105515"/>
                          <a:pt x="97164" y="105166"/>
                          <a:pt x="97304" y="104794"/>
                        </a:cubicBezTo>
                        <a:cubicBezTo>
                          <a:pt x="97327" y="104724"/>
                          <a:pt x="97350" y="104655"/>
                          <a:pt x="97374" y="104585"/>
                        </a:cubicBezTo>
                        <a:lnTo>
                          <a:pt x="97374" y="104585"/>
                        </a:lnTo>
                        <a:cubicBezTo>
                          <a:pt x="97978" y="102817"/>
                          <a:pt x="98537" y="101026"/>
                          <a:pt x="99048" y="99188"/>
                        </a:cubicBezTo>
                        <a:lnTo>
                          <a:pt x="99048" y="99188"/>
                        </a:lnTo>
                        <a:cubicBezTo>
                          <a:pt x="99165" y="98769"/>
                          <a:pt x="99281" y="98374"/>
                          <a:pt x="99374" y="97955"/>
                        </a:cubicBezTo>
                        <a:cubicBezTo>
                          <a:pt x="99397" y="97909"/>
                          <a:pt x="99397" y="97862"/>
                          <a:pt x="99421" y="97816"/>
                        </a:cubicBezTo>
                        <a:lnTo>
                          <a:pt x="99421" y="97816"/>
                        </a:lnTo>
                        <a:cubicBezTo>
                          <a:pt x="99909" y="95978"/>
                          <a:pt x="100328" y="94094"/>
                          <a:pt x="100700" y="92186"/>
                        </a:cubicBezTo>
                        <a:cubicBezTo>
                          <a:pt x="100793" y="91744"/>
                          <a:pt x="100863" y="91302"/>
                          <a:pt x="100956" y="90837"/>
                        </a:cubicBezTo>
                        <a:cubicBezTo>
                          <a:pt x="100956" y="90814"/>
                          <a:pt x="100956" y="90790"/>
                          <a:pt x="100956" y="90767"/>
                        </a:cubicBezTo>
                        <a:lnTo>
                          <a:pt x="100956" y="90767"/>
                        </a:lnTo>
                        <a:lnTo>
                          <a:pt x="100956" y="90767"/>
                        </a:lnTo>
                        <a:cubicBezTo>
                          <a:pt x="101305" y="88883"/>
                          <a:pt x="101607" y="86952"/>
                          <a:pt x="101840" y="85022"/>
                        </a:cubicBezTo>
                        <a:cubicBezTo>
                          <a:pt x="101886" y="84556"/>
                          <a:pt x="101956" y="84068"/>
                          <a:pt x="102003" y="83603"/>
                        </a:cubicBezTo>
                        <a:lnTo>
                          <a:pt x="102003" y="83579"/>
                        </a:lnTo>
                        <a:cubicBezTo>
                          <a:pt x="102212" y="81649"/>
                          <a:pt x="102375" y="79695"/>
                          <a:pt x="102468" y="77717"/>
                        </a:cubicBezTo>
                        <a:cubicBezTo>
                          <a:pt x="102491" y="77229"/>
                          <a:pt x="102514" y="76764"/>
                          <a:pt x="102538" y="76275"/>
                        </a:cubicBezTo>
                        <a:lnTo>
                          <a:pt x="102538" y="76275"/>
                        </a:lnTo>
                        <a:cubicBezTo>
                          <a:pt x="102654" y="75019"/>
                          <a:pt x="102677" y="73809"/>
                          <a:pt x="102677" y="72553"/>
                        </a:cubicBezTo>
                        <a:close/>
                        <a:moveTo>
                          <a:pt x="97722" y="77694"/>
                        </a:moveTo>
                        <a:cubicBezTo>
                          <a:pt x="97606" y="79695"/>
                          <a:pt x="97443" y="81649"/>
                          <a:pt x="97211" y="83579"/>
                        </a:cubicBezTo>
                        <a:cubicBezTo>
                          <a:pt x="97164" y="84045"/>
                          <a:pt x="97094" y="84533"/>
                          <a:pt x="97025" y="84998"/>
                        </a:cubicBezTo>
                        <a:cubicBezTo>
                          <a:pt x="96769" y="86976"/>
                          <a:pt x="96443" y="88906"/>
                          <a:pt x="96048" y="90814"/>
                        </a:cubicBezTo>
                        <a:cubicBezTo>
                          <a:pt x="95955" y="91256"/>
                          <a:pt x="95885" y="91674"/>
                          <a:pt x="95792" y="92116"/>
                        </a:cubicBezTo>
                        <a:cubicBezTo>
                          <a:pt x="95559" y="93140"/>
                          <a:pt x="95326" y="94163"/>
                          <a:pt x="95071" y="95187"/>
                        </a:cubicBezTo>
                        <a:cubicBezTo>
                          <a:pt x="94536" y="97211"/>
                          <a:pt x="93954" y="99165"/>
                          <a:pt x="93303" y="101095"/>
                        </a:cubicBezTo>
                        <a:cubicBezTo>
                          <a:pt x="92651" y="103026"/>
                          <a:pt x="91930" y="104887"/>
                          <a:pt x="91163" y="106678"/>
                        </a:cubicBezTo>
                        <a:cubicBezTo>
                          <a:pt x="90395" y="108493"/>
                          <a:pt x="89534" y="110237"/>
                          <a:pt x="88650" y="111935"/>
                        </a:cubicBezTo>
                        <a:cubicBezTo>
                          <a:pt x="88208" y="112773"/>
                          <a:pt x="87743" y="113610"/>
                          <a:pt x="87255" y="114424"/>
                        </a:cubicBezTo>
                        <a:cubicBezTo>
                          <a:pt x="85836" y="116867"/>
                          <a:pt x="84300" y="119147"/>
                          <a:pt x="82649" y="121263"/>
                        </a:cubicBezTo>
                        <a:cubicBezTo>
                          <a:pt x="82114" y="121984"/>
                          <a:pt x="81532" y="122659"/>
                          <a:pt x="80974" y="123334"/>
                        </a:cubicBezTo>
                        <a:cubicBezTo>
                          <a:pt x="72925" y="132731"/>
                          <a:pt x="62621" y="138361"/>
                          <a:pt x="51385" y="138361"/>
                        </a:cubicBezTo>
                        <a:cubicBezTo>
                          <a:pt x="40941" y="138361"/>
                          <a:pt x="31310" y="133499"/>
                          <a:pt x="23541" y="125288"/>
                        </a:cubicBezTo>
                        <a:cubicBezTo>
                          <a:pt x="21750" y="123403"/>
                          <a:pt x="20052" y="121310"/>
                          <a:pt x="18493" y="119077"/>
                        </a:cubicBezTo>
                        <a:cubicBezTo>
                          <a:pt x="17446" y="117588"/>
                          <a:pt x="16446" y="116029"/>
                          <a:pt x="15492" y="114401"/>
                        </a:cubicBezTo>
                        <a:cubicBezTo>
                          <a:pt x="15004" y="113587"/>
                          <a:pt x="14562" y="112750"/>
                          <a:pt x="14097" y="111912"/>
                        </a:cubicBezTo>
                        <a:cubicBezTo>
                          <a:pt x="13213" y="110214"/>
                          <a:pt x="12375" y="108469"/>
                          <a:pt x="11584" y="106655"/>
                        </a:cubicBezTo>
                        <a:cubicBezTo>
                          <a:pt x="9654" y="102142"/>
                          <a:pt x="8072" y="97257"/>
                          <a:pt x="6932" y="92093"/>
                        </a:cubicBezTo>
                        <a:cubicBezTo>
                          <a:pt x="5583" y="85929"/>
                          <a:pt x="4838" y="79346"/>
                          <a:pt x="4838" y="72530"/>
                        </a:cubicBezTo>
                        <a:lnTo>
                          <a:pt x="4838" y="72530"/>
                        </a:lnTo>
                        <a:cubicBezTo>
                          <a:pt x="4838" y="66854"/>
                          <a:pt x="5350" y="61341"/>
                          <a:pt x="6304" y="56084"/>
                        </a:cubicBezTo>
                        <a:cubicBezTo>
                          <a:pt x="6490" y="55037"/>
                          <a:pt x="6699" y="53990"/>
                          <a:pt x="6932" y="52967"/>
                        </a:cubicBezTo>
                        <a:cubicBezTo>
                          <a:pt x="8979" y="43686"/>
                          <a:pt x="12422" y="35311"/>
                          <a:pt x="16935" y="28310"/>
                        </a:cubicBezTo>
                        <a:cubicBezTo>
                          <a:pt x="17423" y="27519"/>
                          <a:pt x="17958" y="26751"/>
                          <a:pt x="18470" y="26030"/>
                        </a:cubicBezTo>
                        <a:cubicBezTo>
                          <a:pt x="22145" y="20819"/>
                          <a:pt x="26449" y="16469"/>
                          <a:pt x="31194" y="13259"/>
                        </a:cubicBezTo>
                        <a:cubicBezTo>
                          <a:pt x="31869" y="12794"/>
                          <a:pt x="32566" y="12352"/>
                          <a:pt x="33264" y="11933"/>
                        </a:cubicBezTo>
                        <a:cubicBezTo>
                          <a:pt x="38824" y="8607"/>
                          <a:pt x="44942" y="6769"/>
                          <a:pt x="51362" y="6769"/>
                        </a:cubicBezTo>
                        <a:cubicBezTo>
                          <a:pt x="57782" y="6769"/>
                          <a:pt x="63900" y="8607"/>
                          <a:pt x="69459" y="11933"/>
                        </a:cubicBezTo>
                        <a:cubicBezTo>
                          <a:pt x="70157" y="12352"/>
                          <a:pt x="70832" y="12794"/>
                          <a:pt x="71506" y="13259"/>
                        </a:cubicBezTo>
                        <a:cubicBezTo>
                          <a:pt x="83044" y="21098"/>
                          <a:pt x="91907" y="35474"/>
                          <a:pt x="95768" y="52990"/>
                        </a:cubicBezTo>
                        <a:cubicBezTo>
                          <a:pt x="96001" y="54014"/>
                          <a:pt x="96210" y="55061"/>
                          <a:pt x="96397" y="56107"/>
                        </a:cubicBezTo>
                        <a:cubicBezTo>
                          <a:pt x="97350" y="61364"/>
                          <a:pt x="97862" y="66877"/>
                          <a:pt x="97862" y="72553"/>
                        </a:cubicBezTo>
                        <a:lnTo>
                          <a:pt x="97862" y="72553"/>
                        </a:lnTo>
                        <a:cubicBezTo>
                          <a:pt x="97862" y="73786"/>
                          <a:pt x="97839" y="75019"/>
                          <a:pt x="97792" y="76229"/>
                        </a:cubicBezTo>
                        <a:cubicBezTo>
                          <a:pt x="97769" y="76740"/>
                          <a:pt x="97746" y="77206"/>
                          <a:pt x="97722" y="77694"/>
                        </a:cubicBezTo>
                        <a:close/>
                      </a:path>
                    </a:pathLst>
                  </a:custGeom>
                  <a:solidFill>
                    <a:srgbClr val="FFBD41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31" name="Freeform: Shape 330">
                    <a:extLst>
                      <a:ext uri="{FF2B5EF4-FFF2-40B4-BE49-F238E27FC236}">
                        <a16:creationId xmlns:a16="http://schemas.microsoft.com/office/drawing/2014/main" id="{1C835DDE-D089-4BFC-B76E-6422AA2A5285}"/>
                      </a:ext>
                    </a:extLst>
                  </p:cNvPr>
                  <p:cNvSpPr/>
                  <p:nvPr/>
                </p:nvSpPr>
                <p:spPr>
                  <a:xfrm>
                    <a:off x="6239708" y="4162631"/>
                    <a:ext cx="2326" cy="2326"/>
                  </a:xfrm>
                  <a:custGeom>
                    <a:avLst/>
                    <a:gdLst>
                      <a:gd name="connsiteX0" fmla="*/ 3536 w 2326"/>
                      <a:gd name="connsiteY0" fmla="*/ 0 h 2326"/>
                      <a:gd name="connsiteX1" fmla="*/ 0 w 2326"/>
                      <a:gd name="connsiteY1" fmla="*/ 3071 h 2326"/>
                      <a:gd name="connsiteX2" fmla="*/ 0 w 2326"/>
                      <a:gd name="connsiteY2" fmla="*/ 3094 h 2326"/>
                      <a:gd name="connsiteX3" fmla="*/ 1349 w 2326"/>
                      <a:gd name="connsiteY3" fmla="*/ 4187 h 2326"/>
                      <a:gd name="connsiteX4" fmla="*/ 2140 w 2326"/>
                      <a:gd name="connsiteY4" fmla="*/ 3861 h 2326"/>
                      <a:gd name="connsiteX5" fmla="*/ 3047 w 2326"/>
                      <a:gd name="connsiteY5" fmla="*/ 3094 h 2326"/>
                      <a:gd name="connsiteX6" fmla="*/ 3559 w 2326"/>
                      <a:gd name="connsiteY6" fmla="*/ 93 h 2326"/>
                      <a:gd name="connsiteX7" fmla="*/ 3559 w 2326"/>
                      <a:gd name="connsiteY7" fmla="*/ 23 h 2326"/>
                      <a:gd name="connsiteX8" fmla="*/ 3536 w 2326"/>
                      <a:gd name="connsiteY8" fmla="*/ 0 h 232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2326" h="2326">
                        <a:moveTo>
                          <a:pt x="3536" y="0"/>
                        </a:moveTo>
                        <a:cubicBezTo>
                          <a:pt x="2396" y="1093"/>
                          <a:pt x="1210" y="2117"/>
                          <a:pt x="0" y="3071"/>
                        </a:cubicBezTo>
                        <a:cubicBezTo>
                          <a:pt x="0" y="3094"/>
                          <a:pt x="0" y="3094"/>
                          <a:pt x="0" y="3094"/>
                        </a:cubicBezTo>
                        <a:cubicBezTo>
                          <a:pt x="302" y="3792"/>
                          <a:pt x="814" y="4187"/>
                          <a:pt x="1349" y="4187"/>
                        </a:cubicBezTo>
                        <a:cubicBezTo>
                          <a:pt x="1628" y="4187"/>
                          <a:pt x="1884" y="4094"/>
                          <a:pt x="2140" y="3861"/>
                        </a:cubicBezTo>
                        <a:cubicBezTo>
                          <a:pt x="2466" y="3606"/>
                          <a:pt x="2745" y="3350"/>
                          <a:pt x="3047" y="3094"/>
                        </a:cubicBezTo>
                        <a:cubicBezTo>
                          <a:pt x="3768" y="2443"/>
                          <a:pt x="4001" y="1140"/>
                          <a:pt x="3559" y="93"/>
                        </a:cubicBezTo>
                        <a:cubicBezTo>
                          <a:pt x="3559" y="70"/>
                          <a:pt x="3559" y="47"/>
                          <a:pt x="3559" y="23"/>
                        </a:cubicBezTo>
                        <a:cubicBezTo>
                          <a:pt x="3536" y="23"/>
                          <a:pt x="3536" y="23"/>
                          <a:pt x="3536" y="0"/>
                        </a:cubicBezTo>
                        <a:close/>
                      </a:path>
                    </a:pathLst>
                  </a:custGeom>
                  <a:solidFill>
                    <a:srgbClr val="FAAB3C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32" name="Freeform: Shape 331">
                    <a:extLst>
                      <a:ext uri="{FF2B5EF4-FFF2-40B4-BE49-F238E27FC236}">
                        <a16:creationId xmlns:a16="http://schemas.microsoft.com/office/drawing/2014/main" id="{71E2680E-BC48-41B7-8842-DE02C971B019}"/>
                      </a:ext>
                    </a:extLst>
                  </p:cNvPr>
                  <p:cNvSpPr/>
                  <p:nvPr/>
                </p:nvSpPr>
                <p:spPr>
                  <a:xfrm>
                    <a:off x="6235823" y="4034692"/>
                    <a:ext cx="2326" cy="2326"/>
                  </a:xfrm>
                  <a:custGeom>
                    <a:avLst/>
                    <a:gdLst>
                      <a:gd name="connsiteX0" fmla="*/ 442 w 2326"/>
                      <a:gd name="connsiteY0" fmla="*/ 512 h 2326"/>
                      <a:gd name="connsiteX1" fmla="*/ 395 w 2326"/>
                      <a:gd name="connsiteY1" fmla="*/ 582 h 2326"/>
                      <a:gd name="connsiteX2" fmla="*/ 0 w 2326"/>
                      <a:gd name="connsiteY2" fmla="*/ 1279 h 2326"/>
                      <a:gd name="connsiteX3" fmla="*/ 0 w 2326"/>
                      <a:gd name="connsiteY3" fmla="*/ 1303 h 2326"/>
                      <a:gd name="connsiteX4" fmla="*/ 3722 w 2326"/>
                      <a:gd name="connsiteY4" fmla="*/ 3931 h 2326"/>
                      <a:gd name="connsiteX5" fmla="*/ 3722 w 2326"/>
                      <a:gd name="connsiteY5" fmla="*/ 3908 h 2326"/>
                      <a:gd name="connsiteX6" fmla="*/ 3792 w 2326"/>
                      <a:gd name="connsiteY6" fmla="*/ 3559 h 2326"/>
                      <a:gd name="connsiteX7" fmla="*/ 3047 w 2326"/>
                      <a:gd name="connsiteY7" fmla="*/ 907 h 2326"/>
                      <a:gd name="connsiteX8" fmla="*/ 2070 w 2326"/>
                      <a:gd name="connsiteY8" fmla="*/ 233 h 2326"/>
                      <a:gd name="connsiteX9" fmla="*/ 1372 w 2326"/>
                      <a:gd name="connsiteY9" fmla="*/ 0 h 2326"/>
                      <a:gd name="connsiteX10" fmla="*/ 442 w 2326"/>
                      <a:gd name="connsiteY10" fmla="*/ 512 h 232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2326" h="2326">
                        <a:moveTo>
                          <a:pt x="442" y="512"/>
                        </a:moveTo>
                        <a:cubicBezTo>
                          <a:pt x="419" y="535"/>
                          <a:pt x="419" y="558"/>
                          <a:pt x="395" y="582"/>
                        </a:cubicBezTo>
                        <a:cubicBezTo>
                          <a:pt x="233" y="768"/>
                          <a:pt x="93" y="1000"/>
                          <a:pt x="0" y="1279"/>
                        </a:cubicBezTo>
                        <a:lnTo>
                          <a:pt x="0" y="1303"/>
                        </a:lnTo>
                        <a:cubicBezTo>
                          <a:pt x="1256" y="2117"/>
                          <a:pt x="2512" y="3001"/>
                          <a:pt x="3722" y="3931"/>
                        </a:cubicBezTo>
                        <a:lnTo>
                          <a:pt x="3722" y="3908"/>
                        </a:lnTo>
                        <a:cubicBezTo>
                          <a:pt x="3768" y="3792"/>
                          <a:pt x="3768" y="3675"/>
                          <a:pt x="3792" y="3559"/>
                        </a:cubicBezTo>
                        <a:cubicBezTo>
                          <a:pt x="4024" y="2536"/>
                          <a:pt x="3745" y="1419"/>
                          <a:pt x="3047" y="907"/>
                        </a:cubicBezTo>
                        <a:cubicBezTo>
                          <a:pt x="2722" y="675"/>
                          <a:pt x="2396" y="442"/>
                          <a:pt x="2070" y="233"/>
                        </a:cubicBezTo>
                        <a:cubicBezTo>
                          <a:pt x="1861" y="70"/>
                          <a:pt x="1605" y="0"/>
                          <a:pt x="1372" y="0"/>
                        </a:cubicBezTo>
                        <a:cubicBezTo>
                          <a:pt x="1047" y="23"/>
                          <a:pt x="721" y="209"/>
                          <a:pt x="442" y="512"/>
                        </a:cubicBezTo>
                        <a:close/>
                      </a:path>
                    </a:pathLst>
                  </a:custGeom>
                  <a:solidFill>
                    <a:srgbClr val="FAAB3C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33" name="Freeform: Shape 332">
                    <a:extLst>
                      <a:ext uri="{FF2B5EF4-FFF2-40B4-BE49-F238E27FC236}">
                        <a16:creationId xmlns:a16="http://schemas.microsoft.com/office/drawing/2014/main" id="{5419C57B-2581-4BC5-890A-A87B7AF4CA6E}"/>
                      </a:ext>
                    </a:extLst>
                  </p:cNvPr>
                  <p:cNvSpPr/>
                  <p:nvPr/>
                </p:nvSpPr>
                <p:spPr>
                  <a:xfrm>
                    <a:off x="6235009" y="4166400"/>
                    <a:ext cx="2326" cy="2326"/>
                  </a:xfrm>
                  <a:custGeom>
                    <a:avLst/>
                    <a:gdLst>
                      <a:gd name="connsiteX0" fmla="*/ 3768 w 2326"/>
                      <a:gd name="connsiteY0" fmla="*/ 0 h 2326"/>
                      <a:gd name="connsiteX1" fmla="*/ 0 w 2326"/>
                      <a:gd name="connsiteY1" fmla="*/ 2536 h 2326"/>
                      <a:gd name="connsiteX2" fmla="*/ 0 w 2326"/>
                      <a:gd name="connsiteY2" fmla="*/ 2582 h 2326"/>
                      <a:gd name="connsiteX3" fmla="*/ 1419 w 2326"/>
                      <a:gd name="connsiteY3" fmla="*/ 3861 h 2326"/>
                      <a:gd name="connsiteX4" fmla="*/ 1419 w 2326"/>
                      <a:gd name="connsiteY4" fmla="*/ 3861 h 2326"/>
                      <a:gd name="connsiteX5" fmla="*/ 2070 w 2326"/>
                      <a:gd name="connsiteY5" fmla="*/ 3652 h 2326"/>
                      <a:gd name="connsiteX6" fmla="*/ 3047 w 2326"/>
                      <a:gd name="connsiteY6" fmla="*/ 3001 h 2326"/>
                      <a:gd name="connsiteX7" fmla="*/ 3838 w 2326"/>
                      <a:gd name="connsiteY7" fmla="*/ 419 h 2326"/>
                      <a:gd name="connsiteX8" fmla="*/ 3768 w 2326"/>
                      <a:gd name="connsiteY8" fmla="*/ 47 h 2326"/>
                      <a:gd name="connsiteX9" fmla="*/ 3768 w 2326"/>
                      <a:gd name="connsiteY9" fmla="*/ 0 h 232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2326" h="2326">
                        <a:moveTo>
                          <a:pt x="3768" y="0"/>
                        </a:moveTo>
                        <a:cubicBezTo>
                          <a:pt x="2536" y="907"/>
                          <a:pt x="1303" y="1768"/>
                          <a:pt x="0" y="2536"/>
                        </a:cubicBezTo>
                        <a:lnTo>
                          <a:pt x="0" y="2582"/>
                        </a:lnTo>
                        <a:cubicBezTo>
                          <a:pt x="279" y="3396"/>
                          <a:pt x="837" y="3861"/>
                          <a:pt x="1419" y="3861"/>
                        </a:cubicBezTo>
                        <a:lnTo>
                          <a:pt x="1419" y="3861"/>
                        </a:lnTo>
                        <a:cubicBezTo>
                          <a:pt x="1628" y="3861"/>
                          <a:pt x="1861" y="3792"/>
                          <a:pt x="2070" y="3652"/>
                        </a:cubicBezTo>
                        <a:cubicBezTo>
                          <a:pt x="2396" y="3443"/>
                          <a:pt x="2722" y="3233"/>
                          <a:pt x="3047" y="3001"/>
                        </a:cubicBezTo>
                        <a:cubicBezTo>
                          <a:pt x="3745" y="2512"/>
                          <a:pt x="4024" y="1442"/>
                          <a:pt x="3838" y="419"/>
                        </a:cubicBezTo>
                        <a:cubicBezTo>
                          <a:pt x="3815" y="279"/>
                          <a:pt x="3815" y="163"/>
                          <a:pt x="3768" y="47"/>
                        </a:cubicBezTo>
                        <a:lnTo>
                          <a:pt x="3768" y="0"/>
                        </a:lnTo>
                        <a:close/>
                      </a:path>
                    </a:pathLst>
                  </a:custGeom>
                  <a:solidFill>
                    <a:srgbClr val="FAAB3C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34" name="Freeform: Shape 333">
                    <a:extLst>
                      <a:ext uri="{FF2B5EF4-FFF2-40B4-BE49-F238E27FC236}">
                        <a16:creationId xmlns:a16="http://schemas.microsoft.com/office/drawing/2014/main" id="{2CFDC6D2-C39A-403C-B81E-85CACB62E06C}"/>
                      </a:ext>
                    </a:extLst>
                  </p:cNvPr>
                  <p:cNvSpPr/>
                  <p:nvPr/>
                </p:nvSpPr>
                <p:spPr>
                  <a:xfrm>
                    <a:off x="6230961" y="4031807"/>
                    <a:ext cx="2326" cy="2326"/>
                  </a:xfrm>
                  <a:custGeom>
                    <a:avLst/>
                    <a:gdLst>
                      <a:gd name="connsiteX0" fmla="*/ 907 w 2326"/>
                      <a:gd name="connsiteY0" fmla="*/ 186 h 2326"/>
                      <a:gd name="connsiteX1" fmla="*/ 675 w 2326"/>
                      <a:gd name="connsiteY1" fmla="*/ 349 h 2326"/>
                      <a:gd name="connsiteX2" fmla="*/ 186 w 2326"/>
                      <a:gd name="connsiteY2" fmla="*/ 1024 h 2326"/>
                      <a:gd name="connsiteX3" fmla="*/ 163 w 2326"/>
                      <a:gd name="connsiteY3" fmla="*/ 1047 h 2326"/>
                      <a:gd name="connsiteX4" fmla="*/ 0 w 2326"/>
                      <a:gd name="connsiteY4" fmla="*/ 1465 h 2326"/>
                      <a:gd name="connsiteX5" fmla="*/ 0 w 2326"/>
                      <a:gd name="connsiteY5" fmla="*/ 1489 h 2326"/>
                      <a:gd name="connsiteX6" fmla="*/ 0 w 2326"/>
                      <a:gd name="connsiteY6" fmla="*/ 1489 h 2326"/>
                      <a:gd name="connsiteX7" fmla="*/ 0 w 2326"/>
                      <a:gd name="connsiteY7" fmla="*/ 1489 h 2326"/>
                      <a:gd name="connsiteX8" fmla="*/ 3908 w 2326"/>
                      <a:gd name="connsiteY8" fmla="*/ 3582 h 2326"/>
                      <a:gd name="connsiteX9" fmla="*/ 3908 w 2326"/>
                      <a:gd name="connsiteY9" fmla="*/ 3582 h 2326"/>
                      <a:gd name="connsiteX10" fmla="*/ 3908 w 2326"/>
                      <a:gd name="connsiteY10" fmla="*/ 3559 h 2326"/>
                      <a:gd name="connsiteX11" fmla="*/ 4001 w 2326"/>
                      <a:gd name="connsiteY11" fmla="*/ 2884 h 2326"/>
                      <a:gd name="connsiteX12" fmla="*/ 3024 w 2326"/>
                      <a:gd name="connsiteY12" fmla="*/ 675 h 2326"/>
                      <a:gd name="connsiteX13" fmla="*/ 2024 w 2326"/>
                      <a:gd name="connsiteY13" fmla="*/ 140 h 2326"/>
                      <a:gd name="connsiteX14" fmla="*/ 1489 w 2326"/>
                      <a:gd name="connsiteY14" fmla="*/ 0 h 2326"/>
                      <a:gd name="connsiteX15" fmla="*/ 1070 w 2326"/>
                      <a:gd name="connsiteY15" fmla="*/ 93 h 2326"/>
                      <a:gd name="connsiteX16" fmla="*/ 907 w 2326"/>
                      <a:gd name="connsiteY16" fmla="*/ 186 h 232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</a:cxnLst>
                    <a:rect l="l" t="t" r="r" b="b"/>
                    <a:pathLst>
                      <a:path w="2326" h="2326">
                        <a:moveTo>
                          <a:pt x="907" y="186"/>
                        </a:moveTo>
                        <a:cubicBezTo>
                          <a:pt x="837" y="233"/>
                          <a:pt x="744" y="302"/>
                          <a:pt x="675" y="349"/>
                        </a:cubicBezTo>
                        <a:cubicBezTo>
                          <a:pt x="465" y="512"/>
                          <a:pt x="302" y="744"/>
                          <a:pt x="186" y="1024"/>
                        </a:cubicBezTo>
                        <a:cubicBezTo>
                          <a:pt x="186" y="1024"/>
                          <a:pt x="186" y="1047"/>
                          <a:pt x="163" y="1047"/>
                        </a:cubicBezTo>
                        <a:cubicBezTo>
                          <a:pt x="93" y="1186"/>
                          <a:pt x="47" y="1326"/>
                          <a:pt x="0" y="1465"/>
                        </a:cubicBezTo>
                        <a:lnTo>
                          <a:pt x="0" y="1489"/>
                        </a:lnTo>
                        <a:lnTo>
                          <a:pt x="0" y="1489"/>
                        </a:lnTo>
                        <a:lnTo>
                          <a:pt x="0" y="1489"/>
                        </a:lnTo>
                        <a:cubicBezTo>
                          <a:pt x="1326" y="2117"/>
                          <a:pt x="2629" y="2815"/>
                          <a:pt x="3908" y="3582"/>
                        </a:cubicBezTo>
                        <a:lnTo>
                          <a:pt x="3908" y="3582"/>
                        </a:lnTo>
                        <a:lnTo>
                          <a:pt x="3908" y="3559"/>
                        </a:lnTo>
                        <a:cubicBezTo>
                          <a:pt x="3978" y="3326"/>
                          <a:pt x="3978" y="3117"/>
                          <a:pt x="4001" y="2884"/>
                        </a:cubicBezTo>
                        <a:cubicBezTo>
                          <a:pt x="4048" y="1954"/>
                          <a:pt x="3675" y="1047"/>
                          <a:pt x="3024" y="675"/>
                        </a:cubicBezTo>
                        <a:cubicBezTo>
                          <a:pt x="2698" y="488"/>
                          <a:pt x="2349" y="302"/>
                          <a:pt x="2024" y="140"/>
                        </a:cubicBezTo>
                        <a:cubicBezTo>
                          <a:pt x="1861" y="46"/>
                          <a:pt x="1675" y="0"/>
                          <a:pt x="1489" y="0"/>
                        </a:cubicBezTo>
                        <a:cubicBezTo>
                          <a:pt x="1349" y="0"/>
                          <a:pt x="1210" y="46"/>
                          <a:pt x="1070" y="93"/>
                        </a:cubicBezTo>
                        <a:cubicBezTo>
                          <a:pt x="1000" y="140"/>
                          <a:pt x="954" y="163"/>
                          <a:pt x="907" y="186"/>
                        </a:cubicBezTo>
                        <a:close/>
                      </a:path>
                    </a:pathLst>
                  </a:custGeom>
                  <a:solidFill>
                    <a:srgbClr val="FAAB3C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35" name="Freeform: Shape 334">
                    <a:extLst>
                      <a:ext uri="{FF2B5EF4-FFF2-40B4-BE49-F238E27FC236}">
                        <a16:creationId xmlns:a16="http://schemas.microsoft.com/office/drawing/2014/main" id="{E857EB24-688F-4C8F-B3F5-55FD7E56D610}"/>
                      </a:ext>
                    </a:extLst>
                  </p:cNvPr>
                  <p:cNvSpPr/>
                  <p:nvPr/>
                </p:nvSpPr>
                <p:spPr>
                  <a:xfrm>
                    <a:off x="6230171" y="4169517"/>
                    <a:ext cx="2326" cy="2326"/>
                  </a:xfrm>
                  <a:custGeom>
                    <a:avLst/>
                    <a:gdLst>
                      <a:gd name="connsiteX0" fmla="*/ 3908 w 2326"/>
                      <a:gd name="connsiteY0" fmla="*/ 0 h 2326"/>
                      <a:gd name="connsiteX1" fmla="*/ 1977 w 2326"/>
                      <a:gd name="connsiteY1" fmla="*/ 1047 h 2326"/>
                      <a:gd name="connsiteX2" fmla="*/ 582 w 2326"/>
                      <a:gd name="connsiteY2" fmla="*/ 1721 h 2326"/>
                      <a:gd name="connsiteX3" fmla="*/ 0 w 2326"/>
                      <a:gd name="connsiteY3" fmla="*/ 2001 h 2326"/>
                      <a:gd name="connsiteX4" fmla="*/ 0 w 2326"/>
                      <a:gd name="connsiteY4" fmla="*/ 2024 h 2326"/>
                      <a:gd name="connsiteX5" fmla="*/ 605 w 2326"/>
                      <a:gd name="connsiteY5" fmla="*/ 3117 h 2326"/>
                      <a:gd name="connsiteX6" fmla="*/ 907 w 2326"/>
                      <a:gd name="connsiteY6" fmla="*/ 3326 h 2326"/>
                      <a:gd name="connsiteX7" fmla="*/ 1186 w 2326"/>
                      <a:gd name="connsiteY7" fmla="*/ 3443 h 2326"/>
                      <a:gd name="connsiteX8" fmla="*/ 1512 w 2326"/>
                      <a:gd name="connsiteY8" fmla="*/ 3513 h 2326"/>
                      <a:gd name="connsiteX9" fmla="*/ 2024 w 2326"/>
                      <a:gd name="connsiteY9" fmla="*/ 3396 h 2326"/>
                      <a:gd name="connsiteX10" fmla="*/ 3047 w 2326"/>
                      <a:gd name="connsiteY10" fmla="*/ 2885 h 2326"/>
                      <a:gd name="connsiteX11" fmla="*/ 4048 w 2326"/>
                      <a:gd name="connsiteY11" fmla="*/ 768 h 2326"/>
                      <a:gd name="connsiteX12" fmla="*/ 3978 w 2326"/>
                      <a:gd name="connsiteY12" fmla="*/ 47 h 2326"/>
                      <a:gd name="connsiteX13" fmla="*/ 3908 w 2326"/>
                      <a:gd name="connsiteY13" fmla="*/ 0 h 232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2326" h="2326">
                        <a:moveTo>
                          <a:pt x="3908" y="0"/>
                        </a:moveTo>
                        <a:cubicBezTo>
                          <a:pt x="3257" y="372"/>
                          <a:pt x="2629" y="721"/>
                          <a:pt x="1977" y="1047"/>
                        </a:cubicBezTo>
                        <a:cubicBezTo>
                          <a:pt x="1512" y="1279"/>
                          <a:pt x="1047" y="1489"/>
                          <a:pt x="582" y="1721"/>
                        </a:cubicBezTo>
                        <a:cubicBezTo>
                          <a:pt x="372" y="1814"/>
                          <a:pt x="186" y="1907"/>
                          <a:pt x="0" y="2001"/>
                        </a:cubicBezTo>
                        <a:lnTo>
                          <a:pt x="0" y="2024"/>
                        </a:lnTo>
                        <a:cubicBezTo>
                          <a:pt x="116" y="2489"/>
                          <a:pt x="326" y="2861"/>
                          <a:pt x="605" y="3117"/>
                        </a:cubicBezTo>
                        <a:cubicBezTo>
                          <a:pt x="698" y="3210"/>
                          <a:pt x="791" y="3257"/>
                          <a:pt x="907" y="3326"/>
                        </a:cubicBezTo>
                        <a:cubicBezTo>
                          <a:pt x="1000" y="3373"/>
                          <a:pt x="1070" y="3419"/>
                          <a:pt x="1186" y="3443"/>
                        </a:cubicBezTo>
                        <a:cubicBezTo>
                          <a:pt x="1303" y="3466"/>
                          <a:pt x="1396" y="3513"/>
                          <a:pt x="1512" y="3513"/>
                        </a:cubicBezTo>
                        <a:cubicBezTo>
                          <a:pt x="1675" y="3513"/>
                          <a:pt x="1838" y="3466"/>
                          <a:pt x="2024" y="3396"/>
                        </a:cubicBezTo>
                        <a:cubicBezTo>
                          <a:pt x="2349" y="3233"/>
                          <a:pt x="2698" y="3071"/>
                          <a:pt x="3047" y="2885"/>
                        </a:cubicBezTo>
                        <a:cubicBezTo>
                          <a:pt x="3699" y="2559"/>
                          <a:pt x="4071" y="1675"/>
                          <a:pt x="4048" y="768"/>
                        </a:cubicBezTo>
                        <a:cubicBezTo>
                          <a:pt x="4048" y="535"/>
                          <a:pt x="4024" y="279"/>
                          <a:pt x="3978" y="47"/>
                        </a:cubicBezTo>
                        <a:cubicBezTo>
                          <a:pt x="3931" y="23"/>
                          <a:pt x="3908" y="0"/>
                          <a:pt x="3908" y="0"/>
                        </a:cubicBezTo>
                        <a:close/>
                      </a:path>
                    </a:pathLst>
                  </a:custGeom>
                  <a:solidFill>
                    <a:srgbClr val="FAAB3C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36" name="Freeform: Shape 335">
                    <a:extLst>
                      <a:ext uri="{FF2B5EF4-FFF2-40B4-BE49-F238E27FC236}">
                        <a16:creationId xmlns:a16="http://schemas.microsoft.com/office/drawing/2014/main" id="{F1CFDDB3-7688-46E7-9C0C-611EC1AEDF38}"/>
                      </a:ext>
                    </a:extLst>
                  </p:cNvPr>
                  <p:cNvSpPr/>
                  <p:nvPr/>
                </p:nvSpPr>
                <p:spPr>
                  <a:xfrm>
                    <a:off x="6225960" y="4029621"/>
                    <a:ext cx="2326" cy="2326"/>
                  </a:xfrm>
                  <a:custGeom>
                    <a:avLst/>
                    <a:gdLst>
                      <a:gd name="connsiteX0" fmla="*/ 1070 w 2326"/>
                      <a:gd name="connsiteY0" fmla="*/ 140 h 2326"/>
                      <a:gd name="connsiteX1" fmla="*/ 326 w 2326"/>
                      <a:gd name="connsiteY1" fmla="*/ 861 h 2326"/>
                      <a:gd name="connsiteX2" fmla="*/ 326 w 2326"/>
                      <a:gd name="connsiteY2" fmla="*/ 884 h 2326"/>
                      <a:gd name="connsiteX3" fmla="*/ 0 w 2326"/>
                      <a:gd name="connsiteY3" fmla="*/ 1698 h 2326"/>
                      <a:gd name="connsiteX4" fmla="*/ 0 w 2326"/>
                      <a:gd name="connsiteY4" fmla="*/ 1721 h 2326"/>
                      <a:gd name="connsiteX5" fmla="*/ 0 w 2326"/>
                      <a:gd name="connsiteY5" fmla="*/ 1721 h 2326"/>
                      <a:gd name="connsiteX6" fmla="*/ 488 w 2326"/>
                      <a:gd name="connsiteY6" fmla="*/ 1884 h 2326"/>
                      <a:gd name="connsiteX7" fmla="*/ 4048 w 2326"/>
                      <a:gd name="connsiteY7" fmla="*/ 3233 h 2326"/>
                      <a:gd name="connsiteX8" fmla="*/ 4048 w 2326"/>
                      <a:gd name="connsiteY8" fmla="*/ 3210 h 2326"/>
                      <a:gd name="connsiteX9" fmla="*/ 4071 w 2326"/>
                      <a:gd name="connsiteY9" fmla="*/ 2187 h 2326"/>
                      <a:gd name="connsiteX10" fmla="*/ 2954 w 2326"/>
                      <a:gd name="connsiteY10" fmla="*/ 465 h 2326"/>
                      <a:gd name="connsiteX11" fmla="*/ 1907 w 2326"/>
                      <a:gd name="connsiteY11" fmla="*/ 70 h 2326"/>
                      <a:gd name="connsiteX12" fmla="*/ 1512 w 2326"/>
                      <a:gd name="connsiteY12" fmla="*/ 0 h 2326"/>
                      <a:gd name="connsiteX13" fmla="*/ 1512 w 2326"/>
                      <a:gd name="connsiteY13" fmla="*/ 0 h 2326"/>
                      <a:gd name="connsiteX14" fmla="*/ 1349 w 2326"/>
                      <a:gd name="connsiteY14" fmla="*/ 46 h 2326"/>
                      <a:gd name="connsiteX15" fmla="*/ 1070 w 2326"/>
                      <a:gd name="connsiteY15" fmla="*/ 140 h 232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</a:cxnLst>
                    <a:rect l="l" t="t" r="r" b="b"/>
                    <a:pathLst>
                      <a:path w="2326" h="2326">
                        <a:moveTo>
                          <a:pt x="1070" y="140"/>
                        </a:moveTo>
                        <a:cubicBezTo>
                          <a:pt x="791" y="256"/>
                          <a:pt x="535" y="535"/>
                          <a:pt x="326" y="861"/>
                        </a:cubicBezTo>
                        <a:lnTo>
                          <a:pt x="326" y="884"/>
                        </a:lnTo>
                        <a:cubicBezTo>
                          <a:pt x="186" y="1117"/>
                          <a:pt x="70" y="1396"/>
                          <a:pt x="0" y="1698"/>
                        </a:cubicBezTo>
                        <a:lnTo>
                          <a:pt x="0" y="1721"/>
                        </a:lnTo>
                        <a:lnTo>
                          <a:pt x="0" y="1721"/>
                        </a:lnTo>
                        <a:cubicBezTo>
                          <a:pt x="163" y="1768"/>
                          <a:pt x="326" y="1814"/>
                          <a:pt x="488" y="1884"/>
                        </a:cubicBezTo>
                        <a:cubicBezTo>
                          <a:pt x="1675" y="2280"/>
                          <a:pt x="2861" y="2722"/>
                          <a:pt x="4048" y="3233"/>
                        </a:cubicBezTo>
                        <a:lnTo>
                          <a:pt x="4048" y="3210"/>
                        </a:lnTo>
                        <a:cubicBezTo>
                          <a:pt x="4117" y="2861"/>
                          <a:pt x="4117" y="2512"/>
                          <a:pt x="4071" y="2187"/>
                        </a:cubicBezTo>
                        <a:cubicBezTo>
                          <a:pt x="3954" y="1372"/>
                          <a:pt x="3536" y="698"/>
                          <a:pt x="2954" y="465"/>
                        </a:cubicBezTo>
                        <a:cubicBezTo>
                          <a:pt x="2605" y="326"/>
                          <a:pt x="2256" y="186"/>
                          <a:pt x="1907" y="70"/>
                        </a:cubicBezTo>
                        <a:cubicBezTo>
                          <a:pt x="1768" y="23"/>
                          <a:pt x="1652" y="0"/>
                          <a:pt x="1512" y="0"/>
                        </a:cubicBezTo>
                        <a:lnTo>
                          <a:pt x="1512" y="0"/>
                        </a:lnTo>
                        <a:cubicBezTo>
                          <a:pt x="1465" y="0"/>
                          <a:pt x="1419" y="23"/>
                          <a:pt x="1349" y="46"/>
                        </a:cubicBezTo>
                        <a:cubicBezTo>
                          <a:pt x="1256" y="93"/>
                          <a:pt x="1163" y="93"/>
                          <a:pt x="1070" y="140"/>
                        </a:cubicBezTo>
                        <a:close/>
                      </a:path>
                    </a:pathLst>
                  </a:custGeom>
                  <a:solidFill>
                    <a:srgbClr val="FAAB3C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37" name="Freeform: Shape 336">
                    <a:extLst>
                      <a:ext uri="{FF2B5EF4-FFF2-40B4-BE49-F238E27FC236}">
                        <a16:creationId xmlns:a16="http://schemas.microsoft.com/office/drawing/2014/main" id="{A3AEFF73-A612-42CA-9B30-ED00ECACE59D}"/>
                      </a:ext>
                    </a:extLst>
                  </p:cNvPr>
                  <p:cNvSpPr/>
                  <p:nvPr/>
                </p:nvSpPr>
                <p:spPr>
                  <a:xfrm>
                    <a:off x="6225123" y="4171936"/>
                    <a:ext cx="2326" cy="2326"/>
                  </a:xfrm>
                  <a:custGeom>
                    <a:avLst/>
                    <a:gdLst>
                      <a:gd name="connsiteX0" fmla="*/ 4048 w 2326"/>
                      <a:gd name="connsiteY0" fmla="*/ 23 h 2326"/>
                      <a:gd name="connsiteX1" fmla="*/ 4048 w 2326"/>
                      <a:gd name="connsiteY1" fmla="*/ 23 h 2326"/>
                      <a:gd name="connsiteX2" fmla="*/ 4048 w 2326"/>
                      <a:gd name="connsiteY2" fmla="*/ 0 h 2326"/>
                      <a:gd name="connsiteX3" fmla="*/ 2047 w 2326"/>
                      <a:gd name="connsiteY3" fmla="*/ 768 h 2326"/>
                      <a:gd name="connsiteX4" fmla="*/ 0 w 2326"/>
                      <a:gd name="connsiteY4" fmla="*/ 1419 h 2326"/>
                      <a:gd name="connsiteX5" fmla="*/ 0 w 2326"/>
                      <a:gd name="connsiteY5" fmla="*/ 1465 h 2326"/>
                      <a:gd name="connsiteX6" fmla="*/ 1512 w 2326"/>
                      <a:gd name="connsiteY6" fmla="*/ 3187 h 2326"/>
                      <a:gd name="connsiteX7" fmla="*/ 1512 w 2326"/>
                      <a:gd name="connsiteY7" fmla="*/ 3187 h 2326"/>
                      <a:gd name="connsiteX8" fmla="*/ 1884 w 2326"/>
                      <a:gd name="connsiteY8" fmla="*/ 3117 h 2326"/>
                      <a:gd name="connsiteX9" fmla="*/ 2908 w 2326"/>
                      <a:gd name="connsiteY9" fmla="*/ 2745 h 2326"/>
                      <a:gd name="connsiteX10" fmla="*/ 4024 w 2326"/>
                      <a:gd name="connsiteY10" fmla="*/ 1117 h 2326"/>
                      <a:gd name="connsiteX11" fmla="*/ 4048 w 2326"/>
                      <a:gd name="connsiteY11" fmla="*/ 23 h 232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</a:cxnLst>
                    <a:rect l="l" t="t" r="r" b="b"/>
                    <a:pathLst>
                      <a:path w="2326" h="2326">
                        <a:moveTo>
                          <a:pt x="4048" y="23"/>
                        </a:moveTo>
                        <a:lnTo>
                          <a:pt x="4048" y="23"/>
                        </a:lnTo>
                        <a:lnTo>
                          <a:pt x="4048" y="0"/>
                        </a:lnTo>
                        <a:cubicBezTo>
                          <a:pt x="3373" y="256"/>
                          <a:pt x="2722" y="535"/>
                          <a:pt x="2047" y="768"/>
                        </a:cubicBezTo>
                        <a:cubicBezTo>
                          <a:pt x="1372" y="1000"/>
                          <a:pt x="698" y="1233"/>
                          <a:pt x="0" y="1419"/>
                        </a:cubicBezTo>
                        <a:lnTo>
                          <a:pt x="0" y="1465"/>
                        </a:lnTo>
                        <a:cubicBezTo>
                          <a:pt x="163" y="2489"/>
                          <a:pt x="814" y="3187"/>
                          <a:pt x="1512" y="3187"/>
                        </a:cubicBezTo>
                        <a:lnTo>
                          <a:pt x="1512" y="3187"/>
                        </a:lnTo>
                        <a:cubicBezTo>
                          <a:pt x="1628" y="3187"/>
                          <a:pt x="1768" y="3164"/>
                          <a:pt x="1884" y="3117"/>
                        </a:cubicBezTo>
                        <a:cubicBezTo>
                          <a:pt x="2233" y="3001"/>
                          <a:pt x="2582" y="2885"/>
                          <a:pt x="2908" y="2745"/>
                        </a:cubicBezTo>
                        <a:cubicBezTo>
                          <a:pt x="3489" y="2536"/>
                          <a:pt x="3908" y="1884"/>
                          <a:pt x="4024" y="1117"/>
                        </a:cubicBezTo>
                        <a:cubicBezTo>
                          <a:pt x="4094" y="744"/>
                          <a:pt x="4117" y="395"/>
                          <a:pt x="4048" y="23"/>
                        </a:cubicBezTo>
                        <a:close/>
                      </a:path>
                    </a:pathLst>
                  </a:custGeom>
                  <a:solidFill>
                    <a:srgbClr val="FAAB3C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38" name="Freeform: Shape 337">
                    <a:extLst>
                      <a:ext uri="{FF2B5EF4-FFF2-40B4-BE49-F238E27FC236}">
                        <a16:creationId xmlns:a16="http://schemas.microsoft.com/office/drawing/2014/main" id="{517D31F2-2792-4726-8A45-377390EC55C9}"/>
                      </a:ext>
                    </a:extLst>
                  </p:cNvPr>
                  <p:cNvSpPr/>
                  <p:nvPr/>
                </p:nvSpPr>
                <p:spPr>
                  <a:xfrm>
                    <a:off x="6220843" y="4028225"/>
                    <a:ext cx="2326" cy="2326"/>
                  </a:xfrm>
                  <a:custGeom>
                    <a:avLst/>
                    <a:gdLst>
                      <a:gd name="connsiteX0" fmla="*/ 163 w 2326"/>
                      <a:gd name="connsiteY0" fmla="*/ 1140 h 2326"/>
                      <a:gd name="connsiteX1" fmla="*/ 163 w 2326"/>
                      <a:gd name="connsiteY1" fmla="*/ 1186 h 2326"/>
                      <a:gd name="connsiteX2" fmla="*/ 0 w 2326"/>
                      <a:gd name="connsiteY2" fmla="*/ 1884 h 2326"/>
                      <a:gd name="connsiteX3" fmla="*/ 0 w 2326"/>
                      <a:gd name="connsiteY3" fmla="*/ 1931 h 2326"/>
                      <a:gd name="connsiteX4" fmla="*/ 2070 w 2326"/>
                      <a:gd name="connsiteY4" fmla="*/ 2349 h 2326"/>
                      <a:gd name="connsiteX5" fmla="*/ 4117 w 2326"/>
                      <a:gd name="connsiteY5" fmla="*/ 2861 h 2326"/>
                      <a:gd name="connsiteX6" fmla="*/ 4117 w 2326"/>
                      <a:gd name="connsiteY6" fmla="*/ 2861 h 2326"/>
                      <a:gd name="connsiteX7" fmla="*/ 4117 w 2326"/>
                      <a:gd name="connsiteY7" fmla="*/ 2838 h 2326"/>
                      <a:gd name="connsiteX8" fmla="*/ 3955 w 2326"/>
                      <a:gd name="connsiteY8" fmla="*/ 1442 h 2326"/>
                      <a:gd name="connsiteX9" fmla="*/ 2838 w 2326"/>
                      <a:gd name="connsiteY9" fmla="*/ 256 h 2326"/>
                      <a:gd name="connsiteX10" fmla="*/ 1768 w 2326"/>
                      <a:gd name="connsiteY10" fmla="*/ 23 h 2326"/>
                      <a:gd name="connsiteX11" fmla="*/ 1535 w 2326"/>
                      <a:gd name="connsiteY11" fmla="*/ 0 h 2326"/>
                      <a:gd name="connsiteX12" fmla="*/ 1535 w 2326"/>
                      <a:gd name="connsiteY12" fmla="*/ 0 h 2326"/>
                      <a:gd name="connsiteX13" fmla="*/ 163 w 2326"/>
                      <a:gd name="connsiteY13" fmla="*/ 1140 h 232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2326" h="2326">
                        <a:moveTo>
                          <a:pt x="163" y="1140"/>
                        </a:moveTo>
                        <a:lnTo>
                          <a:pt x="163" y="1186"/>
                        </a:lnTo>
                        <a:cubicBezTo>
                          <a:pt x="93" y="1396"/>
                          <a:pt x="23" y="1628"/>
                          <a:pt x="0" y="1884"/>
                        </a:cubicBezTo>
                        <a:lnTo>
                          <a:pt x="0" y="1931"/>
                        </a:lnTo>
                        <a:cubicBezTo>
                          <a:pt x="698" y="2047"/>
                          <a:pt x="1396" y="2187"/>
                          <a:pt x="2070" y="2349"/>
                        </a:cubicBezTo>
                        <a:cubicBezTo>
                          <a:pt x="2768" y="2512"/>
                          <a:pt x="3443" y="2675"/>
                          <a:pt x="4117" y="2861"/>
                        </a:cubicBezTo>
                        <a:lnTo>
                          <a:pt x="4117" y="2861"/>
                        </a:lnTo>
                        <a:lnTo>
                          <a:pt x="4117" y="2838"/>
                        </a:lnTo>
                        <a:cubicBezTo>
                          <a:pt x="4187" y="2326"/>
                          <a:pt x="4117" y="1861"/>
                          <a:pt x="3955" y="1442"/>
                        </a:cubicBezTo>
                        <a:cubicBezTo>
                          <a:pt x="3745" y="837"/>
                          <a:pt x="3326" y="372"/>
                          <a:pt x="2838" y="256"/>
                        </a:cubicBezTo>
                        <a:cubicBezTo>
                          <a:pt x="2466" y="163"/>
                          <a:pt x="2117" y="93"/>
                          <a:pt x="1768" y="23"/>
                        </a:cubicBezTo>
                        <a:cubicBezTo>
                          <a:pt x="1675" y="0"/>
                          <a:pt x="1605" y="0"/>
                          <a:pt x="1535" y="0"/>
                        </a:cubicBezTo>
                        <a:lnTo>
                          <a:pt x="1535" y="0"/>
                        </a:lnTo>
                        <a:cubicBezTo>
                          <a:pt x="954" y="0"/>
                          <a:pt x="442" y="442"/>
                          <a:pt x="163" y="1140"/>
                        </a:cubicBezTo>
                        <a:close/>
                      </a:path>
                    </a:pathLst>
                  </a:custGeom>
                  <a:solidFill>
                    <a:srgbClr val="FAAB3C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39" name="Freeform: Shape 338">
                    <a:extLst>
                      <a:ext uri="{FF2B5EF4-FFF2-40B4-BE49-F238E27FC236}">
                        <a16:creationId xmlns:a16="http://schemas.microsoft.com/office/drawing/2014/main" id="{528EFC42-990D-42E7-82DF-77E193D5F52C}"/>
                      </a:ext>
                    </a:extLst>
                  </p:cNvPr>
                  <p:cNvSpPr/>
                  <p:nvPr/>
                </p:nvSpPr>
                <p:spPr>
                  <a:xfrm>
                    <a:off x="6220005" y="4173611"/>
                    <a:ext cx="2326" cy="2326"/>
                  </a:xfrm>
                  <a:custGeom>
                    <a:avLst/>
                    <a:gdLst>
                      <a:gd name="connsiteX0" fmla="*/ 4117 w 2326"/>
                      <a:gd name="connsiteY0" fmla="*/ 47 h 2326"/>
                      <a:gd name="connsiteX1" fmla="*/ 4117 w 2326"/>
                      <a:gd name="connsiteY1" fmla="*/ 0 h 2326"/>
                      <a:gd name="connsiteX2" fmla="*/ 0 w 2326"/>
                      <a:gd name="connsiteY2" fmla="*/ 837 h 2326"/>
                      <a:gd name="connsiteX3" fmla="*/ 0 w 2326"/>
                      <a:gd name="connsiteY3" fmla="*/ 861 h 2326"/>
                      <a:gd name="connsiteX4" fmla="*/ 395 w 2326"/>
                      <a:gd name="connsiteY4" fmla="*/ 2024 h 2326"/>
                      <a:gd name="connsiteX5" fmla="*/ 442 w 2326"/>
                      <a:gd name="connsiteY5" fmla="*/ 2117 h 2326"/>
                      <a:gd name="connsiteX6" fmla="*/ 582 w 2326"/>
                      <a:gd name="connsiteY6" fmla="*/ 2303 h 2326"/>
                      <a:gd name="connsiteX7" fmla="*/ 884 w 2326"/>
                      <a:gd name="connsiteY7" fmla="*/ 2559 h 2326"/>
                      <a:gd name="connsiteX8" fmla="*/ 1559 w 2326"/>
                      <a:gd name="connsiteY8" fmla="*/ 2791 h 2326"/>
                      <a:gd name="connsiteX9" fmla="*/ 1768 w 2326"/>
                      <a:gd name="connsiteY9" fmla="*/ 2768 h 2326"/>
                      <a:gd name="connsiteX10" fmla="*/ 2815 w 2326"/>
                      <a:gd name="connsiteY10" fmla="*/ 2559 h 2326"/>
                      <a:gd name="connsiteX11" fmla="*/ 3931 w 2326"/>
                      <a:gd name="connsiteY11" fmla="*/ 1465 h 2326"/>
                      <a:gd name="connsiteX12" fmla="*/ 4117 w 2326"/>
                      <a:gd name="connsiteY12" fmla="*/ 47 h 232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</a:cxnLst>
                    <a:rect l="l" t="t" r="r" b="b"/>
                    <a:pathLst>
                      <a:path w="2326" h="2326">
                        <a:moveTo>
                          <a:pt x="4117" y="47"/>
                        </a:moveTo>
                        <a:lnTo>
                          <a:pt x="4117" y="0"/>
                        </a:lnTo>
                        <a:cubicBezTo>
                          <a:pt x="2768" y="349"/>
                          <a:pt x="1396" y="651"/>
                          <a:pt x="0" y="837"/>
                        </a:cubicBezTo>
                        <a:lnTo>
                          <a:pt x="0" y="861"/>
                        </a:lnTo>
                        <a:cubicBezTo>
                          <a:pt x="47" y="1326"/>
                          <a:pt x="186" y="1721"/>
                          <a:pt x="395" y="2024"/>
                        </a:cubicBezTo>
                        <a:cubicBezTo>
                          <a:pt x="395" y="2047"/>
                          <a:pt x="419" y="2094"/>
                          <a:pt x="442" y="2117"/>
                        </a:cubicBezTo>
                        <a:cubicBezTo>
                          <a:pt x="488" y="2187"/>
                          <a:pt x="535" y="2256"/>
                          <a:pt x="582" y="2303"/>
                        </a:cubicBezTo>
                        <a:cubicBezTo>
                          <a:pt x="675" y="2396"/>
                          <a:pt x="768" y="2489"/>
                          <a:pt x="884" y="2559"/>
                        </a:cubicBezTo>
                        <a:cubicBezTo>
                          <a:pt x="1093" y="2698"/>
                          <a:pt x="1326" y="2791"/>
                          <a:pt x="1559" y="2791"/>
                        </a:cubicBezTo>
                        <a:lnTo>
                          <a:pt x="1768" y="2768"/>
                        </a:lnTo>
                        <a:cubicBezTo>
                          <a:pt x="2117" y="2698"/>
                          <a:pt x="2466" y="2629"/>
                          <a:pt x="2815" y="2559"/>
                        </a:cubicBezTo>
                        <a:cubicBezTo>
                          <a:pt x="3303" y="2443"/>
                          <a:pt x="3699" y="2024"/>
                          <a:pt x="3931" y="1465"/>
                        </a:cubicBezTo>
                        <a:cubicBezTo>
                          <a:pt x="4094" y="1070"/>
                          <a:pt x="4164" y="558"/>
                          <a:pt x="4117" y="47"/>
                        </a:cubicBezTo>
                        <a:close/>
                      </a:path>
                    </a:pathLst>
                  </a:custGeom>
                  <a:solidFill>
                    <a:srgbClr val="FAAB3C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40" name="Freeform: Shape 339">
                    <a:extLst>
                      <a:ext uri="{FF2B5EF4-FFF2-40B4-BE49-F238E27FC236}">
                        <a16:creationId xmlns:a16="http://schemas.microsoft.com/office/drawing/2014/main" id="{23063EBC-E794-41A5-A3C0-568003D0AF1E}"/>
                      </a:ext>
                    </a:extLst>
                  </p:cNvPr>
                  <p:cNvSpPr/>
                  <p:nvPr/>
                </p:nvSpPr>
                <p:spPr>
                  <a:xfrm>
                    <a:off x="6215655" y="4027504"/>
                    <a:ext cx="2326" cy="2326"/>
                  </a:xfrm>
                  <a:custGeom>
                    <a:avLst/>
                    <a:gdLst>
                      <a:gd name="connsiteX0" fmla="*/ 1372 w 2326"/>
                      <a:gd name="connsiteY0" fmla="*/ 23 h 2326"/>
                      <a:gd name="connsiteX1" fmla="*/ 1210 w 2326"/>
                      <a:gd name="connsiteY1" fmla="*/ 70 h 2326"/>
                      <a:gd name="connsiteX2" fmla="*/ 1210 w 2326"/>
                      <a:gd name="connsiteY2" fmla="*/ 70 h 2326"/>
                      <a:gd name="connsiteX3" fmla="*/ 0 w 2326"/>
                      <a:gd name="connsiteY3" fmla="*/ 2117 h 2326"/>
                      <a:gd name="connsiteX4" fmla="*/ 0 w 2326"/>
                      <a:gd name="connsiteY4" fmla="*/ 2163 h 2326"/>
                      <a:gd name="connsiteX5" fmla="*/ 4164 w 2326"/>
                      <a:gd name="connsiteY5" fmla="*/ 2489 h 2326"/>
                      <a:gd name="connsiteX6" fmla="*/ 4164 w 2326"/>
                      <a:gd name="connsiteY6" fmla="*/ 2466 h 2326"/>
                      <a:gd name="connsiteX7" fmla="*/ 3699 w 2326"/>
                      <a:gd name="connsiteY7" fmla="*/ 721 h 2326"/>
                      <a:gd name="connsiteX8" fmla="*/ 2722 w 2326"/>
                      <a:gd name="connsiteY8" fmla="*/ 93 h 2326"/>
                      <a:gd name="connsiteX9" fmla="*/ 1652 w 2326"/>
                      <a:gd name="connsiteY9" fmla="*/ 0 h 2326"/>
                      <a:gd name="connsiteX10" fmla="*/ 1582 w 2326"/>
                      <a:gd name="connsiteY10" fmla="*/ 0 h 2326"/>
                      <a:gd name="connsiteX11" fmla="*/ 1582 w 2326"/>
                      <a:gd name="connsiteY11" fmla="*/ 0 h 2326"/>
                      <a:gd name="connsiteX12" fmla="*/ 1535 w 2326"/>
                      <a:gd name="connsiteY12" fmla="*/ 0 h 2326"/>
                      <a:gd name="connsiteX13" fmla="*/ 1372 w 2326"/>
                      <a:gd name="connsiteY13" fmla="*/ 23 h 232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2326" h="2326">
                        <a:moveTo>
                          <a:pt x="1372" y="23"/>
                        </a:moveTo>
                        <a:cubicBezTo>
                          <a:pt x="1326" y="23"/>
                          <a:pt x="1279" y="46"/>
                          <a:pt x="1210" y="70"/>
                        </a:cubicBezTo>
                        <a:lnTo>
                          <a:pt x="1210" y="70"/>
                        </a:lnTo>
                        <a:cubicBezTo>
                          <a:pt x="535" y="302"/>
                          <a:pt x="23" y="1093"/>
                          <a:pt x="0" y="2117"/>
                        </a:cubicBezTo>
                        <a:lnTo>
                          <a:pt x="0" y="2163"/>
                        </a:lnTo>
                        <a:cubicBezTo>
                          <a:pt x="1396" y="2187"/>
                          <a:pt x="2791" y="2303"/>
                          <a:pt x="4164" y="2489"/>
                        </a:cubicBezTo>
                        <a:lnTo>
                          <a:pt x="4164" y="2466"/>
                        </a:lnTo>
                        <a:cubicBezTo>
                          <a:pt x="4187" y="1768"/>
                          <a:pt x="4001" y="1163"/>
                          <a:pt x="3699" y="721"/>
                        </a:cubicBezTo>
                        <a:cubicBezTo>
                          <a:pt x="3443" y="372"/>
                          <a:pt x="3094" y="116"/>
                          <a:pt x="2722" y="93"/>
                        </a:cubicBezTo>
                        <a:cubicBezTo>
                          <a:pt x="2349" y="46"/>
                          <a:pt x="2001" y="23"/>
                          <a:pt x="1652" y="0"/>
                        </a:cubicBezTo>
                        <a:cubicBezTo>
                          <a:pt x="1628" y="0"/>
                          <a:pt x="1605" y="0"/>
                          <a:pt x="1582" y="0"/>
                        </a:cubicBezTo>
                        <a:lnTo>
                          <a:pt x="1582" y="0"/>
                        </a:lnTo>
                        <a:lnTo>
                          <a:pt x="1535" y="0"/>
                        </a:lnTo>
                        <a:cubicBezTo>
                          <a:pt x="1465" y="0"/>
                          <a:pt x="1419" y="23"/>
                          <a:pt x="1372" y="23"/>
                        </a:cubicBezTo>
                        <a:close/>
                      </a:path>
                    </a:pathLst>
                  </a:custGeom>
                  <a:solidFill>
                    <a:srgbClr val="FAAB3C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41" name="Freeform: Shape 340">
                    <a:extLst>
                      <a:ext uri="{FF2B5EF4-FFF2-40B4-BE49-F238E27FC236}">
                        <a16:creationId xmlns:a16="http://schemas.microsoft.com/office/drawing/2014/main" id="{F1DA267B-114B-4CDF-AF1D-0A10049E54ED}"/>
                      </a:ext>
                    </a:extLst>
                  </p:cNvPr>
                  <p:cNvSpPr/>
                  <p:nvPr/>
                </p:nvSpPr>
                <p:spPr>
                  <a:xfrm>
                    <a:off x="6214841" y="4174588"/>
                    <a:ext cx="2326" cy="2326"/>
                  </a:xfrm>
                  <a:custGeom>
                    <a:avLst/>
                    <a:gdLst>
                      <a:gd name="connsiteX0" fmla="*/ 4141 w 2326"/>
                      <a:gd name="connsiteY0" fmla="*/ 0 h 2326"/>
                      <a:gd name="connsiteX1" fmla="*/ 4141 w 2326"/>
                      <a:gd name="connsiteY1" fmla="*/ 0 h 2326"/>
                      <a:gd name="connsiteX2" fmla="*/ 3117 w 2326"/>
                      <a:gd name="connsiteY2" fmla="*/ 93 h 2326"/>
                      <a:gd name="connsiteX3" fmla="*/ 0 w 2326"/>
                      <a:gd name="connsiteY3" fmla="*/ 256 h 2326"/>
                      <a:gd name="connsiteX4" fmla="*/ 0 w 2326"/>
                      <a:gd name="connsiteY4" fmla="*/ 279 h 2326"/>
                      <a:gd name="connsiteX5" fmla="*/ 605 w 2326"/>
                      <a:gd name="connsiteY5" fmla="*/ 1977 h 2326"/>
                      <a:gd name="connsiteX6" fmla="*/ 651 w 2326"/>
                      <a:gd name="connsiteY6" fmla="*/ 2024 h 2326"/>
                      <a:gd name="connsiteX7" fmla="*/ 1117 w 2326"/>
                      <a:gd name="connsiteY7" fmla="*/ 2349 h 2326"/>
                      <a:gd name="connsiteX8" fmla="*/ 1117 w 2326"/>
                      <a:gd name="connsiteY8" fmla="*/ 2349 h 2326"/>
                      <a:gd name="connsiteX9" fmla="*/ 1559 w 2326"/>
                      <a:gd name="connsiteY9" fmla="*/ 2442 h 2326"/>
                      <a:gd name="connsiteX10" fmla="*/ 1559 w 2326"/>
                      <a:gd name="connsiteY10" fmla="*/ 2442 h 2326"/>
                      <a:gd name="connsiteX11" fmla="*/ 1605 w 2326"/>
                      <a:gd name="connsiteY11" fmla="*/ 2442 h 2326"/>
                      <a:gd name="connsiteX12" fmla="*/ 2675 w 2326"/>
                      <a:gd name="connsiteY12" fmla="*/ 2396 h 2326"/>
                      <a:gd name="connsiteX13" fmla="*/ 3606 w 2326"/>
                      <a:gd name="connsiteY13" fmla="*/ 1861 h 2326"/>
                      <a:gd name="connsiteX14" fmla="*/ 4164 w 2326"/>
                      <a:gd name="connsiteY14" fmla="*/ 70 h 2326"/>
                      <a:gd name="connsiteX15" fmla="*/ 4164 w 2326"/>
                      <a:gd name="connsiteY15" fmla="*/ 0 h 232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</a:cxnLst>
                    <a:rect l="l" t="t" r="r" b="b"/>
                    <a:pathLst>
                      <a:path w="2326" h="2326">
                        <a:moveTo>
                          <a:pt x="4141" y="0"/>
                        </a:moveTo>
                        <a:lnTo>
                          <a:pt x="4141" y="0"/>
                        </a:lnTo>
                        <a:cubicBezTo>
                          <a:pt x="3792" y="46"/>
                          <a:pt x="3443" y="46"/>
                          <a:pt x="3117" y="93"/>
                        </a:cubicBezTo>
                        <a:cubicBezTo>
                          <a:pt x="2070" y="186"/>
                          <a:pt x="1047" y="256"/>
                          <a:pt x="0" y="256"/>
                        </a:cubicBezTo>
                        <a:cubicBezTo>
                          <a:pt x="0" y="279"/>
                          <a:pt x="0" y="279"/>
                          <a:pt x="0" y="279"/>
                        </a:cubicBezTo>
                        <a:cubicBezTo>
                          <a:pt x="0" y="977"/>
                          <a:pt x="256" y="1582"/>
                          <a:pt x="605" y="1977"/>
                        </a:cubicBezTo>
                        <a:cubicBezTo>
                          <a:pt x="605" y="1977"/>
                          <a:pt x="628" y="2000"/>
                          <a:pt x="651" y="2024"/>
                        </a:cubicBezTo>
                        <a:cubicBezTo>
                          <a:pt x="791" y="2163"/>
                          <a:pt x="930" y="2280"/>
                          <a:pt x="1117" y="2349"/>
                        </a:cubicBezTo>
                        <a:lnTo>
                          <a:pt x="1117" y="2349"/>
                        </a:lnTo>
                        <a:cubicBezTo>
                          <a:pt x="1256" y="2396"/>
                          <a:pt x="1396" y="2442"/>
                          <a:pt x="1559" y="2442"/>
                        </a:cubicBezTo>
                        <a:lnTo>
                          <a:pt x="1559" y="2442"/>
                        </a:lnTo>
                        <a:lnTo>
                          <a:pt x="1605" y="2442"/>
                        </a:lnTo>
                        <a:cubicBezTo>
                          <a:pt x="1954" y="2442"/>
                          <a:pt x="2303" y="2419"/>
                          <a:pt x="2675" y="2396"/>
                        </a:cubicBezTo>
                        <a:cubicBezTo>
                          <a:pt x="3024" y="2373"/>
                          <a:pt x="3350" y="2163"/>
                          <a:pt x="3606" y="1861"/>
                        </a:cubicBezTo>
                        <a:cubicBezTo>
                          <a:pt x="3978" y="1419"/>
                          <a:pt x="4187" y="791"/>
                          <a:pt x="4164" y="70"/>
                        </a:cubicBezTo>
                        <a:lnTo>
                          <a:pt x="4164" y="0"/>
                        </a:lnTo>
                        <a:close/>
                      </a:path>
                    </a:pathLst>
                  </a:custGeom>
                  <a:solidFill>
                    <a:srgbClr val="FAAB3C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42" name="Freeform: Shape 341">
                    <a:extLst>
                      <a:ext uri="{FF2B5EF4-FFF2-40B4-BE49-F238E27FC236}">
                        <a16:creationId xmlns:a16="http://schemas.microsoft.com/office/drawing/2014/main" id="{64499A75-1F81-4695-BF08-F0951C6DCEC7}"/>
                      </a:ext>
                    </a:extLst>
                  </p:cNvPr>
                  <p:cNvSpPr/>
                  <p:nvPr/>
                </p:nvSpPr>
                <p:spPr>
                  <a:xfrm>
                    <a:off x="6210444" y="4027411"/>
                    <a:ext cx="2326" cy="2326"/>
                  </a:xfrm>
                  <a:custGeom>
                    <a:avLst/>
                    <a:gdLst>
                      <a:gd name="connsiteX0" fmla="*/ 2024 w 2326"/>
                      <a:gd name="connsiteY0" fmla="*/ 70 h 2326"/>
                      <a:gd name="connsiteX1" fmla="*/ 1955 w 2326"/>
                      <a:gd name="connsiteY1" fmla="*/ 70 h 2326"/>
                      <a:gd name="connsiteX2" fmla="*/ 1489 w 2326"/>
                      <a:gd name="connsiteY2" fmla="*/ 93 h 2326"/>
                      <a:gd name="connsiteX3" fmla="*/ 1 w 2326"/>
                      <a:gd name="connsiteY3" fmla="*/ 2419 h 2326"/>
                      <a:gd name="connsiteX4" fmla="*/ 1 w 2326"/>
                      <a:gd name="connsiteY4" fmla="*/ 2443 h 2326"/>
                      <a:gd name="connsiteX5" fmla="*/ 1 w 2326"/>
                      <a:gd name="connsiteY5" fmla="*/ 2443 h 2326"/>
                      <a:gd name="connsiteX6" fmla="*/ 4164 w 2326"/>
                      <a:gd name="connsiteY6" fmla="*/ 2187 h 2326"/>
                      <a:gd name="connsiteX7" fmla="*/ 4164 w 2326"/>
                      <a:gd name="connsiteY7" fmla="*/ 2187 h 2326"/>
                      <a:gd name="connsiteX8" fmla="*/ 4164 w 2326"/>
                      <a:gd name="connsiteY8" fmla="*/ 2163 h 2326"/>
                      <a:gd name="connsiteX9" fmla="*/ 2908 w 2326"/>
                      <a:gd name="connsiteY9" fmla="*/ 47 h 2326"/>
                      <a:gd name="connsiteX10" fmla="*/ 2629 w 2326"/>
                      <a:gd name="connsiteY10" fmla="*/ 0 h 2326"/>
                      <a:gd name="connsiteX11" fmla="*/ 2559 w 2326"/>
                      <a:gd name="connsiteY11" fmla="*/ 0 h 2326"/>
                      <a:gd name="connsiteX12" fmla="*/ 2024 w 2326"/>
                      <a:gd name="connsiteY12" fmla="*/ 70 h 232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</a:cxnLst>
                    <a:rect l="l" t="t" r="r" b="b"/>
                    <a:pathLst>
                      <a:path w="2326" h="2326">
                        <a:moveTo>
                          <a:pt x="2024" y="70"/>
                        </a:moveTo>
                        <a:cubicBezTo>
                          <a:pt x="2001" y="70"/>
                          <a:pt x="1978" y="70"/>
                          <a:pt x="1955" y="70"/>
                        </a:cubicBezTo>
                        <a:cubicBezTo>
                          <a:pt x="1792" y="70"/>
                          <a:pt x="1652" y="93"/>
                          <a:pt x="1489" y="93"/>
                        </a:cubicBezTo>
                        <a:cubicBezTo>
                          <a:pt x="629" y="163"/>
                          <a:pt x="-23" y="1186"/>
                          <a:pt x="1" y="2419"/>
                        </a:cubicBezTo>
                        <a:lnTo>
                          <a:pt x="1" y="2443"/>
                        </a:lnTo>
                        <a:lnTo>
                          <a:pt x="1" y="2443"/>
                        </a:lnTo>
                        <a:cubicBezTo>
                          <a:pt x="1373" y="2280"/>
                          <a:pt x="2769" y="2187"/>
                          <a:pt x="4164" y="2187"/>
                        </a:cubicBezTo>
                        <a:lnTo>
                          <a:pt x="4164" y="2187"/>
                        </a:lnTo>
                        <a:lnTo>
                          <a:pt x="4164" y="2163"/>
                        </a:lnTo>
                        <a:cubicBezTo>
                          <a:pt x="4141" y="1093"/>
                          <a:pt x="3606" y="233"/>
                          <a:pt x="2908" y="47"/>
                        </a:cubicBezTo>
                        <a:cubicBezTo>
                          <a:pt x="2815" y="23"/>
                          <a:pt x="2722" y="0"/>
                          <a:pt x="2629" y="0"/>
                        </a:cubicBezTo>
                        <a:cubicBezTo>
                          <a:pt x="2629" y="0"/>
                          <a:pt x="2583" y="0"/>
                          <a:pt x="2559" y="0"/>
                        </a:cubicBezTo>
                        <a:cubicBezTo>
                          <a:pt x="2373" y="47"/>
                          <a:pt x="2187" y="70"/>
                          <a:pt x="2024" y="70"/>
                        </a:cubicBezTo>
                        <a:close/>
                      </a:path>
                    </a:pathLst>
                  </a:custGeom>
                  <a:solidFill>
                    <a:srgbClr val="FAAB3C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43" name="Freeform: Shape 342">
                    <a:extLst>
                      <a:ext uri="{FF2B5EF4-FFF2-40B4-BE49-F238E27FC236}">
                        <a16:creationId xmlns:a16="http://schemas.microsoft.com/office/drawing/2014/main" id="{CF946849-28DA-4AC6-917B-813B4E89CD56}"/>
                      </a:ext>
                    </a:extLst>
                  </p:cNvPr>
                  <p:cNvSpPr/>
                  <p:nvPr/>
                </p:nvSpPr>
                <p:spPr>
                  <a:xfrm>
                    <a:off x="6209605" y="4174495"/>
                    <a:ext cx="2326" cy="2326"/>
                  </a:xfrm>
                  <a:custGeom>
                    <a:avLst/>
                    <a:gdLst>
                      <a:gd name="connsiteX0" fmla="*/ 1468 w 2326"/>
                      <a:gd name="connsiteY0" fmla="*/ 2373 h 2326"/>
                      <a:gd name="connsiteX1" fmla="*/ 2538 w 2326"/>
                      <a:gd name="connsiteY1" fmla="*/ 2466 h 2326"/>
                      <a:gd name="connsiteX2" fmla="*/ 2608 w 2326"/>
                      <a:gd name="connsiteY2" fmla="*/ 2466 h 2326"/>
                      <a:gd name="connsiteX3" fmla="*/ 4166 w 2326"/>
                      <a:gd name="connsiteY3" fmla="*/ 372 h 2326"/>
                      <a:gd name="connsiteX4" fmla="*/ 4166 w 2326"/>
                      <a:gd name="connsiteY4" fmla="*/ 349 h 2326"/>
                      <a:gd name="connsiteX5" fmla="*/ 2073 w 2326"/>
                      <a:gd name="connsiteY5" fmla="*/ 233 h 2326"/>
                      <a:gd name="connsiteX6" fmla="*/ 2 w 2326"/>
                      <a:gd name="connsiteY6" fmla="*/ 0 h 2326"/>
                      <a:gd name="connsiteX7" fmla="*/ 2 w 2326"/>
                      <a:gd name="connsiteY7" fmla="*/ 0 h 2326"/>
                      <a:gd name="connsiteX8" fmla="*/ 2 w 2326"/>
                      <a:gd name="connsiteY8" fmla="*/ 46 h 2326"/>
                      <a:gd name="connsiteX9" fmla="*/ 1468 w 2326"/>
                      <a:gd name="connsiteY9" fmla="*/ 2373 h 232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2326" h="2326">
                        <a:moveTo>
                          <a:pt x="1468" y="2373"/>
                        </a:moveTo>
                        <a:cubicBezTo>
                          <a:pt x="1817" y="2396"/>
                          <a:pt x="2166" y="2419"/>
                          <a:pt x="2538" y="2466"/>
                        </a:cubicBezTo>
                        <a:lnTo>
                          <a:pt x="2608" y="2466"/>
                        </a:lnTo>
                        <a:cubicBezTo>
                          <a:pt x="3445" y="2466"/>
                          <a:pt x="4120" y="1559"/>
                          <a:pt x="4166" y="372"/>
                        </a:cubicBezTo>
                        <a:lnTo>
                          <a:pt x="4166" y="349"/>
                        </a:lnTo>
                        <a:cubicBezTo>
                          <a:pt x="3468" y="326"/>
                          <a:pt x="2770" y="279"/>
                          <a:pt x="2073" y="233"/>
                        </a:cubicBezTo>
                        <a:cubicBezTo>
                          <a:pt x="1375" y="163"/>
                          <a:pt x="677" y="93"/>
                          <a:pt x="2" y="0"/>
                        </a:cubicBezTo>
                        <a:lnTo>
                          <a:pt x="2" y="0"/>
                        </a:lnTo>
                        <a:cubicBezTo>
                          <a:pt x="2" y="0"/>
                          <a:pt x="2" y="23"/>
                          <a:pt x="2" y="46"/>
                        </a:cubicBezTo>
                        <a:cubicBezTo>
                          <a:pt x="-44" y="1233"/>
                          <a:pt x="607" y="2280"/>
                          <a:pt x="1468" y="2373"/>
                        </a:cubicBezTo>
                        <a:close/>
                      </a:path>
                    </a:pathLst>
                  </a:custGeom>
                  <a:solidFill>
                    <a:srgbClr val="FAAB3C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44" name="Freeform: Shape 343">
                    <a:extLst>
                      <a:ext uri="{FF2B5EF4-FFF2-40B4-BE49-F238E27FC236}">
                        <a16:creationId xmlns:a16="http://schemas.microsoft.com/office/drawing/2014/main" id="{958F6E84-77A2-4042-AE37-13840C5FFF7F}"/>
                      </a:ext>
                    </a:extLst>
                  </p:cNvPr>
                  <p:cNvSpPr/>
                  <p:nvPr/>
                </p:nvSpPr>
                <p:spPr>
                  <a:xfrm>
                    <a:off x="6205260" y="4028062"/>
                    <a:ext cx="2326" cy="2326"/>
                  </a:xfrm>
                  <a:custGeom>
                    <a:avLst/>
                    <a:gdLst>
                      <a:gd name="connsiteX0" fmla="*/ 4161 w 2326"/>
                      <a:gd name="connsiteY0" fmla="*/ 1931 h 2326"/>
                      <a:gd name="connsiteX1" fmla="*/ 4161 w 2326"/>
                      <a:gd name="connsiteY1" fmla="*/ 1931 h 2326"/>
                      <a:gd name="connsiteX2" fmla="*/ 2603 w 2326"/>
                      <a:gd name="connsiteY2" fmla="*/ 0 h 2326"/>
                      <a:gd name="connsiteX3" fmla="*/ 2393 w 2326"/>
                      <a:gd name="connsiteY3" fmla="*/ 23 h 2326"/>
                      <a:gd name="connsiteX4" fmla="*/ 1323 w 2326"/>
                      <a:gd name="connsiteY4" fmla="*/ 256 h 2326"/>
                      <a:gd name="connsiteX5" fmla="*/ 21 w 2326"/>
                      <a:gd name="connsiteY5" fmla="*/ 2768 h 2326"/>
                      <a:gd name="connsiteX6" fmla="*/ 21 w 2326"/>
                      <a:gd name="connsiteY6" fmla="*/ 2791 h 2326"/>
                      <a:gd name="connsiteX7" fmla="*/ 2068 w 2326"/>
                      <a:gd name="connsiteY7" fmla="*/ 2326 h 2326"/>
                      <a:gd name="connsiteX8" fmla="*/ 4138 w 2326"/>
                      <a:gd name="connsiteY8" fmla="*/ 1954 h 2326"/>
                      <a:gd name="connsiteX9" fmla="*/ 4138 w 2326"/>
                      <a:gd name="connsiteY9" fmla="*/ 1931 h 232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2326" h="2326">
                        <a:moveTo>
                          <a:pt x="4161" y="1931"/>
                        </a:moveTo>
                        <a:lnTo>
                          <a:pt x="4161" y="1931"/>
                        </a:lnTo>
                        <a:cubicBezTo>
                          <a:pt x="4045" y="814"/>
                          <a:pt x="3394" y="0"/>
                          <a:pt x="2603" y="0"/>
                        </a:cubicBezTo>
                        <a:cubicBezTo>
                          <a:pt x="2533" y="0"/>
                          <a:pt x="2463" y="0"/>
                          <a:pt x="2393" y="23"/>
                        </a:cubicBezTo>
                        <a:cubicBezTo>
                          <a:pt x="2044" y="93"/>
                          <a:pt x="1696" y="163"/>
                          <a:pt x="1323" y="256"/>
                        </a:cubicBezTo>
                        <a:cubicBezTo>
                          <a:pt x="463" y="442"/>
                          <a:pt x="-119" y="1559"/>
                          <a:pt x="21" y="2768"/>
                        </a:cubicBezTo>
                        <a:lnTo>
                          <a:pt x="21" y="2791"/>
                        </a:lnTo>
                        <a:cubicBezTo>
                          <a:pt x="695" y="2629"/>
                          <a:pt x="1370" y="2466"/>
                          <a:pt x="2068" y="2326"/>
                        </a:cubicBezTo>
                        <a:cubicBezTo>
                          <a:pt x="2766" y="2187"/>
                          <a:pt x="3463" y="2070"/>
                          <a:pt x="4138" y="1954"/>
                        </a:cubicBezTo>
                        <a:lnTo>
                          <a:pt x="4138" y="1931"/>
                        </a:lnTo>
                        <a:close/>
                      </a:path>
                    </a:pathLst>
                  </a:custGeom>
                  <a:solidFill>
                    <a:srgbClr val="FAAB3C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45" name="Freeform: Shape 344">
                    <a:extLst>
                      <a:ext uri="{FF2B5EF4-FFF2-40B4-BE49-F238E27FC236}">
                        <a16:creationId xmlns:a16="http://schemas.microsoft.com/office/drawing/2014/main" id="{CE747872-A212-4C9B-B231-E08485029419}"/>
                      </a:ext>
                    </a:extLst>
                  </p:cNvPr>
                  <p:cNvSpPr/>
                  <p:nvPr/>
                </p:nvSpPr>
                <p:spPr>
                  <a:xfrm>
                    <a:off x="6204443" y="4173401"/>
                    <a:ext cx="2326" cy="2326"/>
                  </a:xfrm>
                  <a:custGeom>
                    <a:avLst/>
                    <a:gdLst>
                      <a:gd name="connsiteX0" fmla="*/ 23 w 2326"/>
                      <a:gd name="connsiteY0" fmla="*/ 0 h 2326"/>
                      <a:gd name="connsiteX1" fmla="*/ 23 w 2326"/>
                      <a:gd name="connsiteY1" fmla="*/ 0 h 2326"/>
                      <a:gd name="connsiteX2" fmla="*/ 0 w 2326"/>
                      <a:gd name="connsiteY2" fmla="*/ 558 h 2326"/>
                      <a:gd name="connsiteX3" fmla="*/ 23 w 2326"/>
                      <a:gd name="connsiteY3" fmla="*/ 744 h 2326"/>
                      <a:gd name="connsiteX4" fmla="*/ 93 w 2326"/>
                      <a:gd name="connsiteY4" fmla="*/ 1093 h 2326"/>
                      <a:gd name="connsiteX5" fmla="*/ 93 w 2326"/>
                      <a:gd name="connsiteY5" fmla="*/ 1117 h 2326"/>
                      <a:gd name="connsiteX6" fmla="*/ 1303 w 2326"/>
                      <a:gd name="connsiteY6" fmla="*/ 2582 h 2326"/>
                      <a:gd name="connsiteX7" fmla="*/ 2373 w 2326"/>
                      <a:gd name="connsiteY7" fmla="*/ 2815 h 2326"/>
                      <a:gd name="connsiteX8" fmla="*/ 2605 w 2326"/>
                      <a:gd name="connsiteY8" fmla="*/ 2838 h 2326"/>
                      <a:gd name="connsiteX9" fmla="*/ 4117 w 2326"/>
                      <a:gd name="connsiteY9" fmla="*/ 1117 h 2326"/>
                      <a:gd name="connsiteX10" fmla="*/ 4164 w 2326"/>
                      <a:gd name="connsiteY10" fmla="*/ 954 h 2326"/>
                      <a:gd name="connsiteX11" fmla="*/ 4164 w 2326"/>
                      <a:gd name="connsiteY11" fmla="*/ 930 h 2326"/>
                      <a:gd name="connsiteX12" fmla="*/ 4164 w 2326"/>
                      <a:gd name="connsiteY12" fmla="*/ 930 h 2326"/>
                      <a:gd name="connsiteX13" fmla="*/ 23 w 2326"/>
                      <a:gd name="connsiteY13" fmla="*/ 0 h 2326"/>
                      <a:gd name="connsiteX14" fmla="*/ 23 w 2326"/>
                      <a:gd name="connsiteY14" fmla="*/ 0 h 2326"/>
                      <a:gd name="connsiteX15" fmla="*/ 23 w 2326"/>
                      <a:gd name="connsiteY15" fmla="*/ 0 h 232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</a:cxnLst>
                    <a:rect l="l" t="t" r="r" b="b"/>
                    <a:pathLst>
                      <a:path w="2326" h="2326">
                        <a:moveTo>
                          <a:pt x="23" y="0"/>
                        </a:moveTo>
                        <a:lnTo>
                          <a:pt x="23" y="0"/>
                        </a:lnTo>
                        <a:cubicBezTo>
                          <a:pt x="0" y="209"/>
                          <a:pt x="0" y="372"/>
                          <a:pt x="0" y="558"/>
                        </a:cubicBezTo>
                        <a:cubicBezTo>
                          <a:pt x="0" y="628"/>
                          <a:pt x="23" y="698"/>
                          <a:pt x="23" y="744"/>
                        </a:cubicBezTo>
                        <a:cubicBezTo>
                          <a:pt x="47" y="861"/>
                          <a:pt x="70" y="977"/>
                          <a:pt x="93" y="1093"/>
                        </a:cubicBezTo>
                        <a:lnTo>
                          <a:pt x="93" y="1117"/>
                        </a:lnTo>
                        <a:cubicBezTo>
                          <a:pt x="279" y="1861"/>
                          <a:pt x="721" y="2442"/>
                          <a:pt x="1303" y="2582"/>
                        </a:cubicBezTo>
                        <a:cubicBezTo>
                          <a:pt x="1652" y="2652"/>
                          <a:pt x="2000" y="2745"/>
                          <a:pt x="2373" y="2815"/>
                        </a:cubicBezTo>
                        <a:lnTo>
                          <a:pt x="2605" y="2838"/>
                        </a:lnTo>
                        <a:cubicBezTo>
                          <a:pt x="3326" y="2838"/>
                          <a:pt x="3931" y="2117"/>
                          <a:pt x="4117" y="1117"/>
                        </a:cubicBezTo>
                        <a:cubicBezTo>
                          <a:pt x="4117" y="1070"/>
                          <a:pt x="4141" y="1000"/>
                          <a:pt x="4164" y="954"/>
                        </a:cubicBezTo>
                        <a:lnTo>
                          <a:pt x="4164" y="930"/>
                        </a:lnTo>
                        <a:lnTo>
                          <a:pt x="4164" y="930"/>
                        </a:lnTo>
                        <a:cubicBezTo>
                          <a:pt x="2768" y="675"/>
                          <a:pt x="1396" y="372"/>
                          <a:pt x="23" y="0"/>
                        </a:cubicBezTo>
                        <a:lnTo>
                          <a:pt x="23" y="0"/>
                        </a:lnTo>
                        <a:lnTo>
                          <a:pt x="23" y="0"/>
                        </a:lnTo>
                        <a:close/>
                      </a:path>
                    </a:pathLst>
                  </a:custGeom>
                  <a:solidFill>
                    <a:srgbClr val="FAAB3C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46" name="Freeform: Shape 345">
                    <a:extLst>
                      <a:ext uri="{FF2B5EF4-FFF2-40B4-BE49-F238E27FC236}">
                        <a16:creationId xmlns:a16="http://schemas.microsoft.com/office/drawing/2014/main" id="{1CCE86FE-B1E8-4F43-8430-26C6C805D574}"/>
                      </a:ext>
                    </a:extLst>
                  </p:cNvPr>
                  <p:cNvSpPr/>
                  <p:nvPr/>
                </p:nvSpPr>
                <p:spPr>
                  <a:xfrm>
                    <a:off x="6195190" y="4031482"/>
                    <a:ext cx="2326" cy="2326"/>
                  </a:xfrm>
                  <a:custGeom>
                    <a:avLst/>
                    <a:gdLst>
                      <a:gd name="connsiteX0" fmla="*/ 3902 w 2326"/>
                      <a:gd name="connsiteY0" fmla="*/ 1093 h 2326"/>
                      <a:gd name="connsiteX1" fmla="*/ 2577 w 2326"/>
                      <a:gd name="connsiteY1" fmla="*/ 0 h 2326"/>
                      <a:gd name="connsiteX2" fmla="*/ 2042 w 2326"/>
                      <a:gd name="connsiteY2" fmla="*/ 116 h 2326"/>
                      <a:gd name="connsiteX3" fmla="*/ 1018 w 2326"/>
                      <a:gd name="connsiteY3" fmla="*/ 651 h 2326"/>
                      <a:gd name="connsiteX4" fmla="*/ 111 w 2326"/>
                      <a:gd name="connsiteY4" fmla="*/ 3489 h 2326"/>
                      <a:gd name="connsiteX5" fmla="*/ 111 w 2326"/>
                      <a:gd name="connsiteY5" fmla="*/ 3536 h 2326"/>
                      <a:gd name="connsiteX6" fmla="*/ 111 w 2326"/>
                      <a:gd name="connsiteY6" fmla="*/ 3536 h 2326"/>
                      <a:gd name="connsiteX7" fmla="*/ 2042 w 2326"/>
                      <a:gd name="connsiteY7" fmla="*/ 2466 h 2326"/>
                      <a:gd name="connsiteX8" fmla="*/ 4019 w 2326"/>
                      <a:gd name="connsiteY8" fmla="*/ 1512 h 2326"/>
                      <a:gd name="connsiteX9" fmla="*/ 4019 w 2326"/>
                      <a:gd name="connsiteY9" fmla="*/ 1489 h 2326"/>
                      <a:gd name="connsiteX10" fmla="*/ 3902 w 2326"/>
                      <a:gd name="connsiteY10" fmla="*/ 1093 h 232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2326" h="2326">
                        <a:moveTo>
                          <a:pt x="3902" y="1093"/>
                        </a:moveTo>
                        <a:cubicBezTo>
                          <a:pt x="3623" y="419"/>
                          <a:pt x="3135" y="0"/>
                          <a:pt x="2577" y="0"/>
                        </a:cubicBezTo>
                        <a:cubicBezTo>
                          <a:pt x="2414" y="0"/>
                          <a:pt x="2228" y="47"/>
                          <a:pt x="2042" y="116"/>
                        </a:cubicBezTo>
                        <a:cubicBezTo>
                          <a:pt x="1716" y="279"/>
                          <a:pt x="1367" y="442"/>
                          <a:pt x="1018" y="651"/>
                        </a:cubicBezTo>
                        <a:cubicBezTo>
                          <a:pt x="204" y="1070"/>
                          <a:pt x="-215" y="2349"/>
                          <a:pt x="111" y="3489"/>
                        </a:cubicBezTo>
                        <a:lnTo>
                          <a:pt x="111" y="3536"/>
                        </a:lnTo>
                        <a:lnTo>
                          <a:pt x="111" y="3536"/>
                        </a:lnTo>
                        <a:cubicBezTo>
                          <a:pt x="762" y="3164"/>
                          <a:pt x="1390" y="2815"/>
                          <a:pt x="2042" y="2466"/>
                        </a:cubicBezTo>
                        <a:cubicBezTo>
                          <a:pt x="2693" y="2140"/>
                          <a:pt x="3344" y="1814"/>
                          <a:pt x="4019" y="1512"/>
                        </a:cubicBezTo>
                        <a:cubicBezTo>
                          <a:pt x="4019" y="1512"/>
                          <a:pt x="4019" y="1489"/>
                          <a:pt x="4019" y="1489"/>
                        </a:cubicBezTo>
                        <a:cubicBezTo>
                          <a:pt x="4019" y="1349"/>
                          <a:pt x="3972" y="1233"/>
                          <a:pt x="3902" y="1093"/>
                        </a:cubicBezTo>
                        <a:close/>
                      </a:path>
                    </a:pathLst>
                  </a:custGeom>
                  <a:solidFill>
                    <a:srgbClr val="FAAB3C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47" name="Freeform: Shape 346">
                    <a:extLst>
                      <a:ext uri="{FF2B5EF4-FFF2-40B4-BE49-F238E27FC236}">
                        <a16:creationId xmlns:a16="http://schemas.microsoft.com/office/drawing/2014/main" id="{207F1D33-C2DB-4E38-8357-0FA2F624CAF5}"/>
                      </a:ext>
                    </a:extLst>
                  </p:cNvPr>
                  <p:cNvSpPr/>
                  <p:nvPr/>
                </p:nvSpPr>
                <p:spPr>
                  <a:xfrm>
                    <a:off x="6194441" y="4169005"/>
                    <a:ext cx="2326" cy="2326"/>
                  </a:xfrm>
                  <a:custGeom>
                    <a:avLst/>
                    <a:gdLst>
                      <a:gd name="connsiteX0" fmla="*/ 116 w 2326"/>
                      <a:gd name="connsiteY0" fmla="*/ 0 h 2326"/>
                      <a:gd name="connsiteX1" fmla="*/ 116 w 2326"/>
                      <a:gd name="connsiteY1" fmla="*/ 0 h 2326"/>
                      <a:gd name="connsiteX2" fmla="*/ 47 w 2326"/>
                      <a:gd name="connsiteY2" fmla="*/ 395 h 2326"/>
                      <a:gd name="connsiteX3" fmla="*/ 0 w 2326"/>
                      <a:gd name="connsiteY3" fmla="*/ 837 h 2326"/>
                      <a:gd name="connsiteX4" fmla="*/ 209 w 2326"/>
                      <a:gd name="connsiteY4" fmla="*/ 1884 h 2326"/>
                      <a:gd name="connsiteX5" fmla="*/ 465 w 2326"/>
                      <a:gd name="connsiteY5" fmla="*/ 2396 h 2326"/>
                      <a:gd name="connsiteX6" fmla="*/ 512 w 2326"/>
                      <a:gd name="connsiteY6" fmla="*/ 2442 h 2326"/>
                      <a:gd name="connsiteX7" fmla="*/ 605 w 2326"/>
                      <a:gd name="connsiteY7" fmla="*/ 2536 h 2326"/>
                      <a:gd name="connsiteX8" fmla="*/ 977 w 2326"/>
                      <a:gd name="connsiteY8" fmla="*/ 2884 h 2326"/>
                      <a:gd name="connsiteX9" fmla="*/ 2001 w 2326"/>
                      <a:gd name="connsiteY9" fmla="*/ 3419 h 2326"/>
                      <a:gd name="connsiteX10" fmla="*/ 2536 w 2326"/>
                      <a:gd name="connsiteY10" fmla="*/ 3582 h 2326"/>
                      <a:gd name="connsiteX11" fmla="*/ 3838 w 2326"/>
                      <a:gd name="connsiteY11" fmla="*/ 2536 h 2326"/>
                      <a:gd name="connsiteX12" fmla="*/ 4001 w 2326"/>
                      <a:gd name="connsiteY12" fmla="*/ 2117 h 2326"/>
                      <a:gd name="connsiteX13" fmla="*/ 4001 w 2326"/>
                      <a:gd name="connsiteY13" fmla="*/ 2094 h 2326"/>
                      <a:gd name="connsiteX14" fmla="*/ 2024 w 2326"/>
                      <a:gd name="connsiteY14" fmla="*/ 1093 h 2326"/>
                      <a:gd name="connsiteX15" fmla="*/ 116 w 2326"/>
                      <a:gd name="connsiteY15" fmla="*/ 0 h 2326"/>
                      <a:gd name="connsiteX16" fmla="*/ 116 w 2326"/>
                      <a:gd name="connsiteY16" fmla="*/ 0 h 2326"/>
                      <a:gd name="connsiteX17" fmla="*/ 116 w 2326"/>
                      <a:gd name="connsiteY17" fmla="*/ 0 h 232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</a:cxnLst>
                    <a:rect l="l" t="t" r="r" b="b"/>
                    <a:pathLst>
                      <a:path w="2326" h="2326">
                        <a:moveTo>
                          <a:pt x="116" y="0"/>
                        </a:moveTo>
                        <a:lnTo>
                          <a:pt x="116" y="0"/>
                        </a:lnTo>
                        <a:cubicBezTo>
                          <a:pt x="70" y="140"/>
                          <a:pt x="70" y="279"/>
                          <a:pt x="47" y="395"/>
                        </a:cubicBezTo>
                        <a:cubicBezTo>
                          <a:pt x="23" y="535"/>
                          <a:pt x="0" y="698"/>
                          <a:pt x="0" y="837"/>
                        </a:cubicBezTo>
                        <a:cubicBezTo>
                          <a:pt x="0" y="1210"/>
                          <a:pt x="93" y="1558"/>
                          <a:pt x="209" y="1884"/>
                        </a:cubicBezTo>
                        <a:cubicBezTo>
                          <a:pt x="279" y="2070"/>
                          <a:pt x="349" y="2233"/>
                          <a:pt x="465" y="2396"/>
                        </a:cubicBezTo>
                        <a:cubicBezTo>
                          <a:pt x="465" y="2419"/>
                          <a:pt x="488" y="2419"/>
                          <a:pt x="512" y="2442"/>
                        </a:cubicBezTo>
                        <a:cubicBezTo>
                          <a:pt x="535" y="2489"/>
                          <a:pt x="582" y="2489"/>
                          <a:pt x="605" y="2536"/>
                        </a:cubicBezTo>
                        <a:cubicBezTo>
                          <a:pt x="721" y="2675"/>
                          <a:pt x="837" y="2815"/>
                          <a:pt x="977" y="2884"/>
                        </a:cubicBezTo>
                        <a:cubicBezTo>
                          <a:pt x="1326" y="3070"/>
                          <a:pt x="1652" y="3257"/>
                          <a:pt x="2001" y="3419"/>
                        </a:cubicBezTo>
                        <a:cubicBezTo>
                          <a:pt x="2163" y="3512"/>
                          <a:pt x="2373" y="3582"/>
                          <a:pt x="2536" y="3582"/>
                        </a:cubicBezTo>
                        <a:cubicBezTo>
                          <a:pt x="3071" y="3582"/>
                          <a:pt x="3559" y="3187"/>
                          <a:pt x="3838" y="2536"/>
                        </a:cubicBezTo>
                        <a:cubicBezTo>
                          <a:pt x="3885" y="2396"/>
                          <a:pt x="3954" y="2280"/>
                          <a:pt x="4001" y="2117"/>
                        </a:cubicBezTo>
                        <a:lnTo>
                          <a:pt x="4001" y="2094"/>
                        </a:lnTo>
                        <a:cubicBezTo>
                          <a:pt x="3350" y="1768"/>
                          <a:pt x="2675" y="1442"/>
                          <a:pt x="2024" y="1093"/>
                        </a:cubicBezTo>
                        <a:cubicBezTo>
                          <a:pt x="1396" y="744"/>
                          <a:pt x="768" y="372"/>
                          <a:pt x="116" y="0"/>
                        </a:cubicBezTo>
                        <a:lnTo>
                          <a:pt x="116" y="0"/>
                        </a:lnTo>
                        <a:lnTo>
                          <a:pt x="116" y="0"/>
                        </a:lnTo>
                        <a:close/>
                      </a:path>
                    </a:pathLst>
                  </a:custGeom>
                  <a:solidFill>
                    <a:srgbClr val="FAAB3C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48" name="Freeform: Shape 347">
                    <a:extLst>
                      <a:ext uri="{FF2B5EF4-FFF2-40B4-BE49-F238E27FC236}">
                        <a16:creationId xmlns:a16="http://schemas.microsoft.com/office/drawing/2014/main" id="{CC06B0F2-9F77-451F-9B78-3C93F9F6AA1E}"/>
                      </a:ext>
                    </a:extLst>
                  </p:cNvPr>
                  <p:cNvSpPr/>
                  <p:nvPr/>
                </p:nvSpPr>
                <p:spPr>
                  <a:xfrm>
                    <a:off x="6190478" y="4034273"/>
                    <a:ext cx="2326" cy="2326"/>
                  </a:xfrm>
                  <a:custGeom>
                    <a:avLst/>
                    <a:gdLst>
                      <a:gd name="connsiteX0" fmla="*/ 3660 w 2326"/>
                      <a:gd name="connsiteY0" fmla="*/ 744 h 2326"/>
                      <a:gd name="connsiteX1" fmla="*/ 2497 w 2326"/>
                      <a:gd name="connsiteY1" fmla="*/ 0 h 2326"/>
                      <a:gd name="connsiteX2" fmla="*/ 1822 w 2326"/>
                      <a:gd name="connsiteY2" fmla="*/ 209 h 2326"/>
                      <a:gd name="connsiteX3" fmla="*/ 845 w 2326"/>
                      <a:gd name="connsiteY3" fmla="*/ 884 h 2326"/>
                      <a:gd name="connsiteX4" fmla="*/ 403 w 2326"/>
                      <a:gd name="connsiteY4" fmla="*/ 1372 h 2326"/>
                      <a:gd name="connsiteX5" fmla="*/ 310 w 2326"/>
                      <a:gd name="connsiteY5" fmla="*/ 1535 h 2326"/>
                      <a:gd name="connsiteX6" fmla="*/ 101 w 2326"/>
                      <a:gd name="connsiteY6" fmla="*/ 2070 h 2326"/>
                      <a:gd name="connsiteX7" fmla="*/ 54 w 2326"/>
                      <a:gd name="connsiteY7" fmla="*/ 2233 h 2326"/>
                      <a:gd name="connsiteX8" fmla="*/ 8 w 2326"/>
                      <a:gd name="connsiteY8" fmla="*/ 2652 h 2326"/>
                      <a:gd name="connsiteX9" fmla="*/ 147 w 2326"/>
                      <a:gd name="connsiteY9" fmla="*/ 3861 h 2326"/>
                      <a:gd name="connsiteX10" fmla="*/ 147 w 2326"/>
                      <a:gd name="connsiteY10" fmla="*/ 3885 h 2326"/>
                      <a:gd name="connsiteX11" fmla="*/ 147 w 2326"/>
                      <a:gd name="connsiteY11" fmla="*/ 3885 h 2326"/>
                      <a:gd name="connsiteX12" fmla="*/ 3893 w 2326"/>
                      <a:gd name="connsiteY12" fmla="*/ 1326 h 2326"/>
                      <a:gd name="connsiteX13" fmla="*/ 3893 w 2326"/>
                      <a:gd name="connsiteY13" fmla="*/ 1303 h 2326"/>
                      <a:gd name="connsiteX14" fmla="*/ 3660 w 2326"/>
                      <a:gd name="connsiteY14" fmla="*/ 744 h 232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</a:cxnLst>
                    <a:rect l="l" t="t" r="r" b="b"/>
                    <a:pathLst>
                      <a:path w="2326" h="2326">
                        <a:moveTo>
                          <a:pt x="3660" y="744"/>
                        </a:moveTo>
                        <a:cubicBezTo>
                          <a:pt x="3358" y="256"/>
                          <a:pt x="2939" y="0"/>
                          <a:pt x="2497" y="0"/>
                        </a:cubicBezTo>
                        <a:cubicBezTo>
                          <a:pt x="2264" y="0"/>
                          <a:pt x="2055" y="70"/>
                          <a:pt x="1822" y="209"/>
                        </a:cubicBezTo>
                        <a:cubicBezTo>
                          <a:pt x="1497" y="442"/>
                          <a:pt x="1171" y="651"/>
                          <a:pt x="845" y="884"/>
                        </a:cubicBezTo>
                        <a:cubicBezTo>
                          <a:pt x="682" y="1000"/>
                          <a:pt x="520" y="1186"/>
                          <a:pt x="403" y="1372"/>
                        </a:cubicBezTo>
                        <a:cubicBezTo>
                          <a:pt x="380" y="1419"/>
                          <a:pt x="357" y="1489"/>
                          <a:pt x="310" y="1535"/>
                        </a:cubicBezTo>
                        <a:cubicBezTo>
                          <a:pt x="217" y="1698"/>
                          <a:pt x="147" y="1861"/>
                          <a:pt x="101" y="2070"/>
                        </a:cubicBezTo>
                        <a:cubicBezTo>
                          <a:pt x="78" y="2117"/>
                          <a:pt x="78" y="2163"/>
                          <a:pt x="54" y="2233"/>
                        </a:cubicBezTo>
                        <a:cubicBezTo>
                          <a:pt x="31" y="2373"/>
                          <a:pt x="31" y="2512"/>
                          <a:pt x="8" y="2652"/>
                        </a:cubicBezTo>
                        <a:cubicBezTo>
                          <a:pt x="-15" y="3071"/>
                          <a:pt x="8" y="3466"/>
                          <a:pt x="147" y="3861"/>
                        </a:cubicBezTo>
                        <a:cubicBezTo>
                          <a:pt x="147" y="3885"/>
                          <a:pt x="147" y="3885"/>
                          <a:pt x="147" y="3885"/>
                        </a:cubicBezTo>
                        <a:lnTo>
                          <a:pt x="147" y="3885"/>
                        </a:lnTo>
                        <a:cubicBezTo>
                          <a:pt x="1380" y="2977"/>
                          <a:pt x="2613" y="2094"/>
                          <a:pt x="3893" y="1326"/>
                        </a:cubicBezTo>
                        <a:lnTo>
                          <a:pt x="3893" y="1303"/>
                        </a:lnTo>
                        <a:cubicBezTo>
                          <a:pt x="3846" y="1070"/>
                          <a:pt x="3753" y="884"/>
                          <a:pt x="3660" y="744"/>
                        </a:cubicBezTo>
                        <a:close/>
                      </a:path>
                    </a:pathLst>
                  </a:custGeom>
                  <a:solidFill>
                    <a:srgbClr val="FAAB3C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49" name="Freeform: Shape 348">
                    <a:extLst>
                      <a:ext uri="{FF2B5EF4-FFF2-40B4-BE49-F238E27FC236}">
                        <a16:creationId xmlns:a16="http://schemas.microsoft.com/office/drawing/2014/main" id="{226D2B61-5125-4090-B21E-27D1FF955BFB}"/>
                      </a:ext>
                    </a:extLst>
                  </p:cNvPr>
                  <p:cNvSpPr/>
                  <p:nvPr/>
                </p:nvSpPr>
                <p:spPr>
                  <a:xfrm>
                    <a:off x="6185935" y="4037716"/>
                    <a:ext cx="2326" cy="2326"/>
                  </a:xfrm>
                  <a:custGeom>
                    <a:avLst/>
                    <a:gdLst>
                      <a:gd name="connsiteX0" fmla="*/ 3784 w 2326"/>
                      <a:gd name="connsiteY0" fmla="*/ 1070 h 2326"/>
                      <a:gd name="connsiteX1" fmla="*/ 3318 w 2326"/>
                      <a:gd name="connsiteY1" fmla="*/ 395 h 2326"/>
                      <a:gd name="connsiteX2" fmla="*/ 2435 w 2326"/>
                      <a:gd name="connsiteY2" fmla="*/ 0 h 2326"/>
                      <a:gd name="connsiteX3" fmla="*/ 1620 w 2326"/>
                      <a:gd name="connsiteY3" fmla="*/ 326 h 2326"/>
                      <a:gd name="connsiteX4" fmla="*/ 1527 w 2326"/>
                      <a:gd name="connsiteY4" fmla="*/ 419 h 2326"/>
                      <a:gd name="connsiteX5" fmla="*/ 713 w 2326"/>
                      <a:gd name="connsiteY5" fmla="*/ 1117 h 2326"/>
                      <a:gd name="connsiteX6" fmla="*/ 132 w 2326"/>
                      <a:gd name="connsiteY6" fmla="*/ 2163 h 2326"/>
                      <a:gd name="connsiteX7" fmla="*/ 39 w 2326"/>
                      <a:gd name="connsiteY7" fmla="*/ 2489 h 2326"/>
                      <a:gd name="connsiteX8" fmla="*/ 39 w 2326"/>
                      <a:gd name="connsiteY8" fmla="*/ 2559 h 2326"/>
                      <a:gd name="connsiteX9" fmla="*/ 15 w 2326"/>
                      <a:gd name="connsiteY9" fmla="*/ 3326 h 2326"/>
                      <a:gd name="connsiteX10" fmla="*/ 248 w 2326"/>
                      <a:gd name="connsiteY10" fmla="*/ 4164 h 2326"/>
                      <a:gd name="connsiteX11" fmla="*/ 271 w 2326"/>
                      <a:gd name="connsiteY11" fmla="*/ 4210 h 2326"/>
                      <a:gd name="connsiteX12" fmla="*/ 271 w 2326"/>
                      <a:gd name="connsiteY12" fmla="*/ 4210 h 2326"/>
                      <a:gd name="connsiteX13" fmla="*/ 3505 w 2326"/>
                      <a:gd name="connsiteY13" fmla="*/ 1372 h 2326"/>
                      <a:gd name="connsiteX14" fmla="*/ 3830 w 2326"/>
                      <a:gd name="connsiteY14" fmla="*/ 1117 h 2326"/>
                      <a:gd name="connsiteX15" fmla="*/ 3830 w 2326"/>
                      <a:gd name="connsiteY15" fmla="*/ 1117 h 2326"/>
                      <a:gd name="connsiteX16" fmla="*/ 3784 w 2326"/>
                      <a:gd name="connsiteY16" fmla="*/ 1070 h 232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</a:cxnLst>
                    <a:rect l="l" t="t" r="r" b="b"/>
                    <a:pathLst>
                      <a:path w="2326" h="2326">
                        <a:moveTo>
                          <a:pt x="3784" y="1070"/>
                        </a:moveTo>
                        <a:cubicBezTo>
                          <a:pt x="3667" y="791"/>
                          <a:pt x="3505" y="582"/>
                          <a:pt x="3318" y="395"/>
                        </a:cubicBezTo>
                        <a:cubicBezTo>
                          <a:pt x="3039" y="140"/>
                          <a:pt x="2760" y="0"/>
                          <a:pt x="2435" y="0"/>
                        </a:cubicBezTo>
                        <a:cubicBezTo>
                          <a:pt x="2155" y="0"/>
                          <a:pt x="1876" y="93"/>
                          <a:pt x="1620" y="326"/>
                        </a:cubicBezTo>
                        <a:cubicBezTo>
                          <a:pt x="1597" y="349"/>
                          <a:pt x="1574" y="372"/>
                          <a:pt x="1527" y="419"/>
                        </a:cubicBezTo>
                        <a:cubicBezTo>
                          <a:pt x="1248" y="651"/>
                          <a:pt x="992" y="884"/>
                          <a:pt x="713" y="1117"/>
                        </a:cubicBezTo>
                        <a:cubicBezTo>
                          <a:pt x="434" y="1372"/>
                          <a:pt x="248" y="1745"/>
                          <a:pt x="132" y="2163"/>
                        </a:cubicBezTo>
                        <a:cubicBezTo>
                          <a:pt x="108" y="2280"/>
                          <a:pt x="62" y="2373"/>
                          <a:pt x="39" y="2489"/>
                        </a:cubicBezTo>
                        <a:cubicBezTo>
                          <a:pt x="39" y="2512"/>
                          <a:pt x="39" y="2536"/>
                          <a:pt x="39" y="2559"/>
                        </a:cubicBezTo>
                        <a:cubicBezTo>
                          <a:pt x="-8" y="2815"/>
                          <a:pt x="-8" y="3070"/>
                          <a:pt x="15" y="3326"/>
                        </a:cubicBezTo>
                        <a:cubicBezTo>
                          <a:pt x="62" y="3606"/>
                          <a:pt x="132" y="3908"/>
                          <a:pt x="248" y="4164"/>
                        </a:cubicBezTo>
                        <a:lnTo>
                          <a:pt x="271" y="4210"/>
                        </a:lnTo>
                        <a:lnTo>
                          <a:pt x="271" y="4210"/>
                        </a:lnTo>
                        <a:cubicBezTo>
                          <a:pt x="1318" y="3210"/>
                          <a:pt x="2411" y="2280"/>
                          <a:pt x="3505" y="1372"/>
                        </a:cubicBezTo>
                        <a:cubicBezTo>
                          <a:pt x="3598" y="1303"/>
                          <a:pt x="3714" y="1210"/>
                          <a:pt x="3830" y="1117"/>
                        </a:cubicBezTo>
                        <a:lnTo>
                          <a:pt x="3830" y="1117"/>
                        </a:lnTo>
                        <a:lnTo>
                          <a:pt x="3784" y="1070"/>
                        </a:lnTo>
                        <a:close/>
                      </a:path>
                    </a:pathLst>
                  </a:custGeom>
                  <a:solidFill>
                    <a:srgbClr val="FAAB3C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50" name="Freeform: Shape 349">
                    <a:extLst>
                      <a:ext uri="{FF2B5EF4-FFF2-40B4-BE49-F238E27FC236}">
                        <a16:creationId xmlns:a16="http://schemas.microsoft.com/office/drawing/2014/main" id="{4B025A32-82FC-4755-8FA5-6E1232530B90}"/>
                      </a:ext>
                    </a:extLst>
                  </p:cNvPr>
                  <p:cNvSpPr/>
                  <p:nvPr/>
                </p:nvSpPr>
                <p:spPr>
                  <a:xfrm>
                    <a:off x="6181042" y="4157397"/>
                    <a:ext cx="2326" cy="2326"/>
                  </a:xfrm>
                  <a:custGeom>
                    <a:avLst/>
                    <a:gdLst>
                      <a:gd name="connsiteX0" fmla="*/ 326 w 2326"/>
                      <a:gd name="connsiteY0" fmla="*/ 0 h 2326"/>
                      <a:gd name="connsiteX1" fmla="*/ 93 w 2326"/>
                      <a:gd name="connsiteY1" fmla="*/ 605 h 2326"/>
                      <a:gd name="connsiteX2" fmla="*/ 23 w 2326"/>
                      <a:gd name="connsiteY2" fmla="*/ 930 h 2326"/>
                      <a:gd name="connsiteX3" fmla="*/ 0 w 2326"/>
                      <a:gd name="connsiteY3" fmla="*/ 1419 h 2326"/>
                      <a:gd name="connsiteX4" fmla="*/ 0 w 2326"/>
                      <a:gd name="connsiteY4" fmla="*/ 1721 h 2326"/>
                      <a:gd name="connsiteX5" fmla="*/ 93 w 2326"/>
                      <a:gd name="connsiteY5" fmla="*/ 2233 h 2326"/>
                      <a:gd name="connsiteX6" fmla="*/ 186 w 2326"/>
                      <a:gd name="connsiteY6" fmla="*/ 2512 h 2326"/>
                      <a:gd name="connsiteX7" fmla="*/ 535 w 2326"/>
                      <a:gd name="connsiteY7" fmla="*/ 3117 h 2326"/>
                      <a:gd name="connsiteX8" fmla="*/ 1372 w 2326"/>
                      <a:gd name="connsiteY8" fmla="*/ 4048 h 2326"/>
                      <a:gd name="connsiteX9" fmla="*/ 1768 w 2326"/>
                      <a:gd name="connsiteY9" fmla="*/ 4350 h 2326"/>
                      <a:gd name="connsiteX10" fmla="*/ 2163 w 2326"/>
                      <a:gd name="connsiteY10" fmla="*/ 4466 h 2326"/>
                      <a:gd name="connsiteX11" fmla="*/ 2163 w 2326"/>
                      <a:gd name="connsiteY11" fmla="*/ 4466 h 2326"/>
                      <a:gd name="connsiteX12" fmla="*/ 2326 w 2326"/>
                      <a:gd name="connsiteY12" fmla="*/ 4513 h 2326"/>
                      <a:gd name="connsiteX13" fmla="*/ 2559 w 2326"/>
                      <a:gd name="connsiteY13" fmla="*/ 4466 h 2326"/>
                      <a:gd name="connsiteX14" fmla="*/ 3559 w 2326"/>
                      <a:gd name="connsiteY14" fmla="*/ 3652 h 2326"/>
                      <a:gd name="connsiteX15" fmla="*/ 3582 w 2326"/>
                      <a:gd name="connsiteY15" fmla="*/ 3629 h 2326"/>
                      <a:gd name="connsiteX16" fmla="*/ 1931 w 2326"/>
                      <a:gd name="connsiteY16" fmla="*/ 1838 h 2326"/>
                      <a:gd name="connsiteX17" fmla="*/ 326 w 2326"/>
                      <a:gd name="connsiteY17" fmla="*/ 0 h 2326"/>
                      <a:gd name="connsiteX18" fmla="*/ 326 w 2326"/>
                      <a:gd name="connsiteY18" fmla="*/ 0 h 2326"/>
                      <a:gd name="connsiteX19" fmla="*/ 326 w 2326"/>
                      <a:gd name="connsiteY19" fmla="*/ 0 h 2326"/>
                      <a:gd name="connsiteX20" fmla="*/ 326 w 2326"/>
                      <a:gd name="connsiteY20" fmla="*/ 0 h 232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</a:cxnLst>
                    <a:rect l="l" t="t" r="r" b="b"/>
                    <a:pathLst>
                      <a:path w="2326" h="2326">
                        <a:moveTo>
                          <a:pt x="326" y="0"/>
                        </a:moveTo>
                        <a:cubicBezTo>
                          <a:pt x="209" y="186"/>
                          <a:pt x="163" y="395"/>
                          <a:pt x="93" y="605"/>
                        </a:cubicBezTo>
                        <a:cubicBezTo>
                          <a:pt x="70" y="721"/>
                          <a:pt x="47" y="814"/>
                          <a:pt x="23" y="930"/>
                        </a:cubicBezTo>
                        <a:cubicBezTo>
                          <a:pt x="0" y="1093"/>
                          <a:pt x="0" y="1256"/>
                          <a:pt x="0" y="1419"/>
                        </a:cubicBezTo>
                        <a:cubicBezTo>
                          <a:pt x="0" y="1512"/>
                          <a:pt x="0" y="1628"/>
                          <a:pt x="0" y="1721"/>
                        </a:cubicBezTo>
                        <a:cubicBezTo>
                          <a:pt x="23" y="1907"/>
                          <a:pt x="47" y="2070"/>
                          <a:pt x="93" y="2233"/>
                        </a:cubicBezTo>
                        <a:cubicBezTo>
                          <a:pt x="116" y="2326"/>
                          <a:pt x="163" y="2419"/>
                          <a:pt x="186" y="2512"/>
                        </a:cubicBezTo>
                        <a:cubicBezTo>
                          <a:pt x="279" y="2722"/>
                          <a:pt x="395" y="2954"/>
                          <a:pt x="535" y="3117"/>
                        </a:cubicBezTo>
                        <a:cubicBezTo>
                          <a:pt x="791" y="3443"/>
                          <a:pt x="1093" y="3745"/>
                          <a:pt x="1372" y="4048"/>
                        </a:cubicBezTo>
                        <a:cubicBezTo>
                          <a:pt x="1512" y="4187"/>
                          <a:pt x="1628" y="4280"/>
                          <a:pt x="1768" y="4350"/>
                        </a:cubicBezTo>
                        <a:cubicBezTo>
                          <a:pt x="1884" y="4420"/>
                          <a:pt x="2024" y="4466"/>
                          <a:pt x="2163" y="4466"/>
                        </a:cubicBezTo>
                        <a:lnTo>
                          <a:pt x="2163" y="4466"/>
                        </a:lnTo>
                        <a:cubicBezTo>
                          <a:pt x="2210" y="4466"/>
                          <a:pt x="2280" y="4513"/>
                          <a:pt x="2326" y="4513"/>
                        </a:cubicBezTo>
                        <a:cubicBezTo>
                          <a:pt x="2396" y="4513"/>
                          <a:pt x="2489" y="4489"/>
                          <a:pt x="2559" y="4466"/>
                        </a:cubicBezTo>
                        <a:cubicBezTo>
                          <a:pt x="2931" y="4373"/>
                          <a:pt x="3303" y="4117"/>
                          <a:pt x="3559" y="3652"/>
                        </a:cubicBezTo>
                        <a:cubicBezTo>
                          <a:pt x="3559" y="3652"/>
                          <a:pt x="3559" y="3629"/>
                          <a:pt x="3582" y="3629"/>
                        </a:cubicBezTo>
                        <a:cubicBezTo>
                          <a:pt x="3024" y="3047"/>
                          <a:pt x="2466" y="2466"/>
                          <a:pt x="1931" y="1838"/>
                        </a:cubicBezTo>
                        <a:cubicBezTo>
                          <a:pt x="1396" y="1233"/>
                          <a:pt x="861" y="605"/>
                          <a:pt x="326" y="0"/>
                        </a:cubicBezTo>
                        <a:lnTo>
                          <a:pt x="326" y="0"/>
                        </a:lnTo>
                        <a:lnTo>
                          <a:pt x="326" y="0"/>
                        </a:lnTo>
                        <a:lnTo>
                          <a:pt x="326" y="0"/>
                        </a:lnTo>
                        <a:close/>
                      </a:path>
                    </a:pathLst>
                  </a:custGeom>
                  <a:solidFill>
                    <a:srgbClr val="FAAB3C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51" name="Freeform: Shape 350">
                    <a:extLst>
                      <a:ext uri="{FF2B5EF4-FFF2-40B4-BE49-F238E27FC236}">
                        <a16:creationId xmlns:a16="http://schemas.microsoft.com/office/drawing/2014/main" id="{70330148-AB41-4804-B546-921520B823BF}"/>
                      </a:ext>
                    </a:extLst>
                  </p:cNvPr>
                  <p:cNvSpPr/>
                  <p:nvPr/>
                </p:nvSpPr>
                <p:spPr>
                  <a:xfrm>
                    <a:off x="6177762" y="4046509"/>
                    <a:ext cx="2326" cy="4652"/>
                  </a:xfrm>
                  <a:custGeom>
                    <a:avLst/>
                    <a:gdLst>
                      <a:gd name="connsiteX0" fmla="*/ 3466 w 2326"/>
                      <a:gd name="connsiteY0" fmla="*/ 721 h 4652"/>
                      <a:gd name="connsiteX1" fmla="*/ 2303 w 2326"/>
                      <a:gd name="connsiteY1" fmla="*/ 0 h 4652"/>
                      <a:gd name="connsiteX2" fmla="*/ 2303 w 2326"/>
                      <a:gd name="connsiteY2" fmla="*/ 0 h 4652"/>
                      <a:gd name="connsiteX3" fmla="*/ 1256 w 2326"/>
                      <a:gd name="connsiteY3" fmla="*/ 582 h 4652"/>
                      <a:gd name="connsiteX4" fmla="*/ 465 w 2326"/>
                      <a:gd name="connsiteY4" fmla="*/ 1605 h 4652"/>
                      <a:gd name="connsiteX5" fmla="*/ 0 w 2326"/>
                      <a:gd name="connsiteY5" fmla="*/ 3187 h 4652"/>
                      <a:gd name="connsiteX6" fmla="*/ 47 w 2326"/>
                      <a:gd name="connsiteY6" fmla="*/ 3675 h 4652"/>
                      <a:gd name="connsiteX7" fmla="*/ 419 w 2326"/>
                      <a:gd name="connsiteY7" fmla="*/ 4745 h 4652"/>
                      <a:gd name="connsiteX8" fmla="*/ 419 w 2326"/>
                      <a:gd name="connsiteY8" fmla="*/ 4745 h 4652"/>
                      <a:gd name="connsiteX9" fmla="*/ 419 w 2326"/>
                      <a:gd name="connsiteY9" fmla="*/ 4745 h 4652"/>
                      <a:gd name="connsiteX10" fmla="*/ 419 w 2326"/>
                      <a:gd name="connsiteY10" fmla="*/ 4745 h 4652"/>
                      <a:gd name="connsiteX11" fmla="*/ 3466 w 2326"/>
                      <a:gd name="connsiteY11" fmla="*/ 721 h 4652"/>
                      <a:gd name="connsiteX12" fmla="*/ 3466 w 2326"/>
                      <a:gd name="connsiteY12" fmla="*/ 721 h 4652"/>
                      <a:gd name="connsiteX13" fmla="*/ 3466 w 2326"/>
                      <a:gd name="connsiteY13" fmla="*/ 721 h 46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2326" h="4652">
                        <a:moveTo>
                          <a:pt x="3466" y="721"/>
                        </a:moveTo>
                        <a:cubicBezTo>
                          <a:pt x="3140" y="233"/>
                          <a:pt x="2722" y="0"/>
                          <a:pt x="2303" y="0"/>
                        </a:cubicBezTo>
                        <a:lnTo>
                          <a:pt x="2303" y="0"/>
                        </a:lnTo>
                        <a:cubicBezTo>
                          <a:pt x="1931" y="0"/>
                          <a:pt x="1559" y="186"/>
                          <a:pt x="1256" y="582"/>
                        </a:cubicBezTo>
                        <a:cubicBezTo>
                          <a:pt x="977" y="930"/>
                          <a:pt x="721" y="1279"/>
                          <a:pt x="465" y="1605"/>
                        </a:cubicBezTo>
                        <a:cubicBezTo>
                          <a:pt x="140" y="2047"/>
                          <a:pt x="0" y="2629"/>
                          <a:pt x="0" y="3187"/>
                        </a:cubicBezTo>
                        <a:cubicBezTo>
                          <a:pt x="0" y="3350"/>
                          <a:pt x="23" y="3512"/>
                          <a:pt x="47" y="3675"/>
                        </a:cubicBezTo>
                        <a:cubicBezTo>
                          <a:pt x="93" y="4048"/>
                          <a:pt x="209" y="4420"/>
                          <a:pt x="419" y="4745"/>
                        </a:cubicBezTo>
                        <a:lnTo>
                          <a:pt x="419" y="4745"/>
                        </a:lnTo>
                        <a:lnTo>
                          <a:pt x="419" y="4745"/>
                        </a:lnTo>
                        <a:lnTo>
                          <a:pt x="419" y="4745"/>
                        </a:lnTo>
                        <a:cubicBezTo>
                          <a:pt x="1396" y="3350"/>
                          <a:pt x="2419" y="2000"/>
                          <a:pt x="3466" y="721"/>
                        </a:cubicBezTo>
                        <a:lnTo>
                          <a:pt x="3466" y="721"/>
                        </a:lnTo>
                        <a:lnTo>
                          <a:pt x="3466" y="721"/>
                        </a:lnTo>
                        <a:close/>
                      </a:path>
                    </a:pathLst>
                  </a:custGeom>
                  <a:solidFill>
                    <a:srgbClr val="FAAB3C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52" name="Freeform: Shape 351">
                    <a:extLst>
                      <a:ext uri="{FF2B5EF4-FFF2-40B4-BE49-F238E27FC236}">
                        <a16:creationId xmlns:a16="http://schemas.microsoft.com/office/drawing/2014/main" id="{2B86C79F-0972-43C6-BC30-2007A5C7D7AD}"/>
                      </a:ext>
                    </a:extLst>
                  </p:cNvPr>
                  <p:cNvSpPr/>
                  <p:nvPr/>
                </p:nvSpPr>
                <p:spPr>
                  <a:xfrm>
                    <a:off x="6177135" y="4152303"/>
                    <a:ext cx="2326" cy="4652"/>
                  </a:xfrm>
                  <a:custGeom>
                    <a:avLst/>
                    <a:gdLst>
                      <a:gd name="connsiteX0" fmla="*/ 464 w 2326"/>
                      <a:gd name="connsiteY0" fmla="*/ 0 h 4652"/>
                      <a:gd name="connsiteX1" fmla="*/ 464 w 2326"/>
                      <a:gd name="connsiteY1" fmla="*/ 0 h 4652"/>
                      <a:gd name="connsiteX2" fmla="*/ 464 w 2326"/>
                      <a:gd name="connsiteY2" fmla="*/ 0 h 4652"/>
                      <a:gd name="connsiteX3" fmla="*/ 139 w 2326"/>
                      <a:gd name="connsiteY3" fmla="*/ 698 h 4652"/>
                      <a:gd name="connsiteX4" fmla="*/ 464 w 2326"/>
                      <a:gd name="connsiteY4" fmla="*/ 3164 h 4652"/>
                      <a:gd name="connsiteX5" fmla="*/ 1232 w 2326"/>
                      <a:gd name="connsiteY5" fmla="*/ 4210 h 4652"/>
                      <a:gd name="connsiteX6" fmla="*/ 2302 w 2326"/>
                      <a:gd name="connsiteY6" fmla="*/ 4815 h 4652"/>
                      <a:gd name="connsiteX7" fmla="*/ 2302 w 2326"/>
                      <a:gd name="connsiteY7" fmla="*/ 4815 h 4652"/>
                      <a:gd name="connsiteX8" fmla="*/ 3442 w 2326"/>
                      <a:gd name="connsiteY8" fmla="*/ 4117 h 4652"/>
                      <a:gd name="connsiteX9" fmla="*/ 3442 w 2326"/>
                      <a:gd name="connsiteY9" fmla="*/ 4094 h 4652"/>
                      <a:gd name="connsiteX10" fmla="*/ 3442 w 2326"/>
                      <a:gd name="connsiteY10" fmla="*/ 4094 h 4652"/>
                      <a:gd name="connsiteX11" fmla="*/ 2697 w 2326"/>
                      <a:gd name="connsiteY11" fmla="*/ 3094 h 4652"/>
                      <a:gd name="connsiteX12" fmla="*/ 1581 w 2326"/>
                      <a:gd name="connsiteY12" fmla="*/ 1605 h 4652"/>
                      <a:gd name="connsiteX13" fmla="*/ 464 w 2326"/>
                      <a:gd name="connsiteY13" fmla="*/ 0 h 46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2326" h="4652">
                        <a:moveTo>
                          <a:pt x="464" y="0"/>
                        </a:moveTo>
                        <a:lnTo>
                          <a:pt x="464" y="0"/>
                        </a:lnTo>
                        <a:lnTo>
                          <a:pt x="464" y="0"/>
                        </a:lnTo>
                        <a:cubicBezTo>
                          <a:pt x="301" y="209"/>
                          <a:pt x="208" y="442"/>
                          <a:pt x="139" y="698"/>
                        </a:cubicBezTo>
                        <a:cubicBezTo>
                          <a:pt x="-117" y="1512"/>
                          <a:pt x="-24" y="2489"/>
                          <a:pt x="464" y="3164"/>
                        </a:cubicBezTo>
                        <a:cubicBezTo>
                          <a:pt x="720" y="3536"/>
                          <a:pt x="999" y="3861"/>
                          <a:pt x="1232" y="4210"/>
                        </a:cubicBezTo>
                        <a:cubicBezTo>
                          <a:pt x="1534" y="4629"/>
                          <a:pt x="1930" y="4815"/>
                          <a:pt x="2302" y="4815"/>
                        </a:cubicBezTo>
                        <a:lnTo>
                          <a:pt x="2302" y="4815"/>
                        </a:lnTo>
                        <a:cubicBezTo>
                          <a:pt x="2721" y="4815"/>
                          <a:pt x="3139" y="4583"/>
                          <a:pt x="3442" y="4117"/>
                        </a:cubicBezTo>
                        <a:lnTo>
                          <a:pt x="3442" y="4094"/>
                        </a:lnTo>
                        <a:lnTo>
                          <a:pt x="3442" y="4094"/>
                        </a:lnTo>
                        <a:cubicBezTo>
                          <a:pt x="3186" y="3768"/>
                          <a:pt x="2930" y="3419"/>
                          <a:pt x="2697" y="3094"/>
                        </a:cubicBezTo>
                        <a:cubicBezTo>
                          <a:pt x="2325" y="2605"/>
                          <a:pt x="1953" y="2117"/>
                          <a:pt x="1581" y="1605"/>
                        </a:cubicBezTo>
                        <a:cubicBezTo>
                          <a:pt x="1209" y="1093"/>
                          <a:pt x="836" y="558"/>
                          <a:pt x="464" y="0"/>
                        </a:cubicBezTo>
                        <a:close/>
                      </a:path>
                    </a:pathLst>
                  </a:custGeom>
                  <a:solidFill>
                    <a:srgbClr val="FAAB3C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53" name="Freeform: Shape 352">
                    <a:extLst>
                      <a:ext uri="{FF2B5EF4-FFF2-40B4-BE49-F238E27FC236}">
                        <a16:creationId xmlns:a16="http://schemas.microsoft.com/office/drawing/2014/main" id="{BDF6F78A-4435-4409-AF83-7D0B9B5F3B87}"/>
                      </a:ext>
                    </a:extLst>
                  </p:cNvPr>
                  <p:cNvSpPr/>
                  <p:nvPr/>
                </p:nvSpPr>
                <p:spPr>
                  <a:xfrm>
                    <a:off x="6174177" y="4051743"/>
                    <a:ext cx="2326" cy="4652"/>
                  </a:xfrm>
                  <a:custGeom>
                    <a:avLst/>
                    <a:gdLst>
                      <a:gd name="connsiteX0" fmla="*/ 2236 w 2326"/>
                      <a:gd name="connsiteY0" fmla="*/ 0 h 4652"/>
                      <a:gd name="connsiteX1" fmla="*/ 2236 w 2326"/>
                      <a:gd name="connsiteY1" fmla="*/ 0 h 4652"/>
                      <a:gd name="connsiteX2" fmla="*/ 1538 w 2326"/>
                      <a:gd name="connsiteY2" fmla="*/ 233 h 4652"/>
                      <a:gd name="connsiteX3" fmla="*/ 1515 w 2326"/>
                      <a:gd name="connsiteY3" fmla="*/ 256 h 4652"/>
                      <a:gd name="connsiteX4" fmla="*/ 1073 w 2326"/>
                      <a:gd name="connsiteY4" fmla="*/ 744 h 4652"/>
                      <a:gd name="connsiteX5" fmla="*/ 375 w 2326"/>
                      <a:gd name="connsiteY5" fmla="*/ 1884 h 4652"/>
                      <a:gd name="connsiteX6" fmla="*/ 3 w 2326"/>
                      <a:gd name="connsiteY6" fmla="*/ 3536 h 4652"/>
                      <a:gd name="connsiteX7" fmla="*/ 96 w 2326"/>
                      <a:gd name="connsiteY7" fmla="*/ 4094 h 4652"/>
                      <a:gd name="connsiteX8" fmla="*/ 538 w 2326"/>
                      <a:gd name="connsiteY8" fmla="*/ 5001 h 4652"/>
                      <a:gd name="connsiteX9" fmla="*/ 561 w 2326"/>
                      <a:gd name="connsiteY9" fmla="*/ 5025 h 4652"/>
                      <a:gd name="connsiteX10" fmla="*/ 3306 w 2326"/>
                      <a:gd name="connsiteY10" fmla="*/ 582 h 4652"/>
                      <a:gd name="connsiteX11" fmla="*/ 3306 w 2326"/>
                      <a:gd name="connsiteY11" fmla="*/ 558 h 4652"/>
                      <a:gd name="connsiteX12" fmla="*/ 2236 w 2326"/>
                      <a:gd name="connsiteY12" fmla="*/ 0 h 46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</a:cxnLst>
                    <a:rect l="l" t="t" r="r" b="b"/>
                    <a:pathLst>
                      <a:path w="2326" h="4652">
                        <a:moveTo>
                          <a:pt x="2236" y="0"/>
                        </a:moveTo>
                        <a:lnTo>
                          <a:pt x="2236" y="0"/>
                        </a:lnTo>
                        <a:cubicBezTo>
                          <a:pt x="2003" y="0"/>
                          <a:pt x="1771" y="93"/>
                          <a:pt x="1538" y="233"/>
                        </a:cubicBezTo>
                        <a:lnTo>
                          <a:pt x="1515" y="256"/>
                        </a:lnTo>
                        <a:cubicBezTo>
                          <a:pt x="1352" y="372"/>
                          <a:pt x="1189" y="512"/>
                          <a:pt x="1073" y="744"/>
                        </a:cubicBezTo>
                        <a:cubicBezTo>
                          <a:pt x="840" y="1117"/>
                          <a:pt x="608" y="1489"/>
                          <a:pt x="375" y="1884"/>
                        </a:cubicBezTo>
                        <a:cubicBezTo>
                          <a:pt x="96" y="2373"/>
                          <a:pt x="-20" y="2954"/>
                          <a:pt x="3" y="3536"/>
                        </a:cubicBezTo>
                        <a:cubicBezTo>
                          <a:pt x="3" y="3722"/>
                          <a:pt x="49" y="3908"/>
                          <a:pt x="96" y="4094"/>
                        </a:cubicBezTo>
                        <a:cubicBezTo>
                          <a:pt x="189" y="4443"/>
                          <a:pt x="329" y="4769"/>
                          <a:pt x="538" y="5001"/>
                        </a:cubicBezTo>
                        <a:cubicBezTo>
                          <a:pt x="538" y="5001"/>
                          <a:pt x="538" y="5025"/>
                          <a:pt x="561" y="5025"/>
                        </a:cubicBezTo>
                        <a:cubicBezTo>
                          <a:pt x="1445" y="3489"/>
                          <a:pt x="2352" y="2024"/>
                          <a:pt x="3306" y="582"/>
                        </a:cubicBezTo>
                        <a:lnTo>
                          <a:pt x="3306" y="558"/>
                        </a:lnTo>
                        <a:cubicBezTo>
                          <a:pt x="2980" y="186"/>
                          <a:pt x="2608" y="0"/>
                          <a:pt x="2236" y="0"/>
                        </a:cubicBezTo>
                        <a:close/>
                      </a:path>
                    </a:pathLst>
                  </a:custGeom>
                  <a:solidFill>
                    <a:srgbClr val="FAAB3C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54" name="Freeform: Shape 353">
                    <a:extLst>
                      <a:ext uri="{FF2B5EF4-FFF2-40B4-BE49-F238E27FC236}">
                        <a16:creationId xmlns:a16="http://schemas.microsoft.com/office/drawing/2014/main" id="{676F3DDE-4FBE-4362-842B-B08B9D699DAF}"/>
                      </a:ext>
                    </a:extLst>
                  </p:cNvPr>
                  <p:cNvSpPr/>
                  <p:nvPr/>
                </p:nvSpPr>
                <p:spPr>
                  <a:xfrm>
                    <a:off x="6173627" y="4146744"/>
                    <a:ext cx="2326" cy="4652"/>
                  </a:xfrm>
                  <a:custGeom>
                    <a:avLst/>
                    <a:gdLst>
                      <a:gd name="connsiteX0" fmla="*/ 157 w 2326"/>
                      <a:gd name="connsiteY0" fmla="*/ 768 h 4652"/>
                      <a:gd name="connsiteX1" fmla="*/ 157 w 2326"/>
                      <a:gd name="connsiteY1" fmla="*/ 768 h 4652"/>
                      <a:gd name="connsiteX2" fmla="*/ 367 w 2326"/>
                      <a:gd name="connsiteY2" fmla="*/ 3140 h 4652"/>
                      <a:gd name="connsiteX3" fmla="*/ 1065 w 2326"/>
                      <a:gd name="connsiteY3" fmla="*/ 4280 h 4652"/>
                      <a:gd name="connsiteX4" fmla="*/ 1925 w 2326"/>
                      <a:gd name="connsiteY4" fmla="*/ 5001 h 4652"/>
                      <a:gd name="connsiteX5" fmla="*/ 2251 w 2326"/>
                      <a:gd name="connsiteY5" fmla="*/ 5048 h 4652"/>
                      <a:gd name="connsiteX6" fmla="*/ 3275 w 2326"/>
                      <a:gd name="connsiteY6" fmla="*/ 4513 h 4652"/>
                      <a:gd name="connsiteX7" fmla="*/ 3275 w 2326"/>
                      <a:gd name="connsiteY7" fmla="*/ 4513 h 4652"/>
                      <a:gd name="connsiteX8" fmla="*/ 3275 w 2326"/>
                      <a:gd name="connsiteY8" fmla="*/ 4513 h 4652"/>
                      <a:gd name="connsiteX9" fmla="*/ 599 w 2326"/>
                      <a:gd name="connsiteY9" fmla="*/ 0 h 4652"/>
                      <a:gd name="connsiteX10" fmla="*/ 576 w 2326"/>
                      <a:gd name="connsiteY10" fmla="*/ 23 h 4652"/>
                      <a:gd name="connsiteX11" fmla="*/ 157 w 2326"/>
                      <a:gd name="connsiteY11" fmla="*/ 768 h 46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</a:cxnLst>
                    <a:rect l="l" t="t" r="r" b="b"/>
                    <a:pathLst>
                      <a:path w="2326" h="4652">
                        <a:moveTo>
                          <a:pt x="157" y="768"/>
                        </a:moveTo>
                        <a:lnTo>
                          <a:pt x="157" y="768"/>
                        </a:lnTo>
                        <a:cubicBezTo>
                          <a:pt x="-98" y="1512"/>
                          <a:pt x="-52" y="2442"/>
                          <a:pt x="367" y="3140"/>
                        </a:cubicBezTo>
                        <a:cubicBezTo>
                          <a:pt x="599" y="3536"/>
                          <a:pt x="832" y="3931"/>
                          <a:pt x="1065" y="4280"/>
                        </a:cubicBezTo>
                        <a:cubicBezTo>
                          <a:pt x="1297" y="4676"/>
                          <a:pt x="1600" y="4908"/>
                          <a:pt x="1925" y="5001"/>
                        </a:cubicBezTo>
                        <a:cubicBezTo>
                          <a:pt x="2042" y="5025"/>
                          <a:pt x="2135" y="5048"/>
                          <a:pt x="2251" y="5048"/>
                        </a:cubicBezTo>
                        <a:cubicBezTo>
                          <a:pt x="2623" y="5048"/>
                          <a:pt x="2972" y="4885"/>
                          <a:pt x="3275" y="4513"/>
                        </a:cubicBezTo>
                        <a:lnTo>
                          <a:pt x="3275" y="4513"/>
                        </a:lnTo>
                        <a:lnTo>
                          <a:pt x="3275" y="4513"/>
                        </a:lnTo>
                        <a:cubicBezTo>
                          <a:pt x="2344" y="3071"/>
                          <a:pt x="1437" y="1558"/>
                          <a:pt x="599" y="0"/>
                        </a:cubicBezTo>
                        <a:cubicBezTo>
                          <a:pt x="576" y="0"/>
                          <a:pt x="576" y="23"/>
                          <a:pt x="576" y="23"/>
                        </a:cubicBezTo>
                        <a:cubicBezTo>
                          <a:pt x="367" y="233"/>
                          <a:pt x="250" y="488"/>
                          <a:pt x="157" y="768"/>
                        </a:cubicBezTo>
                        <a:close/>
                      </a:path>
                    </a:pathLst>
                  </a:custGeom>
                  <a:solidFill>
                    <a:srgbClr val="FAAB3C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55" name="Freeform: Shape 354">
                    <a:extLst>
                      <a:ext uri="{FF2B5EF4-FFF2-40B4-BE49-F238E27FC236}">
                        <a16:creationId xmlns:a16="http://schemas.microsoft.com/office/drawing/2014/main" id="{08D8ED38-4ED8-4C64-8863-CBF82ECB21E0}"/>
                      </a:ext>
                    </a:extLst>
                  </p:cNvPr>
                  <p:cNvSpPr/>
                  <p:nvPr/>
                </p:nvSpPr>
                <p:spPr>
                  <a:xfrm>
                    <a:off x="6171008" y="4057465"/>
                    <a:ext cx="2326" cy="4652"/>
                  </a:xfrm>
                  <a:custGeom>
                    <a:avLst/>
                    <a:gdLst>
                      <a:gd name="connsiteX0" fmla="*/ 2148 w 2326"/>
                      <a:gd name="connsiteY0" fmla="*/ 0 h 4652"/>
                      <a:gd name="connsiteX1" fmla="*/ 1823 w 2326"/>
                      <a:gd name="connsiteY1" fmla="*/ 46 h 4652"/>
                      <a:gd name="connsiteX2" fmla="*/ 1450 w 2326"/>
                      <a:gd name="connsiteY2" fmla="*/ 233 h 4652"/>
                      <a:gd name="connsiteX3" fmla="*/ 1241 w 2326"/>
                      <a:gd name="connsiteY3" fmla="*/ 419 h 4652"/>
                      <a:gd name="connsiteX4" fmla="*/ 1008 w 2326"/>
                      <a:gd name="connsiteY4" fmla="*/ 744 h 4652"/>
                      <a:gd name="connsiteX5" fmla="*/ 892 w 2326"/>
                      <a:gd name="connsiteY5" fmla="*/ 907 h 4652"/>
                      <a:gd name="connsiteX6" fmla="*/ 264 w 2326"/>
                      <a:gd name="connsiteY6" fmla="*/ 2140 h 4652"/>
                      <a:gd name="connsiteX7" fmla="*/ 31 w 2326"/>
                      <a:gd name="connsiteY7" fmla="*/ 2908 h 4652"/>
                      <a:gd name="connsiteX8" fmla="*/ 171 w 2326"/>
                      <a:gd name="connsiteY8" fmla="*/ 4327 h 4652"/>
                      <a:gd name="connsiteX9" fmla="*/ 194 w 2326"/>
                      <a:gd name="connsiteY9" fmla="*/ 4420 h 4652"/>
                      <a:gd name="connsiteX10" fmla="*/ 659 w 2326"/>
                      <a:gd name="connsiteY10" fmla="*/ 5211 h 4652"/>
                      <a:gd name="connsiteX11" fmla="*/ 683 w 2326"/>
                      <a:gd name="connsiteY11" fmla="*/ 5234 h 4652"/>
                      <a:gd name="connsiteX12" fmla="*/ 3102 w 2326"/>
                      <a:gd name="connsiteY12" fmla="*/ 442 h 4652"/>
                      <a:gd name="connsiteX13" fmla="*/ 3079 w 2326"/>
                      <a:gd name="connsiteY13" fmla="*/ 419 h 4652"/>
                      <a:gd name="connsiteX14" fmla="*/ 2148 w 2326"/>
                      <a:gd name="connsiteY14" fmla="*/ 0 h 46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</a:cxnLst>
                    <a:rect l="l" t="t" r="r" b="b"/>
                    <a:pathLst>
                      <a:path w="2326" h="4652">
                        <a:moveTo>
                          <a:pt x="2148" y="0"/>
                        </a:moveTo>
                        <a:cubicBezTo>
                          <a:pt x="2032" y="0"/>
                          <a:pt x="1939" y="23"/>
                          <a:pt x="1823" y="46"/>
                        </a:cubicBezTo>
                        <a:cubicBezTo>
                          <a:pt x="1683" y="93"/>
                          <a:pt x="1543" y="140"/>
                          <a:pt x="1450" y="233"/>
                        </a:cubicBezTo>
                        <a:cubicBezTo>
                          <a:pt x="1381" y="279"/>
                          <a:pt x="1311" y="349"/>
                          <a:pt x="1241" y="419"/>
                        </a:cubicBezTo>
                        <a:cubicBezTo>
                          <a:pt x="1148" y="512"/>
                          <a:pt x="1078" y="628"/>
                          <a:pt x="1008" y="744"/>
                        </a:cubicBezTo>
                        <a:cubicBezTo>
                          <a:pt x="962" y="814"/>
                          <a:pt x="939" y="861"/>
                          <a:pt x="892" y="907"/>
                        </a:cubicBezTo>
                        <a:cubicBezTo>
                          <a:pt x="683" y="1326"/>
                          <a:pt x="473" y="1721"/>
                          <a:pt x="264" y="2140"/>
                        </a:cubicBezTo>
                        <a:cubicBezTo>
                          <a:pt x="148" y="2373"/>
                          <a:pt x="78" y="2652"/>
                          <a:pt x="31" y="2908"/>
                        </a:cubicBezTo>
                        <a:cubicBezTo>
                          <a:pt x="-38" y="3396"/>
                          <a:pt x="8" y="3885"/>
                          <a:pt x="171" y="4327"/>
                        </a:cubicBezTo>
                        <a:cubicBezTo>
                          <a:pt x="171" y="4350"/>
                          <a:pt x="171" y="4396"/>
                          <a:pt x="194" y="4420"/>
                        </a:cubicBezTo>
                        <a:cubicBezTo>
                          <a:pt x="311" y="4722"/>
                          <a:pt x="450" y="5001"/>
                          <a:pt x="659" y="5211"/>
                        </a:cubicBezTo>
                        <a:lnTo>
                          <a:pt x="683" y="5234"/>
                        </a:lnTo>
                        <a:cubicBezTo>
                          <a:pt x="1450" y="3582"/>
                          <a:pt x="2241" y="1977"/>
                          <a:pt x="3102" y="442"/>
                        </a:cubicBezTo>
                        <a:lnTo>
                          <a:pt x="3079" y="419"/>
                        </a:lnTo>
                        <a:cubicBezTo>
                          <a:pt x="2776" y="140"/>
                          <a:pt x="2474" y="0"/>
                          <a:pt x="2148" y="0"/>
                        </a:cubicBezTo>
                        <a:close/>
                      </a:path>
                    </a:pathLst>
                  </a:custGeom>
                  <a:solidFill>
                    <a:srgbClr val="FAAB3C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56" name="Freeform: Shape 355">
                    <a:extLst>
                      <a:ext uri="{FF2B5EF4-FFF2-40B4-BE49-F238E27FC236}">
                        <a16:creationId xmlns:a16="http://schemas.microsoft.com/office/drawing/2014/main" id="{DFBCF686-884E-40CC-BFA5-32204A08BEFC}"/>
                      </a:ext>
                    </a:extLst>
                  </p:cNvPr>
                  <p:cNvSpPr/>
                  <p:nvPr/>
                </p:nvSpPr>
                <p:spPr>
                  <a:xfrm>
                    <a:off x="6170510" y="4140719"/>
                    <a:ext cx="2326" cy="4652"/>
                  </a:xfrm>
                  <a:custGeom>
                    <a:avLst/>
                    <a:gdLst>
                      <a:gd name="connsiteX0" fmla="*/ 17 w 2326"/>
                      <a:gd name="connsiteY0" fmla="*/ 1489 h 4652"/>
                      <a:gd name="connsiteX1" fmla="*/ 17 w 2326"/>
                      <a:gd name="connsiteY1" fmla="*/ 2140 h 4652"/>
                      <a:gd name="connsiteX2" fmla="*/ 250 w 2326"/>
                      <a:gd name="connsiteY2" fmla="*/ 3094 h 4652"/>
                      <a:gd name="connsiteX3" fmla="*/ 855 w 2326"/>
                      <a:gd name="connsiteY3" fmla="*/ 4327 h 4652"/>
                      <a:gd name="connsiteX4" fmla="*/ 1436 w 2326"/>
                      <a:gd name="connsiteY4" fmla="*/ 5025 h 4652"/>
                      <a:gd name="connsiteX5" fmla="*/ 2134 w 2326"/>
                      <a:gd name="connsiteY5" fmla="*/ 5257 h 4652"/>
                      <a:gd name="connsiteX6" fmla="*/ 2134 w 2326"/>
                      <a:gd name="connsiteY6" fmla="*/ 5257 h 4652"/>
                      <a:gd name="connsiteX7" fmla="*/ 3041 w 2326"/>
                      <a:gd name="connsiteY7" fmla="*/ 4862 h 4652"/>
                      <a:gd name="connsiteX8" fmla="*/ 3065 w 2326"/>
                      <a:gd name="connsiteY8" fmla="*/ 4862 h 4652"/>
                      <a:gd name="connsiteX9" fmla="*/ 715 w 2326"/>
                      <a:gd name="connsiteY9" fmla="*/ 0 h 4652"/>
                      <a:gd name="connsiteX10" fmla="*/ 715 w 2326"/>
                      <a:gd name="connsiteY10" fmla="*/ 0 h 4652"/>
                      <a:gd name="connsiteX11" fmla="*/ 692 w 2326"/>
                      <a:gd name="connsiteY11" fmla="*/ 23 h 4652"/>
                      <a:gd name="connsiteX12" fmla="*/ 17 w 2326"/>
                      <a:gd name="connsiteY12" fmla="*/ 1489 h 46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</a:cxnLst>
                    <a:rect l="l" t="t" r="r" b="b"/>
                    <a:pathLst>
                      <a:path w="2326" h="4652">
                        <a:moveTo>
                          <a:pt x="17" y="1489"/>
                        </a:moveTo>
                        <a:cubicBezTo>
                          <a:pt x="-6" y="1698"/>
                          <a:pt x="-6" y="1931"/>
                          <a:pt x="17" y="2140"/>
                        </a:cubicBezTo>
                        <a:cubicBezTo>
                          <a:pt x="41" y="2466"/>
                          <a:pt x="110" y="2791"/>
                          <a:pt x="250" y="3094"/>
                        </a:cubicBezTo>
                        <a:cubicBezTo>
                          <a:pt x="459" y="3512"/>
                          <a:pt x="669" y="3931"/>
                          <a:pt x="855" y="4327"/>
                        </a:cubicBezTo>
                        <a:cubicBezTo>
                          <a:pt x="1018" y="4652"/>
                          <a:pt x="1204" y="4862"/>
                          <a:pt x="1436" y="5025"/>
                        </a:cubicBezTo>
                        <a:cubicBezTo>
                          <a:pt x="1646" y="5187"/>
                          <a:pt x="1902" y="5257"/>
                          <a:pt x="2134" y="5257"/>
                        </a:cubicBezTo>
                        <a:lnTo>
                          <a:pt x="2134" y="5257"/>
                        </a:lnTo>
                        <a:cubicBezTo>
                          <a:pt x="2437" y="5257"/>
                          <a:pt x="2762" y="5141"/>
                          <a:pt x="3041" y="4862"/>
                        </a:cubicBezTo>
                        <a:lnTo>
                          <a:pt x="3065" y="4862"/>
                        </a:lnTo>
                        <a:cubicBezTo>
                          <a:pt x="2251" y="3280"/>
                          <a:pt x="1460" y="1652"/>
                          <a:pt x="715" y="0"/>
                        </a:cubicBezTo>
                        <a:lnTo>
                          <a:pt x="715" y="0"/>
                        </a:lnTo>
                        <a:lnTo>
                          <a:pt x="692" y="23"/>
                        </a:lnTo>
                        <a:cubicBezTo>
                          <a:pt x="320" y="372"/>
                          <a:pt x="87" y="907"/>
                          <a:pt x="17" y="1489"/>
                        </a:cubicBezTo>
                        <a:close/>
                      </a:path>
                    </a:pathLst>
                  </a:custGeom>
                  <a:solidFill>
                    <a:srgbClr val="FAAB3C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57" name="Freeform: Shape 356">
                    <a:extLst>
                      <a:ext uri="{FF2B5EF4-FFF2-40B4-BE49-F238E27FC236}">
                        <a16:creationId xmlns:a16="http://schemas.microsoft.com/office/drawing/2014/main" id="{DD4C47C1-1D70-4296-A9A2-3A74C7EEF6D5}"/>
                      </a:ext>
                    </a:extLst>
                  </p:cNvPr>
                  <p:cNvSpPr/>
                  <p:nvPr/>
                </p:nvSpPr>
                <p:spPr>
                  <a:xfrm>
                    <a:off x="6168248" y="4063629"/>
                    <a:ext cx="2326" cy="4652"/>
                  </a:xfrm>
                  <a:custGeom>
                    <a:avLst/>
                    <a:gdLst>
                      <a:gd name="connsiteX0" fmla="*/ 2070 w 2326"/>
                      <a:gd name="connsiteY0" fmla="*/ 0 h 4652"/>
                      <a:gd name="connsiteX1" fmla="*/ 1698 w 2326"/>
                      <a:gd name="connsiteY1" fmla="*/ 70 h 4652"/>
                      <a:gd name="connsiteX2" fmla="*/ 1535 w 2326"/>
                      <a:gd name="connsiteY2" fmla="*/ 163 h 4652"/>
                      <a:gd name="connsiteX3" fmla="*/ 1326 w 2326"/>
                      <a:gd name="connsiteY3" fmla="*/ 279 h 4652"/>
                      <a:gd name="connsiteX4" fmla="*/ 721 w 2326"/>
                      <a:gd name="connsiteY4" fmla="*/ 1093 h 4652"/>
                      <a:gd name="connsiteX5" fmla="*/ 721 w 2326"/>
                      <a:gd name="connsiteY5" fmla="*/ 1117 h 4652"/>
                      <a:gd name="connsiteX6" fmla="*/ 186 w 2326"/>
                      <a:gd name="connsiteY6" fmla="*/ 2443 h 4652"/>
                      <a:gd name="connsiteX7" fmla="*/ 0 w 2326"/>
                      <a:gd name="connsiteY7" fmla="*/ 3233 h 4652"/>
                      <a:gd name="connsiteX8" fmla="*/ 0 w 2326"/>
                      <a:gd name="connsiteY8" fmla="*/ 3489 h 4652"/>
                      <a:gd name="connsiteX9" fmla="*/ 23 w 2326"/>
                      <a:gd name="connsiteY9" fmla="*/ 4024 h 4652"/>
                      <a:gd name="connsiteX10" fmla="*/ 93 w 2326"/>
                      <a:gd name="connsiteY10" fmla="*/ 4303 h 4652"/>
                      <a:gd name="connsiteX11" fmla="*/ 209 w 2326"/>
                      <a:gd name="connsiteY11" fmla="*/ 4629 h 4652"/>
                      <a:gd name="connsiteX12" fmla="*/ 395 w 2326"/>
                      <a:gd name="connsiteY12" fmla="*/ 4978 h 4652"/>
                      <a:gd name="connsiteX13" fmla="*/ 744 w 2326"/>
                      <a:gd name="connsiteY13" fmla="*/ 5420 h 4652"/>
                      <a:gd name="connsiteX14" fmla="*/ 744 w 2326"/>
                      <a:gd name="connsiteY14" fmla="*/ 5420 h 4652"/>
                      <a:gd name="connsiteX15" fmla="*/ 768 w 2326"/>
                      <a:gd name="connsiteY15" fmla="*/ 5443 h 4652"/>
                      <a:gd name="connsiteX16" fmla="*/ 2815 w 2326"/>
                      <a:gd name="connsiteY16" fmla="*/ 326 h 4652"/>
                      <a:gd name="connsiteX17" fmla="*/ 2815 w 2326"/>
                      <a:gd name="connsiteY17" fmla="*/ 326 h 4652"/>
                      <a:gd name="connsiteX18" fmla="*/ 2815 w 2326"/>
                      <a:gd name="connsiteY18" fmla="*/ 326 h 4652"/>
                      <a:gd name="connsiteX19" fmla="*/ 2070 w 2326"/>
                      <a:gd name="connsiteY19" fmla="*/ 0 h 46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</a:cxnLst>
                    <a:rect l="l" t="t" r="r" b="b"/>
                    <a:pathLst>
                      <a:path w="2326" h="4652">
                        <a:moveTo>
                          <a:pt x="2070" y="0"/>
                        </a:moveTo>
                        <a:cubicBezTo>
                          <a:pt x="1954" y="0"/>
                          <a:pt x="1814" y="23"/>
                          <a:pt x="1698" y="70"/>
                        </a:cubicBezTo>
                        <a:cubicBezTo>
                          <a:pt x="1628" y="93"/>
                          <a:pt x="1582" y="140"/>
                          <a:pt x="1535" y="163"/>
                        </a:cubicBezTo>
                        <a:cubicBezTo>
                          <a:pt x="1465" y="209"/>
                          <a:pt x="1396" y="209"/>
                          <a:pt x="1326" y="279"/>
                        </a:cubicBezTo>
                        <a:cubicBezTo>
                          <a:pt x="1093" y="465"/>
                          <a:pt x="884" y="721"/>
                          <a:pt x="721" y="1093"/>
                        </a:cubicBezTo>
                        <a:lnTo>
                          <a:pt x="721" y="1117"/>
                        </a:lnTo>
                        <a:cubicBezTo>
                          <a:pt x="535" y="1559"/>
                          <a:pt x="372" y="2001"/>
                          <a:pt x="186" y="2443"/>
                        </a:cubicBezTo>
                        <a:cubicBezTo>
                          <a:pt x="93" y="2698"/>
                          <a:pt x="23" y="2977"/>
                          <a:pt x="0" y="3233"/>
                        </a:cubicBezTo>
                        <a:cubicBezTo>
                          <a:pt x="0" y="3326"/>
                          <a:pt x="0" y="3419"/>
                          <a:pt x="0" y="3489"/>
                        </a:cubicBezTo>
                        <a:cubicBezTo>
                          <a:pt x="0" y="3675"/>
                          <a:pt x="0" y="3861"/>
                          <a:pt x="23" y="4024"/>
                        </a:cubicBezTo>
                        <a:cubicBezTo>
                          <a:pt x="47" y="4141"/>
                          <a:pt x="70" y="4210"/>
                          <a:pt x="93" y="4303"/>
                        </a:cubicBezTo>
                        <a:cubicBezTo>
                          <a:pt x="140" y="4420"/>
                          <a:pt x="163" y="4536"/>
                          <a:pt x="209" y="4629"/>
                        </a:cubicBezTo>
                        <a:cubicBezTo>
                          <a:pt x="256" y="4745"/>
                          <a:pt x="326" y="4862"/>
                          <a:pt x="395" y="4978"/>
                        </a:cubicBezTo>
                        <a:cubicBezTo>
                          <a:pt x="512" y="5141"/>
                          <a:pt x="605" y="5304"/>
                          <a:pt x="744" y="5420"/>
                        </a:cubicBezTo>
                        <a:lnTo>
                          <a:pt x="744" y="5420"/>
                        </a:lnTo>
                        <a:lnTo>
                          <a:pt x="768" y="5443"/>
                        </a:lnTo>
                        <a:cubicBezTo>
                          <a:pt x="1396" y="3699"/>
                          <a:pt x="2094" y="1977"/>
                          <a:pt x="2815" y="326"/>
                        </a:cubicBezTo>
                        <a:lnTo>
                          <a:pt x="2815" y="326"/>
                        </a:lnTo>
                        <a:lnTo>
                          <a:pt x="2815" y="326"/>
                        </a:lnTo>
                        <a:cubicBezTo>
                          <a:pt x="2605" y="93"/>
                          <a:pt x="2349" y="0"/>
                          <a:pt x="2070" y="0"/>
                        </a:cubicBezTo>
                        <a:close/>
                      </a:path>
                    </a:pathLst>
                  </a:custGeom>
                  <a:solidFill>
                    <a:srgbClr val="FAAB3C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58" name="Freeform: Shape 357">
                    <a:extLst>
                      <a:ext uri="{FF2B5EF4-FFF2-40B4-BE49-F238E27FC236}">
                        <a16:creationId xmlns:a16="http://schemas.microsoft.com/office/drawing/2014/main" id="{097E43E8-0168-4498-A525-86CB1476A6E5}"/>
                      </a:ext>
                    </a:extLst>
                  </p:cNvPr>
                  <p:cNvSpPr/>
                  <p:nvPr/>
                </p:nvSpPr>
                <p:spPr>
                  <a:xfrm>
                    <a:off x="6167843" y="4134345"/>
                    <a:ext cx="2326" cy="4652"/>
                  </a:xfrm>
                  <a:custGeom>
                    <a:avLst/>
                    <a:gdLst>
                      <a:gd name="connsiteX0" fmla="*/ 381 w 2326"/>
                      <a:gd name="connsiteY0" fmla="*/ 489 h 4652"/>
                      <a:gd name="connsiteX1" fmla="*/ 195 w 2326"/>
                      <a:gd name="connsiteY1" fmla="*/ 931 h 4652"/>
                      <a:gd name="connsiteX2" fmla="*/ 79 w 2326"/>
                      <a:gd name="connsiteY2" fmla="*/ 1210 h 4652"/>
                      <a:gd name="connsiteX3" fmla="*/ 56 w 2326"/>
                      <a:gd name="connsiteY3" fmla="*/ 1326 h 4652"/>
                      <a:gd name="connsiteX4" fmla="*/ 9 w 2326"/>
                      <a:gd name="connsiteY4" fmla="*/ 2094 h 4652"/>
                      <a:gd name="connsiteX5" fmla="*/ 195 w 2326"/>
                      <a:gd name="connsiteY5" fmla="*/ 2977 h 4652"/>
                      <a:gd name="connsiteX6" fmla="*/ 707 w 2326"/>
                      <a:gd name="connsiteY6" fmla="*/ 4303 h 4652"/>
                      <a:gd name="connsiteX7" fmla="*/ 1289 w 2326"/>
                      <a:gd name="connsiteY7" fmla="*/ 5164 h 4652"/>
                      <a:gd name="connsiteX8" fmla="*/ 2079 w 2326"/>
                      <a:gd name="connsiteY8" fmla="*/ 5467 h 4652"/>
                      <a:gd name="connsiteX9" fmla="*/ 2079 w 2326"/>
                      <a:gd name="connsiteY9" fmla="*/ 5467 h 4652"/>
                      <a:gd name="connsiteX10" fmla="*/ 2847 w 2326"/>
                      <a:gd name="connsiteY10" fmla="*/ 5164 h 4652"/>
                      <a:gd name="connsiteX11" fmla="*/ 2847 w 2326"/>
                      <a:gd name="connsiteY11" fmla="*/ 5164 h 4652"/>
                      <a:gd name="connsiteX12" fmla="*/ 2847 w 2326"/>
                      <a:gd name="connsiteY12" fmla="*/ 5164 h 4652"/>
                      <a:gd name="connsiteX13" fmla="*/ 847 w 2326"/>
                      <a:gd name="connsiteY13" fmla="*/ 0 h 4652"/>
                      <a:gd name="connsiteX14" fmla="*/ 823 w 2326"/>
                      <a:gd name="connsiteY14" fmla="*/ 23 h 4652"/>
                      <a:gd name="connsiteX15" fmla="*/ 381 w 2326"/>
                      <a:gd name="connsiteY15" fmla="*/ 489 h 46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</a:cxnLst>
                    <a:rect l="l" t="t" r="r" b="b"/>
                    <a:pathLst>
                      <a:path w="2326" h="4652">
                        <a:moveTo>
                          <a:pt x="381" y="489"/>
                        </a:moveTo>
                        <a:cubicBezTo>
                          <a:pt x="288" y="628"/>
                          <a:pt x="242" y="768"/>
                          <a:pt x="195" y="931"/>
                        </a:cubicBezTo>
                        <a:cubicBezTo>
                          <a:pt x="149" y="1024"/>
                          <a:pt x="125" y="1093"/>
                          <a:pt x="79" y="1210"/>
                        </a:cubicBezTo>
                        <a:cubicBezTo>
                          <a:pt x="79" y="1256"/>
                          <a:pt x="56" y="1279"/>
                          <a:pt x="56" y="1326"/>
                        </a:cubicBezTo>
                        <a:cubicBezTo>
                          <a:pt x="9" y="1582"/>
                          <a:pt x="-14" y="1838"/>
                          <a:pt x="9" y="2094"/>
                        </a:cubicBezTo>
                        <a:cubicBezTo>
                          <a:pt x="9" y="2396"/>
                          <a:pt x="79" y="2675"/>
                          <a:pt x="195" y="2977"/>
                        </a:cubicBezTo>
                        <a:cubicBezTo>
                          <a:pt x="358" y="3419"/>
                          <a:pt x="521" y="3861"/>
                          <a:pt x="707" y="4303"/>
                        </a:cubicBezTo>
                        <a:cubicBezTo>
                          <a:pt x="847" y="4676"/>
                          <a:pt x="1056" y="4955"/>
                          <a:pt x="1289" y="5164"/>
                        </a:cubicBezTo>
                        <a:cubicBezTo>
                          <a:pt x="1521" y="5350"/>
                          <a:pt x="1800" y="5467"/>
                          <a:pt x="2079" y="5467"/>
                        </a:cubicBezTo>
                        <a:lnTo>
                          <a:pt x="2079" y="5467"/>
                        </a:lnTo>
                        <a:cubicBezTo>
                          <a:pt x="2335" y="5467"/>
                          <a:pt x="2591" y="5373"/>
                          <a:pt x="2847" y="5164"/>
                        </a:cubicBezTo>
                        <a:lnTo>
                          <a:pt x="2847" y="5164"/>
                        </a:lnTo>
                        <a:lnTo>
                          <a:pt x="2847" y="5164"/>
                        </a:lnTo>
                        <a:cubicBezTo>
                          <a:pt x="2126" y="3489"/>
                          <a:pt x="1475" y="1745"/>
                          <a:pt x="847" y="0"/>
                        </a:cubicBezTo>
                        <a:cubicBezTo>
                          <a:pt x="847" y="0"/>
                          <a:pt x="847" y="0"/>
                          <a:pt x="823" y="23"/>
                        </a:cubicBezTo>
                        <a:cubicBezTo>
                          <a:pt x="660" y="116"/>
                          <a:pt x="521" y="279"/>
                          <a:pt x="381" y="489"/>
                        </a:cubicBezTo>
                        <a:close/>
                      </a:path>
                    </a:pathLst>
                  </a:custGeom>
                  <a:solidFill>
                    <a:srgbClr val="FAAB3C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59" name="Freeform: Shape 358">
                    <a:extLst>
                      <a:ext uri="{FF2B5EF4-FFF2-40B4-BE49-F238E27FC236}">
                        <a16:creationId xmlns:a16="http://schemas.microsoft.com/office/drawing/2014/main" id="{A08DD66A-9B02-49A9-8D82-3D8F3D40EC33}"/>
                      </a:ext>
                    </a:extLst>
                  </p:cNvPr>
                  <p:cNvSpPr/>
                  <p:nvPr/>
                </p:nvSpPr>
                <p:spPr>
                  <a:xfrm>
                    <a:off x="6165964" y="4070166"/>
                    <a:ext cx="2326" cy="4652"/>
                  </a:xfrm>
                  <a:custGeom>
                    <a:avLst/>
                    <a:gdLst>
                      <a:gd name="connsiteX0" fmla="*/ 1982 w 2326"/>
                      <a:gd name="connsiteY0" fmla="*/ 0 h 4652"/>
                      <a:gd name="connsiteX1" fmla="*/ 1982 w 2326"/>
                      <a:gd name="connsiteY1" fmla="*/ 0 h 4652"/>
                      <a:gd name="connsiteX2" fmla="*/ 563 w 2326"/>
                      <a:gd name="connsiteY2" fmla="*/ 1303 h 4652"/>
                      <a:gd name="connsiteX3" fmla="*/ 121 w 2326"/>
                      <a:gd name="connsiteY3" fmla="*/ 2698 h 4652"/>
                      <a:gd name="connsiteX4" fmla="*/ 354 w 2326"/>
                      <a:gd name="connsiteY4" fmla="*/ 4931 h 4652"/>
                      <a:gd name="connsiteX5" fmla="*/ 423 w 2326"/>
                      <a:gd name="connsiteY5" fmla="*/ 5094 h 4652"/>
                      <a:gd name="connsiteX6" fmla="*/ 447 w 2326"/>
                      <a:gd name="connsiteY6" fmla="*/ 5141 h 4652"/>
                      <a:gd name="connsiteX7" fmla="*/ 586 w 2326"/>
                      <a:gd name="connsiteY7" fmla="*/ 5280 h 4652"/>
                      <a:gd name="connsiteX8" fmla="*/ 935 w 2326"/>
                      <a:gd name="connsiteY8" fmla="*/ 5606 h 4652"/>
                      <a:gd name="connsiteX9" fmla="*/ 958 w 2326"/>
                      <a:gd name="connsiteY9" fmla="*/ 5606 h 4652"/>
                      <a:gd name="connsiteX10" fmla="*/ 958 w 2326"/>
                      <a:gd name="connsiteY10" fmla="*/ 5606 h 4652"/>
                      <a:gd name="connsiteX11" fmla="*/ 2633 w 2326"/>
                      <a:gd name="connsiteY11" fmla="*/ 209 h 4652"/>
                      <a:gd name="connsiteX12" fmla="*/ 2633 w 2326"/>
                      <a:gd name="connsiteY12" fmla="*/ 209 h 4652"/>
                      <a:gd name="connsiteX13" fmla="*/ 2610 w 2326"/>
                      <a:gd name="connsiteY13" fmla="*/ 186 h 4652"/>
                      <a:gd name="connsiteX14" fmla="*/ 1982 w 2326"/>
                      <a:gd name="connsiteY14" fmla="*/ 0 h 46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</a:cxnLst>
                    <a:rect l="l" t="t" r="r" b="b"/>
                    <a:pathLst>
                      <a:path w="2326" h="4652">
                        <a:moveTo>
                          <a:pt x="1982" y="0"/>
                        </a:moveTo>
                        <a:lnTo>
                          <a:pt x="1982" y="0"/>
                        </a:lnTo>
                        <a:cubicBezTo>
                          <a:pt x="1377" y="0"/>
                          <a:pt x="819" y="488"/>
                          <a:pt x="563" y="1303"/>
                        </a:cubicBezTo>
                        <a:cubicBezTo>
                          <a:pt x="423" y="1768"/>
                          <a:pt x="261" y="2233"/>
                          <a:pt x="121" y="2698"/>
                        </a:cubicBezTo>
                        <a:cubicBezTo>
                          <a:pt x="-112" y="3466"/>
                          <a:pt x="5" y="4303"/>
                          <a:pt x="354" y="4931"/>
                        </a:cubicBezTo>
                        <a:cubicBezTo>
                          <a:pt x="377" y="4978"/>
                          <a:pt x="400" y="5048"/>
                          <a:pt x="423" y="5094"/>
                        </a:cubicBezTo>
                        <a:cubicBezTo>
                          <a:pt x="423" y="5094"/>
                          <a:pt x="447" y="5118"/>
                          <a:pt x="447" y="5141"/>
                        </a:cubicBezTo>
                        <a:cubicBezTo>
                          <a:pt x="493" y="5187"/>
                          <a:pt x="540" y="5234"/>
                          <a:pt x="586" y="5280"/>
                        </a:cubicBezTo>
                        <a:cubicBezTo>
                          <a:pt x="703" y="5397"/>
                          <a:pt x="796" y="5536"/>
                          <a:pt x="935" y="5606"/>
                        </a:cubicBezTo>
                        <a:cubicBezTo>
                          <a:pt x="935" y="5606"/>
                          <a:pt x="958" y="5606"/>
                          <a:pt x="958" y="5606"/>
                        </a:cubicBezTo>
                        <a:lnTo>
                          <a:pt x="958" y="5606"/>
                        </a:lnTo>
                        <a:cubicBezTo>
                          <a:pt x="1470" y="3768"/>
                          <a:pt x="2028" y="1954"/>
                          <a:pt x="2633" y="209"/>
                        </a:cubicBezTo>
                        <a:lnTo>
                          <a:pt x="2633" y="209"/>
                        </a:lnTo>
                        <a:lnTo>
                          <a:pt x="2610" y="186"/>
                        </a:lnTo>
                        <a:cubicBezTo>
                          <a:pt x="2401" y="70"/>
                          <a:pt x="2191" y="0"/>
                          <a:pt x="1982" y="0"/>
                        </a:cubicBezTo>
                        <a:close/>
                      </a:path>
                    </a:pathLst>
                  </a:custGeom>
                  <a:solidFill>
                    <a:srgbClr val="FAAB3C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60" name="Freeform: Shape 359">
                    <a:extLst>
                      <a:ext uri="{FF2B5EF4-FFF2-40B4-BE49-F238E27FC236}">
                        <a16:creationId xmlns:a16="http://schemas.microsoft.com/office/drawing/2014/main" id="{89CC02F9-8C5A-49EE-AD69-4EB3A232DCF2}"/>
                      </a:ext>
                    </a:extLst>
                  </p:cNvPr>
                  <p:cNvSpPr/>
                  <p:nvPr/>
                </p:nvSpPr>
                <p:spPr>
                  <a:xfrm>
                    <a:off x="6165627" y="4127576"/>
                    <a:ext cx="2326" cy="4652"/>
                  </a:xfrm>
                  <a:custGeom>
                    <a:avLst/>
                    <a:gdLst>
                      <a:gd name="connsiteX0" fmla="*/ 1016 w 2326"/>
                      <a:gd name="connsiteY0" fmla="*/ 0 h 4652"/>
                      <a:gd name="connsiteX1" fmla="*/ 1016 w 2326"/>
                      <a:gd name="connsiteY1" fmla="*/ 0 h 4652"/>
                      <a:gd name="connsiteX2" fmla="*/ 1016 w 2326"/>
                      <a:gd name="connsiteY2" fmla="*/ 0 h 4652"/>
                      <a:gd name="connsiteX3" fmla="*/ 574 w 2326"/>
                      <a:gd name="connsiteY3" fmla="*/ 372 h 4652"/>
                      <a:gd name="connsiteX4" fmla="*/ 458 w 2326"/>
                      <a:gd name="connsiteY4" fmla="*/ 489 h 4652"/>
                      <a:gd name="connsiteX5" fmla="*/ 458 w 2326"/>
                      <a:gd name="connsiteY5" fmla="*/ 512 h 4652"/>
                      <a:gd name="connsiteX6" fmla="*/ 155 w 2326"/>
                      <a:gd name="connsiteY6" fmla="*/ 1117 h 4652"/>
                      <a:gd name="connsiteX7" fmla="*/ 109 w 2326"/>
                      <a:gd name="connsiteY7" fmla="*/ 2885 h 4652"/>
                      <a:gd name="connsiteX8" fmla="*/ 528 w 2326"/>
                      <a:gd name="connsiteY8" fmla="*/ 4280 h 4652"/>
                      <a:gd name="connsiteX9" fmla="*/ 1970 w 2326"/>
                      <a:gd name="connsiteY9" fmla="*/ 5606 h 4652"/>
                      <a:gd name="connsiteX10" fmla="*/ 2598 w 2326"/>
                      <a:gd name="connsiteY10" fmla="*/ 5420 h 4652"/>
                      <a:gd name="connsiteX11" fmla="*/ 2621 w 2326"/>
                      <a:gd name="connsiteY11" fmla="*/ 5397 h 4652"/>
                      <a:gd name="connsiteX12" fmla="*/ 2621 w 2326"/>
                      <a:gd name="connsiteY12" fmla="*/ 5397 h 4652"/>
                      <a:gd name="connsiteX13" fmla="*/ 2249 w 2326"/>
                      <a:gd name="connsiteY13" fmla="*/ 4117 h 4652"/>
                      <a:gd name="connsiteX14" fmla="*/ 1016 w 2326"/>
                      <a:gd name="connsiteY14" fmla="*/ 0 h 46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</a:cxnLst>
                    <a:rect l="l" t="t" r="r" b="b"/>
                    <a:pathLst>
                      <a:path w="2326" h="4652">
                        <a:moveTo>
                          <a:pt x="1016" y="0"/>
                        </a:moveTo>
                        <a:lnTo>
                          <a:pt x="1016" y="0"/>
                        </a:lnTo>
                        <a:cubicBezTo>
                          <a:pt x="993" y="0"/>
                          <a:pt x="993" y="0"/>
                          <a:pt x="1016" y="0"/>
                        </a:cubicBezTo>
                        <a:cubicBezTo>
                          <a:pt x="830" y="116"/>
                          <a:pt x="714" y="256"/>
                          <a:pt x="574" y="372"/>
                        </a:cubicBezTo>
                        <a:cubicBezTo>
                          <a:pt x="528" y="419"/>
                          <a:pt x="481" y="442"/>
                          <a:pt x="458" y="489"/>
                        </a:cubicBezTo>
                        <a:cubicBezTo>
                          <a:pt x="458" y="489"/>
                          <a:pt x="458" y="512"/>
                          <a:pt x="458" y="512"/>
                        </a:cubicBezTo>
                        <a:cubicBezTo>
                          <a:pt x="318" y="698"/>
                          <a:pt x="225" y="907"/>
                          <a:pt x="155" y="1117"/>
                        </a:cubicBezTo>
                        <a:cubicBezTo>
                          <a:pt x="-31" y="1652"/>
                          <a:pt x="-54" y="2280"/>
                          <a:pt x="109" y="2885"/>
                        </a:cubicBezTo>
                        <a:cubicBezTo>
                          <a:pt x="248" y="3350"/>
                          <a:pt x="388" y="3815"/>
                          <a:pt x="528" y="4280"/>
                        </a:cubicBezTo>
                        <a:cubicBezTo>
                          <a:pt x="783" y="5118"/>
                          <a:pt x="1365" y="5606"/>
                          <a:pt x="1970" y="5606"/>
                        </a:cubicBezTo>
                        <a:cubicBezTo>
                          <a:pt x="2179" y="5606"/>
                          <a:pt x="2389" y="5536"/>
                          <a:pt x="2598" y="5420"/>
                        </a:cubicBezTo>
                        <a:lnTo>
                          <a:pt x="2621" y="5397"/>
                        </a:lnTo>
                        <a:lnTo>
                          <a:pt x="2621" y="5397"/>
                        </a:lnTo>
                        <a:cubicBezTo>
                          <a:pt x="2482" y="4978"/>
                          <a:pt x="2365" y="4536"/>
                          <a:pt x="2249" y="4117"/>
                        </a:cubicBezTo>
                        <a:cubicBezTo>
                          <a:pt x="1807" y="2768"/>
                          <a:pt x="1388" y="1396"/>
                          <a:pt x="1016" y="0"/>
                        </a:cubicBezTo>
                        <a:close/>
                      </a:path>
                    </a:pathLst>
                  </a:custGeom>
                  <a:solidFill>
                    <a:srgbClr val="FAAB3C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61" name="Freeform: Shape 360">
                    <a:extLst>
                      <a:ext uri="{FF2B5EF4-FFF2-40B4-BE49-F238E27FC236}">
                        <a16:creationId xmlns:a16="http://schemas.microsoft.com/office/drawing/2014/main" id="{7B6BD9EF-B55B-4252-8E9B-E180758646D5}"/>
                      </a:ext>
                    </a:extLst>
                  </p:cNvPr>
                  <p:cNvSpPr/>
                  <p:nvPr/>
                </p:nvSpPr>
                <p:spPr>
                  <a:xfrm>
                    <a:off x="6164182" y="4077028"/>
                    <a:ext cx="2326" cy="4652"/>
                  </a:xfrm>
                  <a:custGeom>
                    <a:avLst/>
                    <a:gdLst>
                      <a:gd name="connsiteX0" fmla="*/ 1856 w 2326"/>
                      <a:gd name="connsiteY0" fmla="*/ 0 h 4652"/>
                      <a:gd name="connsiteX1" fmla="*/ 1437 w 2326"/>
                      <a:gd name="connsiteY1" fmla="*/ 93 h 4652"/>
                      <a:gd name="connsiteX2" fmla="*/ 1297 w 2326"/>
                      <a:gd name="connsiteY2" fmla="*/ 163 h 4652"/>
                      <a:gd name="connsiteX3" fmla="*/ 1158 w 2326"/>
                      <a:gd name="connsiteY3" fmla="*/ 256 h 4652"/>
                      <a:gd name="connsiteX4" fmla="*/ 576 w 2326"/>
                      <a:gd name="connsiteY4" fmla="*/ 1000 h 4652"/>
                      <a:gd name="connsiteX5" fmla="*/ 530 w 2326"/>
                      <a:gd name="connsiteY5" fmla="*/ 1163 h 4652"/>
                      <a:gd name="connsiteX6" fmla="*/ 390 w 2326"/>
                      <a:gd name="connsiteY6" fmla="*/ 1512 h 4652"/>
                      <a:gd name="connsiteX7" fmla="*/ 65 w 2326"/>
                      <a:gd name="connsiteY7" fmla="*/ 2954 h 4652"/>
                      <a:gd name="connsiteX8" fmla="*/ 158 w 2326"/>
                      <a:gd name="connsiteY8" fmla="*/ 4513 h 4652"/>
                      <a:gd name="connsiteX9" fmla="*/ 158 w 2326"/>
                      <a:gd name="connsiteY9" fmla="*/ 4559 h 4652"/>
                      <a:gd name="connsiteX10" fmla="*/ 1088 w 2326"/>
                      <a:gd name="connsiteY10" fmla="*/ 5746 h 4652"/>
                      <a:gd name="connsiteX11" fmla="*/ 1135 w 2326"/>
                      <a:gd name="connsiteY11" fmla="*/ 5746 h 4652"/>
                      <a:gd name="connsiteX12" fmla="*/ 1135 w 2326"/>
                      <a:gd name="connsiteY12" fmla="*/ 5746 h 4652"/>
                      <a:gd name="connsiteX13" fmla="*/ 2414 w 2326"/>
                      <a:gd name="connsiteY13" fmla="*/ 140 h 4652"/>
                      <a:gd name="connsiteX14" fmla="*/ 2391 w 2326"/>
                      <a:gd name="connsiteY14" fmla="*/ 140 h 4652"/>
                      <a:gd name="connsiteX15" fmla="*/ 1856 w 2326"/>
                      <a:gd name="connsiteY15" fmla="*/ 0 h 46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</a:cxnLst>
                    <a:rect l="l" t="t" r="r" b="b"/>
                    <a:pathLst>
                      <a:path w="2326" h="4652">
                        <a:moveTo>
                          <a:pt x="1856" y="0"/>
                        </a:moveTo>
                        <a:cubicBezTo>
                          <a:pt x="1716" y="0"/>
                          <a:pt x="1577" y="46"/>
                          <a:pt x="1437" y="93"/>
                        </a:cubicBezTo>
                        <a:cubicBezTo>
                          <a:pt x="1391" y="116"/>
                          <a:pt x="1344" y="140"/>
                          <a:pt x="1297" y="163"/>
                        </a:cubicBezTo>
                        <a:cubicBezTo>
                          <a:pt x="1251" y="186"/>
                          <a:pt x="1204" y="233"/>
                          <a:pt x="1158" y="256"/>
                        </a:cubicBezTo>
                        <a:cubicBezTo>
                          <a:pt x="925" y="419"/>
                          <a:pt x="716" y="675"/>
                          <a:pt x="576" y="1000"/>
                        </a:cubicBezTo>
                        <a:cubicBezTo>
                          <a:pt x="553" y="1047"/>
                          <a:pt x="530" y="1117"/>
                          <a:pt x="530" y="1163"/>
                        </a:cubicBezTo>
                        <a:cubicBezTo>
                          <a:pt x="483" y="1279"/>
                          <a:pt x="414" y="1372"/>
                          <a:pt x="390" y="1512"/>
                        </a:cubicBezTo>
                        <a:cubicBezTo>
                          <a:pt x="274" y="2000"/>
                          <a:pt x="181" y="2466"/>
                          <a:pt x="65" y="2954"/>
                        </a:cubicBezTo>
                        <a:cubicBezTo>
                          <a:pt x="-52" y="3489"/>
                          <a:pt x="-5" y="4024"/>
                          <a:pt x="158" y="4513"/>
                        </a:cubicBezTo>
                        <a:lnTo>
                          <a:pt x="158" y="4559"/>
                        </a:lnTo>
                        <a:cubicBezTo>
                          <a:pt x="344" y="5118"/>
                          <a:pt x="669" y="5536"/>
                          <a:pt x="1088" y="5746"/>
                        </a:cubicBezTo>
                        <a:lnTo>
                          <a:pt x="1135" y="5746"/>
                        </a:lnTo>
                        <a:lnTo>
                          <a:pt x="1135" y="5746"/>
                        </a:lnTo>
                        <a:cubicBezTo>
                          <a:pt x="1507" y="3838"/>
                          <a:pt x="1926" y="1977"/>
                          <a:pt x="2414" y="140"/>
                        </a:cubicBezTo>
                        <a:cubicBezTo>
                          <a:pt x="2414" y="140"/>
                          <a:pt x="2391" y="140"/>
                          <a:pt x="2391" y="140"/>
                        </a:cubicBezTo>
                        <a:cubicBezTo>
                          <a:pt x="2205" y="46"/>
                          <a:pt x="2042" y="0"/>
                          <a:pt x="1856" y="0"/>
                        </a:cubicBezTo>
                        <a:close/>
                      </a:path>
                    </a:pathLst>
                  </a:custGeom>
                  <a:solidFill>
                    <a:srgbClr val="FAAB3C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62" name="Freeform: Shape 361">
                    <a:extLst>
                      <a:ext uri="{FF2B5EF4-FFF2-40B4-BE49-F238E27FC236}">
                        <a16:creationId xmlns:a16="http://schemas.microsoft.com/office/drawing/2014/main" id="{FF3BC0B3-C2C1-4017-A74C-8F8166C50E96}"/>
                      </a:ext>
                    </a:extLst>
                  </p:cNvPr>
                  <p:cNvSpPr/>
                  <p:nvPr/>
                </p:nvSpPr>
                <p:spPr>
                  <a:xfrm>
                    <a:off x="6163931" y="4120551"/>
                    <a:ext cx="2326" cy="4652"/>
                  </a:xfrm>
                  <a:custGeom>
                    <a:avLst/>
                    <a:gdLst>
                      <a:gd name="connsiteX0" fmla="*/ 1107 w 2326"/>
                      <a:gd name="connsiteY0" fmla="*/ 23 h 4652"/>
                      <a:gd name="connsiteX1" fmla="*/ 642 w 2326"/>
                      <a:gd name="connsiteY1" fmla="*/ 372 h 4652"/>
                      <a:gd name="connsiteX2" fmla="*/ 177 w 2326"/>
                      <a:gd name="connsiteY2" fmla="*/ 1093 h 4652"/>
                      <a:gd name="connsiteX3" fmla="*/ 14 w 2326"/>
                      <a:gd name="connsiteY3" fmla="*/ 1838 h 4652"/>
                      <a:gd name="connsiteX4" fmla="*/ 60 w 2326"/>
                      <a:gd name="connsiteY4" fmla="*/ 2768 h 4652"/>
                      <a:gd name="connsiteX5" fmla="*/ 363 w 2326"/>
                      <a:gd name="connsiteY5" fmla="*/ 4210 h 4652"/>
                      <a:gd name="connsiteX6" fmla="*/ 1852 w 2326"/>
                      <a:gd name="connsiteY6" fmla="*/ 5746 h 4652"/>
                      <a:gd name="connsiteX7" fmla="*/ 1852 w 2326"/>
                      <a:gd name="connsiteY7" fmla="*/ 5746 h 4652"/>
                      <a:gd name="connsiteX8" fmla="*/ 2317 w 2326"/>
                      <a:gd name="connsiteY8" fmla="*/ 5653 h 4652"/>
                      <a:gd name="connsiteX9" fmla="*/ 2340 w 2326"/>
                      <a:gd name="connsiteY9" fmla="*/ 5653 h 4652"/>
                      <a:gd name="connsiteX10" fmla="*/ 1130 w 2326"/>
                      <a:gd name="connsiteY10" fmla="*/ 0 h 4652"/>
                      <a:gd name="connsiteX11" fmla="*/ 1107 w 2326"/>
                      <a:gd name="connsiteY11" fmla="*/ 23 h 4652"/>
                      <a:gd name="connsiteX12" fmla="*/ 1107 w 2326"/>
                      <a:gd name="connsiteY12" fmla="*/ 23 h 46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</a:cxnLst>
                    <a:rect l="l" t="t" r="r" b="b"/>
                    <a:pathLst>
                      <a:path w="2326" h="4652">
                        <a:moveTo>
                          <a:pt x="1107" y="23"/>
                        </a:moveTo>
                        <a:cubicBezTo>
                          <a:pt x="944" y="93"/>
                          <a:pt x="782" y="233"/>
                          <a:pt x="642" y="372"/>
                        </a:cubicBezTo>
                        <a:cubicBezTo>
                          <a:pt x="456" y="558"/>
                          <a:pt x="270" y="814"/>
                          <a:pt x="177" y="1093"/>
                        </a:cubicBezTo>
                        <a:cubicBezTo>
                          <a:pt x="84" y="1326"/>
                          <a:pt x="14" y="1582"/>
                          <a:pt x="14" y="1838"/>
                        </a:cubicBezTo>
                        <a:cubicBezTo>
                          <a:pt x="-9" y="2140"/>
                          <a:pt x="-9" y="2466"/>
                          <a:pt x="60" y="2768"/>
                        </a:cubicBezTo>
                        <a:cubicBezTo>
                          <a:pt x="153" y="3257"/>
                          <a:pt x="247" y="3722"/>
                          <a:pt x="363" y="4210"/>
                        </a:cubicBezTo>
                        <a:cubicBezTo>
                          <a:pt x="572" y="5164"/>
                          <a:pt x="1177" y="5746"/>
                          <a:pt x="1852" y="5746"/>
                        </a:cubicBezTo>
                        <a:lnTo>
                          <a:pt x="1852" y="5746"/>
                        </a:lnTo>
                        <a:cubicBezTo>
                          <a:pt x="2014" y="5746"/>
                          <a:pt x="2154" y="5722"/>
                          <a:pt x="2317" y="5653"/>
                        </a:cubicBezTo>
                        <a:lnTo>
                          <a:pt x="2340" y="5653"/>
                        </a:lnTo>
                        <a:cubicBezTo>
                          <a:pt x="1875" y="3815"/>
                          <a:pt x="1479" y="1931"/>
                          <a:pt x="1130" y="0"/>
                        </a:cubicBezTo>
                        <a:cubicBezTo>
                          <a:pt x="1130" y="23"/>
                          <a:pt x="1130" y="23"/>
                          <a:pt x="1107" y="23"/>
                        </a:cubicBezTo>
                        <a:lnTo>
                          <a:pt x="1107" y="23"/>
                        </a:lnTo>
                        <a:close/>
                      </a:path>
                    </a:pathLst>
                  </a:custGeom>
                  <a:solidFill>
                    <a:srgbClr val="FAAB3C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63" name="Freeform: Shape 362">
                    <a:extLst>
                      <a:ext uri="{FF2B5EF4-FFF2-40B4-BE49-F238E27FC236}">
                        <a16:creationId xmlns:a16="http://schemas.microsoft.com/office/drawing/2014/main" id="{688A59F9-DD97-42A7-A44F-B2278C8EAF08}"/>
                      </a:ext>
                    </a:extLst>
                  </p:cNvPr>
                  <p:cNvSpPr/>
                  <p:nvPr/>
                </p:nvSpPr>
                <p:spPr>
                  <a:xfrm>
                    <a:off x="6162897" y="4084123"/>
                    <a:ext cx="2326" cy="4652"/>
                  </a:xfrm>
                  <a:custGeom>
                    <a:avLst/>
                    <a:gdLst>
                      <a:gd name="connsiteX0" fmla="*/ 1746 w 0"/>
                      <a:gd name="connsiteY0" fmla="*/ 0 h 4652"/>
                      <a:gd name="connsiteX1" fmla="*/ 1746 w 0"/>
                      <a:gd name="connsiteY1" fmla="*/ 0 h 4652"/>
                      <a:gd name="connsiteX2" fmla="*/ 1420 w 0"/>
                      <a:gd name="connsiteY2" fmla="*/ 70 h 4652"/>
                      <a:gd name="connsiteX3" fmla="*/ 1304 w 0"/>
                      <a:gd name="connsiteY3" fmla="*/ 93 h 4652"/>
                      <a:gd name="connsiteX4" fmla="*/ 1164 w 0"/>
                      <a:gd name="connsiteY4" fmla="*/ 186 h 4652"/>
                      <a:gd name="connsiteX5" fmla="*/ 908 w 0"/>
                      <a:gd name="connsiteY5" fmla="*/ 395 h 4652"/>
                      <a:gd name="connsiteX6" fmla="*/ 745 w 0"/>
                      <a:gd name="connsiteY6" fmla="*/ 558 h 4652"/>
                      <a:gd name="connsiteX7" fmla="*/ 536 w 0"/>
                      <a:gd name="connsiteY7" fmla="*/ 884 h 4652"/>
                      <a:gd name="connsiteX8" fmla="*/ 234 w 0"/>
                      <a:gd name="connsiteY8" fmla="*/ 1745 h 4652"/>
                      <a:gd name="connsiteX9" fmla="*/ 24 w 0"/>
                      <a:gd name="connsiteY9" fmla="*/ 3233 h 4652"/>
                      <a:gd name="connsiteX10" fmla="*/ 71 w 0"/>
                      <a:gd name="connsiteY10" fmla="*/ 4257 h 4652"/>
                      <a:gd name="connsiteX11" fmla="*/ 94 w 0"/>
                      <a:gd name="connsiteY11" fmla="*/ 4373 h 4652"/>
                      <a:gd name="connsiteX12" fmla="*/ 513 w 0"/>
                      <a:gd name="connsiteY12" fmla="*/ 5280 h 4652"/>
                      <a:gd name="connsiteX13" fmla="*/ 513 w 0"/>
                      <a:gd name="connsiteY13" fmla="*/ 5280 h 4652"/>
                      <a:gd name="connsiteX14" fmla="*/ 815 w 0"/>
                      <a:gd name="connsiteY14" fmla="*/ 5583 h 4652"/>
                      <a:gd name="connsiteX15" fmla="*/ 838 w 0"/>
                      <a:gd name="connsiteY15" fmla="*/ 5606 h 4652"/>
                      <a:gd name="connsiteX16" fmla="*/ 1257 w 0"/>
                      <a:gd name="connsiteY16" fmla="*/ 5839 h 4652"/>
                      <a:gd name="connsiteX17" fmla="*/ 1280 w 0"/>
                      <a:gd name="connsiteY17" fmla="*/ 5839 h 4652"/>
                      <a:gd name="connsiteX18" fmla="*/ 2164 w 0"/>
                      <a:gd name="connsiteY18" fmla="*/ 93 h 4652"/>
                      <a:gd name="connsiteX19" fmla="*/ 2141 w 0"/>
                      <a:gd name="connsiteY19" fmla="*/ 93 h 4652"/>
                      <a:gd name="connsiteX20" fmla="*/ 1746 w 0"/>
                      <a:gd name="connsiteY20" fmla="*/ 0 h 46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</a:cxnLst>
                    <a:rect l="l" t="t" r="r" b="b"/>
                    <a:pathLst>
                      <a:path h="4652">
                        <a:moveTo>
                          <a:pt x="1746" y="0"/>
                        </a:moveTo>
                        <a:lnTo>
                          <a:pt x="1746" y="0"/>
                        </a:lnTo>
                        <a:cubicBezTo>
                          <a:pt x="1629" y="0"/>
                          <a:pt x="1513" y="47"/>
                          <a:pt x="1420" y="70"/>
                        </a:cubicBezTo>
                        <a:cubicBezTo>
                          <a:pt x="1373" y="93"/>
                          <a:pt x="1327" y="93"/>
                          <a:pt x="1304" y="93"/>
                        </a:cubicBezTo>
                        <a:cubicBezTo>
                          <a:pt x="1257" y="116"/>
                          <a:pt x="1211" y="140"/>
                          <a:pt x="1164" y="186"/>
                        </a:cubicBezTo>
                        <a:cubicBezTo>
                          <a:pt x="1071" y="233"/>
                          <a:pt x="1001" y="302"/>
                          <a:pt x="908" y="395"/>
                        </a:cubicBezTo>
                        <a:cubicBezTo>
                          <a:pt x="862" y="465"/>
                          <a:pt x="792" y="512"/>
                          <a:pt x="745" y="558"/>
                        </a:cubicBezTo>
                        <a:cubicBezTo>
                          <a:pt x="676" y="651"/>
                          <a:pt x="606" y="768"/>
                          <a:pt x="536" y="884"/>
                        </a:cubicBezTo>
                        <a:cubicBezTo>
                          <a:pt x="396" y="1140"/>
                          <a:pt x="280" y="1419"/>
                          <a:pt x="234" y="1745"/>
                        </a:cubicBezTo>
                        <a:cubicBezTo>
                          <a:pt x="164" y="2233"/>
                          <a:pt x="71" y="2722"/>
                          <a:pt x="24" y="3233"/>
                        </a:cubicBezTo>
                        <a:cubicBezTo>
                          <a:pt x="-22" y="3582"/>
                          <a:pt x="1" y="3931"/>
                          <a:pt x="71" y="4257"/>
                        </a:cubicBezTo>
                        <a:cubicBezTo>
                          <a:pt x="71" y="4303"/>
                          <a:pt x="71" y="4327"/>
                          <a:pt x="94" y="4373"/>
                        </a:cubicBezTo>
                        <a:cubicBezTo>
                          <a:pt x="187" y="4722"/>
                          <a:pt x="327" y="5025"/>
                          <a:pt x="513" y="5280"/>
                        </a:cubicBezTo>
                        <a:lnTo>
                          <a:pt x="513" y="5280"/>
                        </a:lnTo>
                        <a:cubicBezTo>
                          <a:pt x="606" y="5397"/>
                          <a:pt x="699" y="5513"/>
                          <a:pt x="815" y="5583"/>
                        </a:cubicBezTo>
                        <a:cubicBezTo>
                          <a:pt x="815" y="5583"/>
                          <a:pt x="838" y="5606"/>
                          <a:pt x="838" y="5606"/>
                        </a:cubicBezTo>
                        <a:cubicBezTo>
                          <a:pt x="978" y="5699"/>
                          <a:pt x="1118" y="5769"/>
                          <a:pt x="1257" y="5839"/>
                        </a:cubicBezTo>
                        <a:cubicBezTo>
                          <a:pt x="1257" y="5839"/>
                          <a:pt x="1280" y="5839"/>
                          <a:pt x="1280" y="5839"/>
                        </a:cubicBezTo>
                        <a:cubicBezTo>
                          <a:pt x="1536" y="3908"/>
                          <a:pt x="1815" y="1977"/>
                          <a:pt x="2164" y="93"/>
                        </a:cubicBezTo>
                        <a:lnTo>
                          <a:pt x="2141" y="93"/>
                        </a:lnTo>
                        <a:cubicBezTo>
                          <a:pt x="1978" y="0"/>
                          <a:pt x="1862" y="0"/>
                          <a:pt x="1746" y="0"/>
                        </a:cubicBezTo>
                        <a:close/>
                      </a:path>
                    </a:pathLst>
                  </a:custGeom>
                  <a:solidFill>
                    <a:srgbClr val="FAAB3C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64" name="Freeform: Shape 363">
                    <a:extLst>
                      <a:ext uri="{FF2B5EF4-FFF2-40B4-BE49-F238E27FC236}">
                        <a16:creationId xmlns:a16="http://schemas.microsoft.com/office/drawing/2014/main" id="{2C4181DD-FBDB-4EB6-B4B1-11EC3107A5AD}"/>
                      </a:ext>
                    </a:extLst>
                  </p:cNvPr>
                  <p:cNvSpPr/>
                  <p:nvPr/>
                </p:nvSpPr>
                <p:spPr>
                  <a:xfrm>
                    <a:off x="6162723" y="4113316"/>
                    <a:ext cx="2326" cy="4652"/>
                  </a:xfrm>
                  <a:custGeom>
                    <a:avLst/>
                    <a:gdLst>
                      <a:gd name="connsiteX0" fmla="*/ 1267 w 0"/>
                      <a:gd name="connsiteY0" fmla="*/ 46 h 4652"/>
                      <a:gd name="connsiteX1" fmla="*/ 453 w 0"/>
                      <a:gd name="connsiteY1" fmla="*/ 651 h 4652"/>
                      <a:gd name="connsiteX2" fmla="*/ 453 w 0"/>
                      <a:gd name="connsiteY2" fmla="*/ 651 h 4652"/>
                      <a:gd name="connsiteX3" fmla="*/ 35 w 0"/>
                      <a:gd name="connsiteY3" fmla="*/ 2629 h 4652"/>
                      <a:gd name="connsiteX4" fmla="*/ 244 w 0"/>
                      <a:gd name="connsiteY4" fmla="*/ 4117 h 4652"/>
                      <a:gd name="connsiteX5" fmla="*/ 849 w 0"/>
                      <a:gd name="connsiteY5" fmla="*/ 5420 h 4652"/>
                      <a:gd name="connsiteX6" fmla="*/ 1151 w 0"/>
                      <a:gd name="connsiteY6" fmla="*/ 5653 h 4652"/>
                      <a:gd name="connsiteX7" fmla="*/ 1291 w 0"/>
                      <a:gd name="connsiteY7" fmla="*/ 5746 h 4652"/>
                      <a:gd name="connsiteX8" fmla="*/ 1779 w 0"/>
                      <a:gd name="connsiteY8" fmla="*/ 5862 h 4652"/>
                      <a:gd name="connsiteX9" fmla="*/ 2105 w 0"/>
                      <a:gd name="connsiteY9" fmla="*/ 5815 h 4652"/>
                      <a:gd name="connsiteX10" fmla="*/ 2128 w 0"/>
                      <a:gd name="connsiteY10" fmla="*/ 5792 h 4652"/>
                      <a:gd name="connsiteX11" fmla="*/ 1314 w 0"/>
                      <a:gd name="connsiteY11" fmla="*/ 0 h 4652"/>
                      <a:gd name="connsiteX12" fmla="*/ 1314 w 0"/>
                      <a:gd name="connsiteY12" fmla="*/ 0 h 4652"/>
                      <a:gd name="connsiteX13" fmla="*/ 1267 w 0"/>
                      <a:gd name="connsiteY13" fmla="*/ 46 h 46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h="4652">
                        <a:moveTo>
                          <a:pt x="1267" y="46"/>
                        </a:moveTo>
                        <a:cubicBezTo>
                          <a:pt x="942" y="140"/>
                          <a:pt x="663" y="349"/>
                          <a:pt x="453" y="651"/>
                        </a:cubicBezTo>
                        <a:lnTo>
                          <a:pt x="453" y="651"/>
                        </a:lnTo>
                        <a:cubicBezTo>
                          <a:pt x="104" y="1163"/>
                          <a:pt x="-82" y="1884"/>
                          <a:pt x="35" y="2629"/>
                        </a:cubicBezTo>
                        <a:cubicBezTo>
                          <a:pt x="104" y="3117"/>
                          <a:pt x="174" y="3629"/>
                          <a:pt x="244" y="4117"/>
                        </a:cubicBezTo>
                        <a:cubicBezTo>
                          <a:pt x="337" y="4652"/>
                          <a:pt x="546" y="5118"/>
                          <a:pt x="849" y="5420"/>
                        </a:cubicBezTo>
                        <a:cubicBezTo>
                          <a:pt x="942" y="5513"/>
                          <a:pt x="1035" y="5583"/>
                          <a:pt x="1151" y="5653"/>
                        </a:cubicBezTo>
                        <a:cubicBezTo>
                          <a:pt x="1198" y="5676"/>
                          <a:pt x="1244" y="5722"/>
                          <a:pt x="1291" y="5746"/>
                        </a:cubicBezTo>
                        <a:cubicBezTo>
                          <a:pt x="1454" y="5815"/>
                          <a:pt x="1616" y="5862"/>
                          <a:pt x="1779" y="5862"/>
                        </a:cubicBezTo>
                        <a:cubicBezTo>
                          <a:pt x="1872" y="5862"/>
                          <a:pt x="1989" y="5839"/>
                          <a:pt x="2105" y="5815"/>
                        </a:cubicBezTo>
                        <a:cubicBezTo>
                          <a:pt x="2105" y="5815"/>
                          <a:pt x="2128" y="5815"/>
                          <a:pt x="2128" y="5792"/>
                        </a:cubicBezTo>
                        <a:cubicBezTo>
                          <a:pt x="1803" y="3908"/>
                          <a:pt x="1547" y="1977"/>
                          <a:pt x="1314" y="0"/>
                        </a:cubicBezTo>
                        <a:lnTo>
                          <a:pt x="1314" y="0"/>
                        </a:lnTo>
                        <a:lnTo>
                          <a:pt x="1267" y="46"/>
                        </a:lnTo>
                        <a:close/>
                      </a:path>
                    </a:pathLst>
                  </a:custGeom>
                  <a:solidFill>
                    <a:srgbClr val="FAAB3C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65" name="Freeform: Shape 364">
                    <a:extLst>
                      <a:ext uri="{FF2B5EF4-FFF2-40B4-BE49-F238E27FC236}">
                        <a16:creationId xmlns:a16="http://schemas.microsoft.com/office/drawing/2014/main" id="{BE4C0B63-7781-4976-9869-BD873F41AE67}"/>
                      </a:ext>
                    </a:extLst>
                  </p:cNvPr>
                  <p:cNvSpPr/>
                  <p:nvPr/>
                </p:nvSpPr>
                <p:spPr>
                  <a:xfrm>
                    <a:off x="6162107" y="4091381"/>
                    <a:ext cx="2326" cy="4652"/>
                  </a:xfrm>
                  <a:custGeom>
                    <a:avLst/>
                    <a:gdLst>
                      <a:gd name="connsiteX0" fmla="*/ 1698 w 0"/>
                      <a:gd name="connsiteY0" fmla="*/ 0 h 4652"/>
                      <a:gd name="connsiteX1" fmla="*/ 628 w 0"/>
                      <a:gd name="connsiteY1" fmla="*/ 605 h 4652"/>
                      <a:gd name="connsiteX2" fmla="*/ 302 w 0"/>
                      <a:gd name="connsiteY2" fmla="*/ 1140 h 4652"/>
                      <a:gd name="connsiteX3" fmla="*/ 116 w 0"/>
                      <a:gd name="connsiteY3" fmla="*/ 1931 h 4652"/>
                      <a:gd name="connsiteX4" fmla="*/ 0 w 0"/>
                      <a:gd name="connsiteY4" fmla="*/ 3443 h 4652"/>
                      <a:gd name="connsiteX5" fmla="*/ 0 w 0"/>
                      <a:gd name="connsiteY5" fmla="*/ 3768 h 4652"/>
                      <a:gd name="connsiteX6" fmla="*/ 1000 w 0"/>
                      <a:gd name="connsiteY6" fmla="*/ 5722 h 4652"/>
                      <a:gd name="connsiteX7" fmla="*/ 1000 w 0"/>
                      <a:gd name="connsiteY7" fmla="*/ 5722 h 4652"/>
                      <a:gd name="connsiteX8" fmla="*/ 1396 w 0"/>
                      <a:gd name="connsiteY8" fmla="*/ 5862 h 4652"/>
                      <a:gd name="connsiteX9" fmla="*/ 1419 w 0"/>
                      <a:gd name="connsiteY9" fmla="*/ 5862 h 4652"/>
                      <a:gd name="connsiteX10" fmla="*/ 1861 w 0"/>
                      <a:gd name="connsiteY10" fmla="*/ 0 h 4652"/>
                      <a:gd name="connsiteX11" fmla="*/ 1861 w 0"/>
                      <a:gd name="connsiteY11" fmla="*/ 0 h 4652"/>
                      <a:gd name="connsiteX12" fmla="*/ 1838 w 0"/>
                      <a:gd name="connsiteY12" fmla="*/ 0 h 4652"/>
                      <a:gd name="connsiteX13" fmla="*/ 1698 w 0"/>
                      <a:gd name="connsiteY13" fmla="*/ 0 h 46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h="4652">
                        <a:moveTo>
                          <a:pt x="1698" y="0"/>
                        </a:moveTo>
                        <a:cubicBezTo>
                          <a:pt x="1303" y="0"/>
                          <a:pt x="907" y="233"/>
                          <a:pt x="628" y="605"/>
                        </a:cubicBezTo>
                        <a:cubicBezTo>
                          <a:pt x="512" y="768"/>
                          <a:pt x="395" y="954"/>
                          <a:pt x="302" y="1140"/>
                        </a:cubicBezTo>
                        <a:cubicBezTo>
                          <a:pt x="209" y="1372"/>
                          <a:pt x="140" y="1652"/>
                          <a:pt x="116" y="1931"/>
                        </a:cubicBezTo>
                        <a:cubicBezTo>
                          <a:pt x="70" y="2443"/>
                          <a:pt x="47" y="2954"/>
                          <a:pt x="0" y="3443"/>
                        </a:cubicBezTo>
                        <a:cubicBezTo>
                          <a:pt x="0" y="3536"/>
                          <a:pt x="0" y="3652"/>
                          <a:pt x="0" y="3768"/>
                        </a:cubicBezTo>
                        <a:cubicBezTo>
                          <a:pt x="23" y="4652"/>
                          <a:pt x="442" y="5420"/>
                          <a:pt x="1000" y="5722"/>
                        </a:cubicBezTo>
                        <a:lnTo>
                          <a:pt x="1000" y="5722"/>
                        </a:lnTo>
                        <a:cubicBezTo>
                          <a:pt x="1117" y="5792"/>
                          <a:pt x="1256" y="5839"/>
                          <a:pt x="1396" y="5862"/>
                        </a:cubicBezTo>
                        <a:lnTo>
                          <a:pt x="1419" y="5862"/>
                        </a:lnTo>
                        <a:cubicBezTo>
                          <a:pt x="1512" y="3885"/>
                          <a:pt x="1675" y="1931"/>
                          <a:pt x="1861" y="0"/>
                        </a:cubicBezTo>
                        <a:lnTo>
                          <a:pt x="1861" y="0"/>
                        </a:lnTo>
                        <a:lnTo>
                          <a:pt x="1838" y="0"/>
                        </a:lnTo>
                        <a:cubicBezTo>
                          <a:pt x="1791" y="0"/>
                          <a:pt x="1745" y="0"/>
                          <a:pt x="1698" y="0"/>
                        </a:cubicBezTo>
                        <a:close/>
                      </a:path>
                    </a:pathLst>
                  </a:custGeom>
                  <a:solidFill>
                    <a:srgbClr val="FAAB3C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366" name="Freeform: Shape 365">
                    <a:extLst>
                      <a:ext uri="{FF2B5EF4-FFF2-40B4-BE49-F238E27FC236}">
                        <a16:creationId xmlns:a16="http://schemas.microsoft.com/office/drawing/2014/main" id="{67A56EF0-9A57-4B4B-935C-F154452B186A}"/>
                      </a:ext>
                    </a:extLst>
                  </p:cNvPr>
                  <p:cNvSpPr/>
                  <p:nvPr/>
                </p:nvSpPr>
                <p:spPr>
                  <a:xfrm>
                    <a:off x="6161851" y="4098685"/>
                    <a:ext cx="2326" cy="4652"/>
                  </a:xfrm>
                  <a:custGeom>
                    <a:avLst/>
                    <a:gdLst>
                      <a:gd name="connsiteX0" fmla="*/ 1582 w 0"/>
                      <a:gd name="connsiteY0" fmla="*/ 0 h 4652"/>
                      <a:gd name="connsiteX1" fmla="*/ 1372 w 0"/>
                      <a:gd name="connsiteY1" fmla="*/ 46 h 4652"/>
                      <a:gd name="connsiteX2" fmla="*/ 1256 w 0"/>
                      <a:gd name="connsiteY2" fmla="*/ 70 h 4652"/>
                      <a:gd name="connsiteX3" fmla="*/ 1186 w 0"/>
                      <a:gd name="connsiteY3" fmla="*/ 93 h 4652"/>
                      <a:gd name="connsiteX4" fmla="*/ 488 w 0"/>
                      <a:gd name="connsiteY4" fmla="*/ 651 h 4652"/>
                      <a:gd name="connsiteX5" fmla="*/ 488 w 0"/>
                      <a:gd name="connsiteY5" fmla="*/ 651 h 4652"/>
                      <a:gd name="connsiteX6" fmla="*/ 23 w 0"/>
                      <a:gd name="connsiteY6" fmla="*/ 2187 h 4652"/>
                      <a:gd name="connsiteX7" fmla="*/ 0 w 0"/>
                      <a:gd name="connsiteY7" fmla="*/ 3536 h 4652"/>
                      <a:gd name="connsiteX8" fmla="*/ 0 w 0"/>
                      <a:gd name="connsiteY8" fmla="*/ 3675 h 4652"/>
                      <a:gd name="connsiteX9" fmla="*/ 1093 w 0"/>
                      <a:gd name="connsiteY9" fmla="*/ 5722 h 4652"/>
                      <a:gd name="connsiteX10" fmla="*/ 1117 w 0"/>
                      <a:gd name="connsiteY10" fmla="*/ 5722 h 4652"/>
                      <a:gd name="connsiteX11" fmla="*/ 1559 w 0"/>
                      <a:gd name="connsiteY11" fmla="*/ 5815 h 4652"/>
                      <a:gd name="connsiteX12" fmla="*/ 1559 w 0"/>
                      <a:gd name="connsiteY12" fmla="*/ 5815 h 4652"/>
                      <a:gd name="connsiteX13" fmla="*/ 1582 w 0"/>
                      <a:gd name="connsiteY13" fmla="*/ 5815 h 4652"/>
                      <a:gd name="connsiteX14" fmla="*/ 1582 w 0"/>
                      <a:gd name="connsiteY14" fmla="*/ 5815 h 4652"/>
                      <a:gd name="connsiteX15" fmla="*/ 1559 w 0"/>
                      <a:gd name="connsiteY15" fmla="*/ 3536 h 4652"/>
                      <a:gd name="connsiteX16" fmla="*/ 1628 w 0"/>
                      <a:gd name="connsiteY16" fmla="*/ 0 h 4652"/>
                      <a:gd name="connsiteX17" fmla="*/ 1628 w 0"/>
                      <a:gd name="connsiteY17" fmla="*/ 0 h 4652"/>
                      <a:gd name="connsiteX18" fmla="*/ 1582 w 0"/>
                      <a:gd name="connsiteY18" fmla="*/ 0 h 4652"/>
                      <a:gd name="connsiteX19" fmla="*/ 1582 w 0"/>
                      <a:gd name="connsiteY19" fmla="*/ 0 h 465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</a:cxnLst>
                    <a:rect l="l" t="t" r="r" b="b"/>
                    <a:pathLst>
                      <a:path h="4652">
                        <a:moveTo>
                          <a:pt x="1582" y="0"/>
                        </a:moveTo>
                        <a:cubicBezTo>
                          <a:pt x="1512" y="0"/>
                          <a:pt x="1442" y="23"/>
                          <a:pt x="1372" y="46"/>
                        </a:cubicBezTo>
                        <a:cubicBezTo>
                          <a:pt x="1326" y="46"/>
                          <a:pt x="1279" y="46"/>
                          <a:pt x="1256" y="70"/>
                        </a:cubicBezTo>
                        <a:cubicBezTo>
                          <a:pt x="1233" y="70"/>
                          <a:pt x="1210" y="93"/>
                          <a:pt x="1186" y="93"/>
                        </a:cubicBezTo>
                        <a:cubicBezTo>
                          <a:pt x="930" y="209"/>
                          <a:pt x="675" y="372"/>
                          <a:pt x="488" y="651"/>
                        </a:cubicBezTo>
                        <a:lnTo>
                          <a:pt x="488" y="651"/>
                        </a:lnTo>
                        <a:cubicBezTo>
                          <a:pt x="209" y="1047"/>
                          <a:pt x="23" y="1582"/>
                          <a:pt x="23" y="2187"/>
                        </a:cubicBezTo>
                        <a:cubicBezTo>
                          <a:pt x="0" y="2652"/>
                          <a:pt x="0" y="3094"/>
                          <a:pt x="0" y="3536"/>
                        </a:cubicBezTo>
                        <a:lnTo>
                          <a:pt x="0" y="3675"/>
                        </a:lnTo>
                        <a:cubicBezTo>
                          <a:pt x="0" y="4676"/>
                          <a:pt x="465" y="5443"/>
                          <a:pt x="1093" y="5722"/>
                        </a:cubicBezTo>
                        <a:lnTo>
                          <a:pt x="1117" y="5722"/>
                        </a:lnTo>
                        <a:cubicBezTo>
                          <a:pt x="1256" y="5769"/>
                          <a:pt x="1396" y="5815"/>
                          <a:pt x="1559" y="5815"/>
                        </a:cubicBezTo>
                        <a:lnTo>
                          <a:pt x="1559" y="5815"/>
                        </a:lnTo>
                        <a:cubicBezTo>
                          <a:pt x="1582" y="5815"/>
                          <a:pt x="1582" y="5815"/>
                          <a:pt x="1582" y="5815"/>
                        </a:cubicBezTo>
                        <a:lnTo>
                          <a:pt x="1582" y="5815"/>
                        </a:lnTo>
                        <a:cubicBezTo>
                          <a:pt x="1582" y="5071"/>
                          <a:pt x="1559" y="4303"/>
                          <a:pt x="1559" y="3536"/>
                        </a:cubicBezTo>
                        <a:cubicBezTo>
                          <a:pt x="1559" y="2349"/>
                          <a:pt x="1582" y="1163"/>
                          <a:pt x="1628" y="0"/>
                        </a:cubicBezTo>
                        <a:lnTo>
                          <a:pt x="1628" y="0"/>
                        </a:lnTo>
                        <a:lnTo>
                          <a:pt x="1582" y="0"/>
                        </a:lnTo>
                        <a:lnTo>
                          <a:pt x="1582" y="0"/>
                        </a:lnTo>
                        <a:close/>
                      </a:path>
                    </a:pathLst>
                  </a:custGeom>
                  <a:solidFill>
                    <a:srgbClr val="FAAB3C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92" name="Graphic 174">
                  <a:extLst>
                    <a:ext uri="{FF2B5EF4-FFF2-40B4-BE49-F238E27FC236}">
                      <a16:creationId xmlns:a16="http://schemas.microsoft.com/office/drawing/2014/main" id="{3EC09E73-7998-4BA1-860E-E93044332300}"/>
                    </a:ext>
                  </a:extLst>
                </p:cNvPr>
                <p:cNvGrpSpPr/>
                <p:nvPr/>
              </p:nvGrpSpPr>
              <p:grpSpPr>
                <a:xfrm>
                  <a:off x="6196837" y="4051231"/>
                  <a:ext cx="34893" cy="100025"/>
                  <a:chOff x="6196837" y="4051231"/>
                  <a:chExt cx="34893" cy="100025"/>
                </a:xfrm>
                <a:solidFill>
                  <a:srgbClr val="F19439"/>
                </a:solidFill>
              </p:grpSpPr>
              <p:sp>
                <p:nvSpPr>
                  <p:cNvPr id="93" name="Freeform: Shape 92">
                    <a:extLst>
                      <a:ext uri="{FF2B5EF4-FFF2-40B4-BE49-F238E27FC236}">
                        <a16:creationId xmlns:a16="http://schemas.microsoft.com/office/drawing/2014/main" id="{0C9E8C67-C04E-45D0-B70F-E14F4AC237EB}"/>
                      </a:ext>
                    </a:extLst>
                  </p:cNvPr>
                  <p:cNvSpPr/>
                  <p:nvPr/>
                </p:nvSpPr>
                <p:spPr>
                  <a:xfrm>
                    <a:off x="6196837" y="4061350"/>
                    <a:ext cx="32566" cy="44197"/>
                  </a:xfrm>
                  <a:custGeom>
                    <a:avLst/>
                    <a:gdLst>
                      <a:gd name="connsiteX0" fmla="*/ 17981 w 32566"/>
                      <a:gd name="connsiteY0" fmla="*/ 44523 h 44197"/>
                      <a:gd name="connsiteX1" fmla="*/ 17772 w 32566"/>
                      <a:gd name="connsiteY1" fmla="*/ 44500 h 44197"/>
                      <a:gd name="connsiteX2" fmla="*/ 0 w 32566"/>
                      <a:gd name="connsiteY2" fmla="*/ 23448 h 44197"/>
                      <a:gd name="connsiteX3" fmla="*/ 18353 w 32566"/>
                      <a:gd name="connsiteY3" fmla="*/ 0 h 44197"/>
                      <a:gd name="connsiteX4" fmla="*/ 33846 w 32566"/>
                      <a:gd name="connsiteY4" fmla="*/ 9026 h 44197"/>
                      <a:gd name="connsiteX5" fmla="*/ 33567 w 32566"/>
                      <a:gd name="connsiteY5" fmla="*/ 14306 h 44197"/>
                      <a:gd name="connsiteX6" fmla="*/ 29822 w 32566"/>
                      <a:gd name="connsiteY6" fmla="*/ 13911 h 44197"/>
                      <a:gd name="connsiteX7" fmla="*/ 18377 w 32566"/>
                      <a:gd name="connsiteY7" fmla="*/ 7490 h 44197"/>
                      <a:gd name="connsiteX8" fmla="*/ 5327 w 32566"/>
                      <a:gd name="connsiteY8" fmla="*/ 23448 h 44197"/>
                      <a:gd name="connsiteX9" fmla="*/ 18191 w 32566"/>
                      <a:gd name="connsiteY9" fmla="*/ 37009 h 44197"/>
                      <a:gd name="connsiteX10" fmla="*/ 20633 w 32566"/>
                      <a:gd name="connsiteY10" fmla="*/ 41034 h 44197"/>
                      <a:gd name="connsiteX11" fmla="*/ 17981 w 32566"/>
                      <a:gd name="connsiteY11" fmla="*/ 44523 h 44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</a:cxnLst>
                    <a:rect l="l" t="t" r="r" b="b"/>
                    <a:pathLst>
                      <a:path w="32566" h="44197">
                        <a:moveTo>
                          <a:pt x="17981" y="44523"/>
                        </a:moveTo>
                        <a:cubicBezTo>
                          <a:pt x="17912" y="44523"/>
                          <a:pt x="17842" y="44523"/>
                          <a:pt x="17772" y="44500"/>
                        </a:cubicBezTo>
                        <a:cubicBezTo>
                          <a:pt x="6327" y="43290"/>
                          <a:pt x="0" y="35823"/>
                          <a:pt x="0" y="23448"/>
                        </a:cubicBezTo>
                        <a:cubicBezTo>
                          <a:pt x="0" y="12631"/>
                          <a:pt x="4792" y="0"/>
                          <a:pt x="18353" y="0"/>
                        </a:cubicBezTo>
                        <a:cubicBezTo>
                          <a:pt x="27053" y="0"/>
                          <a:pt x="31799" y="5653"/>
                          <a:pt x="33846" y="9026"/>
                        </a:cubicBezTo>
                        <a:cubicBezTo>
                          <a:pt x="34800" y="10584"/>
                          <a:pt x="34660" y="12957"/>
                          <a:pt x="33567" y="14306"/>
                        </a:cubicBezTo>
                        <a:cubicBezTo>
                          <a:pt x="32450" y="15655"/>
                          <a:pt x="30775" y="15469"/>
                          <a:pt x="29822" y="13911"/>
                        </a:cubicBezTo>
                        <a:cubicBezTo>
                          <a:pt x="28054" y="10980"/>
                          <a:pt x="24611" y="7490"/>
                          <a:pt x="18377" y="7490"/>
                        </a:cubicBezTo>
                        <a:cubicBezTo>
                          <a:pt x="6606" y="7490"/>
                          <a:pt x="5327" y="18656"/>
                          <a:pt x="5327" y="23448"/>
                        </a:cubicBezTo>
                        <a:cubicBezTo>
                          <a:pt x="5327" y="26472"/>
                          <a:pt x="5327" y="35637"/>
                          <a:pt x="18191" y="37009"/>
                        </a:cubicBezTo>
                        <a:cubicBezTo>
                          <a:pt x="19633" y="37172"/>
                          <a:pt x="20749" y="38963"/>
                          <a:pt x="20633" y="41034"/>
                        </a:cubicBezTo>
                        <a:cubicBezTo>
                          <a:pt x="20540" y="43034"/>
                          <a:pt x="19377" y="44523"/>
                          <a:pt x="17981" y="44523"/>
                        </a:cubicBezTo>
                        <a:close/>
                      </a:path>
                    </a:pathLst>
                  </a:custGeom>
                  <a:solidFill>
                    <a:srgbClr val="F19439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94" name="Freeform: Shape 93">
                    <a:extLst>
                      <a:ext uri="{FF2B5EF4-FFF2-40B4-BE49-F238E27FC236}">
                        <a16:creationId xmlns:a16="http://schemas.microsoft.com/office/drawing/2014/main" id="{6D19EE3F-E6EA-45A7-BDF7-780AC8506254}"/>
                      </a:ext>
                    </a:extLst>
                  </p:cNvPr>
                  <p:cNvSpPr/>
                  <p:nvPr/>
                </p:nvSpPr>
                <p:spPr>
                  <a:xfrm>
                    <a:off x="6198317" y="4098371"/>
                    <a:ext cx="32566" cy="44197"/>
                  </a:xfrm>
                  <a:custGeom>
                    <a:avLst/>
                    <a:gdLst>
                      <a:gd name="connsiteX0" fmla="*/ 16128 w 32566"/>
                      <a:gd name="connsiteY0" fmla="*/ 44511 h 44197"/>
                      <a:gd name="connsiteX1" fmla="*/ 636 w 32566"/>
                      <a:gd name="connsiteY1" fmla="*/ 35486 h 44197"/>
                      <a:gd name="connsiteX2" fmla="*/ 915 w 32566"/>
                      <a:gd name="connsiteY2" fmla="*/ 30205 h 44197"/>
                      <a:gd name="connsiteX3" fmla="*/ 4660 w 32566"/>
                      <a:gd name="connsiteY3" fmla="*/ 30601 h 44197"/>
                      <a:gd name="connsiteX4" fmla="*/ 16128 w 32566"/>
                      <a:gd name="connsiteY4" fmla="*/ 37021 h 44197"/>
                      <a:gd name="connsiteX5" fmla="*/ 29178 w 32566"/>
                      <a:gd name="connsiteY5" fmla="*/ 21064 h 44197"/>
                      <a:gd name="connsiteX6" fmla="*/ 16314 w 32566"/>
                      <a:gd name="connsiteY6" fmla="*/ 7502 h 44197"/>
                      <a:gd name="connsiteX7" fmla="*/ 13872 w 32566"/>
                      <a:gd name="connsiteY7" fmla="*/ 3478 h 44197"/>
                      <a:gd name="connsiteX8" fmla="*/ 16710 w 32566"/>
                      <a:gd name="connsiteY8" fmla="*/ 12 h 44197"/>
                      <a:gd name="connsiteX9" fmla="*/ 34482 w 32566"/>
                      <a:gd name="connsiteY9" fmla="*/ 21064 h 44197"/>
                      <a:gd name="connsiteX10" fmla="*/ 16128 w 32566"/>
                      <a:gd name="connsiteY10" fmla="*/ 44511 h 44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32566" h="44197">
                        <a:moveTo>
                          <a:pt x="16128" y="44511"/>
                        </a:moveTo>
                        <a:cubicBezTo>
                          <a:pt x="7405" y="44511"/>
                          <a:pt x="2683" y="38859"/>
                          <a:pt x="636" y="35486"/>
                        </a:cubicBezTo>
                        <a:cubicBezTo>
                          <a:pt x="-318" y="33927"/>
                          <a:pt x="-178" y="31555"/>
                          <a:pt x="915" y="30205"/>
                        </a:cubicBezTo>
                        <a:cubicBezTo>
                          <a:pt x="2032" y="28856"/>
                          <a:pt x="3707" y="29042"/>
                          <a:pt x="4660" y="30601"/>
                        </a:cubicBezTo>
                        <a:cubicBezTo>
                          <a:pt x="6428" y="33532"/>
                          <a:pt x="9871" y="37021"/>
                          <a:pt x="16128" y="37021"/>
                        </a:cubicBezTo>
                        <a:cubicBezTo>
                          <a:pt x="27899" y="37021"/>
                          <a:pt x="29178" y="25855"/>
                          <a:pt x="29178" y="21064"/>
                        </a:cubicBezTo>
                        <a:cubicBezTo>
                          <a:pt x="29178" y="18040"/>
                          <a:pt x="29178" y="8874"/>
                          <a:pt x="16314" y="7502"/>
                        </a:cubicBezTo>
                        <a:cubicBezTo>
                          <a:pt x="14872" y="7339"/>
                          <a:pt x="13756" y="5548"/>
                          <a:pt x="13872" y="3478"/>
                        </a:cubicBezTo>
                        <a:cubicBezTo>
                          <a:pt x="13988" y="1407"/>
                          <a:pt x="15268" y="-151"/>
                          <a:pt x="16710" y="12"/>
                        </a:cubicBezTo>
                        <a:cubicBezTo>
                          <a:pt x="28155" y="1221"/>
                          <a:pt x="34482" y="8688"/>
                          <a:pt x="34482" y="21064"/>
                        </a:cubicBezTo>
                        <a:cubicBezTo>
                          <a:pt x="34482" y="31880"/>
                          <a:pt x="29667" y="44511"/>
                          <a:pt x="16128" y="44511"/>
                        </a:cubicBezTo>
                        <a:close/>
                      </a:path>
                    </a:pathLst>
                  </a:custGeom>
                  <a:solidFill>
                    <a:srgbClr val="F19439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95" name="Freeform: Shape 94">
                    <a:extLst>
                      <a:ext uri="{FF2B5EF4-FFF2-40B4-BE49-F238E27FC236}">
                        <a16:creationId xmlns:a16="http://schemas.microsoft.com/office/drawing/2014/main" id="{AC60C229-51F8-4D8D-9768-00FC569A321A}"/>
                      </a:ext>
                    </a:extLst>
                  </p:cNvPr>
                  <p:cNvSpPr/>
                  <p:nvPr/>
                </p:nvSpPr>
                <p:spPr>
                  <a:xfrm>
                    <a:off x="6212166" y="4051231"/>
                    <a:ext cx="4652" cy="100025"/>
                  </a:xfrm>
                  <a:custGeom>
                    <a:avLst/>
                    <a:gdLst>
                      <a:gd name="connsiteX0" fmla="*/ 2652 w 4652"/>
                      <a:gd name="connsiteY0" fmla="*/ 101979 h 100025"/>
                      <a:gd name="connsiteX1" fmla="*/ 0 w 4652"/>
                      <a:gd name="connsiteY1" fmla="*/ 98211 h 100025"/>
                      <a:gd name="connsiteX2" fmla="*/ 0 w 4652"/>
                      <a:gd name="connsiteY2" fmla="*/ 3768 h 100025"/>
                      <a:gd name="connsiteX3" fmla="*/ 2652 w 4652"/>
                      <a:gd name="connsiteY3" fmla="*/ 0 h 100025"/>
                      <a:gd name="connsiteX4" fmla="*/ 5304 w 4652"/>
                      <a:gd name="connsiteY4" fmla="*/ 3768 h 100025"/>
                      <a:gd name="connsiteX5" fmla="*/ 5304 w 4652"/>
                      <a:gd name="connsiteY5" fmla="*/ 98211 h 100025"/>
                      <a:gd name="connsiteX6" fmla="*/ 2652 w 4652"/>
                      <a:gd name="connsiteY6" fmla="*/ 101979 h 1000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4652" h="100025">
                        <a:moveTo>
                          <a:pt x="2652" y="101979"/>
                        </a:moveTo>
                        <a:cubicBezTo>
                          <a:pt x="1186" y="101979"/>
                          <a:pt x="0" y="100305"/>
                          <a:pt x="0" y="98211"/>
                        </a:cubicBezTo>
                        <a:lnTo>
                          <a:pt x="0" y="3768"/>
                        </a:lnTo>
                        <a:cubicBezTo>
                          <a:pt x="0" y="1698"/>
                          <a:pt x="1186" y="0"/>
                          <a:pt x="2652" y="0"/>
                        </a:cubicBezTo>
                        <a:cubicBezTo>
                          <a:pt x="4117" y="0"/>
                          <a:pt x="5304" y="1675"/>
                          <a:pt x="5304" y="3768"/>
                        </a:cubicBezTo>
                        <a:lnTo>
                          <a:pt x="5304" y="98211"/>
                        </a:lnTo>
                        <a:cubicBezTo>
                          <a:pt x="5327" y="100305"/>
                          <a:pt x="4117" y="101979"/>
                          <a:pt x="2652" y="101979"/>
                        </a:cubicBezTo>
                        <a:close/>
                      </a:path>
                    </a:pathLst>
                  </a:custGeom>
                  <a:solidFill>
                    <a:srgbClr val="F19439"/>
                  </a:solidFill>
                  <a:ln w="232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</p:grpSp>
        </p:grpSp>
      </p:grpSp>
      <p:sp>
        <p:nvSpPr>
          <p:cNvPr id="1732" name="Title 1">
            <a:extLst>
              <a:ext uri="{FF2B5EF4-FFF2-40B4-BE49-F238E27FC236}">
                <a16:creationId xmlns:a16="http://schemas.microsoft.com/office/drawing/2014/main" id="{7A3936AD-43E4-4A51-8DE4-5E547E880E3E}"/>
              </a:ext>
            </a:extLst>
          </p:cNvPr>
          <p:cNvSpPr txBox="1">
            <a:spLocks/>
          </p:cNvSpPr>
          <p:nvPr/>
        </p:nvSpPr>
        <p:spPr bwMode="gray">
          <a:xfrm>
            <a:off x="11094720" y="379920"/>
            <a:ext cx="580788" cy="384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 defTabSz="12180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7135" algn="l"/>
              </a:tabLst>
              <a:defRPr lang="x-none" sz="20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2pPr>
            <a:lvl3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3pPr>
            <a:lvl4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4pPr>
            <a:lvl5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5pPr>
            <a:lvl6pPr marL="62197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6pPr>
            <a:lvl7pPr marL="1243941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7pPr>
            <a:lvl8pPr marL="1865909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8pPr>
            <a:lvl9pPr marL="248788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r">
              <a:lnSpc>
                <a:spcPts val="3000"/>
              </a:lnSpc>
            </a:pPr>
            <a:r>
              <a:rPr lang="en-US" sz="2800" b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4/6</a:t>
            </a:r>
            <a:endParaRPr lang="en-US" sz="2800" b="0" kern="0" spc="-15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C4BC7FB8-7CE8-475F-A635-5FBEC8C4D868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4908752" y="6012214"/>
            <a:ext cx="6085519" cy="21544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 marL="0" lvl="1" indent="0">
              <a:spcBef>
                <a:spcPct val="110000"/>
              </a:spcBef>
              <a:buNone/>
            </a:pPr>
            <a:r>
              <a:rPr lang="en-US" sz="1400" b="1" dirty="0">
                <a:solidFill>
                  <a:schemeClr val="tx2"/>
                </a:solidFill>
                <a:cs typeface="Helvetica" panose="020B0604020202020204" pitchFamily="34" charset="0"/>
              </a:rPr>
              <a:t>For more detailed information on receiving payment, please see </a:t>
            </a:r>
            <a:r>
              <a:rPr lang="en-US" sz="1400" b="1" dirty="0">
                <a:solidFill>
                  <a:srgbClr val="0B8CE3"/>
                </a:solidFill>
                <a:cs typeface="Helvetica" panose="020B0604020202020204" pitchFamily="34" charset="0"/>
                <a:hlinkClick r:id="rId15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FAQs</a:t>
            </a:r>
            <a:endParaRPr lang="en-US" sz="1400" b="1" dirty="0">
              <a:solidFill>
                <a:srgbClr val="0B8CE3"/>
              </a:solidFill>
              <a:cs typeface="Helvetica" panose="020B0604020202020204" pitchFamily="34" charset="0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56B61A5F-0576-4D73-96C3-BD473D140097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4908752" y="2155920"/>
            <a:ext cx="5694676" cy="40011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 lvl="1">
              <a:spcBef>
                <a:spcPct val="110000"/>
              </a:spcBef>
            </a:pP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  <a:cs typeface="Helvetica" panose="020B0604020202020204" pitchFamily="34" charset="0"/>
              </a:rPr>
              <a:t>Across General Distribution payments,</a:t>
            </a:r>
            <a:b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  <a:cs typeface="Helvetica" panose="020B0604020202020204" pitchFamily="34" charset="0"/>
              </a:rPr>
            </a:br>
            <a:r>
              <a:rPr lang="en-US" sz="1300" b="1" dirty="0">
                <a:solidFill>
                  <a:schemeClr val="tx1">
                    <a:lumMod val="75000"/>
                    <a:lumOff val="25000"/>
                  </a:schemeClr>
                </a:solidFill>
                <a:cs typeface="Helvetica" panose="020B0604020202020204" pitchFamily="34" charset="0"/>
              </a:rPr>
              <a:t>providers may receive up to a total of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7BEF08BB-72BC-4D31-87A8-13AD56092C00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4908752" y="4208678"/>
            <a:ext cx="5694676" cy="82022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 lvl="1">
              <a:spcBef>
                <a:spcPct val="110000"/>
              </a:spcBef>
            </a:pP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  <a:cs typeface="Helvetica" panose="020B0604020202020204" pitchFamily="34" charset="0"/>
              </a:rPr>
              <a:t>Payments will be </a:t>
            </a:r>
            <a:r>
              <a:rPr lang="en-US" sz="1300" b="1" dirty="0">
                <a:solidFill>
                  <a:schemeClr val="tx1">
                    <a:lumMod val="75000"/>
                    <a:lumOff val="25000"/>
                  </a:schemeClr>
                </a:solidFill>
                <a:cs typeface="Helvetica" panose="020B0604020202020204" pitchFamily="34" charset="0"/>
              </a:rPr>
              <a:t>disbursed on a rolling basis</a:t>
            </a: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  <a:cs typeface="Helvetica" panose="020B0604020202020204" pitchFamily="34" charset="0"/>
              </a:rPr>
              <a:t>, as information is validated</a:t>
            </a:r>
          </a:p>
          <a:p>
            <a:pPr lvl="1">
              <a:spcBef>
                <a:spcPct val="110000"/>
              </a:spcBef>
            </a:pP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  <a:cs typeface="Helvetica" panose="020B0604020202020204" pitchFamily="34" charset="0"/>
              </a:rPr>
              <a:t>All Provider Relief Fund distributions will be </a:t>
            </a:r>
            <a:r>
              <a:rPr lang="en-US" sz="1300" b="1" dirty="0">
                <a:solidFill>
                  <a:schemeClr val="tx1">
                    <a:lumMod val="75000"/>
                    <a:lumOff val="25000"/>
                  </a:schemeClr>
                </a:solidFill>
                <a:cs typeface="Helvetica" panose="020B0604020202020204" pitchFamily="34" charset="0"/>
              </a:rPr>
              <a:t>paid to the Filing or Organizational TIN</a:t>
            </a: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  <a:cs typeface="Helvetica" panose="020B0604020202020204" pitchFamily="34" charset="0"/>
              </a:rPr>
              <a:t>, and not directly to subsidiary TINs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6AF18B9C-2B98-42EE-BF13-54052EE1B826}"/>
              </a:ext>
            </a:extLst>
          </p:cNvPr>
          <p:cNvGrpSpPr/>
          <p:nvPr/>
        </p:nvGrpSpPr>
        <p:grpSpPr>
          <a:xfrm>
            <a:off x="8168642" y="2155920"/>
            <a:ext cx="2235196" cy="1265120"/>
            <a:chOff x="8152580" y="2155920"/>
            <a:chExt cx="2235196" cy="1265120"/>
          </a:xfrm>
        </p:grpSpPr>
        <p:sp>
          <p:nvSpPr>
            <p:cNvPr id="1734" name="TextBox 1733">
              <a:extLst>
                <a:ext uri="{FF2B5EF4-FFF2-40B4-BE49-F238E27FC236}">
                  <a16:creationId xmlns:a16="http://schemas.microsoft.com/office/drawing/2014/main" id="{FD837240-3A3D-4412-AA6D-DE98B691CDD8}"/>
                </a:ext>
              </a:extLst>
            </p:cNvPr>
            <p:cNvSpPr txBox="1">
              <a:spLocks/>
            </p:cNvSpPr>
            <p:nvPr>
              <p:custDataLst>
                <p:tags r:id="rId8"/>
              </p:custDataLst>
            </p:nvPr>
          </p:nvSpPr>
          <p:spPr>
            <a:xfrm>
              <a:off x="8197473" y="2852715"/>
              <a:ext cx="2145410" cy="430887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1218026" eaLnBrk="1" latinLnBrk="0" hangingPunct="1"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192024" lvl="1" indent="-192024" defTabSz="12180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x-none" sz="1600" baseline="0">
                  <a:latin typeface="+mn-lt"/>
                </a:defRPr>
              </a:lvl2pPr>
              <a:lvl3pPr marL="457200" lvl="2" indent="-265176" defTabSz="12180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sz="1600" baseline="0">
                  <a:latin typeface="+mn-lt"/>
                </a:defRPr>
              </a:lvl3pPr>
              <a:lvl4pPr marL="612648" lvl="3" indent="-155448" defTabSz="12180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x-none" sz="1600" baseline="0">
                  <a:latin typeface="+mn-lt"/>
                </a:defRPr>
              </a:lvl4pPr>
              <a:lvl5pPr marL="749808" lvl="4" indent="-128016" defTabSz="12180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5pPr>
              <a:lvl6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6pPr>
              <a:lvl7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7pPr>
              <a:lvl8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8pPr>
              <a:lvl9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9pPr>
            </a:lstStyle>
            <a:p>
              <a:pPr marL="0" lvl="1" indent="0" algn="ctr">
                <a:spcBef>
                  <a:spcPct val="105000"/>
                </a:spcBef>
                <a:buNone/>
              </a:pPr>
              <a:r>
                <a:rPr lang="en-US" sz="1400" kern="0" spc="-5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  <a:ea typeface="+mj-ea"/>
                  <a:cs typeface="+mj-cs"/>
                </a:rPr>
                <a:t>of reported revenue</a:t>
              </a:r>
              <a:br>
                <a:rPr lang="en-US" sz="1400" kern="0" spc="-5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  <a:ea typeface="+mj-ea"/>
                  <a:cs typeface="+mj-cs"/>
                </a:rPr>
              </a:br>
              <a:r>
                <a:rPr lang="en-US" sz="1400" kern="0" spc="-5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  <a:ea typeface="+mj-ea"/>
                  <a:cs typeface="+mj-cs"/>
                </a:rPr>
                <a:t>from patient care</a:t>
              </a:r>
            </a:p>
          </p:txBody>
        </p:sp>
        <p:sp>
          <p:nvSpPr>
            <p:cNvPr id="1735" name="TextBox 1734">
              <a:extLst>
                <a:ext uri="{FF2B5EF4-FFF2-40B4-BE49-F238E27FC236}">
                  <a16:creationId xmlns:a16="http://schemas.microsoft.com/office/drawing/2014/main" id="{DEA22D96-7364-474B-A559-6A02F06DC72B}"/>
                </a:ext>
              </a:extLst>
            </p:cNvPr>
            <p:cNvSpPr txBox="1">
              <a:spLocks/>
            </p:cNvSpPr>
            <p:nvPr>
              <p:custDataLst>
                <p:tags r:id="rId9"/>
              </p:custDataLst>
            </p:nvPr>
          </p:nvSpPr>
          <p:spPr>
            <a:xfrm>
              <a:off x="8197473" y="2212079"/>
              <a:ext cx="2145410" cy="615553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1218026" eaLnBrk="1" latinLnBrk="0" hangingPunct="1"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192024" lvl="1" indent="-192024" defTabSz="12180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x-none" sz="1600" baseline="0">
                  <a:latin typeface="+mn-lt"/>
                </a:defRPr>
              </a:lvl2pPr>
              <a:lvl3pPr marL="457200" lvl="2" indent="-265176" defTabSz="12180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sz="1600" baseline="0">
                  <a:latin typeface="+mn-lt"/>
                </a:defRPr>
              </a:lvl3pPr>
              <a:lvl4pPr marL="612648" lvl="3" indent="-155448" defTabSz="12180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x-none" sz="1600" baseline="0">
                  <a:latin typeface="+mn-lt"/>
                </a:defRPr>
              </a:lvl4pPr>
              <a:lvl5pPr marL="749808" lvl="4" indent="-128016" defTabSz="12180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sz="1600" baseline="0">
                  <a:latin typeface="+mn-lt"/>
                </a:defRPr>
              </a:lvl5pPr>
              <a:lvl6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6pPr>
              <a:lvl7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7pPr>
              <a:lvl8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8pPr>
              <a:lvl9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9pPr>
            </a:lstStyle>
            <a:p>
              <a:pPr marL="0" lvl="1" indent="0" algn="ctr">
                <a:spcBef>
                  <a:spcPct val="105000"/>
                </a:spcBef>
                <a:buNone/>
              </a:pPr>
              <a:r>
                <a:rPr lang="en-US" sz="4000" b="1" spc="-150" dirty="0">
                  <a:solidFill>
                    <a:schemeClr val="tx2"/>
                  </a:solidFill>
                  <a:latin typeface="+mj-lt"/>
                  <a:ea typeface="+mj-ea"/>
                  <a:cs typeface="+mj-cs"/>
                </a:rPr>
                <a:t>2%</a:t>
              </a:r>
            </a:p>
          </p:txBody>
        </p:sp>
        <p:sp>
          <p:nvSpPr>
            <p:cNvPr id="1738" name="Rectangle 1737">
              <a:extLst>
                <a:ext uri="{FF2B5EF4-FFF2-40B4-BE49-F238E27FC236}">
                  <a16:creationId xmlns:a16="http://schemas.microsoft.com/office/drawing/2014/main" id="{5153290F-DA4A-4EFF-B10A-B9B0BF3DEFD0}"/>
                </a:ext>
              </a:extLst>
            </p:cNvPr>
            <p:cNvSpPr>
              <a:spLocks/>
            </p:cNvSpPr>
            <p:nvPr/>
          </p:nvSpPr>
          <p:spPr>
            <a:xfrm>
              <a:off x="8152580" y="2155920"/>
              <a:ext cx="2235196" cy="1265120"/>
            </a:xfrm>
            <a:prstGeom prst="rect">
              <a:avLst/>
            </a:prstGeom>
            <a:no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600" dirty="0">
                <a:solidFill>
                  <a:schemeClr val="tx1"/>
                </a:solidFill>
              </a:endParaRPr>
            </a:p>
          </p:txBody>
        </p:sp>
      </p:grpSp>
      <p:sp>
        <p:nvSpPr>
          <p:cNvPr id="1736" name="5. Source">
            <a:extLst>
              <a:ext uri="{FF2B5EF4-FFF2-40B4-BE49-F238E27FC236}">
                <a16:creationId xmlns:a16="http://schemas.microsoft.com/office/drawing/2014/main" id="{28DB4A64-9781-47AF-9178-45A3054E9A2A}"/>
              </a:ext>
            </a:extLst>
          </p:cNvPr>
          <p:cNvSpPr>
            <a:spLocks noChangeArrowheads="1"/>
          </p:cNvSpPr>
          <p:nvPr/>
        </p:nvSpPr>
        <p:spPr bwMode="gray">
          <a:xfrm>
            <a:off x="346893" y="6642955"/>
            <a:ext cx="9531411" cy="123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519113" indent="-519113" defTabSz="1218026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  <a:hlinkClick r:id="rId16"/>
              </a:rPr>
              <a:t>Provider Relief Fund website</a:t>
            </a:r>
            <a:endParaRPr lang="en-US" sz="8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737" name="Title 1">
            <a:extLst>
              <a:ext uri="{FF2B5EF4-FFF2-40B4-BE49-F238E27FC236}">
                <a16:creationId xmlns:a16="http://schemas.microsoft.com/office/drawing/2014/main" id="{B4E52CF2-EDAA-465C-BFF6-1E85381EE733}"/>
              </a:ext>
            </a:extLst>
          </p:cNvPr>
          <p:cNvSpPr txBox="1">
            <a:spLocks/>
          </p:cNvSpPr>
          <p:nvPr/>
        </p:nvSpPr>
        <p:spPr bwMode="gray">
          <a:xfrm>
            <a:off x="346891" y="278741"/>
            <a:ext cx="9741325" cy="8617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algn="l" defTabSz="12180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7135" algn="l"/>
              </a:tabLst>
              <a:defRPr lang="x-none" sz="20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2pPr>
            <a:lvl3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3pPr>
            <a:lvl4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4pPr>
            <a:lvl5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5pPr>
            <a:lvl6pPr marL="62197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6pPr>
            <a:lvl7pPr marL="1243941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7pPr>
            <a:lvl8pPr marL="1865909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8pPr>
            <a:lvl9pPr marL="248788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3000"/>
              </a:lnSpc>
            </a:pPr>
            <a:r>
              <a:rPr lang="en-US" sz="2800" spc="-150" dirty="0">
                <a:solidFill>
                  <a:srgbClr val="A33134"/>
                </a:solidFill>
              </a:rPr>
              <a:t>Actions for providers</a:t>
            </a:r>
            <a:r>
              <a:rPr lang="en-US" sz="2800" kern="0" spc="-150" dirty="0"/>
              <a:t/>
            </a:r>
            <a:br>
              <a:rPr lang="en-US" sz="2800" kern="0" spc="-150" dirty="0"/>
            </a:br>
            <a:r>
              <a:rPr lang="en-US" sz="2800" kern="0" spc="-150" dirty="0"/>
              <a:t>Phase 2 General </a:t>
            </a:r>
            <a:r>
              <a:rPr lang="en-US" sz="2800" spc="-150" dirty="0"/>
              <a:t>Distribution</a:t>
            </a:r>
            <a:endParaRPr lang="en-US" sz="2800" strike="sngStrike" spc="-150" dirty="0"/>
          </a:p>
        </p:txBody>
      </p:sp>
    </p:spTree>
    <p:extLst>
      <p:ext uri="{BB962C8B-B14F-4D97-AF65-F5344CB8AC3E}">
        <p14:creationId xmlns:p14="http://schemas.microsoft.com/office/powerpoint/2010/main" val="20496704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8" name="Object 47" hidden="1">
            <a:extLst>
              <a:ext uri="{FF2B5EF4-FFF2-40B4-BE49-F238E27FC236}">
                <a16:creationId xmlns:a16="http://schemas.microsoft.com/office/drawing/2014/main" id="{14BA6171-6AF2-4866-B9A0-B0D03AD6530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3982" name="think-cell Slide" r:id="rId8" imgW="395" imgH="394" progId="TCLayout.ActiveDocument.1">
                  <p:embed/>
                </p:oleObj>
              </mc:Choice>
              <mc:Fallback>
                <p:oleObj name="think-cell Slide" r:id="rId8" imgW="395" imgH="394" progId="TCLayout.ActiveDocument.1">
                  <p:embed/>
                  <p:pic>
                    <p:nvPicPr>
                      <p:cNvPr id="48" name="Object 47" hidden="1">
                        <a:extLst>
                          <a:ext uri="{FF2B5EF4-FFF2-40B4-BE49-F238E27FC236}">
                            <a16:creationId xmlns:a16="http://schemas.microsoft.com/office/drawing/2014/main" id="{14BA6171-6AF2-4866-B9A0-B0D03AD653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Rectangle 46" hidden="1">
            <a:extLst>
              <a:ext uri="{FF2B5EF4-FFF2-40B4-BE49-F238E27FC236}">
                <a16:creationId xmlns:a16="http://schemas.microsoft.com/office/drawing/2014/main" id="{06E0B02D-CB87-4A54-9B04-DDB41854653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000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192D47FA-254E-4AE0-AF13-FC4D6366A463}"/>
              </a:ext>
            </a:extLst>
          </p:cNvPr>
          <p:cNvGrpSpPr/>
          <p:nvPr/>
        </p:nvGrpSpPr>
        <p:grpSpPr>
          <a:xfrm>
            <a:off x="436453" y="3615586"/>
            <a:ext cx="3336253" cy="2700755"/>
            <a:chOff x="8125436" y="2945844"/>
            <a:chExt cx="1914733" cy="1550010"/>
          </a:xfrm>
        </p:grpSpPr>
        <p:pic>
          <p:nvPicPr>
            <p:cNvPr id="33" name="Graphic 32">
              <a:extLst>
                <a:ext uri="{FF2B5EF4-FFF2-40B4-BE49-F238E27FC236}">
                  <a16:creationId xmlns:a16="http://schemas.microsoft.com/office/drawing/2014/main" id="{268E0C40-C6D3-44E7-9EDE-6E8D329AE8D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xmlns="" r:embed="rId11"/>
                </a:ext>
              </a:extLst>
            </a:blip>
            <a:stretch>
              <a:fillRect/>
            </a:stretch>
          </p:blipFill>
          <p:spPr>
            <a:xfrm>
              <a:off x="8178031" y="2945844"/>
              <a:ext cx="1862138" cy="1462088"/>
            </a:xfrm>
            <a:prstGeom prst="rect">
              <a:avLst/>
            </a:prstGeom>
          </p:spPr>
        </p:pic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77F13884-A3FA-4C81-A534-663F24951F64}"/>
                </a:ext>
              </a:extLst>
            </p:cNvPr>
            <p:cNvGrpSpPr/>
            <p:nvPr/>
          </p:nvGrpSpPr>
          <p:grpSpPr>
            <a:xfrm>
              <a:off x="8125436" y="3052835"/>
              <a:ext cx="1723398" cy="1443019"/>
              <a:chOff x="12818952" y="1475232"/>
              <a:chExt cx="5335208" cy="4467225"/>
            </a:xfrm>
          </p:grpSpPr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BDCDE371-DEBF-47A7-9740-E71BCDEEB67D}"/>
                  </a:ext>
                </a:extLst>
              </p:cNvPr>
              <p:cNvSpPr/>
              <p:nvPr/>
            </p:nvSpPr>
            <p:spPr>
              <a:xfrm>
                <a:off x="14216623" y="1475232"/>
                <a:ext cx="3562350" cy="4467225"/>
              </a:xfrm>
              <a:custGeom>
                <a:avLst/>
                <a:gdLst>
                  <a:gd name="connsiteX0" fmla="*/ 0 w 3562350"/>
                  <a:gd name="connsiteY0" fmla="*/ 549814 h 4467225"/>
                  <a:gd name="connsiteX1" fmla="*/ 2790597 w 3562350"/>
                  <a:gd name="connsiteY1" fmla="*/ 0 h 4467225"/>
                  <a:gd name="connsiteX2" fmla="*/ 3563231 w 3562350"/>
                  <a:gd name="connsiteY2" fmla="*/ 3921526 h 4467225"/>
                  <a:gd name="connsiteX3" fmla="*/ 772634 w 3562350"/>
                  <a:gd name="connsiteY3" fmla="*/ 4471340 h 44672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562350" h="4467225">
                    <a:moveTo>
                      <a:pt x="0" y="549814"/>
                    </a:moveTo>
                    <a:lnTo>
                      <a:pt x="2790597" y="0"/>
                    </a:lnTo>
                    <a:lnTo>
                      <a:pt x="3563231" y="3921526"/>
                    </a:lnTo>
                    <a:lnTo>
                      <a:pt x="772634" y="4471340"/>
                    </a:lnTo>
                    <a:close/>
                  </a:path>
                </a:pathLst>
              </a:custGeom>
              <a:solidFill>
                <a:srgbClr val="F4F1F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B646E75B-627D-4E30-ABB5-53E642D98556}"/>
                  </a:ext>
                </a:extLst>
              </p:cNvPr>
              <p:cNvSpPr/>
              <p:nvPr/>
            </p:nvSpPr>
            <p:spPr>
              <a:xfrm>
                <a:off x="14573269" y="2327014"/>
                <a:ext cx="2409825" cy="533400"/>
              </a:xfrm>
              <a:custGeom>
                <a:avLst/>
                <a:gdLst>
                  <a:gd name="connsiteX0" fmla="*/ 2399696 w 2409825"/>
                  <a:gd name="connsiteY0" fmla="*/ 68452 h 533400"/>
                  <a:gd name="connsiteX1" fmla="*/ 24352 w 2409825"/>
                  <a:gd name="connsiteY1" fmla="*/ 536416 h 533400"/>
                  <a:gd name="connsiteX2" fmla="*/ 8540 w 2409825"/>
                  <a:gd name="connsiteY2" fmla="*/ 525843 h 533400"/>
                  <a:gd name="connsiteX3" fmla="*/ 253 w 2409825"/>
                  <a:gd name="connsiteY3" fmla="*/ 484028 h 533400"/>
                  <a:gd name="connsiteX4" fmla="*/ 10826 w 2409825"/>
                  <a:gd name="connsiteY4" fmla="*/ 468217 h 533400"/>
                  <a:gd name="connsiteX5" fmla="*/ 2386171 w 2409825"/>
                  <a:gd name="connsiteY5" fmla="*/ 253 h 533400"/>
                  <a:gd name="connsiteX6" fmla="*/ 2401982 w 2409825"/>
                  <a:gd name="connsiteY6" fmla="*/ 10826 h 533400"/>
                  <a:gd name="connsiteX7" fmla="*/ 2410269 w 2409825"/>
                  <a:gd name="connsiteY7" fmla="*/ 52641 h 533400"/>
                  <a:gd name="connsiteX8" fmla="*/ 2399696 w 2409825"/>
                  <a:gd name="connsiteY8" fmla="*/ 68452 h 533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409825" h="533400">
                    <a:moveTo>
                      <a:pt x="2399696" y="68452"/>
                    </a:moveTo>
                    <a:lnTo>
                      <a:pt x="24352" y="536416"/>
                    </a:lnTo>
                    <a:cubicBezTo>
                      <a:pt x="17017" y="537844"/>
                      <a:pt x="9969" y="533082"/>
                      <a:pt x="8540" y="525843"/>
                    </a:cubicBezTo>
                    <a:lnTo>
                      <a:pt x="253" y="484028"/>
                    </a:lnTo>
                    <a:cubicBezTo>
                      <a:pt x="-1176" y="476694"/>
                      <a:pt x="3587" y="469645"/>
                      <a:pt x="10826" y="468217"/>
                    </a:cubicBezTo>
                    <a:lnTo>
                      <a:pt x="2386171" y="253"/>
                    </a:lnTo>
                    <a:cubicBezTo>
                      <a:pt x="2393505" y="-1175"/>
                      <a:pt x="2400553" y="3587"/>
                      <a:pt x="2401982" y="10826"/>
                    </a:cubicBezTo>
                    <a:lnTo>
                      <a:pt x="2410269" y="52641"/>
                    </a:lnTo>
                    <a:cubicBezTo>
                      <a:pt x="2411698" y="59975"/>
                      <a:pt x="2406935" y="67024"/>
                      <a:pt x="2399696" y="68452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0829A6B1-AFC3-429A-866B-C0953A4057AF}"/>
                  </a:ext>
                </a:extLst>
              </p:cNvPr>
              <p:cNvSpPr/>
              <p:nvPr/>
            </p:nvSpPr>
            <p:spPr>
              <a:xfrm>
                <a:off x="14595272" y="2438742"/>
                <a:ext cx="2409825" cy="533400"/>
              </a:xfrm>
              <a:custGeom>
                <a:avLst/>
                <a:gdLst>
                  <a:gd name="connsiteX0" fmla="*/ 2399696 w 2409825"/>
                  <a:gd name="connsiteY0" fmla="*/ 68452 h 533400"/>
                  <a:gd name="connsiteX1" fmla="*/ 24352 w 2409825"/>
                  <a:gd name="connsiteY1" fmla="*/ 536416 h 533400"/>
                  <a:gd name="connsiteX2" fmla="*/ 8540 w 2409825"/>
                  <a:gd name="connsiteY2" fmla="*/ 525843 h 533400"/>
                  <a:gd name="connsiteX3" fmla="*/ 253 w 2409825"/>
                  <a:gd name="connsiteY3" fmla="*/ 484028 h 533400"/>
                  <a:gd name="connsiteX4" fmla="*/ 10826 w 2409825"/>
                  <a:gd name="connsiteY4" fmla="*/ 468217 h 533400"/>
                  <a:gd name="connsiteX5" fmla="*/ 2386171 w 2409825"/>
                  <a:gd name="connsiteY5" fmla="*/ 253 h 533400"/>
                  <a:gd name="connsiteX6" fmla="*/ 2401982 w 2409825"/>
                  <a:gd name="connsiteY6" fmla="*/ 10826 h 533400"/>
                  <a:gd name="connsiteX7" fmla="*/ 2410269 w 2409825"/>
                  <a:gd name="connsiteY7" fmla="*/ 52641 h 533400"/>
                  <a:gd name="connsiteX8" fmla="*/ 2399696 w 2409825"/>
                  <a:gd name="connsiteY8" fmla="*/ 68452 h 533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409825" h="533400">
                    <a:moveTo>
                      <a:pt x="2399696" y="68452"/>
                    </a:moveTo>
                    <a:lnTo>
                      <a:pt x="24352" y="536416"/>
                    </a:lnTo>
                    <a:cubicBezTo>
                      <a:pt x="17017" y="537844"/>
                      <a:pt x="9969" y="533082"/>
                      <a:pt x="8540" y="525843"/>
                    </a:cubicBezTo>
                    <a:lnTo>
                      <a:pt x="253" y="484028"/>
                    </a:lnTo>
                    <a:cubicBezTo>
                      <a:pt x="-1176" y="476694"/>
                      <a:pt x="3587" y="469645"/>
                      <a:pt x="10826" y="468217"/>
                    </a:cubicBezTo>
                    <a:lnTo>
                      <a:pt x="2386171" y="253"/>
                    </a:lnTo>
                    <a:cubicBezTo>
                      <a:pt x="2393505" y="-1175"/>
                      <a:pt x="2400553" y="3587"/>
                      <a:pt x="2401982" y="10826"/>
                    </a:cubicBezTo>
                    <a:lnTo>
                      <a:pt x="2410269" y="52641"/>
                    </a:lnTo>
                    <a:cubicBezTo>
                      <a:pt x="2411698" y="59880"/>
                      <a:pt x="2406935" y="67024"/>
                      <a:pt x="2399696" y="68452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2F059919-BF02-430C-A31A-F4981A33B15A}"/>
                  </a:ext>
                </a:extLst>
              </p:cNvPr>
              <p:cNvSpPr/>
              <p:nvPr/>
            </p:nvSpPr>
            <p:spPr>
              <a:xfrm>
                <a:off x="14617275" y="2550375"/>
                <a:ext cx="2409825" cy="533400"/>
              </a:xfrm>
              <a:custGeom>
                <a:avLst/>
                <a:gdLst>
                  <a:gd name="connsiteX0" fmla="*/ 2399696 w 2409825"/>
                  <a:gd name="connsiteY0" fmla="*/ 68452 h 533400"/>
                  <a:gd name="connsiteX1" fmla="*/ 24352 w 2409825"/>
                  <a:gd name="connsiteY1" fmla="*/ 536416 h 533400"/>
                  <a:gd name="connsiteX2" fmla="*/ 8540 w 2409825"/>
                  <a:gd name="connsiteY2" fmla="*/ 525843 h 533400"/>
                  <a:gd name="connsiteX3" fmla="*/ 253 w 2409825"/>
                  <a:gd name="connsiteY3" fmla="*/ 484028 h 533400"/>
                  <a:gd name="connsiteX4" fmla="*/ 10826 w 2409825"/>
                  <a:gd name="connsiteY4" fmla="*/ 468216 h 533400"/>
                  <a:gd name="connsiteX5" fmla="*/ 2386171 w 2409825"/>
                  <a:gd name="connsiteY5" fmla="*/ 253 h 533400"/>
                  <a:gd name="connsiteX6" fmla="*/ 2401982 w 2409825"/>
                  <a:gd name="connsiteY6" fmla="*/ 10826 h 533400"/>
                  <a:gd name="connsiteX7" fmla="*/ 2410269 w 2409825"/>
                  <a:gd name="connsiteY7" fmla="*/ 52641 h 533400"/>
                  <a:gd name="connsiteX8" fmla="*/ 2399696 w 2409825"/>
                  <a:gd name="connsiteY8" fmla="*/ 68452 h 533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409825" h="533400">
                    <a:moveTo>
                      <a:pt x="2399696" y="68452"/>
                    </a:moveTo>
                    <a:lnTo>
                      <a:pt x="24352" y="536416"/>
                    </a:lnTo>
                    <a:cubicBezTo>
                      <a:pt x="17017" y="537844"/>
                      <a:pt x="9969" y="533082"/>
                      <a:pt x="8540" y="525843"/>
                    </a:cubicBezTo>
                    <a:lnTo>
                      <a:pt x="253" y="484028"/>
                    </a:lnTo>
                    <a:cubicBezTo>
                      <a:pt x="-1175" y="476694"/>
                      <a:pt x="3587" y="469645"/>
                      <a:pt x="10826" y="468216"/>
                    </a:cubicBezTo>
                    <a:lnTo>
                      <a:pt x="2386171" y="253"/>
                    </a:lnTo>
                    <a:cubicBezTo>
                      <a:pt x="2393505" y="-1175"/>
                      <a:pt x="2400553" y="3587"/>
                      <a:pt x="2401982" y="10826"/>
                    </a:cubicBezTo>
                    <a:lnTo>
                      <a:pt x="2410269" y="52641"/>
                    </a:lnTo>
                    <a:cubicBezTo>
                      <a:pt x="2411698" y="59975"/>
                      <a:pt x="2406935" y="67024"/>
                      <a:pt x="2399696" y="68452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3EA41F9E-5104-4E6F-9C52-C56BFAC3008A}"/>
                  </a:ext>
                </a:extLst>
              </p:cNvPr>
              <p:cNvSpPr/>
              <p:nvPr/>
            </p:nvSpPr>
            <p:spPr>
              <a:xfrm>
                <a:off x="14658137" y="2757925"/>
                <a:ext cx="2400300" cy="514350"/>
              </a:xfrm>
              <a:custGeom>
                <a:avLst/>
                <a:gdLst>
                  <a:gd name="connsiteX0" fmla="*/ 2396267 w 2400300"/>
                  <a:gd name="connsiteY0" fmla="*/ 51307 h 514350"/>
                  <a:gd name="connsiteX1" fmla="*/ 20923 w 2400300"/>
                  <a:gd name="connsiteY1" fmla="*/ 519271 h 514350"/>
                  <a:gd name="connsiteX2" fmla="*/ 5111 w 2400300"/>
                  <a:gd name="connsiteY2" fmla="*/ 508698 h 514350"/>
                  <a:gd name="connsiteX3" fmla="*/ 253 w 2400300"/>
                  <a:gd name="connsiteY3" fmla="*/ 484028 h 514350"/>
                  <a:gd name="connsiteX4" fmla="*/ 10826 w 2400300"/>
                  <a:gd name="connsiteY4" fmla="*/ 468217 h 514350"/>
                  <a:gd name="connsiteX5" fmla="*/ 2386171 w 2400300"/>
                  <a:gd name="connsiteY5" fmla="*/ 253 h 514350"/>
                  <a:gd name="connsiteX6" fmla="*/ 2401982 w 2400300"/>
                  <a:gd name="connsiteY6" fmla="*/ 10826 h 514350"/>
                  <a:gd name="connsiteX7" fmla="*/ 2406840 w 2400300"/>
                  <a:gd name="connsiteY7" fmla="*/ 35496 h 514350"/>
                  <a:gd name="connsiteX8" fmla="*/ 2396267 w 2400300"/>
                  <a:gd name="connsiteY8" fmla="*/ 51307 h 514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400300" h="514350">
                    <a:moveTo>
                      <a:pt x="2396267" y="51307"/>
                    </a:moveTo>
                    <a:lnTo>
                      <a:pt x="20923" y="519271"/>
                    </a:lnTo>
                    <a:cubicBezTo>
                      <a:pt x="13588" y="520699"/>
                      <a:pt x="6540" y="515937"/>
                      <a:pt x="5111" y="508698"/>
                    </a:cubicBezTo>
                    <a:lnTo>
                      <a:pt x="253" y="484028"/>
                    </a:lnTo>
                    <a:cubicBezTo>
                      <a:pt x="-1175" y="476694"/>
                      <a:pt x="3587" y="469645"/>
                      <a:pt x="10826" y="468217"/>
                    </a:cubicBezTo>
                    <a:lnTo>
                      <a:pt x="2386171" y="253"/>
                    </a:lnTo>
                    <a:cubicBezTo>
                      <a:pt x="2393505" y="-1175"/>
                      <a:pt x="2400553" y="3587"/>
                      <a:pt x="2401982" y="10826"/>
                    </a:cubicBezTo>
                    <a:lnTo>
                      <a:pt x="2406840" y="35496"/>
                    </a:lnTo>
                    <a:cubicBezTo>
                      <a:pt x="2408364" y="42735"/>
                      <a:pt x="2403601" y="49879"/>
                      <a:pt x="2396267" y="51307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2B154F94-CBFA-457F-88F8-6DD0F4FECAE6}"/>
                  </a:ext>
                </a:extLst>
              </p:cNvPr>
              <p:cNvSpPr/>
              <p:nvPr/>
            </p:nvSpPr>
            <p:spPr>
              <a:xfrm>
                <a:off x="15510624" y="3022720"/>
                <a:ext cx="733425" cy="190500"/>
              </a:xfrm>
              <a:custGeom>
                <a:avLst/>
                <a:gdLst>
                  <a:gd name="connsiteX0" fmla="*/ 731202 w 733425"/>
                  <a:gd name="connsiteY0" fmla="*/ 51307 h 190500"/>
                  <a:gd name="connsiteX1" fmla="*/ 20923 w 733425"/>
                  <a:gd name="connsiteY1" fmla="*/ 191230 h 190500"/>
                  <a:gd name="connsiteX2" fmla="*/ 5111 w 733425"/>
                  <a:gd name="connsiteY2" fmla="*/ 180657 h 190500"/>
                  <a:gd name="connsiteX3" fmla="*/ 253 w 733425"/>
                  <a:gd name="connsiteY3" fmla="*/ 155987 h 190500"/>
                  <a:gd name="connsiteX4" fmla="*/ 10826 w 733425"/>
                  <a:gd name="connsiteY4" fmla="*/ 140176 h 190500"/>
                  <a:gd name="connsiteX5" fmla="*/ 721105 w 733425"/>
                  <a:gd name="connsiteY5" fmla="*/ 253 h 190500"/>
                  <a:gd name="connsiteX6" fmla="*/ 736917 w 733425"/>
                  <a:gd name="connsiteY6" fmla="*/ 10826 h 190500"/>
                  <a:gd name="connsiteX7" fmla="*/ 741775 w 733425"/>
                  <a:gd name="connsiteY7" fmla="*/ 35496 h 190500"/>
                  <a:gd name="connsiteX8" fmla="*/ 731202 w 733425"/>
                  <a:gd name="connsiteY8" fmla="*/ 51307 h 190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33425" h="190500">
                    <a:moveTo>
                      <a:pt x="731202" y="51307"/>
                    </a:moveTo>
                    <a:lnTo>
                      <a:pt x="20923" y="191230"/>
                    </a:lnTo>
                    <a:cubicBezTo>
                      <a:pt x="13588" y="192658"/>
                      <a:pt x="6540" y="187896"/>
                      <a:pt x="5111" y="180657"/>
                    </a:cubicBezTo>
                    <a:lnTo>
                      <a:pt x="253" y="155987"/>
                    </a:lnTo>
                    <a:cubicBezTo>
                      <a:pt x="-1175" y="148653"/>
                      <a:pt x="3587" y="141604"/>
                      <a:pt x="10826" y="140176"/>
                    </a:cubicBezTo>
                    <a:lnTo>
                      <a:pt x="721105" y="253"/>
                    </a:lnTo>
                    <a:cubicBezTo>
                      <a:pt x="728440" y="-1175"/>
                      <a:pt x="735488" y="3587"/>
                      <a:pt x="736917" y="10826"/>
                    </a:cubicBezTo>
                    <a:lnTo>
                      <a:pt x="741775" y="35496"/>
                    </a:lnTo>
                    <a:cubicBezTo>
                      <a:pt x="743203" y="42830"/>
                      <a:pt x="738441" y="49879"/>
                      <a:pt x="731202" y="51307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015983EB-32AB-49EA-9645-29A5098CB125}"/>
                  </a:ext>
                </a:extLst>
              </p:cNvPr>
              <p:cNvSpPr/>
              <p:nvPr/>
            </p:nvSpPr>
            <p:spPr>
              <a:xfrm>
                <a:off x="14705377" y="3125968"/>
                <a:ext cx="1752600" cy="400050"/>
              </a:xfrm>
              <a:custGeom>
                <a:avLst/>
                <a:gdLst>
                  <a:gd name="connsiteX0" fmla="*/ 24355 w 1752600"/>
                  <a:gd name="connsiteY0" fmla="*/ 407927 h 400050"/>
                  <a:gd name="connsiteX1" fmla="*/ 1747237 w 1752600"/>
                  <a:gd name="connsiteY1" fmla="*/ 68456 h 400050"/>
                  <a:gd name="connsiteX2" fmla="*/ 1757810 w 1752600"/>
                  <a:gd name="connsiteY2" fmla="*/ 52644 h 400050"/>
                  <a:gd name="connsiteX3" fmla="*/ 1749523 w 1752600"/>
                  <a:gd name="connsiteY3" fmla="*/ 10830 h 400050"/>
                  <a:gd name="connsiteX4" fmla="*/ 1733712 w 1752600"/>
                  <a:gd name="connsiteY4" fmla="*/ 257 h 400050"/>
                  <a:gd name="connsiteX5" fmla="*/ 10830 w 1752600"/>
                  <a:gd name="connsiteY5" fmla="*/ 339728 h 400050"/>
                  <a:gd name="connsiteX6" fmla="*/ 257 w 1752600"/>
                  <a:gd name="connsiteY6" fmla="*/ 355539 h 400050"/>
                  <a:gd name="connsiteX7" fmla="*/ 8544 w 1752600"/>
                  <a:gd name="connsiteY7" fmla="*/ 397354 h 400050"/>
                  <a:gd name="connsiteX8" fmla="*/ 24355 w 1752600"/>
                  <a:gd name="connsiteY8" fmla="*/ 407927 h 400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752600" h="400050">
                    <a:moveTo>
                      <a:pt x="24355" y="407927"/>
                    </a:moveTo>
                    <a:lnTo>
                      <a:pt x="1747237" y="68456"/>
                    </a:lnTo>
                    <a:cubicBezTo>
                      <a:pt x="1754572" y="67027"/>
                      <a:pt x="1759239" y="59979"/>
                      <a:pt x="1757810" y="52644"/>
                    </a:cubicBezTo>
                    <a:lnTo>
                      <a:pt x="1749523" y="10830"/>
                    </a:lnTo>
                    <a:cubicBezTo>
                      <a:pt x="1748094" y="3495"/>
                      <a:pt x="1741046" y="-1172"/>
                      <a:pt x="1733712" y="257"/>
                    </a:cubicBezTo>
                    <a:lnTo>
                      <a:pt x="10830" y="339728"/>
                    </a:lnTo>
                    <a:cubicBezTo>
                      <a:pt x="3495" y="341157"/>
                      <a:pt x="-1172" y="348205"/>
                      <a:pt x="257" y="355539"/>
                    </a:cubicBezTo>
                    <a:lnTo>
                      <a:pt x="8544" y="397354"/>
                    </a:lnTo>
                    <a:cubicBezTo>
                      <a:pt x="9972" y="404689"/>
                      <a:pt x="17021" y="409356"/>
                      <a:pt x="24355" y="407927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ECA34B62-5B60-408A-905C-7770DD59BF4B}"/>
                  </a:ext>
                </a:extLst>
              </p:cNvPr>
              <p:cNvSpPr/>
              <p:nvPr/>
            </p:nvSpPr>
            <p:spPr>
              <a:xfrm>
                <a:off x="14729095" y="3246554"/>
                <a:ext cx="1752600" cy="400050"/>
              </a:xfrm>
              <a:custGeom>
                <a:avLst/>
                <a:gdLst>
                  <a:gd name="connsiteX0" fmla="*/ 24355 w 1752600"/>
                  <a:gd name="connsiteY0" fmla="*/ 407927 h 400050"/>
                  <a:gd name="connsiteX1" fmla="*/ 1747237 w 1752600"/>
                  <a:gd name="connsiteY1" fmla="*/ 68456 h 400050"/>
                  <a:gd name="connsiteX2" fmla="*/ 1757810 w 1752600"/>
                  <a:gd name="connsiteY2" fmla="*/ 52644 h 400050"/>
                  <a:gd name="connsiteX3" fmla="*/ 1749523 w 1752600"/>
                  <a:gd name="connsiteY3" fmla="*/ 10830 h 400050"/>
                  <a:gd name="connsiteX4" fmla="*/ 1733712 w 1752600"/>
                  <a:gd name="connsiteY4" fmla="*/ 257 h 400050"/>
                  <a:gd name="connsiteX5" fmla="*/ 10830 w 1752600"/>
                  <a:gd name="connsiteY5" fmla="*/ 339728 h 400050"/>
                  <a:gd name="connsiteX6" fmla="*/ 257 w 1752600"/>
                  <a:gd name="connsiteY6" fmla="*/ 355539 h 400050"/>
                  <a:gd name="connsiteX7" fmla="*/ 8544 w 1752600"/>
                  <a:gd name="connsiteY7" fmla="*/ 397354 h 400050"/>
                  <a:gd name="connsiteX8" fmla="*/ 24355 w 1752600"/>
                  <a:gd name="connsiteY8" fmla="*/ 407927 h 400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752600" h="400050">
                    <a:moveTo>
                      <a:pt x="24355" y="407927"/>
                    </a:moveTo>
                    <a:lnTo>
                      <a:pt x="1747237" y="68456"/>
                    </a:lnTo>
                    <a:cubicBezTo>
                      <a:pt x="1754571" y="67027"/>
                      <a:pt x="1759239" y="59979"/>
                      <a:pt x="1757810" y="52644"/>
                    </a:cubicBezTo>
                    <a:lnTo>
                      <a:pt x="1749523" y="10830"/>
                    </a:lnTo>
                    <a:cubicBezTo>
                      <a:pt x="1748095" y="3495"/>
                      <a:pt x="1741046" y="-1172"/>
                      <a:pt x="1733712" y="257"/>
                    </a:cubicBezTo>
                    <a:lnTo>
                      <a:pt x="10830" y="339728"/>
                    </a:lnTo>
                    <a:cubicBezTo>
                      <a:pt x="3495" y="341157"/>
                      <a:pt x="-1172" y="348205"/>
                      <a:pt x="257" y="355539"/>
                    </a:cubicBezTo>
                    <a:lnTo>
                      <a:pt x="8544" y="397354"/>
                    </a:lnTo>
                    <a:cubicBezTo>
                      <a:pt x="9972" y="404689"/>
                      <a:pt x="17116" y="409356"/>
                      <a:pt x="24355" y="407927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E81A5406-5BE4-4A24-ABE2-6F4484CCE7CB}"/>
                  </a:ext>
                </a:extLst>
              </p:cNvPr>
              <p:cNvSpPr/>
              <p:nvPr/>
            </p:nvSpPr>
            <p:spPr>
              <a:xfrm>
                <a:off x="14752812" y="3367236"/>
                <a:ext cx="1752600" cy="400050"/>
              </a:xfrm>
              <a:custGeom>
                <a:avLst/>
                <a:gdLst>
                  <a:gd name="connsiteX0" fmla="*/ 24451 w 1752600"/>
                  <a:gd name="connsiteY0" fmla="*/ 407832 h 400050"/>
                  <a:gd name="connsiteX1" fmla="*/ 1747237 w 1752600"/>
                  <a:gd name="connsiteY1" fmla="*/ 68456 h 400050"/>
                  <a:gd name="connsiteX2" fmla="*/ 1757810 w 1752600"/>
                  <a:gd name="connsiteY2" fmla="*/ 52644 h 400050"/>
                  <a:gd name="connsiteX3" fmla="*/ 1749523 w 1752600"/>
                  <a:gd name="connsiteY3" fmla="*/ 10830 h 400050"/>
                  <a:gd name="connsiteX4" fmla="*/ 1733712 w 1752600"/>
                  <a:gd name="connsiteY4" fmla="*/ 257 h 400050"/>
                  <a:gd name="connsiteX5" fmla="*/ 10830 w 1752600"/>
                  <a:gd name="connsiteY5" fmla="*/ 339728 h 400050"/>
                  <a:gd name="connsiteX6" fmla="*/ 257 w 1752600"/>
                  <a:gd name="connsiteY6" fmla="*/ 355539 h 400050"/>
                  <a:gd name="connsiteX7" fmla="*/ 8544 w 1752600"/>
                  <a:gd name="connsiteY7" fmla="*/ 397354 h 400050"/>
                  <a:gd name="connsiteX8" fmla="*/ 24451 w 1752600"/>
                  <a:gd name="connsiteY8" fmla="*/ 407832 h 400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752600" h="400050">
                    <a:moveTo>
                      <a:pt x="24451" y="407832"/>
                    </a:moveTo>
                    <a:lnTo>
                      <a:pt x="1747237" y="68456"/>
                    </a:lnTo>
                    <a:cubicBezTo>
                      <a:pt x="1754571" y="67027"/>
                      <a:pt x="1759239" y="59979"/>
                      <a:pt x="1757810" y="52644"/>
                    </a:cubicBezTo>
                    <a:lnTo>
                      <a:pt x="1749523" y="10830"/>
                    </a:lnTo>
                    <a:cubicBezTo>
                      <a:pt x="1748095" y="3495"/>
                      <a:pt x="1741046" y="-1172"/>
                      <a:pt x="1733712" y="257"/>
                    </a:cubicBezTo>
                    <a:lnTo>
                      <a:pt x="10830" y="339728"/>
                    </a:lnTo>
                    <a:cubicBezTo>
                      <a:pt x="3495" y="341157"/>
                      <a:pt x="-1172" y="348205"/>
                      <a:pt x="257" y="355539"/>
                    </a:cubicBezTo>
                    <a:lnTo>
                      <a:pt x="8544" y="397354"/>
                    </a:lnTo>
                    <a:cubicBezTo>
                      <a:pt x="10068" y="404498"/>
                      <a:pt x="17116" y="409260"/>
                      <a:pt x="24451" y="407832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467F2DE7-02FB-4161-8938-8514B01974B5}"/>
                  </a:ext>
                </a:extLst>
              </p:cNvPr>
              <p:cNvSpPr/>
              <p:nvPr/>
            </p:nvSpPr>
            <p:spPr>
              <a:xfrm>
                <a:off x="14776624" y="3487727"/>
                <a:ext cx="1752600" cy="400050"/>
              </a:xfrm>
              <a:custGeom>
                <a:avLst/>
                <a:gdLst>
                  <a:gd name="connsiteX0" fmla="*/ 24355 w 1752600"/>
                  <a:gd name="connsiteY0" fmla="*/ 407927 h 400050"/>
                  <a:gd name="connsiteX1" fmla="*/ 1747237 w 1752600"/>
                  <a:gd name="connsiteY1" fmla="*/ 68456 h 400050"/>
                  <a:gd name="connsiteX2" fmla="*/ 1757810 w 1752600"/>
                  <a:gd name="connsiteY2" fmla="*/ 52644 h 400050"/>
                  <a:gd name="connsiteX3" fmla="*/ 1749523 w 1752600"/>
                  <a:gd name="connsiteY3" fmla="*/ 10830 h 400050"/>
                  <a:gd name="connsiteX4" fmla="*/ 1733712 w 1752600"/>
                  <a:gd name="connsiteY4" fmla="*/ 257 h 400050"/>
                  <a:gd name="connsiteX5" fmla="*/ 10830 w 1752600"/>
                  <a:gd name="connsiteY5" fmla="*/ 339728 h 400050"/>
                  <a:gd name="connsiteX6" fmla="*/ 257 w 1752600"/>
                  <a:gd name="connsiteY6" fmla="*/ 355539 h 400050"/>
                  <a:gd name="connsiteX7" fmla="*/ 8544 w 1752600"/>
                  <a:gd name="connsiteY7" fmla="*/ 397354 h 400050"/>
                  <a:gd name="connsiteX8" fmla="*/ 24355 w 1752600"/>
                  <a:gd name="connsiteY8" fmla="*/ 407927 h 400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752600" h="400050">
                    <a:moveTo>
                      <a:pt x="24355" y="407927"/>
                    </a:moveTo>
                    <a:lnTo>
                      <a:pt x="1747237" y="68456"/>
                    </a:lnTo>
                    <a:cubicBezTo>
                      <a:pt x="1754571" y="67027"/>
                      <a:pt x="1759239" y="59979"/>
                      <a:pt x="1757810" y="52644"/>
                    </a:cubicBezTo>
                    <a:lnTo>
                      <a:pt x="1749523" y="10830"/>
                    </a:lnTo>
                    <a:cubicBezTo>
                      <a:pt x="1748095" y="3495"/>
                      <a:pt x="1741046" y="-1172"/>
                      <a:pt x="1733712" y="257"/>
                    </a:cubicBezTo>
                    <a:lnTo>
                      <a:pt x="10830" y="339728"/>
                    </a:lnTo>
                    <a:cubicBezTo>
                      <a:pt x="3495" y="341157"/>
                      <a:pt x="-1172" y="348205"/>
                      <a:pt x="257" y="355539"/>
                    </a:cubicBezTo>
                    <a:lnTo>
                      <a:pt x="8544" y="397354"/>
                    </a:lnTo>
                    <a:cubicBezTo>
                      <a:pt x="9972" y="404593"/>
                      <a:pt x="17021" y="409356"/>
                      <a:pt x="24355" y="407927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9FF4DDEF-3999-4677-9069-253E81B0EC99}"/>
                  </a:ext>
                </a:extLst>
              </p:cNvPr>
              <p:cNvSpPr/>
              <p:nvPr/>
            </p:nvSpPr>
            <p:spPr>
              <a:xfrm>
                <a:off x="14800437" y="3608314"/>
                <a:ext cx="1752600" cy="400050"/>
              </a:xfrm>
              <a:custGeom>
                <a:avLst/>
                <a:gdLst>
                  <a:gd name="connsiteX0" fmla="*/ 24355 w 1752600"/>
                  <a:gd name="connsiteY0" fmla="*/ 407927 h 400050"/>
                  <a:gd name="connsiteX1" fmla="*/ 1747237 w 1752600"/>
                  <a:gd name="connsiteY1" fmla="*/ 68456 h 400050"/>
                  <a:gd name="connsiteX2" fmla="*/ 1757810 w 1752600"/>
                  <a:gd name="connsiteY2" fmla="*/ 52644 h 400050"/>
                  <a:gd name="connsiteX3" fmla="*/ 1749523 w 1752600"/>
                  <a:gd name="connsiteY3" fmla="*/ 10830 h 400050"/>
                  <a:gd name="connsiteX4" fmla="*/ 1733712 w 1752600"/>
                  <a:gd name="connsiteY4" fmla="*/ 257 h 400050"/>
                  <a:gd name="connsiteX5" fmla="*/ 10830 w 1752600"/>
                  <a:gd name="connsiteY5" fmla="*/ 339633 h 400050"/>
                  <a:gd name="connsiteX6" fmla="*/ 257 w 1752600"/>
                  <a:gd name="connsiteY6" fmla="*/ 355444 h 400050"/>
                  <a:gd name="connsiteX7" fmla="*/ 8544 w 1752600"/>
                  <a:gd name="connsiteY7" fmla="*/ 397259 h 400050"/>
                  <a:gd name="connsiteX8" fmla="*/ 24355 w 1752600"/>
                  <a:gd name="connsiteY8" fmla="*/ 407927 h 400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752600" h="400050">
                    <a:moveTo>
                      <a:pt x="24355" y="407927"/>
                    </a:moveTo>
                    <a:lnTo>
                      <a:pt x="1747237" y="68456"/>
                    </a:lnTo>
                    <a:cubicBezTo>
                      <a:pt x="1754571" y="67027"/>
                      <a:pt x="1759239" y="59979"/>
                      <a:pt x="1757810" y="52644"/>
                    </a:cubicBezTo>
                    <a:lnTo>
                      <a:pt x="1749523" y="10830"/>
                    </a:lnTo>
                    <a:cubicBezTo>
                      <a:pt x="1748095" y="3496"/>
                      <a:pt x="1741046" y="-1172"/>
                      <a:pt x="1733712" y="257"/>
                    </a:cubicBezTo>
                    <a:lnTo>
                      <a:pt x="10830" y="339633"/>
                    </a:lnTo>
                    <a:cubicBezTo>
                      <a:pt x="3495" y="341062"/>
                      <a:pt x="-1172" y="348110"/>
                      <a:pt x="257" y="355444"/>
                    </a:cubicBezTo>
                    <a:lnTo>
                      <a:pt x="8544" y="397259"/>
                    </a:lnTo>
                    <a:cubicBezTo>
                      <a:pt x="9972" y="404593"/>
                      <a:pt x="17021" y="409356"/>
                      <a:pt x="24355" y="407927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6CDCE6C5-F059-487C-B7FB-F6CD65C9873B}"/>
                  </a:ext>
                </a:extLst>
              </p:cNvPr>
              <p:cNvSpPr/>
              <p:nvPr/>
            </p:nvSpPr>
            <p:spPr>
              <a:xfrm>
                <a:off x="14824249" y="3728900"/>
                <a:ext cx="1752600" cy="400050"/>
              </a:xfrm>
              <a:custGeom>
                <a:avLst/>
                <a:gdLst>
                  <a:gd name="connsiteX0" fmla="*/ 24260 w 1752600"/>
                  <a:gd name="connsiteY0" fmla="*/ 407927 h 400050"/>
                  <a:gd name="connsiteX1" fmla="*/ 1747142 w 1752600"/>
                  <a:gd name="connsiteY1" fmla="*/ 68456 h 400050"/>
                  <a:gd name="connsiteX2" fmla="*/ 1757715 w 1752600"/>
                  <a:gd name="connsiteY2" fmla="*/ 52644 h 400050"/>
                  <a:gd name="connsiteX3" fmla="*/ 1749428 w 1752600"/>
                  <a:gd name="connsiteY3" fmla="*/ 10830 h 400050"/>
                  <a:gd name="connsiteX4" fmla="*/ 1733617 w 1752600"/>
                  <a:gd name="connsiteY4" fmla="*/ 257 h 400050"/>
                  <a:gd name="connsiteX5" fmla="*/ 10830 w 1752600"/>
                  <a:gd name="connsiteY5" fmla="*/ 339633 h 400050"/>
                  <a:gd name="connsiteX6" fmla="*/ 257 w 1752600"/>
                  <a:gd name="connsiteY6" fmla="*/ 355444 h 400050"/>
                  <a:gd name="connsiteX7" fmla="*/ 8544 w 1752600"/>
                  <a:gd name="connsiteY7" fmla="*/ 397259 h 400050"/>
                  <a:gd name="connsiteX8" fmla="*/ 24260 w 1752600"/>
                  <a:gd name="connsiteY8" fmla="*/ 407927 h 400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752600" h="400050">
                    <a:moveTo>
                      <a:pt x="24260" y="407927"/>
                    </a:moveTo>
                    <a:lnTo>
                      <a:pt x="1747142" y="68456"/>
                    </a:lnTo>
                    <a:cubicBezTo>
                      <a:pt x="1754476" y="67027"/>
                      <a:pt x="1759239" y="59979"/>
                      <a:pt x="1757715" y="52644"/>
                    </a:cubicBezTo>
                    <a:lnTo>
                      <a:pt x="1749428" y="10830"/>
                    </a:lnTo>
                    <a:cubicBezTo>
                      <a:pt x="1747999" y="3495"/>
                      <a:pt x="1740951" y="-1172"/>
                      <a:pt x="1733617" y="257"/>
                    </a:cubicBezTo>
                    <a:lnTo>
                      <a:pt x="10830" y="339633"/>
                    </a:lnTo>
                    <a:cubicBezTo>
                      <a:pt x="3495" y="341062"/>
                      <a:pt x="-1172" y="348110"/>
                      <a:pt x="257" y="355444"/>
                    </a:cubicBezTo>
                    <a:lnTo>
                      <a:pt x="8544" y="397259"/>
                    </a:lnTo>
                    <a:cubicBezTo>
                      <a:pt x="9877" y="404593"/>
                      <a:pt x="16926" y="409356"/>
                      <a:pt x="24260" y="407927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9" name="Freeform: Shape 48">
                <a:extLst>
                  <a:ext uri="{FF2B5EF4-FFF2-40B4-BE49-F238E27FC236}">
                    <a16:creationId xmlns:a16="http://schemas.microsoft.com/office/drawing/2014/main" id="{AA0BB397-9DEC-43D0-AE45-97D45B4269C7}"/>
                  </a:ext>
                </a:extLst>
              </p:cNvPr>
              <p:cNvSpPr/>
              <p:nvPr/>
            </p:nvSpPr>
            <p:spPr>
              <a:xfrm>
                <a:off x="16550465" y="2997475"/>
                <a:ext cx="561975" cy="171450"/>
              </a:xfrm>
              <a:custGeom>
                <a:avLst/>
                <a:gdLst>
                  <a:gd name="connsiteX0" fmla="*/ 24355 w 561975"/>
                  <a:gd name="connsiteY0" fmla="*/ 172945 h 171450"/>
                  <a:gd name="connsiteX1" fmla="*/ 554612 w 561975"/>
                  <a:gd name="connsiteY1" fmla="*/ 68456 h 171450"/>
                  <a:gd name="connsiteX2" fmla="*/ 565185 w 561975"/>
                  <a:gd name="connsiteY2" fmla="*/ 52644 h 171450"/>
                  <a:gd name="connsiteX3" fmla="*/ 556898 w 561975"/>
                  <a:gd name="connsiteY3" fmla="*/ 10830 h 171450"/>
                  <a:gd name="connsiteX4" fmla="*/ 541086 w 561975"/>
                  <a:gd name="connsiteY4" fmla="*/ 257 h 171450"/>
                  <a:gd name="connsiteX5" fmla="*/ 10830 w 561975"/>
                  <a:gd name="connsiteY5" fmla="*/ 104746 h 171450"/>
                  <a:gd name="connsiteX6" fmla="*/ 257 w 561975"/>
                  <a:gd name="connsiteY6" fmla="*/ 120558 h 171450"/>
                  <a:gd name="connsiteX7" fmla="*/ 8544 w 561975"/>
                  <a:gd name="connsiteY7" fmla="*/ 162372 h 171450"/>
                  <a:gd name="connsiteX8" fmla="*/ 24355 w 561975"/>
                  <a:gd name="connsiteY8" fmla="*/ 172945 h 171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61975" h="171450">
                    <a:moveTo>
                      <a:pt x="24355" y="172945"/>
                    </a:moveTo>
                    <a:lnTo>
                      <a:pt x="554612" y="68456"/>
                    </a:lnTo>
                    <a:cubicBezTo>
                      <a:pt x="561946" y="67027"/>
                      <a:pt x="566709" y="59979"/>
                      <a:pt x="565185" y="52644"/>
                    </a:cubicBezTo>
                    <a:lnTo>
                      <a:pt x="556898" y="10830"/>
                    </a:lnTo>
                    <a:cubicBezTo>
                      <a:pt x="555469" y="3495"/>
                      <a:pt x="548421" y="-1172"/>
                      <a:pt x="541086" y="257"/>
                    </a:cubicBezTo>
                    <a:lnTo>
                      <a:pt x="10830" y="104746"/>
                    </a:lnTo>
                    <a:cubicBezTo>
                      <a:pt x="3495" y="106175"/>
                      <a:pt x="-1172" y="113223"/>
                      <a:pt x="257" y="120558"/>
                    </a:cubicBezTo>
                    <a:lnTo>
                      <a:pt x="8544" y="162372"/>
                    </a:lnTo>
                    <a:cubicBezTo>
                      <a:pt x="9972" y="169611"/>
                      <a:pt x="17021" y="174374"/>
                      <a:pt x="24355" y="172945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0" name="Freeform: Shape 49">
                <a:extLst>
                  <a:ext uri="{FF2B5EF4-FFF2-40B4-BE49-F238E27FC236}">
                    <a16:creationId xmlns:a16="http://schemas.microsoft.com/office/drawing/2014/main" id="{79B71184-F3BC-4735-8129-D11AAC210F9C}"/>
                  </a:ext>
                </a:extLst>
              </p:cNvPr>
              <p:cNvSpPr/>
              <p:nvPr/>
            </p:nvSpPr>
            <p:spPr>
              <a:xfrm>
                <a:off x="16574182" y="3118062"/>
                <a:ext cx="561975" cy="171450"/>
              </a:xfrm>
              <a:custGeom>
                <a:avLst/>
                <a:gdLst>
                  <a:gd name="connsiteX0" fmla="*/ 24355 w 561975"/>
                  <a:gd name="connsiteY0" fmla="*/ 172945 h 171450"/>
                  <a:gd name="connsiteX1" fmla="*/ 554612 w 561975"/>
                  <a:gd name="connsiteY1" fmla="*/ 68456 h 171450"/>
                  <a:gd name="connsiteX2" fmla="*/ 565185 w 561975"/>
                  <a:gd name="connsiteY2" fmla="*/ 52644 h 171450"/>
                  <a:gd name="connsiteX3" fmla="*/ 556898 w 561975"/>
                  <a:gd name="connsiteY3" fmla="*/ 10830 h 171450"/>
                  <a:gd name="connsiteX4" fmla="*/ 541086 w 561975"/>
                  <a:gd name="connsiteY4" fmla="*/ 257 h 171450"/>
                  <a:gd name="connsiteX5" fmla="*/ 10830 w 561975"/>
                  <a:gd name="connsiteY5" fmla="*/ 104746 h 171450"/>
                  <a:gd name="connsiteX6" fmla="*/ 257 w 561975"/>
                  <a:gd name="connsiteY6" fmla="*/ 120558 h 171450"/>
                  <a:gd name="connsiteX7" fmla="*/ 8544 w 561975"/>
                  <a:gd name="connsiteY7" fmla="*/ 162372 h 171450"/>
                  <a:gd name="connsiteX8" fmla="*/ 24355 w 561975"/>
                  <a:gd name="connsiteY8" fmla="*/ 172945 h 171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61975" h="171450">
                    <a:moveTo>
                      <a:pt x="24355" y="172945"/>
                    </a:moveTo>
                    <a:lnTo>
                      <a:pt x="554612" y="68456"/>
                    </a:lnTo>
                    <a:cubicBezTo>
                      <a:pt x="561946" y="67027"/>
                      <a:pt x="566613" y="59979"/>
                      <a:pt x="565185" y="52644"/>
                    </a:cubicBezTo>
                    <a:lnTo>
                      <a:pt x="556898" y="10830"/>
                    </a:lnTo>
                    <a:cubicBezTo>
                      <a:pt x="555469" y="3496"/>
                      <a:pt x="548421" y="-1172"/>
                      <a:pt x="541086" y="257"/>
                    </a:cubicBezTo>
                    <a:lnTo>
                      <a:pt x="10830" y="104746"/>
                    </a:lnTo>
                    <a:cubicBezTo>
                      <a:pt x="3495" y="106175"/>
                      <a:pt x="-1172" y="113223"/>
                      <a:pt x="257" y="120558"/>
                    </a:cubicBezTo>
                    <a:lnTo>
                      <a:pt x="8544" y="162372"/>
                    </a:lnTo>
                    <a:cubicBezTo>
                      <a:pt x="9972" y="169611"/>
                      <a:pt x="17116" y="174374"/>
                      <a:pt x="24355" y="172945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2" name="Freeform: Shape 51">
                <a:extLst>
                  <a:ext uri="{FF2B5EF4-FFF2-40B4-BE49-F238E27FC236}">
                    <a16:creationId xmlns:a16="http://schemas.microsoft.com/office/drawing/2014/main" id="{FC2CEAC6-FEB8-42A8-B807-59932B22B91D}"/>
                  </a:ext>
                </a:extLst>
              </p:cNvPr>
              <p:cNvSpPr/>
              <p:nvPr/>
            </p:nvSpPr>
            <p:spPr>
              <a:xfrm>
                <a:off x="16597968" y="3238648"/>
                <a:ext cx="561975" cy="171450"/>
              </a:xfrm>
              <a:custGeom>
                <a:avLst/>
                <a:gdLst>
                  <a:gd name="connsiteX0" fmla="*/ 24382 w 561975"/>
                  <a:gd name="connsiteY0" fmla="*/ 172945 h 171450"/>
                  <a:gd name="connsiteX1" fmla="*/ 554639 w 561975"/>
                  <a:gd name="connsiteY1" fmla="*/ 68456 h 171450"/>
                  <a:gd name="connsiteX2" fmla="*/ 565212 w 561975"/>
                  <a:gd name="connsiteY2" fmla="*/ 52644 h 171450"/>
                  <a:gd name="connsiteX3" fmla="*/ 556925 w 561975"/>
                  <a:gd name="connsiteY3" fmla="*/ 10830 h 171450"/>
                  <a:gd name="connsiteX4" fmla="*/ 541114 w 561975"/>
                  <a:gd name="connsiteY4" fmla="*/ 257 h 171450"/>
                  <a:gd name="connsiteX5" fmla="*/ 10857 w 561975"/>
                  <a:gd name="connsiteY5" fmla="*/ 104746 h 171450"/>
                  <a:gd name="connsiteX6" fmla="*/ 284 w 561975"/>
                  <a:gd name="connsiteY6" fmla="*/ 120558 h 171450"/>
                  <a:gd name="connsiteX7" fmla="*/ 8571 w 561975"/>
                  <a:gd name="connsiteY7" fmla="*/ 162372 h 171450"/>
                  <a:gd name="connsiteX8" fmla="*/ 24382 w 561975"/>
                  <a:gd name="connsiteY8" fmla="*/ 172945 h 171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61975" h="171450">
                    <a:moveTo>
                      <a:pt x="24382" y="172945"/>
                    </a:moveTo>
                    <a:lnTo>
                      <a:pt x="554639" y="68456"/>
                    </a:lnTo>
                    <a:cubicBezTo>
                      <a:pt x="561973" y="67027"/>
                      <a:pt x="566641" y="59979"/>
                      <a:pt x="565212" y="52644"/>
                    </a:cubicBezTo>
                    <a:lnTo>
                      <a:pt x="556925" y="10830"/>
                    </a:lnTo>
                    <a:cubicBezTo>
                      <a:pt x="555496" y="3495"/>
                      <a:pt x="548448" y="-1172"/>
                      <a:pt x="541114" y="257"/>
                    </a:cubicBezTo>
                    <a:lnTo>
                      <a:pt x="10857" y="104746"/>
                    </a:lnTo>
                    <a:cubicBezTo>
                      <a:pt x="3523" y="106175"/>
                      <a:pt x="-1240" y="113223"/>
                      <a:pt x="284" y="120558"/>
                    </a:cubicBezTo>
                    <a:lnTo>
                      <a:pt x="8571" y="162372"/>
                    </a:lnTo>
                    <a:cubicBezTo>
                      <a:pt x="9999" y="169611"/>
                      <a:pt x="17048" y="174374"/>
                      <a:pt x="24382" y="172945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5BA2CA5A-6BAB-43C9-94C6-897512D5157B}"/>
                  </a:ext>
                </a:extLst>
              </p:cNvPr>
              <p:cNvSpPr/>
              <p:nvPr/>
            </p:nvSpPr>
            <p:spPr>
              <a:xfrm>
                <a:off x="16621712" y="3359235"/>
                <a:ext cx="561975" cy="171450"/>
              </a:xfrm>
              <a:custGeom>
                <a:avLst/>
                <a:gdLst>
                  <a:gd name="connsiteX0" fmla="*/ 24355 w 561975"/>
                  <a:gd name="connsiteY0" fmla="*/ 172945 h 171450"/>
                  <a:gd name="connsiteX1" fmla="*/ 554612 w 561975"/>
                  <a:gd name="connsiteY1" fmla="*/ 68456 h 171450"/>
                  <a:gd name="connsiteX2" fmla="*/ 565185 w 561975"/>
                  <a:gd name="connsiteY2" fmla="*/ 52644 h 171450"/>
                  <a:gd name="connsiteX3" fmla="*/ 556898 w 561975"/>
                  <a:gd name="connsiteY3" fmla="*/ 10830 h 171450"/>
                  <a:gd name="connsiteX4" fmla="*/ 541086 w 561975"/>
                  <a:gd name="connsiteY4" fmla="*/ 257 h 171450"/>
                  <a:gd name="connsiteX5" fmla="*/ 10830 w 561975"/>
                  <a:gd name="connsiteY5" fmla="*/ 104746 h 171450"/>
                  <a:gd name="connsiteX6" fmla="*/ 257 w 561975"/>
                  <a:gd name="connsiteY6" fmla="*/ 120558 h 171450"/>
                  <a:gd name="connsiteX7" fmla="*/ 8544 w 561975"/>
                  <a:gd name="connsiteY7" fmla="*/ 162373 h 171450"/>
                  <a:gd name="connsiteX8" fmla="*/ 24355 w 561975"/>
                  <a:gd name="connsiteY8" fmla="*/ 172945 h 171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61975" h="171450">
                    <a:moveTo>
                      <a:pt x="24355" y="172945"/>
                    </a:moveTo>
                    <a:lnTo>
                      <a:pt x="554612" y="68456"/>
                    </a:lnTo>
                    <a:cubicBezTo>
                      <a:pt x="561946" y="67027"/>
                      <a:pt x="566614" y="59979"/>
                      <a:pt x="565185" y="52644"/>
                    </a:cubicBezTo>
                    <a:lnTo>
                      <a:pt x="556898" y="10830"/>
                    </a:lnTo>
                    <a:cubicBezTo>
                      <a:pt x="555469" y="3495"/>
                      <a:pt x="548421" y="-1172"/>
                      <a:pt x="541086" y="257"/>
                    </a:cubicBezTo>
                    <a:lnTo>
                      <a:pt x="10830" y="104746"/>
                    </a:lnTo>
                    <a:cubicBezTo>
                      <a:pt x="3496" y="106175"/>
                      <a:pt x="-1172" y="113223"/>
                      <a:pt x="257" y="120558"/>
                    </a:cubicBezTo>
                    <a:lnTo>
                      <a:pt x="8544" y="162373"/>
                    </a:lnTo>
                    <a:cubicBezTo>
                      <a:pt x="9973" y="169611"/>
                      <a:pt x="17021" y="174374"/>
                      <a:pt x="24355" y="172945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CBE1097B-4030-43DF-9FE5-E8101E23B471}"/>
                  </a:ext>
                </a:extLst>
              </p:cNvPr>
              <p:cNvSpPr/>
              <p:nvPr/>
            </p:nvSpPr>
            <p:spPr>
              <a:xfrm>
                <a:off x="16645402" y="3479821"/>
                <a:ext cx="561975" cy="171450"/>
              </a:xfrm>
              <a:custGeom>
                <a:avLst/>
                <a:gdLst>
                  <a:gd name="connsiteX0" fmla="*/ 24382 w 561975"/>
                  <a:gd name="connsiteY0" fmla="*/ 172945 h 171450"/>
                  <a:gd name="connsiteX1" fmla="*/ 554639 w 561975"/>
                  <a:gd name="connsiteY1" fmla="*/ 68456 h 171450"/>
                  <a:gd name="connsiteX2" fmla="*/ 565212 w 561975"/>
                  <a:gd name="connsiteY2" fmla="*/ 52644 h 171450"/>
                  <a:gd name="connsiteX3" fmla="*/ 556925 w 561975"/>
                  <a:gd name="connsiteY3" fmla="*/ 10830 h 171450"/>
                  <a:gd name="connsiteX4" fmla="*/ 541114 w 561975"/>
                  <a:gd name="connsiteY4" fmla="*/ 257 h 171450"/>
                  <a:gd name="connsiteX5" fmla="*/ 10857 w 561975"/>
                  <a:gd name="connsiteY5" fmla="*/ 104746 h 171450"/>
                  <a:gd name="connsiteX6" fmla="*/ 284 w 561975"/>
                  <a:gd name="connsiteY6" fmla="*/ 120558 h 171450"/>
                  <a:gd name="connsiteX7" fmla="*/ 8571 w 561975"/>
                  <a:gd name="connsiteY7" fmla="*/ 162372 h 171450"/>
                  <a:gd name="connsiteX8" fmla="*/ 24382 w 561975"/>
                  <a:gd name="connsiteY8" fmla="*/ 172945 h 171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61975" h="171450">
                    <a:moveTo>
                      <a:pt x="24382" y="172945"/>
                    </a:moveTo>
                    <a:lnTo>
                      <a:pt x="554639" y="68456"/>
                    </a:lnTo>
                    <a:cubicBezTo>
                      <a:pt x="561973" y="67027"/>
                      <a:pt x="566641" y="59979"/>
                      <a:pt x="565212" y="52644"/>
                    </a:cubicBezTo>
                    <a:lnTo>
                      <a:pt x="556925" y="10830"/>
                    </a:lnTo>
                    <a:cubicBezTo>
                      <a:pt x="555496" y="3495"/>
                      <a:pt x="548448" y="-1172"/>
                      <a:pt x="541114" y="257"/>
                    </a:cubicBezTo>
                    <a:lnTo>
                      <a:pt x="10857" y="104746"/>
                    </a:lnTo>
                    <a:cubicBezTo>
                      <a:pt x="3523" y="106175"/>
                      <a:pt x="-1240" y="113223"/>
                      <a:pt x="284" y="120558"/>
                    </a:cubicBezTo>
                    <a:lnTo>
                      <a:pt x="8571" y="162372"/>
                    </a:lnTo>
                    <a:cubicBezTo>
                      <a:pt x="9999" y="169611"/>
                      <a:pt x="17143" y="174374"/>
                      <a:pt x="24382" y="172945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D7E0E907-7FC2-4BB7-9A1A-67773D25DC9B}"/>
                  </a:ext>
                </a:extLst>
              </p:cNvPr>
              <p:cNvSpPr/>
              <p:nvPr/>
            </p:nvSpPr>
            <p:spPr>
              <a:xfrm>
                <a:off x="16669242" y="3600408"/>
                <a:ext cx="561975" cy="171450"/>
              </a:xfrm>
              <a:custGeom>
                <a:avLst/>
                <a:gdLst>
                  <a:gd name="connsiteX0" fmla="*/ 24355 w 561975"/>
                  <a:gd name="connsiteY0" fmla="*/ 172945 h 171450"/>
                  <a:gd name="connsiteX1" fmla="*/ 554612 w 561975"/>
                  <a:gd name="connsiteY1" fmla="*/ 68456 h 171450"/>
                  <a:gd name="connsiteX2" fmla="*/ 565185 w 561975"/>
                  <a:gd name="connsiteY2" fmla="*/ 52644 h 171450"/>
                  <a:gd name="connsiteX3" fmla="*/ 556898 w 561975"/>
                  <a:gd name="connsiteY3" fmla="*/ 10830 h 171450"/>
                  <a:gd name="connsiteX4" fmla="*/ 541086 w 561975"/>
                  <a:gd name="connsiteY4" fmla="*/ 257 h 171450"/>
                  <a:gd name="connsiteX5" fmla="*/ 10830 w 561975"/>
                  <a:gd name="connsiteY5" fmla="*/ 104746 h 171450"/>
                  <a:gd name="connsiteX6" fmla="*/ 257 w 561975"/>
                  <a:gd name="connsiteY6" fmla="*/ 120558 h 171450"/>
                  <a:gd name="connsiteX7" fmla="*/ 8544 w 561975"/>
                  <a:gd name="connsiteY7" fmla="*/ 162372 h 171450"/>
                  <a:gd name="connsiteX8" fmla="*/ 24355 w 561975"/>
                  <a:gd name="connsiteY8" fmla="*/ 172945 h 171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61975" h="171450">
                    <a:moveTo>
                      <a:pt x="24355" y="172945"/>
                    </a:moveTo>
                    <a:lnTo>
                      <a:pt x="554612" y="68456"/>
                    </a:lnTo>
                    <a:cubicBezTo>
                      <a:pt x="561946" y="67027"/>
                      <a:pt x="566613" y="59979"/>
                      <a:pt x="565185" y="52644"/>
                    </a:cubicBezTo>
                    <a:lnTo>
                      <a:pt x="556898" y="10830"/>
                    </a:lnTo>
                    <a:cubicBezTo>
                      <a:pt x="555469" y="3496"/>
                      <a:pt x="548421" y="-1172"/>
                      <a:pt x="541086" y="257"/>
                    </a:cubicBezTo>
                    <a:lnTo>
                      <a:pt x="10830" y="104746"/>
                    </a:lnTo>
                    <a:cubicBezTo>
                      <a:pt x="3495" y="106175"/>
                      <a:pt x="-1172" y="113223"/>
                      <a:pt x="257" y="120558"/>
                    </a:cubicBezTo>
                    <a:lnTo>
                      <a:pt x="8544" y="162372"/>
                    </a:lnTo>
                    <a:cubicBezTo>
                      <a:pt x="9972" y="169611"/>
                      <a:pt x="17021" y="174374"/>
                      <a:pt x="24355" y="172945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43E6ACAF-CB30-46F7-B339-8E111300A0E6}"/>
                  </a:ext>
                </a:extLst>
              </p:cNvPr>
              <p:cNvSpPr/>
              <p:nvPr/>
            </p:nvSpPr>
            <p:spPr>
              <a:xfrm>
                <a:off x="14912454" y="4295832"/>
                <a:ext cx="1152525" cy="285750"/>
              </a:xfrm>
              <a:custGeom>
                <a:avLst/>
                <a:gdLst>
                  <a:gd name="connsiteX0" fmla="*/ 1144301 w 1152525"/>
                  <a:gd name="connsiteY0" fmla="*/ 68452 h 285750"/>
                  <a:gd name="connsiteX1" fmla="*/ 24352 w 1152525"/>
                  <a:gd name="connsiteY1" fmla="*/ 289146 h 285750"/>
                  <a:gd name="connsiteX2" fmla="*/ 8540 w 1152525"/>
                  <a:gd name="connsiteY2" fmla="*/ 278574 h 285750"/>
                  <a:gd name="connsiteX3" fmla="*/ 253 w 1152525"/>
                  <a:gd name="connsiteY3" fmla="*/ 236759 h 285750"/>
                  <a:gd name="connsiteX4" fmla="*/ 10826 w 1152525"/>
                  <a:gd name="connsiteY4" fmla="*/ 220947 h 285750"/>
                  <a:gd name="connsiteX5" fmla="*/ 1130776 w 1152525"/>
                  <a:gd name="connsiteY5" fmla="*/ 253 h 285750"/>
                  <a:gd name="connsiteX6" fmla="*/ 1146587 w 1152525"/>
                  <a:gd name="connsiteY6" fmla="*/ 10826 h 285750"/>
                  <a:gd name="connsiteX7" fmla="*/ 1154874 w 1152525"/>
                  <a:gd name="connsiteY7" fmla="*/ 52641 h 285750"/>
                  <a:gd name="connsiteX8" fmla="*/ 1144301 w 1152525"/>
                  <a:gd name="connsiteY8" fmla="*/ 68452 h 285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52525" h="285750">
                    <a:moveTo>
                      <a:pt x="1144301" y="68452"/>
                    </a:moveTo>
                    <a:lnTo>
                      <a:pt x="24352" y="289146"/>
                    </a:lnTo>
                    <a:cubicBezTo>
                      <a:pt x="17017" y="290575"/>
                      <a:pt x="9969" y="285813"/>
                      <a:pt x="8540" y="278574"/>
                    </a:cubicBezTo>
                    <a:lnTo>
                      <a:pt x="253" y="236759"/>
                    </a:lnTo>
                    <a:cubicBezTo>
                      <a:pt x="-1176" y="229425"/>
                      <a:pt x="3587" y="222376"/>
                      <a:pt x="10826" y="220947"/>
                    </a:cubicBezTo>
                    <a:lnTo>
                      <a:pt x="1130776" y="253"/>
                    </a:lnTo>
                    <a:cubicBezTo>
                      <a:pt x="1138110" y="-1175"/>
                      <a:pt x="1145158" y="3587"/>
                      <a:pt x="1146587" y="10826"/>
                    </a:cubicBezTo>
                    <a:lnTo>
                      <a:pt x="1154874" y="52641"/>
                    </a:lnTo>
                    <a:cubicBezTo>
                      <a:pt x="1156303" y="59975"/>
                      <a:pt x="1151540" y="67024"/>
                      <a:pt x="1144301" y="68452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2598AB77-23A1-4AF0-8E4F-BAEE94E62944}"/>
                  </a:ext>
                </a:extLst>
              </p:cNvPr>
              <p:cNvSpPr/>
              <p:nvPr/>
            </p:nvSpPr>
            <p:spPr>
              <a:xfrm>
                <a:off x="14875212" y="4106284"/>
                <a:ext cx="1143000" cy="257175"/>
              </a:xfrm>
              <a:custGeom>
                <a:avLst/>
                <a:gdLst>
                  <a:gd name="connsiteX0" fmla="*/ 1138586 w 1143000"/>
                  <a:gd name="connsiteY0" fmla="*/ 39877 h 257175"/>
                  <a:gd name="connsiteX1" fmla="*/ 18637 w 1143000"/>
                  <a:gd name="connsiteY1" fmla="*/ 260572 h 257175"/>
                  <a:gd name="connsiteX2" fmla="*/ 2825 w 1143000"/>
                  <a:gd name="connsiteY2" fmla="*/ 249999 h 257175"/>
                  <a:gd name="connsiteX3" fmla="*/ 253 w 1143000"/>
                  <a:gd name="connsiteY3" fmla="*/ 236759 h 257175"/>
                  <a:gd name="connsiteX4" fmla="*/ 10826 w 1143000"/>
                  <a:gd name="connsiteY4" fmla="*/ 220947 h 257175"/>
                  <a:gd name="connsiteX5" fmla="*/ 1130776 w 1143000"/>
                  <a:gd name="connsiteY5" fmla="*/ 253 h 257175"/>
                  <a:gd name="connsiteX6" fmla="*/ 1146587 w 1143000"/>
                  <a:gd name="connsiteY6" fmla="*/ 10826 h 257175"/>
                  <a:gd name="connsiteX7" fmla="*/ 1149159 w 1143000"/>
                  <a:gd name="connsiteY7" fmla="*/ 24066 h 257175"/>
                  <a:gd name="connsiteX8" fmla="*/ 1138586 w 1143000"/>
                  <a:gd name="connsiteY8" fmla="*/ 39877 h 257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43000" h="257175">
                    <a:moveTo>
                      <a:pt x="1138586" y="39877"/>
                    </a:moveTo>
                    <a:lnTo>
                      <a:pt x="18637" y="260572"/>
                    </a:lnTo>
                    <a:cubicBezTo>
                      <a:pt x="11302" y="262000"/>
                      <a:pt x="4254" y="257238"/>
                      <a:pt x="2825" y="249999"/>
                    </a:cubicBezTo>
                    <a:lnTo>
                      <a:pt x="253" y="236759"/>
                    </a:lnTo>
                    <a:cubicBezTo>
                      <a:pt x="-1176" y="229425"/>
                      <a:pt x="3587" y="222376"/>
                      <a:pt x="10826" y="220947"/>
                    </a:cubicBezTo>
                    <a:lnTo>
                      <a:pt x="1130776" y="253"/>
                    </a:lnTo>
                    <a:cubicBezTo>
                      <a:pt x="1138110" y="-1176"/>
                      <a:pt x="1145159" y="3587"/>
                      <a:pt x="1146587" y="10826"/>
                    </a:cubicBezTo>
                    <a:lnTo>
                      <a:pt x="1149159" y="24066"/>
                    </a:lnTo>
                    <a:cubicBezTo>
                      <a:pt x="1150588" y="31400"/>
                      <a:pt x="1145825" y="38448"/>
                      <a:pt x="1138586" y="39877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66307E07-2740-4C13-8E02-69D6AD69B052}"/>
                  </a:ext>
                </a:extLst>
              </p:cNvPr>
              <p:cNvSpPr/>
              <p:nvPr/>
            </p:nvSpPr>
            <p:spPr>
              <a:xfrm>
                <a:off x="15090191" y="5283574"/>
                <a:ext cx="704850" cy="171450"/>
              </a:xfrm>
              <a:custGeom>
                <a:avLst/>
                <a:gdLst>
                  <a:gd name="connsiteX0" fmla="*/ 700246 w 704850"/>
                  <a:gd name="connsiteY0" fmla="*/ 39877 h 171450"/>
                  <a:gd name="connsiteX1" fmla="*/ 18637 w 704850"/>
                  <a:gd name="connsiteY1" fmla="*/ 174180 h 171450"/>
                  <a:gd name="connsiteX2" fmla="*/ 2825 w 704850"/>
                  <a:gd name="connsiteY2" fmla="*/ 163607 h 171450"/>
                  <a:gd name="connsiteX3" fmla="*/ 253 w 704850"/>
                  <a:gd name="connsiteY3" fmla="*/ 150367 h 171450"/>
                  <a:gd name="connsiteX4" fmla="*/ 10826 w 704850"/>
                  <a:gd name="connsiteY4" fmla="*/ 134556 h 171450"/>
                  <a:gd name="connsiteX5" fmla="*/ 692435 w 704850"/>
                  <a:gd name="connsiteY5" fmla="*/ 253 h 171450"/>
                  <a:gd name="connsiteX6" fmla="*/ 708247 w 704850"/>
                  <a:gd name="connsiteY6" fmla="*/ 10826 h 171450"/>
                  <a:gd name="connsiteX7" fmla="*/ 710818 w 704850"/>
                  <a:gd name="connsiteY7" fmla="*/ 24066 h 171450"/>
                  <a:gd name="connsiteX8" fmla="*/ 700246 w 704850"/>
                  <a:gd name="connsiteY8" fmla="*/ 39877 h 171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04850" h="171450">
                    <a:moveTo>
                      <a:pt x="700246" y="39877"/>
                    </a:moveTo>
                    <a:lnTo>
                      <a:pt x="18637" y="174180"/>
                    </a:lnTo>
                    <a:cubicBezTo>
                      <a:pt x="11302" y="175609"/>
                      <a:pt x="4254" y="170846"/>
                      <a:pt x="2825" y="163607"/>
                    </a:cubicBezTo>
                    <a:lnTo>
                      <a:pt x="253" y="150367"/>
                    </a:lnTo>
                    <a:cubicBezTo>
                      <a:pt x="-1175" y="143033"/>
                      <a:pt x="3587" y="135985"/>
                      <a:pt x="10826" y="134556"/>
                    </a:cubicBezTo>
                    <a:lnTo>
                      <a:pt x="692435" y="253"/>
                    </a:lnTo>
                    <a:cubicBezTo>
                      <a:pt x="699769" y="-1175"/>
                      <a:pt x="706818" y="3587"/>
                      <a:pt x="708247" y="10826"/>
                    </a:cubicBezTo>
                    <a:lnTo>
                      <a:pt x="710818" y="24066"/>
                    </a:lnTo>
                    <a:cubicBezTo>
                      <a:pt x="712247" y="31305"/>
                      <a:pt x="707485" y="38449"/>
                      <a:pt x="700246" y="39877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D914BA4D-D8BC-448F-A438-59F65D996137}"/>
                  </a:ext>
                </a:extLst>
              </p:cNvPr>
              <p:cNvSpPr/>
              <p:nvPr/>
            </p:nvSpPr>
            <p:spPr>
              <a:xfrm>
                <a:off x="15106860" y="5290718"/>
                <a:ext cx="1104900" cy="247650"/>
              </a:xfrm>
              <a:custGeom>
                <a:avLst/>
                <a:gdLst>
                  <a:gd name="connsiteX0" fmla="*/ 1094486 w 1104900"/>
                  <a:gd name="connsiteY0" fmla="*/ 39877 h 247650"/>
                  <a:gd name="connsiteX1" fmla="*/ 18637 w 1104900"/>
                  <a:gd name="connsiteY1" fmla="*/ 251809 h 247650"/>
                  <a:gd name="connsiteX2" fmla="*/ 2825 w 1104900"/>
                  <a:gd name="connsiteY2" fmla="*/ 241236 h 247650"/>
                  <a:gd name="connsiteX3" fmla="*/ 253 w 1104900"/>
                  <a:gd name="connsiteY3" fmla="*/ 227996 h 247650"/>
                  <a:gd name="connsiteX4" fmla="*/ 10826 w 1104900"/>
                  <a:gd name="connsiteY4" fmla="*/ 212185 h 247650"/>
                  <a:gd name="connsiteX5" fmla="*/ 1086675 w 1104900"/>
                  <a:gd name="connsiteY5" fmla="*/ 253 h 247650"/>
                  <a:gd name="connsiteX6" fmla="*/ 1102487 w 1104900"/>
                  <a:gd name="connsiteY6" fmla="*/ 10826 h 247650"/>
                  <a:gd name="connsiteX7" fmla="*/ 1105058 w 1104900"/>
                  <a:gd name="connsiteY7" fmla="*/ 24066 h 247650"/>
                  <a:gd name="connsiteX8" fmla="*/ 1094486 w 1104900"/>
                  <a:gd name="connsiteY8" fmla="*/ 39877 h 247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04900" h="247650">
                    <a:moveTo>
                      <a:pt x="1094486" y="39877"/>
                    </a:moveTo>
                    <a:lnTo>
                      <a:pt x="18637" y="251809"/>
                    </a:lnTo>
                    <a:cubicBezTo>
                      <a:pt x="11302" y="253238"/>
                      <a:pt x="4254" y="248475"/>
                      <a:pt x="2825" y="241236"/>
                    </a:cubicBezTo>
                    <a:lnTo>
                      <a:pt x="253" y="227996"/>
                    </a:lnTo>
                    <a:cubicBezTo>
                      <a:pt x="-1175" y="220662"/>
                      <a:pt x="3587" y="213614"/>
                      <a:pt x="10826" y="212185"/>
                    </a:cubicBezTo>
                    <a:lnTo>
                      <a:pt x="1086675" y="253"/>
                    </a:lnTo>
                    <a:cubicBezTo>
                      <a:pt x="1094009" y="-1175"/>
                      <a:pt x="1101058" y="3587"/>
                      <a:pt x="1102487" y="10826"/>
                    </a:cubicBezTo>
                    <a:lnTo>
                      <a:pt x="1105058" y="24066"/>
                    </a:lnTo>
                    <a:cubicBezTo>
                      <a:pt x="1106582" y="31305"/>
                      <a:pt x="1101820" y="38449"/>
                      <a:pt x="1094486" y="39877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0ED7B147-2104-4180-B8DC-EF105E1AD09C}"/>
                  </a:ext>
                </a:extLst>
              </p:cNvPr>
              <p:cNvSpPr/>
              <p:nvPr/>
            </p:nvSpPr>
            <p:spPr>
              <a:xfrm>
                <a:off x="15041994" y="4211440"/>
                <a:ext cx="838200" cy="200025"/>
              </a:xfrm>
              <a:custGeom>
                <a:avLst/>
                <a:gdLst>
                  <a:gd name="connsiteX0" fmla="*/ 834643 w 838200"/>
                  <a:gd name="connsiteY0" fmla="*/ 39877 h 200025"/>
                  <a:gd name="connsiteX1" fmla="*/ 18637 w 838200"/>
                  <a:gd name="connsiteY1" fmla="*/ 200659 h 200025"/>
                  <a:gd name="connsiteX2" fmla="*/ 2825 w 838200"/>
                  <a:gd name="connsiteY2" fmla="*/ 190087 h 200025"/>
                  <a:gd name="connsiteX3" fmla="*/ 253 w 838200"/>
                  <a:gd name="connsiteY3" fmla="*/ 176847 h 200025"/>
                  <a:gd name="connsiteX4" fmla="*/ 10826 w 838200"/>
                  <a:gd name="connsiteY4" fmla="*/ 161035 h 200025"/>
                  <a:gd name="connsiteX5" fmla="*/ 826833 w 838200"/>
                  <a:gd name="connsiteY5" fmla="*/ 253 h 200025"/>
                  <a:gd name="connsiteX6" fmla="*/ 842644 w 838200"/>
                  <a:gd name="connsiteY6" fmla="*/ 10826 h 200025"/>
                  <a:gd name="connsiteX7" fmla="*/ 845216 w 838200"/>
                  <a:gd name="connsiteY7" fmla="*/ 24066 h 200025"/>
                  <a:gd name="connsiteX8" fmla="*/ 834643 w 838200"/>
                  <a:gd name="connsiteY8" fmla="*/ 39877 h 200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38200" h="200025">
                    <a:moveTo>
                      <a:pt x="834643" y="39877"/>
                    </a:moveTo>
                    <a:lnTo>
                      <a:pt x="18637" y="200659"/>
                    </a:lnTo>
                    <a:cubicBezTo>
                      <a:pt x="11302" y="202088"/>
                      <a:pt x="4254" y="197326"/>
                      <a:pt x="2825" y="190087"/>
                    </a:cubicBezTo>
                    <a:lnTo>
                      <a:pt x="253" y="176847"/>
                    </a:lnTo>
                    <a:cubicBezTo>
                      <a:pt x="-1175" y="169513"/>
                      <a:pt x="3587" y="162464"/>
                      <a:pt x="10826" y="161035"/>
                    </a:cubicBezTo>
                    <a:lnTo>
                      <a:pt x="826833" y="253"/>
                    </a:lnTo>
                    <a:cubicBezTo>
                      <a:pt x="834167" y="-1175"/>
                      <a:pt x="841216" y="3587"/>
                      <a:pt x="842644" y="10826"/>
                    </a:cubicBezTo>
                    <a:lnTo>
                      <a:pt x="845216" y="24066"/>
                    </a:lnTo>
                    <a:cubicBezTo>
                      <a:pt x="846645" y="31305"/>
                      <a:pt x="841882" y="38449"/>
                      <a:pt x="834643" y="39877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E63C03C8-B561-4900-BEA8-C5CFADD36525}"/>
                  </a:ext>
                </a:extLst>
              </p:cNvPr>
              <p:cNvSpPr/>
              <p:nvPr/>
            </p:nvSpPr>
            <p:spPr>
              <a:xfrm>
                <a:off x="16226333" y="3858920"/>
                <a:ext cx="1047750" cy="238125"/>
              </a:xfrm>
              <a:custGeom>
                <a:avLst/>
                <a:gdLst>
                  <a:gd name="connsiteX0" fmla="*/ 1042764 w 1047750"/>
                  <a:gd name="connsiteY0" fmla="*/ 39877 h 238125"/>
                  <a:gd name="connsiteX1" fmla="*/ 18636 w 1047750"/>
                  <a:gd name="connsiteY1" fmla="*/ 241617 h 238125"/>
                  <a:gd name="connsiteX2" fmla="*/ 2825 w 1047750"/>
                  <a:gd name="connsiteY2" fmla="*/ 231044 h 238125"/>
                  <a:gd name="connsiteX3" fmla="*/ 253 w 1047750"/>
                  <a:gd name="connsiteY3" fmla="*/ 217804 h 238125"/>
                  <a:gd name="connsiteX4" fmla="*/ 10826 w 1047750"/>
                  <a:gd name="connsiteY4" fmla="*/ 201993 h 238125"/>
                  <a:gd name="connsiteX5" fmla="*/ 1034954 w 1047750"/>
                  <a:gd name="connsiteY5" fmla="*/ 253 h 238125"/>
                  <a:gd name="connsiteX6" fmla="*/ 1050765 w 1047750"/>
                  <a:gd name="connsiteY6" fmla="*/ 10826 h 238125"/>
                  <a:gd name="connsiteX7" fmla="*/ 1053337 w 1047750"/>
                  <a:gd name="connsiteY7" fmla="*/ 24066 h 238125"/>
                  <a:gd name="connsiteX8" fmla="*/ 1042764 w 1047750"/>
                  <a:gd name="connsiteY8" fmla="*/ 39877 h 238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47750" h="238125">
                    <a:moveTo>
                      <a:pt x="1042764" y="39877"/>
                    </a:moveTo>
                    <a:lnTo>
                      <a:pt x="18636" y="241617"/>
                    </a:lnTo>
                    <a:cubicBezTo>
                      <a:pt x="11302" y="243046"/>
                      <a:pt x="4254" y="238283"/>
                      <a:pt x="2825" y="231044"/>
                    </a:cubicBezTo>
                    <a:lnTo>
                      <a:pt x="253" y="217804"/>
                    </a:lnTo>
                    <a:cubicBezTo>
                      <a:pt x="-1175" y="210470"/>
                      <a:pt x="3587" y="203422"/>
                      <a:pt x="10826" y="201993"/>
                    </a:cubicBezTo>
                    <a:lnTo>
                      <a:pt x="1034954" y="253"/>
                    </a:lnTo>
                    <a:cubicBezTo>
                      <a:pt x="1042288" y="-1175"/>
                      <a:pt x="1049337" y="3587"/>
                      <a:pt x="1050765" y="10826"/>
                    </a:cubicBezTo>
                    <a:lnTo>
                      <a:pt x="1053337" y="24066"/>
                    </a:lnTo>
                    <a:cubicBezTo>
                      <a:pt x="1054861" y="31400"/>
                      <a:pt x="1050099" y="38449"/>
                      <a:pt x="1042764" y="39877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397CE304-43B5-4A16-9DA3-681FDDAC9121}"/>
                  </a:ext>
                </a:extLst>
              </p:cNvPr>
              <p:cNvSpPr/>
              <p:nvPr/>
            </p:nvSpPr>
            <p:spPr>
              <a:xfrm>
                <a:off x="16380447" y="3961600"/>
                <a:ext cx="771525" cy="180975"/>
              </a:xfrm>
              <a:custGeom>
                <a:avLst/>
                <a:gdLst>
                  <a:gd name="connsiteX0" fmla="*/ 764253 w 771525"/>
                  <a:gd name="connsiteY0" fmla="*/ 39877 h 180975"/>
                  <a:gd name="connsiteX1" fmla="*/ 18636 w 771525"/>
                  <a:gd name="connsiteY1" fmla="*/ 186753 h 180975"/>
                  <a:gd name="connsiteX2" fmla="*/ 2825 w 771525"/>
                  <a:gd name="connsiteY2" fmla="*/ 176180 h 180975"/>
                  <a:gd name="connsiteX3" fmla="*/ 253 w 771525"/>
                  <a:gd name="connsiteY3" fmla="*/ 162940 h 180975"/>
                  <a:gd name="connsiteX4" fmla="*/ 10826 w 771525"/>
                  <a:gd name="connsiteY4" fmla="*/ 147129 h 180975"/>
                  <a:gd name="connsiteX5" fmla="*/ 756443 w 771525"/>
                  <a:gd name="connsiteY5" fmla="*/ 253 h 180975"/>
                  <a:gd name="connsiteX6" fmla="*/ 772254 w 771525"/>
                  <a:gd name="connsiteY6" fmla="*/ 10826 h 180975"/>
                  <a:gd name="connsiteX7" fmla="*/ 774826 w 771525"/>
                  <a:gd name="connsiteY7" fmla="*/ 24066 h 180975"/>
                  <a:gd name="connsiteX8" fmla="*/ 764253 w 771525"/>
                  <a:gd name="connsiteY8" fmla="*/ 39877 h 180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71525" h="180975">
                    <a:moveTo>
                      <a:pt x="764253" y="39877"/>
                    </a:moveTo>
                    <a:lnTo>
                      <a:pt x="18636" y="186753"/>
                    </a:lnTo>
                    <a:cubicBezTo>
                      <a:pt x="11302" y="188181"/>
                      <a:pt x="4254" y="183419"/>
                      <a:pt x="2825" y="176180"/>
                    </a:cubicBezTo>
                    <a:lnTo>
                      <a:pt x="253" y="162940"/>
                    </a:lnTo>
                    <a:cubicBezTo>
                      <a:pt x="-1175" y="155606"/>
                      <a:pt x="3587" y="148558"/>
                      <a:pt x="10826" y="147129"/>
                    </a:cubicBezTo>
                    <a:lnTo>
                      <a:pt x="756443" y="253"/>
                    </a:lnTo>
                    <a:cubicBezTo>
                      <a:pt x="763777" y="-1175"/>
                      <a:pt x="770826" y="3587"/>
                      <a:pt x="772254" y="10826"/>
                    </a:cubicBezTo>
                    <a:lnTo>
                      <a:pt x="774826" y="24066"/>
                    </a:lnTo>
                    <a:cubicBezTo>
                      <a:pt x="776255" y="31305"/>
                      <a:pt x="771493" y="38448"/>
                      <a:pt x="764253" y="39877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5" name="Freeform: Shape 84">
                <a:extLst>
                  <a:ext uri="{FF2B5EF4-FFF2-40B4-BE49-F238E27FC236}">
                    <a16:creationId xmlns:a16="http://schemas.microsoft.com/office/drawing/2014/main" id="{E0E44061-2B95-4B20-8AF3-83FDBFED73A4}"/>
                  </a:ext>
                </a:extLst>
              </p:cNvPr>
              <p:cNvSpPr/>
              <p:nvPr/>
            </p:nvSpPr>
            <p:spPr>
              <a:xfrm>
                <a:off x="14936172" y="4416418"/>
                <a:ext cx="1152525" cy="285750"/>
              </a:xfrm>
              <a:custGeom>
                <a:avLst/>
                <a:gdLst>
                  <a:gd name="connsiteX0" fmla="*/ 1144301 w 1152525"/>
                  <a:gd name="connsiteY0" fmla="*/ 68452 h 285750"/>
                  <a:gd name="connsiteX1" fmla="*/ 24352 w 1152525"/>
                  <a:gd name="connsiteY1" fmla="*/ 289146 h 285750"/>
                  <a:gd name="connsiteX2" fmla="*/ 8540 w 1152525"/>
                  <a:gd name="connsiteY2" fmla="*/ 278574 h 285750"/>
                  <a:gd name="connsiteX3" fmla="*/ 253 w 1152525"/>
                  <a:gd name="connsiteY3" fmla="*/ 236759 h 285750"/>
                  <a:gd name="connsiteX4" fmla="*/ 10826 w 1152525"/>
                  <a:gd name="connsiteY4" fmla="*/ 220947 h 285750"/>
                  <a:gd name="connsiteX5" fmla="*/ 1130776 w 1152525"/>
                  <a:gd name="connsiteY5" fmla="*/ 253 h 285750"/>
                  <a:gd name="connsiteX6" fmla="*/ 1146587 w 1152525"/>
                  <a:gd name="connsiteY6" fmla="*/ 10826 h 285750"/>
                  <a:gd name="connsiteX7" fmla="*/ 1154874 w 1152525"/>
                  <a:gd name="connsiteY7" fmla="*/ 52641 h 285750"/>
                  <a:gd name="connsiteX8" fmla="*/ 1144301 w 1152525"/>
                  <a:gd name="connsiteY8" fmla="*/ 68452 h 285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52525" h="285750">
                    <a:moveTo>
                      <a:pt x="1144301" y="68452"/>
                    </a:moveTo>
                    <a:lnTo>
                      <a:pt x="24352" y="289146"/>
                    </a:lnTo>
                    <a:cubicBezTo>
                      <a:pt x="17017" y="290575"/>
                      <a:pt x="9969" y="285813"/>
                      <a:pt x="8540" y="278574"/>
                    </a:cubicBezTo>
                    <a:lnTo>
                      <a:pt x="253" y="236759"/>
                    </a:lnTo>
                    <a:cubicBezTo>
                      <a:pt x="-1175" y="229425"/>
                      <a:pt x="3587" y="222376"/>
                      <a:pt x="10826" y="220947"/>
                    </a:cubicBezTo>
                    <a:lnTo>
                      <a:pt x="1130776" y="253"/>
                    </a:lnTo>
                    <a:cubicBezTo>
                      <a:pt x="1138110" y="-1175"/>
                      <a:pt x="1145158" y="3587"/>
                      <a:pt x="1146587" y="10826"/>
                    </a:cubicBezTo>
                    <a:lnTo>
                      <a:pt x="1154874" y="52641"/>
                    </a:lnTo>
                    <a:cubicBezTo>
                      <a:pt x="1156398" y="59975"/>
                      <a:pt x="1151635" y="67023"/>
                      <a:pt x="1144301" y="68452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6" name="Freeform: Shape 85">
                <a:extLst>
                  <a:ext uri="{FF2B5EF4-FFF2-40B4-BE49-F238E27FC236}">
                    <a16:creationId xmlns:a16="http://schemas.microsoft.com/office/drawing/2014/main" id="{BDCB8AF9-3DDC-4B83-8784-EBBB8A2425B2}"/>
                  </a:ext>
                </a:extLst>
              </p:cNvPr>
              <p:cNvSpPr/>
              <p:nvPr/>
            </p:nvSpPr>
            <p:spPr>
              <a:xfrm>
                <a:off x="14959984" y="4537005"/>
                <a:ext cx="1152525" cy="285750"/>
              </a:xfrm>
              <a:custGeom>
                <a:avLst/>
                <a:gdLst>
                  <a:gd name="connsiteX0" fmla="*/ 1144301 w 1152525"/>
                  <a:gd name="connsiteY0" fmla="*/ 68452 h 285750"/>
                  <a:gd name="connsiteX1" fmla="*/ 24352 w 1152525"/>
                  <a:gd name="connsiteY1" fmla="*/ 289147 h 285750"/>
                  <a:gd name="connsiteX2" fmla="*/ 8540 w 1152525"/>
                  <a:gd name="connsiteY2" fmla="*/ 278574 h 285750"/>
                  <a:gd name="connsiteX3" fmla="*/ 253 w 1152525"/>
                  <a:gd name="connsiteY3" fmla="*/ 236759 h 285750"/>
                  <a:gd name="connsiteX4" fmla="*/ 10826 w 1152525"/>
                  <a:gd name="connsiteY4" fmla="*/ 220947 h 285750"/>
                  <a:gd name="connsiteX5" fmla="*/ 1130776 w 1152525"/>
                  <a:gd name="connsiteY5" fmla="*/ 253 h 285750"/>
                  <a:gd name="connsiteX6" fmla="*/ 1146587 w 1152525"/>
                  <a:gd name="connsiteY6" fmla="*/ 10826 h 285750"/>
                  <a:gd name="connsiteX7" fmla="*/ 1154874 w 1152525"/>
                  <a:gd name="connsiteY7" fmla="*/ 52641 h 285750"/>
                  <a:gd name="connsiteX8" fmla="*/ 1144301 w 1152525"/>
                  <a:gd name="connsiteY8" fmla="*/ 68452 h 285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52525" h="285750">
                    <a:moveTo>
                      <a:pt x="1144301" y="68452"/>
                    </a:moveTo>
                    <a:lnTo>
                      <a:pt x="24352" y="289147"/>
                    </a:lnTo>
                    <a:cubicBezTo>
                      <a:pt x="17017" y="290575"/>
                      <a:pt x="9969" y="285813"/>
                      <a:pt x="8540" y="278574"/>
                    </a:cubicBezTo>
                    <a:lnTo>
                      <a:pt x="253" y="236759"/>
                    </a:lnTo>
                    <a:cubicBezTo>
                      <a:pt x="-1175" y="229425"/>
                      <a:pt x="3587" y="222376"/>
                      <a:pt x="10826" y="220947"/>
                    </a:cubicBezTo>
                    <a:lnTo>
                      <a:pt x="1130776" y="253"/>
                    </a:lnTo>
                    <a:cubicBezTo>
                      <a:pt x="1138110" y="-1176"/>
                      <a:pt x="1145158" y="3587"/>
                      <a:pt x="1146587" y="10826"/>
                    </a:cubicBezTo>
                    <a:lnTo>
                      <a:pt x="1154874" y="52641"/>
                    </a:lnTo>
                    <a:cubicBezTo>
                      <a:pt x="1156303" y="59975"/>
                      <a:pt x="1151540" y="67023"/>
                      <a:pt x="1144301" y="68452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08C32381-2739-4470-944B-7C1777FA7C32}"/>
                  </a:ext>
                </a:extLst>
              </p:cNvPr>
              <p:cNvSpPr/>
              <p:nvPr/>
            </p:nvSpPr>
            <p:spPr>
              <a:xfrm>
                <a:off x="14983701" y="4657591"/>
                <a:ext cx="1152525" cy="285750"/>
              </a:xfrm>
              <a:custGeom>
                <a:avLst/>
                <a:gdLst>
                  <a:gd name="connsiteX0" fmla="*/ 1144301 w 1152525"/>
                  <a:gd name="connsiteY0" fmla="*/ 68452 h 285750"/>
                  <a:gd name="connsiteX1" fmla="*/ 24352 w 1152525"/>
                  <a:gd name="connsiteY1" fmla="*/ 289147 h 285750"/>
                  <a:gd name="connsiteX2" fmla="*/ 8540 w 1152525"/>
                  <a:gd name="connsiteY2" fmla="*/ 278574 h 285750"/>
                  <a:gd name="connsiteX3" fmla="*/ 253 w 1152525"/>
                  <a:gd name="connsiteY3" fmla="*/ 236759 h 285750"/>
                  <a:gd name="connsiteX4" fmla="*/ 10826 w 1152525"/>
                  <a:gd name="connsiteY4" fmla="*/ 220947 h 285750"/>
                  <a:gd name="connsiteX5" fmla="*/ 1130776 w 1152525"/>
                  <a:gd name="connsiteY5" fmla="*/ 253 h 285750"/>
                  <a:gd name="connsiteX6" fmla="*/ 1146587 w 1152525"/>
                  <a:gd name="connsiteY6" fmla="*/ 10826 h 285750"/>
                  <a:gd name="connsiteX7" fmla="*/ 1154874 w 1152525"/>
                  <a:gd name="connsiteY7" fmla="*/ 52641 h 285750"/>
                  <a:gd name="connsiteX8" fmla="*/ 1144301 w 1152525"/>
                  <a:gd name="connsiteY8" fmla="*/ 68452 h 285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52525" h="285750">
                    <a:moveTo>
                      <a:pt x="1144301" y="68452"/>
                    </a:moveTo>
                    <a:lnTo>
                      <a:pt x="24352" y="289147"/>
                    </a:lnTo>
                    <a:cubicBezTo>
                      <a:pt x="17017" y="290575"/>
                      <a:pt x="9969" y="285813"/>
                      <a:pt x="8540" y="278574"/>
                    </a:cubicBezTo>
                    <a:lnTo>
                      <a:pt x="253" y="236759"/>
                    </a:lnTo>
                    <a:cubicBezTo>
                      <a:pt x="-1176" y="229425"/>
                      <a:pt x="3587" y="222376"/>
                      <a:pt x="10826" y="220947"/>
                    </a:cubicBezTo>
                    <a:lnTo>
                      <a:pt x="1130776" y="253"/>
                    </a:lnTo>
                    <a:cubicBezTo>
                      <a:pt x="1138110" y="-1176"/>
                      <a:pt x="1145158" y="3587"/>
                      <a:pt x="1146587" y="10826"/>
                    </a:cubicBezTo>
                    <a:lnTo>
                      <a:pt x="1154874" y="52641"/>
                    </a:lnTo>
                    <a:cubicBezTo>
                      <a:pt x="1156398" y="59975"/>
                      <a:pt x="1151635" y="67023"/>
                      <a:pt x="1144301" y="68452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8" name="Freeform: Shape 87">
                <a:extLst>
                  <a:ext uri="{FF2B5EF4-FFF2-40B4-BE49-F238E27FC236}">
                    <a16:creationId xmlns:a16="http://schemas.microsoft.com/office/drawing/2014/main" id="{6C705F2B-2369-48C6-9A06-D4E75769AD52}"/>
                  </a:ext>
                </a:extLst>
              </p:cNvPr>
              <p:cNvSpPr/>
              <p:nvPr/>
            </p:nvSpPr>
            <p:spPr>
              <a:xfrm>
                <a:off x="15007419" y="4778178"/>
                <a:ext cx="1152525" cy="285750"/>
              </a:xfrm>
              <a:custGeom>
                <a:avLst/>
                <a:gdLst>
                  <a:gd name="connsiteX0" fmla="*/ 1144301 w 1152525"/>
                  <a:gd name="connsiteY0" fmla="*/ 68452 h 285750"/>
                  <a:gd name="connsiteX1" fmla="*/ 24352 w 1152525"/>
                  <a:gd name="connsiteY1" fmla="*/ 289147 h 285750"/>
                  <a:gd name="connsiteX2" fmla="*/ 8540 w 1152525"/>
                  <a:gd name="connsiteY2" fmla="*/ 278574 h 285750"/>
                  <a:gd name="connsiteX3" fmla="*/ 253 w 1152525"/>
                  <a:gd name="connsiteY3" fmla="*/ 236759 h 285750"/>
                  <a:gd name="connsiteX4" fmla="*/ 10826 w 1152525"/>
                  <a:gd name="connsiteY4" fmla="*/ 220948 h 285750"/>
                  <a:gd name="connsiteX5" fmla="*/ 1130776 w 1152525"/>
                  <a:gd name="connsiteY5" fmla="*/ 253 h 285750"/>
                  <a:gd name="connsiteX6" fmla="*/ 1146587 w 1152525"/>
                  <a:gd name="connsiteY6" fmla="*/ 10826 h 285750"/>
                  <a:gd name="connsiteX7" fmla="*/ 1154874 w 1152525"/>
                  <a:gd name="connsiteY7" fmla="*/ 52641 h 285750"/>
                  <a:gd name="connsiteX8" fmla="*/ 1144301 w 1152525"/>
                  <a:gd name="connsiteY8" fmla="*/ 68452 h 285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52525" h="285750">
                    <a:moveTo>
                      <a:pt x="1144301" y="68452"/>
                    </a:moveTo>
                    <a:lnTo>
                      <a:pt x="24352" y="289147"/>
                    </a:lnTo>
                    <a:cubicBezTo>
                      <a:pt x="17017" y="290575"/>
                      <a:pt x="9969" y="285813"/>
                      <a:pt x="8540" y="278574"/>
                    </a:cubicBezTo>
                    <a:lnTo>
                      <a:pt x="253" y="236759"/>
                    </a:lnTo>
                    <a:cubicBezTo>
                      <a:pt x="-1176" y="229425"/>
                      <a:pt x="3587" y="222376"/>
                      <a:pt x="10826" y="220948"/>
                    </a:cubicBezTo>
                    <a:lnTo>
                      <a:pt x="1130776" y="253"/>
                    </a:lnTo>
                    <a:cubicBezTo>
                      <a:pt x="1138110" y="-1175"/>
                      <a:pt x="1145158" y="3587"/>
                      <a:pt x="1146587" y="10826"/>
                    </a:cubicBezTo>
                    <a:lnTo>
                      <a:pt x="1154874" y="52641"/>
                    </a:lnTo>
                    <a:cubicBezTo>
                      <a:pt x="1156398" y="59975"/>
                      <a:pt x="1151635" y="67024"/>
                      <a:pt x="1144301" y="68452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9" name="Freeform: Shape 88">
                <a:extLst>
                  <a:ext uri="{FF2B5EF4-FFF2-40B4-BE49-F238E27FC236}">
                    <a16:creationId xmlns:a16="http://schemas.microsoft.com/office/drawing/2014/main" id="{55F957E8-D0FA-4672-9D9F-51172A31DC59}"/>
                  </a:ext>
                </a:extLst>
              </p:cNvPr>
              <p:cNvSpPr/>
              <p:nvPr/>
            </p:nvSpPr>
            <p:spPr>
              <a:xfrm>
                <a:off x="15031231" y="4898764"/>
                <a:ext cx="1152525" cy="285750"/>
              </a:xfrm>
              <a:custGeom>
                <a:avLst/>
                <a:gdLst>
                  <a:gd name="connsiteX0" fmla="*/ 1144301 w 1152525"/>
                  <a:gd name="connsiteY0" fmla="*/ 68452 h 285750"/>
                  <a:gd name="connsiteX1" fmla="*/ 24352 w 1152525"/>
                  <a:gd name="connsiteY1" fmla="*/ 289147 h 285750"/>
                  <a:gd name="connsiteX2" fmla="*/ 8540 w 1152525"/>
                  <a:gd name="connsiteY2" fmla="*/ 278574 h 285750"/>
                  <a:gd name="connsiteX3" fmla="*/ 253 w 1152525"/>
                  <a:gd name="connsiteY3" fmla="*/ 236759 h 285750"/>
                  <a:gd name="connsiteX4" fmla="*/ 10826 w 1152525"/>
                  <a:gd name="connsiteY4" fmla="*/ 220948 h 285750"/>
                  <a:gd name="connsiteX5" fmla="*/ 1130776 w 1152525"/>
                  <a:gd name="connsiteY5" fmla="*/ 253 h 285750"/>
                  <a:gd name="connsiteX6" fmla="*/ 1146587 w 1152525"/>
                  <a:gd name="connsiteY6" fmla="*/ 10826 h 285750"/>
                  <a:gd name="connsiteX7" fmla="*/ 1154874 w 1152525"/>
                  <a:gd name="connsiteY7" fmla="*/ 52641 h 285750"/>
                  <a:gd name="connsiteX8" fmla="*/ 1144301 w 1152525"/>
                  <a:gd name="connsiteY8" fmla="*/ 68452 h 285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52525" h="285750">
                    <a:moveTo>
                      <a:pt x="1144301" y="68452"/>
                    </a:moveTo>
                    <a:lnTo>
                      <a:pt x="24352" y="289147"/>
                    </a:lnTo>
                    <a:cubicBezTo>
                      <a:pt x="17017" y="290575"/>
                      <a:pt x="9969" y="285813"/>
                      <a:pt x="8540" y="278574"/>
                    </a:cubicBezTo>
                    <a:lnTo>
                      <a:pt x="253" y="236759"/>
                    </a:lnTo>
                    <a:cubicBezTo>
                      <a:pt x="-1176" y="229425"/>
                      <a:pt x="3587" y="222376"/>
                      <a:pt x="10826" y="220948"/>
                    </a:cubicBezTo>
                    <a:lnTo>
                      <a:pt x="1130776" y="253"/>
                    </a:lnTo>
                    <a:cubicBezTo>
                      <a:pt x="1138110" y="-1175"/>
                      <a:pt x="1145158" y="3587"/>
                      <a:pt x="1146587" y="10826"/>
                    </a:cubicBezTo>
                    <a:lnTo>
                      <a:pt x="1154874" y="52641"/>
                    </a:lnTo>
                    <a:cubicBezTo>
                      <a:pt x="1156303" y="59975"/>
                      <a:pt x="1151540" y="67024"/>
                      <a:pt x="1144301" y="68452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9C6B0674-CF76-4523-ADD7-83A4259B7171}"/>
                  </a:ext>
                </a:extLst>
              </p:cNvPr>
              <p:cNvSpPr/>
              <p:nvPr/>
            </p:nvSpPr>
            <p:spPr>
              <a:xfrm>
                <a:off x="17025671" y="4992776"/>
                <a:ext cx="457200" cy="161925"/>
              </a:xfrm>
              <a:custGeom>
                <a:avLst/>
                <a:gdLst>
                  <a:gd name="connsiteX0" fmla="*/ 447548 w 457200"/>
                  <a:gd name="connsiteY0" fmla="*/ 87217 h 161925"/>
                  <a:gd name="connsiteX1" fmla="*/ 27971 w 457200"/>
                  <a:gd name="connsiteY1" fmla="*/ 169894 h 161925"/>
                  <a:gd name="connsiteX2" fmla="*/ 12160 w 457200"/>
                  <a:gd name="connsiteY2" fmla="*/ 159321 h 161925"/>
                  <a:gd name="connsiteX3" fmla="*/ 253 w 457200"/>
                  <a:gd name="connsiteY3" fmla="*/ 98742 h 161925"/>
                  <a:gd name="connsiteX4" fmla="*/ 10826 w 457200"/>
                  <a:gd name="connsiteY4" fmla="*/ 82931 h 161925"/>
                  <a:gd name="connsiteX5" fmla="*/ 430402 w 457200"/>
                  <a:gd name="connsiteY5" fmla="*/ 253 h 161925"/>
                  <a:gd name="connsiteX6" fmla="*/ 446214 w 457200"/>
                  <a:gd name="connsiteY6" fmla="*/ 10826 h 161925"/>
                  <a:gd name="connsiteX7" fmla="*/ 458120 w 457200"/>
                  <a:gd name="connsiteY7" fmla="*/ 71405 h 161925"/>
                  <a:gd name="connsiteX8" fmla="*/ 447548 w 457200"/>
                  <a:gd name="connsiteY8" fmla="*/ 87217 h 161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57200" h="161925">
                    <a:moveTo>
                      <a:pt x="447548" y="87217"/>
                    </a:moveTo>
                    <a:lnTo>
                      <a:pt x="27971" y="169894"/>
                    </a:lnTo>
                    <a:cubicBezTo>
                      <a:pt x="20637" y="171323"/>
                      <a:pt x="13588" y="166560"/>
                      <a:pt x="12160" y="159321"/>
                    </a:cubicBezTo>
                    <a:lnTo>
                      <a:pt x="253" y="98742"/>
                    </a:lnTo>
                    <a:cubicBezTo>
                      <a:pt x="-1175" y="91408"/>
                      <a:pt x="3587" y="84359"/>
                      <a:pt x="10826" y="82931"/>
                    </a:cubicBezTo>
                    <a:lnTo>
                      <a:pt x="430402" y="253"/>
                    </a:lnTo>
                    <a:cubicBezTo>
                      <a:pt x="437737" y="-1175"/>
                      <a:pt x="444785" y="3587"/>
                      <a:pt x="446214" y="10826"/>
                    </a:cubicBezTo>
                    <a:lnTo>
                      <a:pt x="458120" y="71405"/>
                    </a:lnTo>
                    <a:cubicBezTo>
                      <a:pt x="459644" y="78644"/>
                      <a:pt x="454882" y="85788"/>
                      <a:pt x="447548" y="87217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1" name="Freeform: Shape 90">
                <a:extLst>
                  <a:ext uri="{FF2B5EF4-FFF2-40B4-BE49-F238E27FC236}">
                    <a16:creationId xmlns:a16="http://schemas.microsoft.com/office/drawing/2014/main" id="{0CDC5176-4C80-45EE-A784-393810ECE783}"/>
                  </a:ext>
                </a:extLst>
              </p:cNvPr>
              <p:cNvSpPr/>
              <p:nvPr/>
            </p:nvSpPr>
            <p:spPr>
              <a:xfrm>
                <a:off x="16263671" y="4048563"/>
                <a:ext cx="1057275" cy="266700"/>
              </a:xfrm>
              <a:custGeom>
                <a:avLst/>
                <a:gdLst>
                  <a:gd name="connsiteX0" fmla="*/ 1048480 w 1057275"/>
                  <a:gd name="connsiteY0" fmla="*/ 68452 h 266700"/>
                  <a:gd name="connsiteX1" fmla="*/ 24352 w 1057275"/>
                  <a:gd name="connsiteY1" fmla="*/ 270192 h 266700"/>
                  <a:gd name="connsiteX2" fmla="*/ 8540 w 1057275"/>
                  <a:gd name="connsiteY2" fmla="*/ 259619 h 266700"/>
                  <a:gd name="connsiteX3" fmla="*/ 253 w 1057275"/>
                  <a:gd name="connsiteY3" fmla="*/ 217804 h 266700"/>
                  <a:gd name="connsiteX4" fmla="*/ 10826 w 1057275"/>
                  <a:gd name="connsiteY4" fmla="*/ 201993 h 266700"/>
                  <a:gd name="connsiteX5" fmla="*/ 1034954 w 1057275"/>
                  <a:gd name="connsiteY5" fmla="*/ 253 h 266700"/>
                  <a:gd name="connsiteX6" fmla="*/ 1050766 w 1057275"/>
                  <a:gd name="connsiteY6" fmla="*/ 10826 h 266700"/>
                  <a:gd name="connsiteX7" fmla="*/ 1059052 w 1057275"/>
                  <a:gd name="connsiteY7" fmla="*/ 52641 h 266700"/>
                  <a:gd name="connsiteX8" fmla="*/ 1048480 w 1057275"/>
                  <a:gd name="connsiteY8" fmla="*/ 68452 h 266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275" h="266700">
                    <a:moveTo>
                      <a:pt x="1048480" y="68452"/>
                    </a:moveTo>
                    <a:lnTo>
                      <a:pt x="24352" y="270192"/>
                    </a:lnTo>
                    <a:cubicBezTo>
                      <a:pt x="17017" y="271621"/>
                      <a:pt x="9969" y="266858"/>
                      <a:pt x="8540" y="259619"/>
                    </a:cubicBezTo>
                    <a:lnTo>
                      <a:pt x="253" y="217804"/>
                    </a:lnTo>
                    <a:cubicBezTo>
                      <a:pt x="-1175" y="210470"/>
                      <a:pt x="3587" y="203422"/>
                      <a:pt x="10826" y="201993"/>
                    </a:cubicBezTo>
                    <a:lnTo>
                      <a:pt x="1034954" y="253"/>
                    </a:lnTo>
                    <a:cubicBezTo>
                      <a:pt x="1042288" y="-1176"/>
                      <a:pt x="1049337" y="3587"/>
                      <a:pt x="1050766" y="10826"/>
                    </a:cubicBezTo>
                    <a:lnTo>
                      <a:pt x="1059052" y="52641"/>
                    </a:lnTo>
                    <a:cubicBezTo>
                      <a:pt x="1060481" y="59880"/>
                      <a:pt x="1055719" y="66928"/>
                      <a:pt x="1048480" y="68452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2" name="Freeform: Shape 91">
                <a:extLst>
                  <a:ext uri="{FF2B5EF4-FFF2-40B4-BE49-F238E27FC236}">
                    <a16:creationId xmlns:a16="http://schemas.microsoft.com/office/drawing/2014/main" id="{AE405D77-8F84-46D7-84EF-A1B31AE7147A}"/>
                  </a:ext>
                </a:extLst>
              </p:cNvPr>
              <p:cNvSpPr/>
              <p:nvPr/>
            </p:nvSpPr>
            <p:spPr>
              <a:xfrm>
                <a:off x="16287388" y="4169149"/>
                <a:ext cx="1057275" cy="266700"/>
              </a:xfrm>
              <a:custGeom>
                <a:avLst/>
                <a:gdLst>
                  <a:gd name="connsiteX0" fmla="*/ 1048480 w 1057275"/>
                  <a:gd name="connsiteY0" fmla="*/ 68452 h 266700"/>
                  <a:gd name="connsiteX1" fmla="*/ 24352 w 1057275"/>
                  <a:gd name="connsiteY1" fmla="*/ 270192 h 266700"/>
                  <a:gd name="connsiteX2" fmla="*/ 8540 w 1057275"/>
                  <a:gd name="connsiteY2" fmla="*/ 259619 h 266700"/>
                  <a:gd name="connsiteX3" fmla="*/ 253 w 1057275"/>
                  <a:gd name="connsiteY3" fmla="*/ 217805 h 266700"/>
                  <a:gd name="connsiteX4" fmla="*/ 10826 w 1057275"/>
                  <a:gd name="connsiteY4" fmla="*/ 201993 h 266700"/>
                  <a:gd name="connsiteX5" fmla="*/ 1034954 w 1057275"/>
                  <a:gd name="connsiteY5" fmla="*/ 253 h 266700"/>
                  <a:gd name="connsiteX6" fmla="*/ 1050765 w 1057275"/>
                  <a:gd name="connsiteY6" fmla="*/ 10826 h 266700"/>
                  <a:gd name="connsiteX7" fmla="*/ 1059052 w 1057275"/>
                  <a:gd name="connsiteY7" fmla="*/ 52641 h 266700"/>
                  <a:gd name="connsiteX8" fmla="*/ 1048480 w 1057275"/>
                  <a:gd name="connsiteY8" fmla="*/ 68452 h 266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275" h="266700">
                    <a:moveTo>
                      <a:pt x="1048480" y="68452"/>
                    </a:moveTo>
                    <a:lnTo>
                      <a:pt x="24352" y="270192"/>
                    </a:lnTo>
                    <a:cubicBezTo>
                      <a:pt x="17017" y="271621"/>
                      <a:pt x="9969" y="266858"/>
                      <a:pt x="8540" y="259619"/>
                    </a:cubicBezTo>
                    <a:lnTo>
                      <a:pt x="253" y="217805"/>
                    </a:lnTo>
                    <a:cubicBezTo>
                      <a:pt x="-1176" y="210470"/>
                      <a:pt x="3587" y="203422"/>
                      <a:pt x="10826" y="201993"/>
                    </a:cubicBezTo>
                    <a:lnTo>
                      <a:pt x="1034954" y="253"/>
                    </a:lnTo>
                    <a:cubicBezTo>
                      <a:pt x="1042288" y="-1175"/>
                      <a:pt x="1049337" y="3587"/>
                      <a:pt x="1050765" y="10826"/>
                    </a:cubicBezTo>
                    <a:lnTo>
                      <a:pt x="1059052" y="52641"/>
                    </a:lnTo>
                    <a:cubicBezTo>
                      <a:pt x="1060576" y="59880"/>
                      <a:pt x="1055814" y="66928"/>
                      <a:pt x="1048480" y="68452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666E9EC7-A2A9-47B6-9EA8-E6A6A085B60B}"/>
                  </a:ext>
                </a:extLst>
              </p:cNvPr>
              <p:cNvSpPr/>
              <p:nvPr/>
            </p:nvSpPr>
            <p:spPr>
              <a:xfrm>
                <a:off x="16311105" y="4289736"/>
                <a:ext cx="1057275" cy="266700"/>
              </a:xfrm>
              <a:custGeom>
                <a:avLst/>
                <a:gdLst>
                  <a:gd name="connsiteX0" fmla="*/ 1048479 w 1057275"/>
                  <a:gd name="connsiteY0" fmla="*/ 68452 h 266700"/>
                  <a:gd name="connsiteX1" fmla="*/ 24352 w 1057275"/>
                  <a:gd name="connsiteY1" fmla="*/ 270192 h 266700"/>
                  <a:gd name="connsiteX2" fmla="*/ 8540 w 1057275"/>
                  <a:gd name="connsiteY2" fmla="*/ 259619 h 266700"/>
                  <a:gd name="connsiteX3" fmla="*/ 253 w 1057275"/>
                  <a:gd name="connsiteY3" fmla="*/ 217804 h 266700"/>
                  <a:gd name="connsiteX4" fmla="*/ 10826 w 1057275"/>
                  <a:gd name="connsiteY4" fmla="*/ 201993 h 266700"/>
                  <a:gd name="connsiteX5" fmla="*/ 1034954 w 1057275"/>
                  <a:gd name="connsiteY5" fmla="*/ 253 h 266700"/>
                  <a:gd name="connsiteX6" fmla="*/ 1050766 w 1057275"/>
                  <a:gd name="connsiteY6" fmla="*/ 10826 h 266700"/>
                  <a:gd name="connsiteX7" fmla="*/ 1059052 w 1057275"/>
                  <a:gd name="connsiteY7" fmla="*/ 52641 h 266700"/>
                  <a:gd name="connsiteX8" fmla="*/ 1048479 w 1057275"/>
                  <a:gd name="connsiteY8" fmla="*/ 68452 h 266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275" h="266700">
                    <a:moveTo>
                      <a:pt x="1048479" y="68452"/>
                    </a:moveTo>
                    <a:lnTo>
                      <a:pt x="24352" y="270192"/>
                    </a:lnTo>
                    <a:cubicBezTo>
                      <a:pt x="17017" y="271621"/>
                      <a:pt x="9969" y="266858"/>
                      <a:pt x="8540" y="259619"/>
                    </a:cubicBezTo>
                    <a:lnTo>
                      <a:pt x="253" y="217804"/>
                    </a:lnTo>
                    <a:cubicBezTo>
                      <a:pt x="-1175" y="210470"/>
                      <a:pt x="3587" y="203422"/>
                      <a:pt x="10826" y="201993"/>
                    </a:cubicBezTo>
                    <a:lnTo>
                      <a:pt x="1034954" y="253"/>
                    </a:lnTo>
                    <a:cubicBezTo>
                      <a:pt x="1042288" y="-1175"/>
                      <a:pt x="1049337" y="3587"/>
                      <a:pt x="1050766" y="10826"/>
                    </a:cubicBezTo>
                    <a:lnTo>
                      <a:pt x="1059052" y="52641"/>
                    </a:lnTo>
                    <a:cubicBezTo>
                      <a:pt x="1060576" y="59880"/>
                      <a:pt x="1055814" y="66928"/>
                      <a:pt x="1048479" y="68452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id="{71267B87-FC71-4832-85C8-BFB247FEA890}"/>
                  </a:ext>
                </a:extLst>
              </p:cNvPr>
              <p:cNvSpPr/>
              <p:nvPr/>
            </p:nvSpPr>
            <p:spPr>
              <a:xfrm>
                <a:off x="16334918" y="4410227"/>
                <a:ext cx="1057275" cy="266700"/>
              </a:xfrm>
              <a:custGeom>
                <a:avLst/>
                <a:gdLst>
                  <a:gd name="connsiteX0" fmla="*/ 1048479 w 1057275"/>
                  <a:gd name="connsiteY0" fmla="*/ 68452 h 266700"/>
                  <a:gd name="connsiteX1" fmla="*/ 24352 w 1057275"/>
                  <a:gd name="connsiteY1" fmla="*/ 270192 h 266700"/>
                  <a:gd name="connsiteX2" fmla="*/ 8540 w 1057275"/>
                  <a:gd name="connsiteY2" fmla="*/ 259619 h 266700"/>
                  <a:gd name="connsiteX3" fmla="*/ 253 w 1057275"/>
                  <a:gd name="connsiteY3" fmla="*/ 217804 h 266700"/>
                  <a:gd name="connsiteX4" fmla="*/ 10826 w 1057275"/>
                  <a:gd name="connsiteY4" fmla="*/ 201993 h 266700"/>
                  <a:gd name="connsiteX5" fmla="*/ 1034954 w 1057275"/>
                  <a:gd name="connsiteY5" fmla="*/ 253 h 266700"/>
                  <a:gd name="connsiteX6" fmla="*/ 1050766 w 1057275"/>
                  <a:gd name="connsiteY6" fmla="*/ 10826 h 266700"/>
                  <a:gd name="connsiteX7" fmla="*/ 1059052 w 1057275"/>
                  <a:gd name="connsiteY7" fmla="*/ 52641 h 266700"/>
                  <a:gd name="connsiteX8" fmla="*/ 1048479 w 1057275"/>
                  <a:gd name="connsiteY8" fmla="*/ 68452 h 266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275" h="266700">
                    <a:moveTo>
                      <a:pt x="1048479" y="68452"/>
                    </a:moveTo>
                    <a:lnTo>
                      <a:pt x="24352" y="270192"/>
                    </a:lnTo>
                    <a:cubicBezTo>
                      <a:pt x="17017" y="271621"/>
                      <a:pt x="9969" y="266858"/>
                      <a:pt x="8540" y="259619"/>
                    </a:cubicBezTo>
                    <a:lnTo>
                      <a:pt x="253" y="217804"/>
                    </a:lnTo>
                    <a:cubicBezTo>
                      <a:pt x="-1175" y="210470"/>
                      <a:pt x="3587" y="203422"/>
                      <a:pt x="10826" y="201993"/>
                    </a:cubicBezTo>
                    <a:lnTo>
                      <a:pt x="1034954" y="253"/>
                    </a:lnTo>
                    <a:cubicBezTo>
                      <a:pt x="1042288" y="-1176"/>
                      <a:pt x="1049337" y="3587"/>
                      <a:pt x="1050766" y="10826"/>
                    </a:cubicBezTo>
                    <a:lnTo>
                      <a:pt x="1059052" y="52641"/>
                    </a:lnTo>
                    <a:cubicBezTo>
                      <a:pt x="1060481" y="59975"/>
                      <a:pt x="1055719" y="67023"/>
                      <a:pt x="1048479" y="68452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93AFBDE2-573E-41DE-ACF1-0CC672E59F36}"/>
                  </a:ext>
                </a:extLst>
              </p:cNvPr>
              <p:cNvSpPr/>
              <p:nvPr/>
            </p:nvSpPr>
            <p:spPr>
              <a:xfrm>
                <a:off x="16358635" y="4530813"/>
                <a:ext cx="1057275" cy="266700"/>
              </a:xfrm>
              <a:custGeom>
                <a:avLst/>
                <a:gdLst>
                  <a:gd name="connsiteX0" fmla="*/ 1048480 w 1057275"/>
                  <a:gd name="connsiteY0" fmla="*/ 68452 h 266700"/>
                  <a:gd name="connsiteX1" fmla="*/ 24352 w 1057275"/>
                  <a:gd name="connsiteY1" fmla="*/ 270192 h 266700"/>
                  <a:gd name="connsiteX2" fmla="*/ 8540 w 1057275"/>
                  <a:gd name="connsiteY2" fmla="*/ 259619 h 266700"/>
                  <a:gd name="connsiteX3" fmla="*/ 253 w 1057275"/>
                  <a:gd name="connsiteY3" fmla="*/ 217805 h 266700"/>
                  <a:gd name="connsiteX4" fmla="*/ 10826 w 1057275"/>
                  <a:gd name="connsiteY4" fmla="*/ 201993 h 266700"/>
                  <a:gd name="connsiteX5" fmla="*/ 1034954 w 1057275"/>
                  <a:gd name="connsiteY5" fmla="*/ 253 h 266700"/>
                  <a:gd name="connsiteX6" fmla="*/ 1050766 w 1057275"/>
                  <a:gd name="connsiteY6" fmla="*/ 10826 h 266700"/>
                  <a:gd name="connsiteX7" fmla="*/ 1059052 w 1057275"/>
                  <a:gd name="connsiteY7" fmla="*/ 52641 h 266700"/>
                  <a:gd name="connsiteX8" fmla="*/ 1048480 w 1057275"/>
                  <a:gd name="connsiteY8" fmla="*/ 68452 h 266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275" h="266700">
                    <a:moveTo>
                      <a:pt x="1048480" y="68452"/>
                    </a:moveTo>
                    <a:lnTo>
                      <a:pt x="24352" y="270192"/>
                    </a:lnTo>
                    <a:cubicBezTo>
                      <a:pt x="17017" y="271621"/>
                      <a:pt x="9969" y="266858"/>
                      <a:pt x="8540" y="259619"/>
                    </a:cubicBezTo>
                    <a:lnTo>
                      <a:pt x="253" y="217805"/>
                    </a:lnTo>
                    <a:cubicBezTo>
                      <a:pt x="-1175" y="210470"/>
                      <a:pt x="3587" y="203422"/>
                      <a:pt x="10826" y="201993"/>
                    </a:cubicBezTo>
                    <a:lnTo>
                      <a:pt x="1034954" y="253"/>
                    </a:lnTo>
                    <a:cubicBezTo>
                      <a:pt x="1042288" y="-1175"/>
                      <a:pt x="1049337" y="3587"/>
                      <a:pt x="1050766" y="10826"/>
                    </a:cubicBezTo>
                    <a:lnTo>
                      <a:pt x="1059052" y="52641"/>
                    </a:lnTo>
                    <a:cubicBezTo>
                      <a:pt x="1060576" y="59975"/>
                      <a:pt x="1055814" y="67024"/>
                      <a:pt x="1048480" y="68452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138DBAAF-7CD1-4DA6-9866-D684FEDD5225}"/>
                  </a:ext>
                </a:extLst>
              </p:cNvPr>
              <p:cNvSpPr/>
              <p:nvPr/>
            </p:nvSpPr>
            <p:spPr>
              <a:xfrm>
                <a:off x="16382448" y="4651400"/>
                <a:ext cx="1057275" cy="266700"/>
              </a:xfrm>
              <a:custGeom>
                <a:avLst/>
                <a:gdLst>
                  <a:gd name="connsiteX0" fmla="*/ 1048480 w 1057275"/>
                  <a:gd name="connsiteY0" fmla="*/ 68452 h 266700"/>
                  <a:gd name="connsiteX1" fmla="*/ 24352 w 1057275"/>
                  <a:gd name="connsiteY1" fmla="*/ 270192 h 266700"/>
                  <a:gd name="connsiteX2" fmla="*/ 8540 w 1057275"/>
                  <a:gd name="connsiteY2" fmla="*/ 259619 h 266700"/>
                  <a:gd name="connsiteX3" fmla="*/ 253 w 1057275"/>
                  <a:gd name="connsiteY3" fmla="*/ 217804 h 266700"/>
                  <a:gd name="connsiteX4" fmla="*/ 10826 w 1057275"/>
                  <a:gd name="connsiteY4" fmla="*/ 201993 h 266700"/>
                  <a:gd name="connsiteX5" fmla="*/ 1034954 w 1057275"/>
                  <a:gd name="connsiteY5" fmla="*/ 253 h 266700"/>
                  <a:gd name="connsiteX6" fmla="*/ 1050766 w 1057275"/>
                  <a:gd name="connsiteY6" fmla="*/ 10826 h 266700"/>
                  <a:gd name="connsiteX7" fmla="*/ 1059052 w 1057275"/>
                  <a:gd name="connsiteY7" fmla="*/ 52641 h 266700"/>
                  <a:gd name="connsiteX8" fmla="*/ 1048480 w 1057275"/>
                  <a:gd name="connsiteY8" fmla="*/ 68452 h 266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57275" h="266700">
                    <a:moveTo>
                      <a:pt x="1048480" y="68452"/>
                    </a:moveTo>
                    <a:lnTo>
                      <a:pt x="24352" y="270192"/>
                    </a:lnTo>
                    <a:cubicBezTo>
                      <a:pt x="17017" y="271621"/>
                      <a:pt x="9969" y="266858"/>
                      <a:pt x="8540" y="259619"/>
                    </a:cubicBezTo>
                    <a:lnTo>
                      <a:pt x="253" y="217804"/>
                    </a:lnTo>
                    <a:cubicBezTo>
                      <a:pt x="-1175" y="210470"/>
                      <a:pt x="3587" y="203422"/>
                      <a:pt x="10826" y="201993"/>
                    </a:cubicBezTo>
                    <a:lnTo>
                      <a:pt x="1034954" y="253"/>
                    </a:lnTo>
                    <a:cubicBezTo>
                      <a:pt x="1042288" y="-1175"/>
                      <a:pt x="1049337" y="3587"/>
                      <a:pt x="1050766" y="10826"/>
                    </a:cubicBezTo>
                    <a:lnTo>
                      <a:pt x="1059052" y="52641"/>
                    </a:lnTo>
                    <a:cubicBezTo>
                      <a:pt x="1060481" y="59975"/>
                      <a:pt x="1055719" y="67024"/>
                      <a:pt x="1048480" y="68452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id="{5E5DD1D9-2BAD-49C6-9932-1DA7840A4CBC}"/>
                  </a:ext>
                </a:extLst>
              </p:cNvPr>
              <p:cNvSpPr/>
              <p:nvPr/>
            </p:nvSpPr>
            <p:spPr>
              <a:xfrm>
                <a:off x="14857687" y="3780517"/>
                <a:ext cx="2400300" cy="476250"/>
              </a:xfrm>
              <a:custGeom>
                <a:avLst/>
                <a:gdLst>
                  <a:gd name="connsiteX0" fmla="*/ 0 w 2400300"/>
                  <a:gd name="connsiteY0" fmla="*/ 473184 h 476250"/>
                  <a:gd name="connsiteX1" fmla="*/ 2401659 w 2400300"/>
                  <a:gd name="connsiteY1" fmla="*/ 0 h 476250"/>
                  <a:gd name="connsiteX2" fmla="*/ 2403169 w 2400300"/>
                  <a:gd name="connsiteY2" fmla="*/ 7663 h 476250"/>
                  <a:gd name="connsiteX3" fmla="*/ 1510 w 2400300"/>
                  <a:gd name="connsiteY3" fmla="*/ 480847 h 476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00300" h="476250">
                    <a:moveTo>
                      <a:pt x="0" y="473184"/>
                    </a:moveTo>
                    <a:lnTo>
                      <a:pt x="2401659" y="0"/>
                    </a:lnTo>
                    <a:lnTo>
                      <a:pt x="2403169" y="7663"/>
                    </a:lnTo>
                    <a:lnTo>
                      <a:pt x="1510" y="480847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EB1E74FC-D318-47B2-97A1-51BB31FDD7D0}"/>
                  </a:ext>
                </a:extLst>
              </p:cNvPr>
              <p:cNvSpPr/>
              <p:nvPr/>
            </p:nvSpPr>
            <p:spPr>
              <a:xfrm>
                <a:off x="15062270" y="4818797"/>
                <a:ext cx="2400300" cy="476250"/>
              </a:xfrm>
              <a:custGeom>
                <a:avLst/>
                <a:gdLst>
                  <a:gd name="connsiteX0" fmla="*/ 0 w 2400300"/>
                  <a:gd name="connsiteY0" fmla="*/ 473184 h 476250"/>
                  <a:gd name="connsiteX1" fmla="*/ 2401659 w 2400300"/>
                  <a:gd name="connsiteY1" fmla="*/ 0 h 476250"/>
                  <a:gd name="connsiteX2" fmla="*/ 2403169 w 2400300"/>
                  <a:gd name="connsiteY2" fmla="*/ 7663 h 476250"/>
                  <a:gd name="connsiteX3" fmla="*/ 1510 w 2400300"/>
                  <a:gd name="connsiteY3" fmla="*/ 480847 h 476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00300" h="476250">
                    <a:moveTo>
                      <a:pt x="0" y="473184"/>
                    </a:moveTo>
                    <a:lnTo>
                      <a:pt x="2401659" y="0"/>
                    </a:lnTo>
                    <a:lnTo>
                      <a:pt x="2403169" y="7663"/>
                    </a:lnTo>
                    <a:lnTo>
                      <a:pt x="1510" y="480847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9" name="Freeform: Shape 98">
                <a:extLst>
                  <a:ext uri="{FF2B5EF4-FFF2-40B4-BE49-F238E27FC236}">
                    <a16:creationId xmlns:a16="http://schemas.microsoft.com/office/drawing/2014/main" id="{A83885FE-F8EC-4C6B-B042-0B1D29B58088}"/>
                  </a:ext>
                </a:extLst>
              </p:cNvPr>
              <p:cNvSpPr/>
              <p:nvPr/>
            </p:nvSpPr>
            <p:spPr>
              <a:xfrm>
                <a:off x="14640823" y="2679851"/>
                <a:ext cx="2400300" cy="476250"/>
              </a:xfrm>
              <a:custGeom>
                <a:avLst/>
                <a:gdLst>
                  <a:gd name="connsiteX0" fmla="*/ 0 w 2400300"/>
                  <a:gd name="connsiteY0" fmla="*/ 473184 h 476250"/>
                  <a:gd name="connsiteX1" fmla="*/ 2401659 w 2400300"/>
                  <a:gd name="connsiteY1" fmla="*/ 0 h 476250"/>
                  <a:gd name="connsiteX2" fmla="*/ 2403169 w 2400300"/>
                  <a:gd name="connsiteY2" fmla="*/ 7663 h 476250"/>
                  <a:gd name="connsiteX3" fmla="*/ 1510 w 2400300"/>
                  <a:gd name="connsiteY3" fmla="*/ 480847 h 476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00300" h="476250">
                    <a:moveTo>
                      <a:pt x="0" y="473184"/>
                    </a:moveTo>
                    <a:lnTo>
                      <a:pt x="2401659" y="0"/>
                    </a:lnTo>
                    <a:lnTo>
                      <a:pt x="2403169" y="7663"/>
                    </a:lnTo>
                    <a:lnTo>
                      <a:pt x="1510" y="480847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0" name="Freeform: Shape 99">
                <a:extLst>
                  <a:ext uri="{FF2B5EF4-FFF2-40B4-BE49-F238E27FC236}">
                    <a16:creationId xmlns:a16="http://schemas.microsoft.com/office/drawing/2014/main" id="{E30A9623-A30B-4213-85AB-3D9C8EB58797}"/>
                  </a:ext>
                </a:extLst>
              </p:cNvPr>
              <p:cNvSpPr/>
              <p:nvPr/>
            </p:nvSpPr>
            <p:spPr>
              <a:xfrm>
                <a:off x="16116623" y="4057317"/>
                <a:ext cx="190500" cy="952500"/>
              </a:xfrm>
              <a:custGeom>
                <a:avLst/>
                <a:gdLst>
                  <a:gd name="connsiteX0" fmla="*/ 0 w 190500"/>
                  <a:gd name="connsiteY0" fmla="*/ 1510 h 952500"/>
                  <a:gd name="connsiteX1" fmla="*/ 7663 w 190500"/>
                  <a:gd name="connsiteY1" fmla="*/ 0 h 952500"/>
                  <a:gd name="connsiteX2" fmla="*/ 195040 w 190500"/>
                  <a:gd name="connsiteY2" fmla="*/ 951038 h 952500"/>
                  <a:gd name="connsiteX3" fmla="*/ 187377 w 190500"/>
                  <a:gd name="connsiteY3" fmla="*/ 952548 h 952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0500" h="952500">
                    <a:moveTo>
                      <a:pt x="0" y="1510"/>
                    </a:moveTo>
                    <a:lnTo>
                      <a:pt x="7663" y="0"/>
                    </a:lnTo>
                    <a:lnTo>
                      <a:pt x="195040" y="951038"/>
                    </a:lnTo>
                    <a:lnTo>
                      <a:pt x="187377" y="952548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1" name="Freeform: Shape 100">
                <a:extLst>
                  <a:ext uri="{FF2B5EF4-FFF2-40B4-BE49-F238E27FC236}">
                    <a16:creationId xmlns:a16="http://schemas.microsoft.com/office/drawing/2014/main" id="{54D0656C-BE0A-4320-AE8E-EFE936819D82}"/>
                  </a:ext>
                </a:extLst>
              </p:cNvPr>
              <p:cNvSpPr/>
              <p:nvPr/>
            </p:nvSpPr>
            <p:spPr>
              <a:xfrm>
                <a:off x="15354414" y="2230050"/>
                <a:ext cx="733425" cy="190500"/>
              </a:xfrm>
              <a:custGeom>
                <a:avLst/>
                <a:gdLst>
                  <a:gd name="connsiteX0" fmla="*/ 731202 w 733425"/>
                  <a:gd name="connsiteY0" fmla="*/ 51307 h 190500"/>
                  <a:gd name="connsiteX1" fmla="*/ 20923 w 733425"/>
                  <a:gd name="connsiteY1" fmla="*/ 191230 h 190500"/>
                  <a:gd name="connsiteX2" fmla="*/ 5111 w 733425"/>
                  <a:gd name="connsiteY2" fmla="*/ 180657 h 190500"/>
                  <a:gd name="connsiteX3" fmla="*/ 253 w 733425"/>
                  <a:gd name="connsiteY3" fmla="*/ 155987 h 190500"/>
                  <a:gd name="connsiteX4" fmla="*/ 10826 w 733425"/>
                  <a:gd name="connsiteY4" fmla="*/ 140176 h 190500"/>
                  <a:gd name="connsiteX5" fmla="*/ 721105 w 733425"/>
                  <a:gd name="connsiteY5" fmla="*/ 253 h 190500"/>
                  <a:gd name="connsiteX6" fmla="*/ 736917 w 733425"/>
                  <a:gd name="connsiteY6" fmla="*/ 10826 h 190500"/>
                  <a:gd name="connsiteX7" fmla="*/ 741775 w 733425"/>
                  <a:gd name="connsiteY7" fmla="*/ 35496 h 190500"/>
                  <a:gd name="connsiteX8" fmla="*/ 731202 w 733425"/>
                  <a:gd name="connsiteY8" fmla="*/ 51307 h 190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33425" h="190500">
                    <a:moveTo>
                      <a:pt x="731202" y="51307"/>
                    </a:moveTo>
                    <a:lnTo>
                      <a:pt x="20923" y="191230"/>
                    </a:lnTo>
                    <a:cubicBezTo>
                      <a:pt x="13588" y="192658"/>
                      <a:pt x="6540" y="187896"/>
                      <a:pt x="5111" y="180657"/>
                    </a:cubicBezTo>
                    <a:lnTo>
                      <a:pt x="253" y="155987"/>
                    </a:lnTo>
                    <a:cubicBezTo>
                      <a:pt x="-1175" y="148653"/>
                      <a:pt x="3587" y="141604"/>
                      <a:pt x="10826" y="140176"/>
                    </a:cubicBezTo>
                    <a:lnTo>
                      <a:pt x="721105" y="253"/>
                    </a:lnTo>
                    <a:cubicBezTo>
                      <a:pt x="728440" y="-1175"/>
                      <a:pt x="735488" y="3587"/>
                      <a:pt x="736917" y="10826"/>
                    </a:cubicBezTo>
                    <a:lnTo>
                      <a:pt x="741775" y="35496"/>
                    </a:lnTo>
                    <a:cubicBezTo>
                      <a:pt x="743203" y="42830"/>
                      <a:pt x="738536" y="49879"/>
                      <a:pt x="731202" y="51307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2" name="Freeform: Shape 101">
                <a:extLst>
                  <a:ext uri="{FF2B5EF4-FFF2-40B4-BE49-F238E27FC236}">
                    <a16:creationId xmlns:a16="http://schemas.microsoft.com/office/drawing/2014/main" id="{976396D0-F499-4349-B364-B98B3E4704F0}"/>
                  </a:ext>
                </a:extLst>
              </p:cNvPr>
              <p:cNvSpPr/>
              <p:nvPr/>
            </p:nvSpPr>
            <p:spPr>
              <a:xfrm>
                <a:off x="15486050" y="2174519"/>
                <a:ext cx="438150" cy="123825"/>
              </a:xfrm>
              <a:custGeom>
                <a:avLst/>
                <a:gdLst>
                  <a:gd name="connsiteX0" fmla="*/ 434498 w 438150"/>
                  <a:gd name="connsiteY0" fmla="*/ 51307 h 123825"/>
                  <a:gd name="connsiteX1" fmla="*/ 20922 w 438150"/>
                  <a:gd name="connsiteY1" fmla="*/ 132841 h 123825"/>
                  <a:gd name="connsiteX2" fmla="*/ 5111 w 438150"/>
                  <a:gd name="connsiteY2" fmla="*/ 122269 h 123825"/>
                  <a:gd name="connsiteX3" fmla="*/ 253 w 438150"/>
                  <a:gd name="connsiteY3" fmla="*/ 97599 h 123825"/>
                  <a:gd name="connsiteX4" fmla="*/ 10826 w 438150"/>
                  <a:gd name="connsiteY4" fmla="*/ 81787 h 123825"/>
                  <a:gd name="connsiteX5" fmla="*/ 424402 w 438150"/>
                  <a:gd name="connsiteY5" fmla="*/ 253 h 123825"/>
                  <a:gd name="connsiteX6" fmla="*/ 440213 w 438150"/>
                  <a:gd name="connsiteY6" fmla="*/ 10826 h 123825"/>
                  <a:gd name="connsiteX7" fmla="*/ 445071 w 438150"/>
                  <a:gd name="connsiteY7" fmla="*/ 35496 h 123825"/>
                  <a:gd name="connsiteX8" fmla="*/ 434498 w 438150"/>
                  <a:gd name="connsiteY8" fmla="*/ 51307 h 123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38150" h="123825">
                    <a:moveTo>
                      <a:pt x="434498" y="51307"/>
                    </a:moveTo>
                    <a:lnTo>
                      <a:pt x="20922" y="132841"/>
                    </a:lnTo>
                    <a:cubicBezTo>
                      <a:pt x="13588" y="134270"/>
                      <a:pt x="6540" y="129508"/>
                      <a:pt x="5111" y="122269"/>
                    </a:cubicBezTo>
                    <a:lnTo>
                      <a:pt x="253" y="97599"/>
                    </a:lnTo>
                    <a:cubicBezTo>
                      <a:pt x="-1175" y="90265"/>
                      <a:pt x="3587" y="83216"/>
                      <a:pt x="10826" y="81787"/>
                    </a:cubicBezTo>
                    <a:lnTo>
                      <a:pt x="424402" y="253"/>
                    </a:lnTo>
                    <a:cubicBezTo>
                      <a:pt x="431736" y="-1175"/>
                      <a:pt x="438784" y="3587"/>
                      <a:pt x="440213" y="10826"/>
                    </a:cubicBezTo>
                    <a:lnTo>
                      <a:pt x="445071" y="35496"/>
                    </a:lnTo>
                    <a:cubicBezTo>
                      <a:pt x="446595" y="42735"/>
                      <a:pt x="441832" y="49879"/>
                      <a:pt x="434498" y="51307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3" name="Freeform: Shape 102">
                <a:extLst>
                  <a:ext uri="{FF2B5EF4-FFF2-40B4-BE49-F238E27FC236}">
                    <a16:creationId xmlns:a16="http://schemas.microsoft.com/office/drawing/2014/main" id="{E4C5A8AA-AA97-455D-BE09-AD687685595B}"/>
                  </a:ext>
                </a:extLst>
              </p:cNvPr>
              <p:cNvSpPr/>
              <p:nvPr/>
            </p:nvSpPr>
            <p:spPr>
              <a:xfrm>
                <a:off x="14789334" y="1789579"/>
                <a:ext cx="1771650" cy="466725"/>
              </a:xfrm>
              <a:custGeom>
                <a:avLst/>
                <a:gdLst>
                  <a:gd name="connsiteX0" fmla="*/ 1732146 w 1771650"/>
                  <a:gd name="connsiteY0" fmla="*/ 144973 h 466725"/>
                  <a:gd name="connsiteX1" fmla="*/ 74415 w 1771650"/>
                  <a:gd name="connsiteY1" fmla="*/ 471585 h 466725"/>
                  <a:gd name="connsiteX2" fmla="*/ 14122 w 1771650"/>
                  <a:gd name="connsiteY2" fmla="*/ 444915 h 466725"/>
                  <a:gd name="connsiteX3" fmla="*/ 501 w 1771650"/>
                  <a:gd name="connsiteY3" fmla="*/ 375573 h 466725"/>
                  <a:gd name="connsiteX4" fmla="*/ 46126 w 1771650"/>
                  <a:gd name="connsiteY4" fmla="*/ 328044 h 466725"/>
                  <a:gd name="connsiteX5" fmla="*/ 1703857 w 1771650"/>
                  <a:gd name="connsiteY5" fmla="*/ 1431 h 466725"/>
                  <a:gd name="connsiteX6" fmla="*/ 1764150 w 1771650"/>
                  <a:gd name="connsiteY6" fmla="*/ 28101 h 466725"/>
                  <a:gd name="connsiteX7" fmla="*/ 1777771 w 1771650"/>
                  <a:gd name="connsiteY7" fmla="*/ 97443 h 466725"/>
                  <a:gd name="connsiteX8" fmla="*/ 1732146 w 1771650"/>
                  <a:gd name="connsiteY8" fmla="*/ 144973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771650" h="466725">
                    <a:moveTo>
                      <a:pt x="1732146" y="144973"/>
                    </a:moveTo>
                    <a:lnTo>
                      <a:pt x="74415" y="471585"/>
                    </a:lnTo>
                    <a:cubicBezTo>
                      <a:pt x="45173" y="477396"/>
                      <a:pt x="18218" y="465394"/>
                      <a:pt x="14122" y="444915"/>
                    </a:cubicBezTo>
                    <a:lnTo>
                      <a:pt x="501" y="375573"/>
                    </a:lnTo>
                    <a:cubicBezTo>
                      <a:pt x="-3499" y="355095"/>
                      <a:pt x="16884" y="333759"/>
                      <a:pt x="46126" y="328044"/>
                    </a:cubicBezTo>
                    <a:lnTo>
                      <a:pt x="1703857" y="1431"/>
                    </a:lnTo>
                    <a:cubicBezTo>
                      <a:pt x="1733099" y="-4284"/>
                      <a:pt x="1760054" y="7623"/>
                      <a:pt x="1764150" y="28101"/>
                    </a:cubicBezTo>
                    <a:lnTo>
                      <a:pt x="1777771" y="97443"/>
                    </a:lnTo>
                    <a:cubicBezTo>
                      <a:pt x="1781867" y="117922"/>
                      <a:pt x="1761388" y="139258"/>
                      <a:pt x="1732146" y="144973"/>
                    </a:cubicBezTo>
                    <a:close/>
                  </a:path>
                </a:pathLst>
              </a:custGeom>
              <a:solidFill>
                <a:srgbClr val="005F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4" name="Freeform: Shape 103">
                <a:extLst>
                  <a:ext uri="{FF2B5EF4-FFF2-40B4-BE49-F238E27FC236}">
                    <a16:creationId xmlns:a16="http://schemas.microsoft.com/office/drawing/2014/main" id="{98685902-011D-4C32-B0AE-594592ECE556}"/>
                  </a:ext>
                </a:extLst>
              </p:cNvPr>
              <p:cNvSpPr/>
              <p:nvPr/>
            </p:nvSpPr>
            <p:spPr>
              <a:xfrm>
                <a:off x="14551266" y="2215381"/>
                <a:ext cx="2409825" cy="533400"/>
              </a:xfrm>
              <a:custGeom>
                <a:avLst/>
                <a:gdLst>
                  <a:gd name="connsiteX0" fmla="*/ 2399696 w 2409825"/>
                  <a:gd name="connsiteY0" fmla="*/ 68452 h 533400"/>
                  <a:gd name="connsiteX1" fmla="*/ 24352 w 2409825"/>
                  <a:gd name="connsiteY1" fmla="*/ 536416 h 533400"/>
                  <a:gd name="connsiteX2" fmla="*/ 8540 w 2409825"/>
                  <a:gd name="connsiteY2" fmla="*/ 525843 h 533400"/>
                  <a:gd name="connsiteX3" fmla="*/ 253 w 2409825"/>
                  <a:gd name="connsiteY3" fmla="*/ 484028 h 533400"/>
                  <a:gd name="connsiteX4" fmla="*/ 10826 w 2409825"/>
                  <a:gd name="connsiteY4" fmla="*/ 468217 h 533400"/>
                  <a:gd name="connsiteX5" fmla="*/ 2386171 w 2409825"/>
                  <a:gd name="connsiteY5" fmla="*/ 253 h 533400"/>
                  <a:gd name="connsiteX6" fmla="*/ 2401982 w 2409825"/>
                  <a:gd name="connsiteY6" fmla="*/ 10826 h 533400"/>
                  <a:gd name="connsiteX7" fmla="*/ 2410269 w 2409825"/>
                  <a:gd name="connsiteY7" fmla="*/ 52641 h 533400"/>
                  <a:gd name="connsiteX8" fmla="*/ 2399696 w 2409825"/>
                  <a:gd name="connsiteY8" fmla="*/ 68452 h 533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409825" h="533400">
                    <a:moveTo>
                      <a:pt x="2399696" y="68452"/>
                    </a:moveTo>
                    <a:lnTo>
                      <a:pt x="24352" y="536416"/>
                    </a:lnTo>
                    <a:cubicBezTo>
                      <a:pt x="17017" y="537844"/>
                      <a:pt x="9969" y="533082"/>
                      <a:pt x="8540" y="525843"/>
                    </a:cubicBezTo>
                    <a:lnTo>
                      <a:pt x="253" y="484028"/>
                    </a:lnTo>
                    <a:cubicBezTo>
                      <a:pt x="-1175" y="476694"/>
                      <a:pt x="3587" y="469645"/>
                      <a:pt x="10826" y="468217"/>
                    </a:cubicBezTo>
                    <a:lnTo>
                      <a:pt x="2386171" y="253"/>
                    </a:lnTo>
                    <a:cubicBezTo>
                      <a:pt x="2393505" y="-1175"/>
                      <a:pt x="2400553" y="3587"/>
                      <a:pt x="2401982" y="10826"/>
                    </a:cubicBezTo>
                    <a:lnTo>
                      <a:pt x="2410269" y="52641"/>
                    </a:lnTo>
                    <a:cubicBezTo>
                      <a:pt x="2411698" y="59880"/>
                      <a:pt x="2406935" y="66928"/>
                      <a:pt x="2399696" y="68452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5" name="Freeform: Shape 104">
                <a:extLst>
                  <a:ext uri="{FF2B5EF4-FFF2-40B4-BE49-F238E27FC236}">
                    <a16:creationId xmlns:a16="http://schemas.microsoft.com/office/drawing/2014/main" id="{084D2072-0122-422E-807B-D0F21C313656}"/>
                  </a:ext>
                </a:extLst>
              </p:cNvPr>
              <p:cNvSpPr/>
              <p:nvPr/>
            </p:nvSpPr>
            <p:spPr>
              <a:xfrm>
                <a:off x="12818952" y="2061757"/>
                <a:ext cx="2114550" cy="2238375"/>
              </a:xfrm>
              <a:custGeom>
                <a:avLst/>
                <a:gdLst>
                  <a:gd name="connsiteX0" fmla="*/ 1107695 w 2114550"/>
                  <a:gd name="connsiteY0" fmla="*/ 21415 h 2238375"/>
                  <a:gd name="connsiteX1" fmla="*/ 73757 w 2114550"/>
                  <a:gd name="connsiteY1" fmla="*/ 638159 h 2238375"/>
                  <a:gd name="connsiteX2" fmla="*/ 21369 w 2114550"/>
                  <a:gd name="connsiteY2" fmla="*/ 845423 h 2238375"/>
                  <a:gd name="connsiteX3" fmla="*/ 808706 w 2114550"/>
                  <a:gd name="connsiteY3" fmla="*/ 2165207 h 2238375"/>
                  <a:gd name="connsiteX4" fmla="*/ 1015970 w 2114550"/>
                  <a:gd name="connsiteY4" fmla="*/ 2217594 h 2238375"/>
                  <a:gd name="connsiteX5" fmla="*/ 2049908 w 2114550"/>
                  <a:gd name="connsiteY5" fmla="*/ 1600851 h 2238375"/>
                  <a:gd name="connsiteX6" fmla="*/ 2102296 w 2114550"/>
                  <a:gd name="connsiteY6" fmla="*/ 1393587 h 2238375"/>
                  <a:gd name="connsiteX7" fmla="*/ 1314959 w 2114550"/>
                  <a:gd name="connsiteY7" fmla="*/ 73707 h 2238375"/>
                  <a:gd name="connsiteX8" fmla="*/ 1107695 w 2114550"/>
                  <a:gd name="connsiteY8" fmla="*/ 21415 h 22383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114550" h="2238375">
                    <a:moveTo>
                      <a:pt x="1107695" y="21415"/>
                    </a:moveTo>
                    <a:lnTo>
                      <a:pt x="73757" y="638159"/>
                    </a:lnTo>
                    <a:cubicBezTo>
                      <a:pt x="2033" y="680926"/>
                      <a:pt x="-21398" y="773700"/>
                      <a:pt x="21369" y="845423"/>
                    </a:cubicBezTo>
                    <a:lnTo>
                      <a:pt x="808706" y="2165207"/>
                    </a:lnTo>
                    <a:cubicBezTo>
                      <a:pt x="851473" y="2236930"/>
                      <a:pt x="944246" y="2260362"/>
                      <a:pt x="1015970" y="2217594"/>
                    </a:cubicBezTo>
                    <a:lnTo>
                      <a:pt x="2049908" y="1600851"/>
                    </a:lnTo>
                    <a:cubicBezTo>
                      <a:pt x="2121632" y="1558083"/>
                      <a:pt x="2145063" y="1465310"/>
                      <a:pt x="2102296" y="1393587"/>
                    </a:cubicBezTo>
                    <a:lnTo>
                      <a:pt x="1314959" y="73707"/>
                    </a:lnTo>
                    <a:cubicBezTo>
                      <a:pt x="1272192" y="2079"/>
                      <a:pt x="1179419" y="-21447"/>
                      <a:pt x="1107695" y="21415"/>
                    </a:cubicBezTo>
                    <a:close/>
                  </a:path>
                </a:pathLst>
              </a:custGeom>
              <a:solidFill>
                <a:schemeClr val="bg2">
                  <a:lumMod val="7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6" name="Freeform: Shape 105">
                <a:extLst>
                  <a:ext uri="{FF2B5EF4-FFF2-40B4-BE49-F238E27FC236}">
                    <a16:creationId xmlns:a16="http://schemas.microsoft.com/office/drawing/2014/main" id="{437D2503-DE24-46DA-957F-8535379E3386}"/>
                  </a:ext>
                </a:extLst>
              </p:cNvPr>
              <p:cNvSpPr/>
              <p:nvPr/>
            </p:nvSpPr>
            <p:spPr>
              <a:xfrm>
                <a:off x="12949610" y="2204449"/>
                <a:ext cx="1181100" cy="800100"/>
              </a:xfrm>
              <a:custGeom>
                <a:avLst/>
                <a:gdLst>
                  <a:gd name="connsiteX0" fmla="*/ 1044126 w 1181100"/>
                  <a:gd name="connsiteY0" fmla="*/ 9185 h 800100"/>
                  <a:gd name="connsiteX1" fmla="*/ 31618 w 1181100"/>
                  <a:gd name="connsiteY1" fmla="*/ 613165 h 800100"/>
                  <a:gd name="connsiteX2" fmla="*/ 9139 w 1181100"/>
                  <a:gd name="connsiteY2" fmla="*/ 702034 h 800100"/>
                  <a:gd name="connsiteX3" fmla="*/ 54192 w 1181100"/>
                  <a:gd name="connsiteY3" fmla="*/ 777662 h 800100"/>
                  <a:gd name="connsiteX4" fmla="*/ 143060 w 1181100"/>
                  <a:gd name="connsiteY4" fmla="*/ 800046 h 800100"/>
                  <a:gd name="connsiteX5" fmla="*/ 1155568 w 1181100"/>
                  <a:gd name="connsiteY5" fmla="*/ 196066 h 800100"/>
                  <a:gd name="connsiteX6" fmla="*/ 1178047 w 1181100"/>
                  <a:gd name="connsiteY6" fmla="*/ 107197 h 800100"/>
                  <a:gd name="connsiteX7" fmla="*/ 1132994 w 1181100"/>
                  <a:gd name="connsiteY7" fmla="*/ 31569 h 800100"/>
                  <a:gd name="connsiteX8" fmla="*/ 1044126 w 1181100"/>
                  <a:gd name="connsiteY8" fmla="*/ 9185 h 800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81100" h="800100">
                    <a:moveTo>
                      <a:pt x="1044126" y="9185"/>
                    </a:moveTo>
                    <a:lnTo>
                      <a:pt x="31618" y="613165"/>
                    </a:lnTo>
                    <a:cubicBezTo>
                      <a:pt x="852" y="631453"/>
                      <a:pt x="-9149" y="671268"/>
                      <a:pt x="9139" y="702034"/>
                    </a:cubicBezTo>
                    <a:lnTo>
                      <a:pt x="54192" y="777662"/>
                    </a:lnTo>
                    <a:cubicBezTo>
                      <a:pt x="72575" y="808428"/>
                      <a:pt x="112295" y="818429"/>
                      <a:pt x="143060" y="800046"/>
                    </a:cubicBezTo>
                    <a:lnTo>
                      <a:pt x="1155568" y="196066"/>
                    </a:lnTo>
                    <a:cubicBezTo>
                      <a:pt x="1186334" y="177682"/>
                      <a:pt x="1196430" y="137963"/>
                      <a:pt x="1178047" y="107197"/>
                    </a:cubicBezTo>
                    <a:lnTo>
                      <a:pt x="1132994" y="31569"/>
                    </a:lnTo>
                    <a:cubicBezTo>
                      <a:pt x="1114706" y="898"/>
                      <a:pt x="1074891" y="-9198"/>
                      <a:pt x="1044126" y="9185"/>
                    </a:cubicBezTo>
                    <a:close/>
                  </a:path>
                </a:pathLst>
              </a:custGeom>
              <a:solidFill>
                <a:schemeClr val="bg2">
                  <a:lumMod val="8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7" name="Freeform: Shape 106">
                <a:extLst>
                  <a:ext uri="{FF2B5EF4-FFF2-40B4-BE49-F238E27FC236}">
                    <a16:creationId xmlns:a16="http://schemas.microsoft.com/office/drawing/2014/main" id="{733E5072-7AE2-42F4-8CDE-962B2E6D50C4}"/>
                  </a:ext>
                </a:extLst>
              </p:cNvPr>
              <p:cNvSpPr/>
              <p:nvPr/>
            </p:nvSpPr>
            <p:spPr>
              <a:xfrm>
                <a:off x="13134681" y="3044029"/>
                <a:ext cx="285750" cy="257175"/>
              </a:xfrm>
              <a:custGeom>
                <a:avLst/>
                <a:gdLst>
                  <a:gd name="connsiteX0" fmla="*/ 135155 w 285750"/>
                  <a:gd name="connsiteY0" fmla="*/ 257360 h 257175"/>
                  <a:gd name="connsiteX1" fmla="*/ 260408 w 285750"/>
                  <a:gd name="connsiteY1" fmla="*/ 182589 h 257175"/>
                  <a:gd name="connsiteX2" fmla="*/ 282888 w 285750"/>
                  <a:gd name="connsiteY2" fmla="*/ 93721 h 257175"/>
                  <a:gd name="connsiteX3" fmla="*/ 245835 w 285750"/>
                  <a:gd name="connsiteY3" fmla="*/ 31618 h 257175"/>
                  <a:gd name="connsiteX4" fmla="*/ 156967 w 285750"/>
                  <a:gd name="connsiteY4" fmla="*/ 9139 h 257175"/>
                  <a:gd name="connsiteX5" fmla="*/ 31618 w 285750"/>
                  <a:gd name="connsiteY5" fmla="*/ 83910 h 257175"/>
                  <a:gd name="connsiteX6" fmla="*/ 9139 w 285750"/>
                  <a:gd name="connsiteY6" fmla="*/ 172779 h 257175"/>
                  <a:gd name="connsiteX7" fmla="*/ 46191 w 285750"/>
                  <a:gd name="connsiteY7" fmla="*/ 234881 h 257175"/>
                  <a:gd name="connsiteX8" fmla="*/ 135155 w 285750"/>
                  <a:gd name="connsiteY8" fmla="*/ 257360 h 257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85750" h="257175">
                    <a:moveTo>
                      <a:pt x="135155" y="257360"/>
                    </a:moveTo>
                    <a:lnTo>
                      <a:pt x="260408" y="182589"/>
                    </a:lnTo>
                    <a:cubicBezTo>
                      <a:pt x="291174" y="164206"/>
                      <a:pt x="301175" y="124487"/>
                      <a:pt x="282888" y="93721"/>
                    </a:cubicBezTo>
                    <a:lnTo>
                      <a:pt x="245835" y="31618"/>
                    </a:lnTo>
                    <a:cubicBezTo>
                      <a:pt x="227452" y="852"/>
                      <a:pt x="187733" y="-9149"/>
                      <a:pt x="156967" y="9139"/>
                    </a:cubicBezTo>
                    <a:lnTo>
                      <a:pt x="31618" y="83910"/>
                    </a:lnTo>
                    <a:cubicBezTo>
                      <a:pt x="852" y="102198"/>
                      <a:pt x="-9149" y="142013"/>
                      <a:pt x="9139" y="172779"/>
                    </a:cubicBezTo>
                    <a:lnTo>
                      <a:pt x="46191" y="234881"/>
                    </a:lnTo>
                    <a:cubicBezTo>
                      <a:pt x="64574" y="265647"/>
                      <a:pt x="104389" y="275744"/>
                      <a:pt x="135155" y="257360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8" name="Freeform: Shape 107">
                <a:extLst>
                  <a:ext uri="{FF2B5EF4-FFF2-40B4-BE49-F238E27FC236}">
                    <a16:creationId xmlns:a16="http://schemas.microsoft.com/office/drawing/2014/main" id="{E57EC120-5FDF-4E39-A518-E052D080B280}"/>
                  </a:ext>
                </a:extLst>
              </p:cNvPr>
              <p:cNvSpPr/>
              <p:nvPr/>
            </p:nvSpPr>
            <p:spPr>
              <a:xfrm>
                <a:off x="13430528" y="2867629"/>
                <a:ext cx="285750" cy="257175"/>
              </a:xfrm>
              <a:custGeom>
                <a:avLst/>
                <a:gdLst>
                  <a:gd name="connsiteX0" fmla="*/ 156776 w 285750"/>
                  <a:gd name="connsiteY0" fmla="*/ 9135 h 257175"/>
                  <a:gd name="connsiteX1" fmla="*/ 31618 w 285750"/>
                  <a:gd name="connsiteY1" fmla="*/ 83907 h 257175"/>
                  <a:gd name="connsiteX2" fmla="*/ 9139 w 285750"/>
                  <a:gd name="connsiteY2" fmla="*/ 172775 h 257175"/>
                  <a:gd name="connsiteX3" fmla="*/ 46191 w 285750"/>
                  <a:gd name="connsiteY3" fmla="*/ 234973 h 257175"/>
                  <a:gd name="connsiteX4" fmla="*/ 135059 w 285750"/>
                  <a:gd name="connsiteY4" fmla="*/ 257452 h 257175"/>
                  <a:gd name="connsiteX5" fmla="*/ 260313 w 285750"/>
                  <a:gd name="connsiteY5" fmla="*/ 182776 h 257175"/>
                  <a:gd name="connsiteX6" fmla="*/ 282792 w 285750"/>
                  <a:gd name="connsiteY6" fmla="*/ 93908 h 257175"/>
                  <a:gd name="connsiteX7" fmla="*/ 245740 w 285750"/>
                  <a:gd name="connsiteY7" fmla="*/ 31710 h 257175"/>
                  <a:gd name="connsiteX8" fmla="*/ 156776 w 285750"/>
                  <a:gd name="connsiteY8" fmla="*/ 9135 h 257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85750" h="257175">
                    <a:moveTo>
                      <a:pt x="156776" y="9135"/>
                    </a:moveTo>
                    <a:lnTo>
                      <a:pt x="31618" y="83907"/>
                    </a:lnTo>
                    <a:cubicBezTo>
                      <a:pt x="852" y="102290"/>
                      <a:pt x="-9149" y="142009"/>
                      <a:pt x="9139" y="172775"/>
                    </a:cubicBezTo>
                    <a:lnTo>
                      <a:pt x="46191" y="234973"/>
                    </a:lnTo>
                    <a:cubicBezTo>
                      <a:pt x="64479" y="265739"/>
                      <a:pt x="104294" y="275740"/>
                      <a:pt x="135059" y="257452"/>
                    </a:cubicBezTo>
                    <a:lnTo>
                      <a:pt x="260313" y="182776"/>
                    </a:lnTo>
                    <a:cubicBezTo>
                      <a:pt x="291079" y="164393"/>
                      <a:pt x="301080" y="124674"/>
                      <a:pt x="282792" y="93908"/>
                    </a:cubicBezTo>
                    <a:lnTo>
                      <a:pt x="245740" y="31710"/>
                    </a:lnTo>
                    <a:cubicBezTo>
                      <a:pt x="227357" y="849"/>
                      <a:pt x="187542" y="-9153"/>
                      <a:pt x="156776" y="9135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9" name="Freeform: Shape 108">
                <a:extLst>
                  <a:ext uri="{FF2B5EF4-FFF2-40B4-BE49-F238E27FC236}">
                    <a16:creationId xmlns:a16="http://schemas.microsoft.com/office/drawing/2014/main" id="{78940F7C-E74E-4568-A331-6A248AF24DEB}"/>
                  </a:ext>
                </a:extLst>
              </p:cNvPr>
              <p:cNvSpPr/>
              <p:nvPr/>
            </p:nvSpPr>
            <p:spPr>
              <a:xfrm>
                <a:off x="13726184" y="2691223"/>
                <a:ext cx="285750" cy="257175"/>
              </a:xfrm>
              <a:custGeom>
                <a:avLst/>
                <a:gdLst>
                  <a:gd name="connsiteX0" fmla="*/ 156872 w 285750"/>
                  <a:gd name="connsiteY0" fmla="*/ 9139 h 257175"/>
                  <a:gd name="connsiteX1" fmla="*/ 31618 w 285750"/>
                  <a:gd name="connsiteY1" fmla="*/ 83815 h 257175"/>
                  <a:gd name="connsiteX2" fmla="*/ 9139 w 285750"/>
                  <a:gd name="connsiteY2" fmla="*/ 172683 h 257175"/>
                  <a:gd name="connsiteX3" fmla="*/ 46191 w 285750"/>
                  <a:gd name="connsiteY3" fmla="*/ 234786 h 257175"/>
                  <a:gd name="connsiteX4" fmla="*/ 135059 w 285750"/>
                  <a:gd name="connsiteY4" fmla="*/ 257265 h 257175"/>
                  <a:gd name="connsiteX5" fmla="*/ 260313 w 285750"/>
                  <a:gd name="connsiteY5" fmla="*/ 182589 h 257175"/>
                  <a:gd name="connsiteX6" fmla="*/ 282792 w 285750"/>
                  <a:gd name="connsiteY6" fmla="*/ 93721 h 257175"/>
                  <a:gd name="connsiteX7" fmla="*/ 245740 w 285750"/>
                  <a:gd name="connsiteY7" fmla="*/ 31618 h 257175"/>
                  <a:gd name="connsiteX8" fmla="*/ 156872 w 285750"/>
                  <a:gd name="connsiteY8" fmla="*/ 9139 h 257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85750" h="257175">
                    <a:moveTo>
                      <a:pt x="156872" y="9139"/>
                    </a:moveTo>
                    <a:lnTo>
                      <a:pt x="31618" y="83815"/>
                    </a:lnTo>
                    <a:cubicBezTo>
                      <a:pt x="852" y="102198"/>
                      <a:pt x="-9149" y="141918"/>
                      <a:pt x="9139" y="172683"/>
                    </a:cubicBezTo>
                    <a:lnTo>
                      <a:pt x="46191" y="234786"/>
                    </a:lnTo>
                    <a:cubicBezTo>
                      <a:pt x="64574" y="265552"/>
                      <a:pt x="104294" y="275648"/>
                      <a:pt x="135059" y="257265"/>
                    </a:cubicBezTo>
                    <a:lnTo>
                      <a:pt x="260313" y="182589"/>
                    </a:lnTo>
                    <a:cubicBezTo>
                      <a:pt x="291079" y="164206"/>
                      <a:pt x="301080" y="124487"/>
                      <a:pt x="282792" y="93721"/>
                    </a:cubicBezTo>
                    <a:lnTo>
                      <a:pt x="245740" y="31618"/>
                    </a:lnTo>
                    <a:cubicBezTo>
                      <a:pt x="227452" y="852"/>
                      <a:pt x="187638" y="-9149"/>
                      <a:pt x="156872" y="9139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0" name="Freeform: Shape 109">
                <a:extLst>
                  <a:ext uri="{FF2B5EF4-FFF2-40B4-BE49-F238E27FC236}">
                    <a16:creationId xmlns:a16="http://schemas.microsoft.com/office/drawing/2014/main" id="{D686A708-C9C5-47ED-9D0C-09D1D7673DE1}"/>
                  </a:ext>
                </a:extLst>
              </p:cNvPr>
              <p:cNvSpPr/>
              <p:nvPr/>
            </p:nvSpPr>
            <p:spPr>
              <a:xfrm>
                <a:off x="14022030" y="2514774"/>
                <a:ext cx="285750" cy="257175"/>
              </a:xfrm>
              <a:custGeom>
                <a:avLst/>
                <a:gdLst>
                  <a:gd name="connsiteX0" fmla="*/ 156872 w 285750"/>
                  <a:gd name="connsiteY0" fmla="*/ 9185 h 257175"/>
                  <a:gd name="connsiteX1" fmla="*/ 31618 w 285750"/>
                  <a:gd name="connsiteY1" fmla="*/ 83956 h 257175"/>
                  <a:gd name="connsiteX2" fmla="*/ 9139 w 285750"/>
                  <a:gd name="connsiteY2" fmla="*/ 172825 h 257175"/>
                  <a:gd name="connsiteX3" fmla="*/ 46191 w 285750"/>
                  <a:gd name="connsiteY3" fmla="*/ 234927 h 257175"/>
                  <a:gd name="connsiteX4" fmla="*/ 135060 w 285750"/>
                  <a:gd name="connsiteY4" fmla="*/ 257406 h 257175"/>
                  <a:gd name="connsiteX5" fmla="*/ 260313 w 285750"/>
                  <a:gd name="connsiteY5" fmla="*/ 182635 h 257175"/>
                  <a:gd name="connsiteX6" fmla="*/ 282792 w 285750"/>
                  <a:gd name="connsiteY6" fmla="*/ 93767 h 257175"/>
                  <a:gd name="connsiteX7" fmla="*/ 245740 w 285750"/>
                  <a:gd name="connsiteY7" fmla="*/ 31569 h 257175"/>
                  <a:gd name="connsiteX8" fmla="*/ 156872 w 285750"/>
                  <a:gd name="connsiteY8" fmla="*/ 9185 h 257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85750" h="257175">
                    <a:moveTo>
                      <a:pt x="156872" y="9185"/>
                    </a:moveTo>
                    <a:lnTo>
                      <a:pt x="31618" y="83956"/>
                    </a:lnTo>
                    <a:cubicBezTo>
                      <a:pt x="852" y="102340"/>
                      <a:pt x="-9149" y="142059"/>
                      <a:pt x="9139" y="172825"/>
                    </a:cubicBezTo>
                    <a:lnTo>
                      <a:pt x="46191" y="234927"/>
                    </a:lnTo>
                    <a:cubicBezTo>
                      <a:pt x="64574" y="265693"/>
                      <a:pt x="104294" y="275694"/>
                      <a:pt x="135060" y="257406"/>
                    </a:cubicBezTo>
                    <a:lnTo>
                      <a:pt x="260313" y="182635"/>
                    </a:lnTo>
                    <a:cubicBezTo>
                      <a:pt x="291079" y="164252"/>
                      <a:pt x="301080" y="124533"/>
                      <a:pt x="282792" y="93767"/>
                    </a:cubicBezTo>
                    <a:lnTo>
                      <a:pt x="245740" y="31569"/>
                    </a:lnTo>
                    <a:cubicBezTo>
                      <a:pt x="227357" y="898"/>
                      <a:pt x="187542" y="-9198"/>
                      <a:pt x="156872" y="9185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1" name="Freeform: Shape 110">
                <a:extLst>
                  <a:ext uri="{FF2B5EF4-FFF2-40B4-BE49-F238E27FC236}">
                    <a16:creationId xmlns:a16="http://schemas.microsoft.com/office/drawing/2014/main" id="{5AF2B948-13CB-43B7-B0D6-AD81B5CC3F40}"/>
                  </a:ext>
                </a:extLst>
              </p:cNvPr>
              <p:cNvSpPr/>
              <p:nvPr/>
            </p:nvSpPr>
            <p:spPr>
              <a:xfrm>
                <a:off x="13270984" y="3272438"/>
                <a:ext cx="285750" cy="257175"/>
              </a:xfrm>
              <a:custGeom>
                <a:avLst/>
                <a:gdLst>
                  <a:gd name="connsiteX0" fmla="*/ 135059 w 285750"/>
                  <a:gd name="connsiteY0" fmla="*/ 257361 h 257175"/>
                  <a:gd name="connsiteX1" fmla="*/ 260313 w 285750"/>
                  <a:gd name="connsiteY1" fmla="*/ 182589 h 257175"/>
                  <a:gd name="connsiteX2" fmla="*/ 282792 w 285750"/>
                  <a:gd name="connsiteY2" fmla="*/ 93721 h 257175"/>
                  <a:gd name="connsiteX3" fmla="*/ 245740 w 285750"/>
                  <a:gd name="connsiteY3" fmla="*/ 31618 h 257175"/>
                  <a:gd name="connsiteX4" fmla="*/ 156872 w 285750"/>
                  <a:gd name="connsiteY4" fmla="*/ 9139 h 257175"/>
                  <a:gd name="connsiteX5" fmla="*/ 31618 w 285750"/>
                  <a:gd name="connsiteY5" fmla="*/ 83910 h 257175"/>
                  <a:gd name="connsiteX6" fmla="*/ 9139 w 285750"/>
                  <a:gd name="connsiteY6" fmla="*/ 172779 h 257175"/>
                  <a:gd name="connsiteX7" fmla="*/ 46191 w 285750"/>
                  <a:gd name="connsiteY7" fmla="*/ 234882 h 257175"/>
                  <a:gd name="connsiteX8" fmla="*/ 135059 w 285750"/>
                  <a:gd name="connsiteY8" fmla="*/ 257361 h 257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85750" h="257175">
                    <a:moveTo>
                      <a:pt x="135059" y="257361"/>
                    </a:moveTo>
                    <a:lnTo>
                      <a:pt x="260313" y="182589"/>
                    </a:lnTo>
                    <a:cubicBezTo>
                      <a:pt x="291079" y="164206"/>
                      <a:pt x="301080" y="124487"/>
                      <a:pt x="282792" y="93721"/>
                    </a:cubicBezTo>
                    <a:lnTo>
                      <a:pt x="245740" y="31618"/>
                    </a:lnTo>
                    <a:cubicBezTo>
                      <a:pt x="227357" y="852"/>
                      <a:pt x="187638" y="-9149"/>
                      <a:pt x="156872" y="9139"/>
                    </a:cubicBezTo>
                    <a:lnTo>
                      <a:pt x="31618" y="83910"/>
                    </a:lnTo>
                    <a:cubicBezTo>
                      <a:pt x="852" y="102198"/>
                      <a:pt x="-9149" y="142013"/>
                      <a:pt x="9139" y="172779"/>
                    </a:cubicBezTo>
                    <a:lnTo>
                      <a:pt x="46191" y="234882"/>
                    </a:lnTo>
                    <a:cubicBezTo>
                      <a:pt x="64479" y="265647"/>
                      <a:pt x="104294" y="275649"/>
                      <a:pt x="135059" y="257361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2" name="Freeform: Shape 111">
                <a:extLst>
                  <a:ext uri="{FF2B5EF4-FFF2-40B4-BE49-F238E27FC236}">
                    <a16:creationId xmlns:a16="http://schemas.microsoft.com/office/drawing/2014/main" id="{6C6A04EB-2CD8-48C5-B997-86181708822F}"/>
                  </a:ext>
                </a:extLst>
              </p:cNvPr>
              <p:cNvSpPr/>
              <p:nvPr/>
            </p:nvSpPr>
            <p:spPr>
              <a:xfrm>
                <a:off x="13566735" y="3096035"/>
                <a:ext cx="285750" cy="257175"/>
              </a:xfrm>
              <a:custGeom>
                <a:avLst/>
                <a:gdLst>
                  <a:gd name="connsiteX0" fmla="*/ 156872 w 285750"/>
                  <a:gd name="connsiteY0" fmla="*/ 9139 h 257175"/>
                  <a:gd name="connsiteX1" fmla="*/ 31618 w 285750"/>
                  <a:gd name="connsiteY1" fmla="*/ 83815 h 257175"/>
                  <a:gd name="connsiteX2" fmla="*/ 9139 w 285750"/>
                  <a:gd name="connsiteY2" fmla="*/ 172683 h 257175"/>
                  <a:gd name="connsiteX3" fmla="*/ 46191 w 285750"/>
                  <a:gd name="connsiteY3" fmla="*/ 234786 h 257175"/>
                  <a:gd name="connsiteX4" fmla="*/ 135059 w 285750"/>
                  <a:gd name="connsiteY4" fmla="*/ 257265 h 257175"/>
                  <a:gd name="connsiteX5" fmla="*/ 260313 w 285750"/>
                  <a:gd name="connsiteY5" fmla="*/ 182589 h 257175"/>
                  <a:gd name="connsiteX6" fmla="*/ 282792 w 285750"/>
                  <a:gd name="connsiteY6" fmla="*/ 93721 h 257175"/>
                  <a:gd name="connsiteX7" fmla="*/ 245740 w 285750"/>
                  <a:gd name="connsiteY7" fmla="*/ 31618 h 257175"/>
                  <a:gd name="connsiteX8" fmla="*/ 156872 w 285750"/>
                  <a:gd name="connsiteY8" fmla="*/ 9139 h 257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85750" h="257175">
                    <a:moveTo>
                      <a:pt x="156872" y="9139"/>
                    </a:moveTo>
                    <a:lnTo>
                      <a:pt x="31618" y="83815"/>
                    </a:lnTo>
                    <a:cubicBezTo>
                      <a:pt x="852" y="102198"/>
                      <a:pt x="-9149" y="141918"/>
                      <a:pt x="9139" y="172683"/>
                    </a:cubicBezTo>
                    <a:lnTo>
                      <a:pt x="46191" y="234786"/>
                    </a:lnTo>
                    <a:cubicBezTo>
                      <a:pt x="64574" y="265552"/>
                      <a:pt x="104294" y="275553"/>
                      <a:pt x="135059" y="257265"/>
                    </a:cubicBezTo>
                    <a:lnTo>
                      <a:pt x="260313" y="182589"/>
                    </a:lnTo>
                    <a:cubicBezTo>
                      <a:pt x="291079" y="164206"/>
                      <a:pt x="301080" y="124487"/>
                      <a:pt x="282792" y="93721"/>
                    </a:cubicBezTo>
                    <a:lnTo>
                      <a:pt x="245740" y="31618"/>
                    </a:lnTo>
                    <a:cubicBezTo>
                      <a:pt x="227357" y="852"/>
                      <a:pt x="187542" y="-9149"/>
                      <a:pt x="156872" y="9139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3" name="Freeform: Shape 112">
                <a:extLst>
                  <a:ext uri="{FF2B5EF4-FFF2-40B4-BE49-F238E27FC236}">
                    <a16:creationId xmlns:a16="http://schemas.microsoft.com/office/drawing/2014/main" id="{64E0BAFF-F62A-4988-BC08-DD7C1B3BF35C}"/>
                  </a:ext>
                </a:extLst>
              </p:cNvPr>
              <p:cNvSpPr/>
              <p:nvPr/>
            </p:nvSpPr>
            <p:spPr>
              <a:xfrm>
                <a:off x="13862486" y="2919590"/>
                <a:ext cx="285750" cy="257175"/>
              </a:xfrm>
              <a:custGeom>
                <a:avLst/>
                <a:gdLst>
                  <a:gd name="connsiteX0" fmla="*/ 156872 w 285750"/>
                  <a:gd name="connsiteY0" fmla="*/ 9181 h 257175"/>
                  <a:gd name="connsiteX1" fmla="*/ 31618 w 285750"/>
                  <a:gd name="connsiteY1" fmla="*/ 83857 h 257175"/>
                  <a:gd name="connsiteX2" fmla="*/ 9139 w 285750"/>
                  <a:gd name="connsiteY2" fmla="*/ 172726 h 257175"/>
                  <a:gd name="connsiteX3" fmla="*/ 46191 w 285750"/>
                  <a:gd name="connsiteY3" fmla="*/ 234829 h 257175"/>
                  <a:gd name="connsiteX4" fmla="*/ 135059 w 285750"/>
                  <a:gd name="connsiteY4" fmla="*/ 257308 h 257175"/>
                  <a:gd name="connsiteX5" fmla="*/ 260313 w 285750"/>
                  <a:gd name="connsiteY5" fmla="*/ 182632 h 257175"/>
                  <a:gd name="connsiteX6" fmla="*/ 282792 w 285750"/>
                  <a:gd name="connsiteY6" fmla="*/ 93763 h 257175"/>
                  <a:gd name="connsiteX7" fmla="*/ 245740 w 285750"/>
                  <a:gd name="connsiteY7" fmla="*/ 31660 h 257175"/>
                  <a:gd name="connsiteX8" fmla="*/ 156872 w 285750"/>
                  <a:gd name="connsiteY8" fmla="*/ 9181 h 257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85750" h="257175">
                    <a:moveTo>
                      <a:pt x="156872" y="9181"/>
                    </a:moveTo>
                    <a:lnTo>
                      <a:pt x="31618" y="83857"/>
                    </a:lnTo>
                    <a:cubicBezTo>
                      <a:pt x="852" y="102241"/>
                      <a:pt x="-9149" y="141960"/>
                      <a:pt x="9139" y="172726"/>
                    </a:cubicBezTo>
                    <a:lnTo>
                      <a:pt x="46191" y="234829"/>
                    </a:lnTo>
                    <a:cubicBezTo>
                      <a:pt x="64575" y="265594"/>
                      <a:pt x="104294" y="275691"/>
                      <a:pt x="135059" y="257308"/>
                    </a:cubicBezTo>
                    <a:lnTo>
                      <a:pt x="260313" y="182632"/>
                    </a:lnTo>
                    <a:cubicBezTo>
                      <a:pt x="291079" y="164248"/>
                      <a:pt x="301080" y="124529"/>
                      <a:pt x="282792" y="93763"/>
                    </a:cubicBezTo>
                    <a:lnTo>
                      <a:pt x="245740" y="31660"/>
                    </a:lnTo>
                    <a:cubicBezTo>
                      <a:pt x="227357" y="895"/>
                      <a:pt x="187542" y="-9202"/>
                      <a:pt x="156872" y="9181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4" name="Freeform: Shape 113">
                <a:extLst>
                  <a:ext uri="{FF2B5EF4-FFF2-40B4-BE49-F238E27FC236}">
                    <a16:creationId xmlns:a16="http://schemas.microsoft.com/office/drawing/2014/main" id="{37A942D5-6B51-4349-84A6-53CCA03EA963}"/>
                  </a:ext>
                </a:extLst>
              </p:cNvPr>
              <p:cNvSpPr/>
              <p:nvPr/>
            </p:nvSpPr>
            <p:spPr>
              <a:xfrm>
                <a:off x="14158237" y="2743187"/>
                <a:ext cx="285750" cy="257175"/>
              </a:xfrm>
              <a:custGeom>
                <a:avLst/>
                <a:gdLst>
                  <a:gd name="connsiteX0" fmla="*/ 156872 w 285750"/>
                  <a:gd name="connsiteY0" fmla="*/ 9181 h 257175"/>
                  <a:gd name="connsiteX1" fmla="*/ 31618 w 285750"/>
                  <a:gd name="connsiteY1" fmla="*/ 83953 h 257175"/>
                  <a:gd name="connsiteX2" fmla="*/ 9139 w 285750"/>
                  <a:gd name="connsiteY2" fmla="*/ 172821 h 257175"/>
                  <a:gd name="connsiteX3" fmla="*/ 46191 w 285750"/>
                  <a:gd name="connsiteY3" fmla="*/ 234924 h 257175"/>
                  <a:gd name="connsiteX4" fmla="*/ 135060 w 285750"/>
                  <a:gd name="connsiteY4" fmla="*/ 257403 h 257175"/>
                  <a:gd name="connsiteX5" fmla="*/ 260313 w 285750"/>
                  <a:gd name="connsiteY5" fmla="*/ 182632 h 257175"/>
                  <a:gd name="connsiteX6" fmla="*/ 282792 w 285750"/>
                  <a:gd name="connsiteY6" fmla="*/ 93763 h 257175"/>
                  <a:gd name="connsiteX7" fmla="*/ 245740 w 285750"/>
                  <a:gd name="connsiteY7" fmla="*/ 31660 h 257175"/>
                  <a:gd name="connsiteX8" fmla="*/ 156872 w 285750"/>
                  <a:gd name="connsiteY8" fmla="*/ 9181 h 257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85750" h="257175">
                    <a:moveTo>
                      <a:pt x="156872" y="9181"/>
                    </a:moveTo>
                    <a:lnTo>
                      <a:pt x="31618" y="83953"/>
                    </a:lnTo>
                    <a:cubicBezTo>
                      <a:pt x="852" y="102336"/>
                      <a:pt x="-9149" y="142055"/>
                      <a:pt x="9139" y="172821"/>
                    </a:cubicBezTo>
                    <a:lnTo>
                      <a:pt x="46191" y="234924"/>
                    </a:lnTo>
                    <a:cubicBezTo>
                      <a:pt x="64574" y="265690"/>
                      <a:pt x="104294" y="275691"/>
                      <a:pt x="135060" y="257403"/>
                    </a:cubicBezTo>
                    <a:lnTo>
                      <a:pt x="260313" y="182632"/>
                    </a:lnTo>
                    <a:cubicBezTo>
                      <a:pt x="291079" y="164248"/>
                      <a:pt x="301080" y="124529"/>
                      <a:pt x="282792" y="93763"/>
                    </a:cubicBezTo>
                    <a:lnTo>
                      <a:pt x="245740" y="31660"/>
                    </a:lnTo>
                    <a:cubicBezTo>
                      <a:pt x="227357" y="895"/>
                      <a:pt x="187637" y="-9202"/>
                      <a:pt x="156872" y="9181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5" name="Freeform: Shape 114">
                <a:extLst>
                  <a:ext uri="{FF2B5EF4-FFF2-40B4-BE49-F238E27FC236}">
                    <a16:creationId xmlns:a16="http://schemas.microsoft.com/office/drawing/2014/main" id="{6FF47739-E02D-4AA4-AA35-FCB091B9FD30}"/>
                  </a:ext>
                </a:extLst>
              </p:cNvPr>
              <p:cNvSpPr/>
              <p:nvPr/>
            </p:nvSpPr>
            <p:spPr>
              <a:xfrm>
                <a:off x="13407191" y="3500752"/>
                <a:ext cx="285750" cy="257175"/>
              </a:xfrm>
              <a:custGeom>
                <a:avLst/>
                <a:gdLst>
                  <a:gd name="connsiteX0" fmla="*/ 135059 w 285750"/>
                  <a:gd name="connsiteY0" fmla="*/ 257360 h 257175"/>
                  <a:gd name="connsiteX1" fmla="*/ 260313 w 285750"/>
                  <a:gd name="connsiteY1" fmla="*/ 182589 h 257175"/>
                  <a:gd name="connsiteX2" fmla="*/ 282792 w 285750"/>
                  <a:gd name="connsiteY2" fmla="*/ 93721 h 257175"/>
                  <a:gd name="connsiteX3" fmla="*/ 245740 w 285750"/>
                  <a:gd name="connsiteY3" fmla="*/ 31618 h 257175"/>
                  <a:gd name="connsiteX4" fmla="*/ 156872 w 285750"/>
                  <a:gd name="connsiteY4" fmla="*/ 9139 h 257175"/>
                  <a:gd name="connsiteX5" fmla="*/ 31618 w 285750"/>
                  <a:gd name="connsiteY5" fmla="*/ 83910 h 257175"/>
                  <a:gd name="connsiteX6" fmla="*/ 9139 w 285750"/>
                  <a:gd name="connsiteY6" fmla="*/ 172779 h 257175"/>
                  <a:gd name="connsiteX7" fmla="*/ 46191 w 285750"/>
                  <a:gd name="connsiteY7" fmla="*/ 234882 h 257175"/>
                  <a:gd name="connsiteX8" fmla="*/ 135059 w 285750"/>
                  <a:gd name="connsiteY8" fmla="*/ 257360 h 257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85750" h="257175">
                    <a:moveTo>
                      <a:pt x="135059" y="257360"/>
                    </a:moveTo>
                    <a:lnTo>
                      <a:pt x="260313" y="182589"/>
                    </a:lnTo>
                    <a:cubicBezTo>
                      <a:pt x="291079" y="164206"/>
                      <a:pt x="301080" y="124487"/>
                      <a:pt x="282792" y="93721"/>
                    </a:cubicBezTo>
                    <a:lnTo>
                      <a:pt x="245740" y="31618"/>
                    </a:lnTo>
                    <a:cubicBezTo>
                      <a:pt x="227357" y="852"/>
                      <a:pt x="187637" y="-9149"/>
                      <a:pt x="156872" y="9139"/>
                    </a:cubicBezTo>
                    <a:lnTo>
                      <a:pt x="31618" y="83910"/>
                    </a:lnTo>
                    <a:cubicBezTo>
                      <a:pt x="852" y="102198"/>
                      <a:pt x="-9149" y="142013"/>
                      <a:pt x="9139" y="172779"/>
                    </a:cubicBezTo>
                    <a:lnTo>
                      <a:pt x="46191" y="234882"/>
                    </a:lnTo>
                    <a:cubicBezTo>
                      <a:pt x="64574" y="265647"/>
                      <a:pt x="104389" y="275744"/>
                      <a:pt x="135059" y="257360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6" name="Freeform: Shape 115">
                <a:extLst>
                  <a:ext uri="{FF2B5EF4-FFF2-40B4-BE49-F238E27FC236}">
                    <a16:creationId xmlns:a16="http://schemas.microsoft.com/office/drawing/2014/main" id="{F8D95A26-5560-466A-BCE6-903AA24A3157}"/>
                  </a:ext>
                </a:extLst>
              </p:cNvPr>
              <p:cNvSpPr/>
              <p:nvPr/>
            </p:nvSpPr>
            <p:spPr>
              <a:xfrm>
                <a:off x="13702943" y="3324402"/>
                <a:ext cx="285750" cy="257175"/>
              </a:xfrm>
              <a:custGeom>
                <a:avLst/>
                <a:gdLst>
                  <a:gd name="connsiteX0" fmla="*/ 156872 w 285750"/>
                  <a:gd name="connsiteY0" fmla="*/ 9181 h 257175"/>
                  <a:gd name="connsiteX1" fmla="*/ 31618 w 285750"/>
                  <a:gd name="connsiteY1" fmla="*/ 83857 h 257175"/>
                  <a:gd name="connsiteX2" fmla="*/ 9139 w 285750"/>
                  <a:gd name="connsiteY2" fmla="*/ 172726 h 257175"/>
                  <a:gd name="connsiteX3" fmla="*/ 46191 w 285750"/>
                  <a:gd name="connsiteY3" fmla="*/ 234829 h 257175"/>
                  <a:gd name="connsiteX4" fmla="*/ 135059 w 285750"/>
                  <a:gd name="connsiteY4" fmla="*/ 257308 h 257175"/>
                  <a:gd name="connsiteX5" fmla="*/ 260313 w 285750"/>
                  <a:gd name="connsiteY5" fmla="*/ 182632 h 257175"/>
                  <a:gd name="connsiteX6" fmla="*/ 282792 w 285750"/>
                  <a:gd name="connsiteY6" fmla="*/ 93763 h 257175"/>
                  <a:gd name="connsiteX7" fmla="*/ 245740 w 285750"/>
                  <a:gd name="connsiteY7" fmla="*/ 31660 h 257175"/>
                  <a:gd name="connsiteX8" fmla="*/ 156872 w 285750"/>
                  <a:gd name="connsiteY8" fmla="*/ 9181 h 257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85750" h="257175">
                    <a:moveTo>
                      <a:pt x="156872" y="9181"/>
                    </a:moveTo>
                    <a:lnTo>
                      <a:pt x="31618" y="83857"/>
                    </a:lnTo>
                    <a:cubicBezTo>
                      <a:pt x="852" y="102241"/>
                      <a:pt x="-9149" y="141960"/>
                      <a:pt x="9139" y="172726"/>
                    </a:cubicBezTo>
                    <a:lnTo>
                      <a:pt x="46191" y="234829"/>
                    </a:lnTo>
                    <a:cubicBezTo>
                      <a:pt x="64575" y="265594"/>
                      <a:pt x="104294" y="275596"/>
                      <a:pt x="135059" y="257308"/>
                    </a:cubicBezTo>
                    <a:lnTo>
                      <a:pt x="260313" y="182632"/>
                    </a:lnTo>
                    <a:cubicBezTo>
                      <a:pt x="291079" y="164248"/>
                      <a:pt x="301080" y="124529"/>
                      <a:pt x="282792" y="93763"/>
                    </a:cubicBezTo>
                    <a:lnTo>
                      <a:pt x="245740" y="31660"/>
                    </a:lnTo>
                    <a:cubicBezTo>
                      <a:pt x="227452" y="895"/>
                      <a:pt x="187637" y="-9202"/>
                      <a:pt x="156872" y="9181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7" name="Freeform: Shape 116">
                <a:extLst>
                  <a:ext uri="{FF2B5EF4-FFF2-40B4-BE49-F238E27FC236}">
                    <a16:creationId xmlns:a16="http://schemas.microsoft.com/office/drawing/2014/main" id="{65E08365-D8F3-497A-84D7-57AA40864718}"/>
                  </a:ext>
                </a:extLst>
              </p:cNvPr>
              <p:cNvSpPr/>
              <p:nvPr/>
            </p:nvSpPr>
            <p:spPr>
              <a:xfrm>
                <a:off x="13998694" y="3147999"/>
                <a:ext cx="285750" cy="257175"/>
              </a:xfrm>
              <a:custGeom>
                <a:avLst/>
                <a:gdLst>
                  <a:gd name="connsiteX0" fmla="*/ 156872 w 285750"/>
                  <a:gd name="connsiteY0" fmla="*/ 9181 h 257175"/>
                  <a:gd name="connsiteX1" fmla="*/ 31618 w 285750"/>
                  <a:gd name="connsiteY1" fmla="*/ 83857 h 257175"/>
                  <a:gd name="connsiteX2" fmla="*/ 9139 w 285750"/>
                  <a:gd name="connsiteY2" fmla="*/ 172726 h 257175"/>
                  <a:gd name="connsiteX3" fmla="*/ 46191 w 285750"/>
                  <a:gd name="connsiteY3" fmla="*/ 234829 h 257175"/>
                  <a:gd name="connsiteX4" fmla="*/ 135060 w 285750"/>
                  <a:gd name="connsiteY4" fmla="*/ 257308 h 257175"/>
                  <a:gd name="connsiteX5" fmla="*/ 260313 w 285750"/>
                  <a:gd name="connsiteY5" fmla="*/ 182632 h 257175"/>
                  <a:gd name="connsiteX6" fmla="*/ 282792 w 285750"/>
                  <a:gd name="connsiteY6" fmla="*/ 93763 h 257175"/>
                  <a:gd name="connsiteX7" fmla="*/ 245740 w 285750"/>
                  <a:gd name="connsiteY7" fmla="*/ 31660 h 257175"/>
                  <a:gd name="connsiteX8" fmla="*/ 156872 w 285750"/>
                  <a:gd name="connsiteY8" fmla="*/ 9181 h 257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85750" h="257175">
                    <a:moveTo>
                      <a:pt x="156872" y="9181"/>
                    </a:moveTo>
                    <a:lnTo>
                      <a:pt x="31618" y="83857"/>
                    </a:lnTo>
                    <a:cubicBezTo>
                      <a:pt x="852" y="102241"/>
                      <a:pt x="-9149" y="141960"/>
                      <a:pt x="9139" y="172726"/>
                    </a:cubicBezTo>
                    <a:lnTo>
                      <a:pt x="46191" y="234829"/>
                    </a:lnTo>
                    <a:cubicBezTo>
                      <a:pt x="64574" y="265594"/>
                      <a:pt x="104294" y="275691"/>
                      <a:pt x="135060" y="257308"/>
                    </a:cubicBezTo>
                    <a:lnTo>
                      <a:pt x="260313" y="182632"/>
                    </a:lnTo>
                    <a:cubicBezTo>
                      <a:pt x="291079" y="164248"/>
                      <a:pt x="301080" y="124529"/>
                      <a:pt x="282792" y="93763"/>
                    </a:cubicBezTo>
                    <a:lnTo>
                      <a:pt x="245740" y="31660"/>
                    </a:lnTo>
                    <a:cubicBezTo>
                      <a:pt x="227452" y="895"/>
                      <a:pt x="187637" y="-9202"/>
                      <a:pt x="156872" y="9181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8" name="Freeform: Shape 117">
                <a:extLst>
                  <a:ext uri="{FF2B5EF4-FFF2-40B4-BE49-F238E27FC236}">
                    <a16:creationId xmlns:a16="http://schemas.microsoft.com/office/drawing/2014/main" id="{8114CCB7-0A81-429A-B5C6-8BA0AF448F2E}"/>
                  </a:ext>
                </a:extLst>
              </p:cNvPr>
              <p:cNvSpPr/>
              <p:nvPr/>
            </p:nvSpPr>
            <p:spPr>
              <a:xfrm>
                <a:off x="14294445" y="2971565"/>
                <a:ext cx="285750" cy="257175"/>
              </a:xfrm>
              <a:custGeom>
                <a:avLst/>
                <a:gdLst>
                  <a:gd name="connsiteX0" fmla="*/ 156872 w 285750"/>
                  <a:gd name="connsiteY0" fmla="*/ 9117 h 257175"/>
                  <a:gd name="connsiteX1" fmla="*/ 31618 w 285750"/>
                  <a:gd name="connsiteY1" fmla="*/ 83889 h 257175"/>
                  <a:gd name="connsiteX2" fmla="*/ 9139 w 285750"/>
                  <a:gd name="connsiteY2" fmla="*/ 172757 h 257175"/>
                  <a:gd name="connsiteX3" fmla="*/ 46191 w 285750"/>
                  <a:gd name="connsiteY3" fmla="*/ 234860 h 257175"/>
                  <a:gd name="connsiteX4" fmla="*/ 135059 w 285750"/>
                  <a:gd name="connsiteY4" fmla="*/ 257339 h 257175"/>
                  <a:gd name="connsiteX5" fmla="*/ 260313 w 285750"/>
                  <a:gd name="connsiteY5" fmla="*/ 182568 h 257175"/>
                  <a:gd name="connsiteX6" fmla="*/ 282792 w 285750"/>
                  <a:gd name="connsiteY6" fmla="*/ 93699 h 257175"/>
                  <a:gd name="connsiteX7" fmla="*/ 245740 w 285750"/>
                  <a:gd name="connsiteY7" fmla="*/ 31596 h 257175"/>
                  <a:gd name="connsiteX8" fmla="*/ 156872 w 285750"/>
                  <a:gd name="connsiteY8" fmla="*/ 9117 h 257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85750" h="257175">
                    <a:moveTo>
                      <a:pt x="156872" y="9117"/>
                    </a:moveTo>
                    <a:lnTo>
                      <a:pt x="31618" y="83889"/>
                    </a:lnTo>
                    <a:cubicBezTo>
                      <a:pt x="852" y="102272"/>
                      <a:pt x="-9149" y="141991"/>
                      <a:pt x="9139" y="172757"/>
                    </a:cubicBezTo>
                    <a:lnTo>
                      <a:pt x="46191" y="234860"/>
                    </a:lnTo>
                    <a:cubicBezTo>
                      <a:pt x="64575" y="265626"/>
                      <a:pt x="104294" y="275627"/>
                      <a:pt x="135059" y="257339"/>
                    </a:cubicBezTo>
                    <a:lnTo>
                      <a:pt x="260313" y="182568"/>
                    </a:lnTo>
                    <a:cubicBezTo>
                      <a:pt x="291079" y="164184"/>
                      <a:pt x="301080" y="124465"/>
                      <a:pt x="282792" y="93699"/>
                    </a:cubicBezTo>
                    <a:lnTo>
                      <a:pt x="245740" y="31596"/>
                    </a:lnTo>
                    <a:cubicBezTo>
                      <a:pt x="227452" y="926"/>
                      <a:pt x="187638" y="-9171"/>
                      <a:pt x="156872" y="9117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9" name="Freeform: Shape 118">
                <a:extLst>
                  <a:ext uri="{FF2B5EF4-FFF2-40B4-BE49-F238E27FC236}">
                    <a16:creationId xmlns:a16="http://schemas.microsoft.com/office/drawing/2014/main" id="{1BD1EFAB-24B0-4042-8A2C-9EAFC0B41ACD}"/>
                  </a:ext>
                </a:extLst>
              </p:cNvPr>
              <p:cNvSpPr/>
              <p:nvPr/>
            </p:nvSpPr>
            <p:spPr>
              <a:xfrm>
                <a:off x="13543452" y="3729162"/>
                <a:ext cx="285750" cy="257175"/>
              </a:xfrm>
              <a:custGeom>
                <a:avLst/>
                <a:gdLst>
                  <a:gd name="connsiteX0" fmla="*/ 135102 w 285750"/>
                  <a:gd name="connsiteY0" fmla="*/ 257361 h 257175"/>
                  <a:gd name="connsiteX1" fmla="*/ 260356 w 285750"/>
                  <a:gd name="connsiteY1" fmla="*/ 182589 h 257175"/>
                  <a:gd name="connsiteX2" fmla="*/ 282835 w 285750"/>
                  <a:gd name="connsiteY2" fmla="*/ 93721 h 257175"/>
                  <a:gd name="connsiteX3" fmla="*/ 245782 w 285750"/>
                  <a:gd name="connsiteY3" fmla="*/ 31618 h 257175"/>
                  <a:gd name="connsiteX4" fmla="*/ 156914 w 285750"/>
                  <a:gd name="connsiteY4" fmla="*/ 9139 h 257175"/>
                  <a:gd name="connsiteX5" fmla="*/ 31660 w 285750"/>
                  <a:gd name="connsiteY5" fmla="*/ 83910 h 257175"/>
                  <a:gd name="connsiteX6" fmla="*/ 9181 w 285750"/>
                  <a:gd name="connsiteY6" fmla="*/ 172778 h 257175"/>
                  <a:gd name="connsiteX7" fmla="*/ 46234 w 285750"/>
                  <a:gd name="connsiteY7" fmla="*/ 234881 h 257175"/>
                  <a:gd name="connsiteX8" fmla="*/ 135102 w 285750"/>
                  <a:gd name="connsiteY8" fmla="*/ 257361 h 257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85750" h="257175">
                    <a:moveTo>
                      <a:pt x="135102" y="257361"/>
                    </a:moveTo>
                    <a:lnTo>
                      <a:pt x="260356" y="182589"/>
                    </a:lnTo>
                    <a:cubicBezTo>
                      <a:pt x="291121" y="164206"/>
                      <a:pt x="301123" y="124487"/>
                      <a:pt x="282835" y="93721"/>
                    </a:cubicBezTo>
                    <a:lnTo>
                      <a:pt x="245782" y="31618"/>
                    </a:lnTo>
                    <a:cubicBezTo>
                      <a:pt x="227399" y="852"/>
                      <a:pt x="187680" y="-9149"/>
                      <a:pt x="156914" y="9139"/>
                    </a:cubicBezTo>
                    <a:lnTo>
                      <a:pt x="31660" y="83910"/>
                    </a:lnTo>
                    <a:cubicBezTo>
                      <a:pt x="895" y="102198"/>
                      <a:pt x="-9202" y="142013"/>
                      <a:pt x="9181" y="172778"/>
                    </a:cubicBezTo>
                    <a:lnTo>
                      <a:pt x="46234" y="234881"/>
                    </a:lnTo>
                    <a:cubicBezTo>
                      <a:pt x="64522" y="265647"/>
                      <a:pt x="104336" y="275744"/>
                      <a:pt x="135102" y="257361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0" name="Freeform: Shape 119">
                <a:extLst>
                  <a:ext uri="{FF2B5EF4-FFF2-40B4-BE49-F238E27FC236}">
                    <a16:creationId xmlns:a16="http://schemas.microsoft.com/office/drawing/2014/main" id="{957C0293-58E6-4D4E-A6BB-48444AFF75AE}"/>
                  </a:ext>
                </a:extLst>
              </p:cNvPr>
              <p:cNvSpPr/>
              <p:nvPr/>
            </p:nvSpPr>
            <p:spPr>
              <a:xfrm>
                <a:off x="13839108" y="3552790"/>
                <a:ext cx="285750" cy="257175"/>
              </a:xfrm>
              <a:custGeom>
                <a:avLst/>
                <a:gdLst>
                  <a:gd name="connsiteX0" fmla="*/ 156914 w 285750"/>
                  <a:gd name="connsiteY0" fmla="*/ 9203 h 257175"/>
                  <a:gd name="connsiteX1" fmla="*/ 31660 w 285750"/>
                  <a:gd name="connsiteY1" fmla="*/ 83879 h 257175"/>
                  <a:gd name="connsiteX2" fmla="*/ 9181 w 285750"/>
                  <a:gd name="connsiteY2" fmla="*/ 172747 h 257175"/>
                  <a:gd name="connsiteX3" fmla="*/ 46234 w 285750"/>
                  <a:gd name="connsiteY3" fmla="*/ 234850 h 257175"/>
                  <a:gd name="connsiteX4" fmla="*/ 135102 w 285750"/>
                  <a:gd name="connsiteY4" fmla="*/ 257329 h 257175"/>
                  <a:gd name="connsiteX5" fmla="*/ 260356 w 285750"/>
                  <a:gd name="connsiteY5" fmla="*/ 182653 h 257175"/>
                  <a:gd name="connsiteX6" fmla="*/ 282835 w 285750"/>
                  <a:gd name="connsiteY6" fmla="*/ 93785 h 257175"/>
                  <a:gd name="connsiteX7" fmla="*/ 245782 w 285750"/>
                  <a:gd name="connsiteY7" fmla="*/ 31682 h 257175"/>
                  <a:gd name="connsiteX8" fmla="*/ 156914 w 285750"/>
                  <a:gd name="connsiteY8" fmla="*/ 9203 h 257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85750" h="257175">
                    <a:moveTo>
                      <a:pt x="156914" y="9203"/>
                    </a:moveTo>
                    <a:lnTo>
                      <a:pt x="31660" y="83879"/>
                    </a:lnTo>
                    <a:cubicBezTo>
                      <a:pt x="895" y="102262"/>
                      <a:pt x="-9202" y="141981"/>
                      <a:pt x="9181" y="172747"/>
                    </a:cubicBezTo>
                    <a:lnTo>
                      <a:pt x="46234" y="234850"/>
                    </a:lnTo>
                    <a:cubicBezTo>
                      <a:pt x="64522" y="265616"/>
                      <a:pt x="104336" y="275617"/>
                      <a:pt x="135102" y="257329"/>
                    </a:cubicBezTo>
                    <a:lnTo>
                      <a:pt x="260356" y="182653"/>
                    </a:lnTo>
                    <a:cubicBezTo>
                      <a:pt x="291121" y="164270"/>
                      <a:pt x="301123" y="124551"/>
                      <a:pt x="282835" y="93785"/>
                    </a:cubicBezTo>
                    <a:lnTo>
                      <a:pt x="245782" y="31682"/>
                    </a:lnTo>
                    <a:cubicBezTo>
                      <a:pt x="227494" y="821"/>
                      <a:pt x="187680" y="-9180"/>
                      <a:pt x="156914" y="9203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1" name="Freeform: Shape 120">
                <a:extLst>
                  <a:ext uri="{FF2B5EF4-FFF2-40B4-BE49-F238E27FC236}">
                    <a16:creationId xmlns:a16="http://schemas.microsoft.com/office/drawing/2014/main" id="{C76F7F31-EADA-4FBB-AFCA-408BBC5C1380}"/>
                  </a:ext>
                </a:extLst>
              </p:cNvPr>
              <p:cNvSpPr/>
              <p:nvPr/>
            </p:nvSpPr>
            <p:spPr>
              <a:xfrm>
                <a:off x="14134859" y="3376356"/>
                <a:ext cx="285750" cy="257175"/>
              </a:xfrm>
              <a:custGeom>
                <a:avLst/>
                <a:gdLst>
                  <a:gd name="connsiteX0" fmla="*/ 156914 w 285750"/>
                  <a:gd name="connsiteY0" fmla="*/ 9139 h 257175"/>
                  <a:gd name="connsiteX1" fmla="*/ 31660 w 285750"/>
                  <a:gd name="connsiteY1" fmla="*/ 83815 h 257175"/>
                  <a:gd name="connsiteX2" fmla="*/ 9181 w 285750"/>
                  <a:gd name="connsiteY2" fmla="*/ 172683 h 257175"/>
                  <a:gd name="connsiteX3" fmla="*/ 46234 w 285750"/>
                  <a:gd name="connsiteY3" fmla="*/ 234786 h 257175"/>
                  <a:gd name="connsiteX4" fmla="*/ 135102 w 285750"/>
                  <a:gd name="connsiteY4" fmla="*/ 257265 h 257175"/>
                  <a:gd name="connsiteX5" fmla="*/ 260356 w 285750"/>
                  <a:gd name="connsiteY5" fmla="*/ 182589 h 257175"/>
                  <a:gd name="connsiteX6" fmla="*/ 282835 w 285750"/>
                  <a:gd name="connsiteY6" fmla="*/ 93721 h 257175"/>
                  <a:gd name="connsiteX7" fmla="*/ 245782 w 285750"/>
                  <a:gd name="connsiteY7" fmla="*/ 31618 h 257175"/>
                  <a:gd name="connsiteX8" fmla="*/ 156914 w 285750"/>
                  <a:gd name="connsiteY8" fmla="*/ 9139 h 257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85750" h="257175">
                    <a:moveTo>
                      <a:pt x="156914" y="9139"/>
                    </a:moveTo>
                    <a:lnTo>
                      <a:pt x="31660" y="83815"/>
                    </a:lnTo>
                    <a:cubicBezTo>
                      <a:pt x="895" y="102198"/>
                      <a:pt x="-9202" y="141917"/>
                      <a:pt x="9181" y="172683"/>
                    </a:cubicBezTo>
                    <a:lnTo>
                      <a:pt x="46234" y="234786"/>
                    </a:lnTo>
                    <a:cubicBezTo>
                      <a:pt x="64522" y="265552"/>
                      <a:pt x="104336" y="275648"/>
                      <a:pt x="135102" y="257265"/>
                    </a:cubicBezTo>
                    <a:lnTo>
                      <a:pt x="260356" y="182589"/>
                    </a:lnTo>
                    <a:cubicBezTo>
                      <a:pt x="291121" y="164206"/>
                      <a:pt x="301123" y="124487"/>
                      <a:pt x="282835" y="93721"/>
                    </a:cubicBezTo>
                    <a:lnTo>
                      <a:pt x="245782" y="31618"/>
                    </a:lnTo>
                    <a:cubicBezTo>
                      <a:pt x="227494" y="852"/>
                      <a:pt x="187680" y="-9149"/>
                      <a:pt x="156914" y="9139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2" name="Freeform: Shape 121">
                <a:extLst>
                  <a:ext uri="{FF2B5EF4-FFF2-40B4-BE49-F238E27FC236}">
                    <a16:creationId xmlns:a16="http://schemas.microsoft.com/office/drawing/2014/main" id="{BAC613AE-1A96-425A-83C1-09B1C437E778}"/>
                  </a:ext>
                </a:extLst>
              </p:cNvPr>
              <p:cNvSpPr/>
              <p:nvPr/>
            </p:nvSpPr>
            <p:spPr>
              <a:xfrm>
                <a:off x="14430705" y="3199953"/>
                <a:ext cx="419100" cy="485775"/>
              </a:xfrm>
              <a:custGeom>
                <a:avLst/>
                <a:gdLst>
                  <a:gd name="connsiteX0" fmla="*/ 156914 w 419100"/>
                  <a:gd name="connsiteY0" fmla="*/ 9139 h 485775"/>
                  <a:gd name="connsiteX1" fmla="*/ 31660 w 419100"/>
                  <a:gd name="connsiteY1" fmla="*/ 83910 h 485775"/>
                  <a:gd name="connsiteX2" fmla="*/ 9181 w 419100"/>
                  <a:gd name="connsiteY2" fmla="*/ 172779 h 485775"/>
                  <a:gd name="connsiteX3" fmla="*/ 182441 w 419100"/>
                  <a:gd name="connsiteY3" fmla="*/ 463196 h 485775"/>
                  <a:gd name="connsiteX4" fmla="*/ 271309 w 419100"/>
                  <a:gd name="connsiteY4" fmla="*/ 485675 h 485775"/>
                  <a:gd name="connsiteX5" fmla="*/ 396563 w 419100"/>
                  <a:gd name="connsiteY5" fmla="*/ 410904 h 485775"/>
                  <a:gd name="connsiteX6" fmla="*/ 419042 w 419100"/>
                  <a:gd name="connsiteY6" fmla="*/ 322035 h 485775"/>
                  <a:gd name="connsiteX7" fmla="*/ 245782 w 419100"/>
                  <a:gd name="connsiteY7" fmla="*/ 31618 h 485775"/>
                  <a:gd name="connsiteX8" fmla="*/ 156914 w 419100"/>
                  <a:gd name="connsiteY8" fmla="*/ 9139 h 485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19100" h="485775">
                    <a:moveTo>
                      <a:pt x="156914" y="9139"/>
                    </a:moveTo>
                    <a:lnTo>
                      <a:pt x="31660" y="83910"/>
                    </a:lnTo>
                    <a:cubicBezTo>
                      <a:pt x="895" y="102294"/>
                      <a:pt x="-9202" y="142013"/>
                      <a:pt x="9181" y="172779"/>
                    </a:cubicBezTo>
                    <a:lnTo>
                      <a:pt x="182441" y="463196"/>
                    </a:lnTo>
                    <a:cubicBezTo>
                      <a:pt x="200824" y="493962"/>
                      <a:pt x="240639" y="504058"/>
                      <a:pt x="271309" y="485675"/>
                    </a:cubicBezTo>
                    <a:lnTo>
                      <a:pt x="396563" y="410904"/>
                    </a:lnTo>
                    <a:cubicBezTo>
                      <a:pt x="427329" y="392520"/>
                      <a:pt x="437330" y="352801"/>
                      <a:pt x="419042" y="322035"/>
                    </a:cubicBezTo>
                    <a:lnTo>
                      <a:pt x="245782" y="31618"/>
                    </a:lnTo>
                    <a:cubicBezTo>
                      <a:pt x="227399" y="852"/>
                      <a:pt x="187585" y="-9149"/>
                      <a:pt x="156914" y="9139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3" name="Freeform: Shape 122">
                <a:extLst>
                  <a:ext uri="{FF2B5EF4-FFF2-40B4-BE49-F238E27FC236}">
                    <a16:creationId xmlns:a16="http://schemas.microsoft.com/office/drawing/2014/main" id="{C2D2063A-B7F3-45C2-8ACB-17E05F2E9258}"/>
                  </a:ext>
                </a:extLst>
              </p:cNvPr>
              <p:cNvSpPr/>
              <p:nvPr/>
            </p:nvSpPr>
            <p:spPr>
              <a:xfrm>
                <a:off x="13679606" y="3781169"/>
                <a:ext cx="581025" cy="438150"/>
              </a:xfrm>
              <a:custGeom>
                <a:avLst/>
                <a:gdLst>
                  <a:gd name="connsiteX0" fmla="*/ 452623 w 581025"/>
                  <a:gd name="connsiteY0" fmla="*/ 9139 h 438150"/>
                  <a:gd name="connsiteX1" fmla="*/ 31618 w 581025"/>
                  <a:gd name="connsiteY1" fmla="*/ 260313 h 438150"/>
                  <a:gd name="connsiteX2" fmla="*/ 9139 w 581025"/>
                  <a:gd name="connsiteY2" fmla="*/ 349182 h 438150"/>
                  <a:gd name="connsiteX3" fmla="*/ 46191 w 581025"/>
                  <a:gd name="connsiteY3" fmla="*/ 411284 h 438150"/>
                  <a:gd name="connsiteX4" fmla="*/ 135059 w 581025"/>
                  <a:gd name="connsiteY4" fmla="*/ 433764 h 438150"/>
                  <a:gd name="connsiteX5" fmla="*/ 556065 w 581025"/>
                  <a:gd name="connsiteY5" fmla="*/ 182589 h 438150"/>
                  <a:gd name="connsiteX6" fmla="*/ 578544 w 581025"/>
                  <a:gd name="connsiteY6" fmla="*/ 93721 h 438150"/>
                  <a:gd name="connsiteX7" fmla="*/ 541491 w 581025"/>
                  <a:gd name="connsiteY7" fmla="*/ 31618 h 438150"/>
                  <a:gd name="connsiteX8" fmla="*/ 452623 w 581025"/>
                  <a:gd name="connsiteY8" fmla="*/ 9139 h 438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81025" h="438150">
                    <a:moveTo>
                      <a:pt x="452623" y="9139"/>
                    </a:moveTo>
                    <a:lnTo>
                      <a:pt x="31618" y="260313"/>
                    </a:lnTo>
                    <a:cubicBezTo>
                      <a:pt x="852" y="278601"/>
                      <a:pt x="-9149" y="318416"/>
                      <a:pt x="9139" y="349182"/>
                    </a:cubicBezTo>
                    <a:lnTo>
                      <a:pt x="46191" y="411284"/>
                    </a:lnTo>
                    <a:cubicBezTo>
                      <a:pt x="64574" y="442050"/>
                      <a:pt x="104389" y="452147"/>
                      <a:pt x="135059" y="433764"/>
                    </a:cubicBezTo>
                    <a:lnTo>
                      <a:pt x="556065" y="182589"/>
                    </a:lnTo>
                    <a:cubicBezTo>
                      <a:pt x="586830" y="164206"/>
                      <a:pt x="596832" y="124487"/>
                      <a:pt x="578544" y="93721"/>
                    </a:cubicBezTo>
                    <a:lnTo>
                      <a:pt x="541491" y="31618"/>
                    </a:lnTo>
                    <a:cubicBezTo>
                      <a:pt x="523203" y="852"/>
                      <a:pt x="483389" y="-9149"/>
                      <a:pt x="452623" y="9139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4" name="Freeform: Shape 123">
                <a:extLst>
                  <a:ext uri="{FF2B5EF4-FFF2-40B4-BE49-F238E27FC236}">
                    <a16:creationId xmlns:a16="http://schemas.microsoft.com/office/drawing/2014/main" id="{212D74F2-92B0-40E3-BC4E-ED4B5D88EA28}"/>
                  </a:ext>
                </a:extLst>
              </p:cNvPr>
              <p:cNvSpPr/>
              <p:nvPr/>
            </p:nvSpPr>
            <p:spPr>
              <a:xfrm>
                <a:off x="14271204" y="3604723"/>
                <a:ext cx="285750" cy="257175"/>
              </a:xfrm>
              <a:custGeom>
                <a:avLst/>
                <a:gdLst>
                  <a:gd name="connsiteX0" fmla="*/ 156872 w 285750"/>
                  <a:gd name="connsiteY0" fmla="*/ 9181 h 257175"/>
                  <a:gd name="connsiteX1" fmla="*/ 31618 w 285750"/>
                  <a:gd name="connsiteY1" fmla="*/ 83857 h 257175"/>
                  <a:gd name="connsiteX2" fmla="*/ 9139 w 285750"/>
                  <a:gd name="connsiteY2" fmla="*/ 172726 h 257175"/>
                  <a:gd name="connsiteX3" fmla="*/ 46191 w 285750"/>
                  <a:gd name="connsiteY3" fmla="*/ 234829 h 257175"/>
                  <a:gd name="connsiteX4" fmla="*/ 135059 w 285750"/>
                  <a:gd name="connsiteY4" fmla="*/ 257308 h 257175"/>
                  <a:gd name="connsiteX5" fmla="*/ 260313 w 285750"/>
                  <a:gd name="connsiteY5" fmla="*/ 182632 h 257175"/>
                  <a:gd name="connsiteX6" fmla="*/ 282792 w 285750"/>
                  <a:gd name="connsiteY6" fmla="*/ 93763 h 257175"/>
                  <a:gd name="connsiteX7" fmla="*/ 245740 w 285750"/>
                  <a:gd name="connsiteY7" fmla="*/ 31660 h 257175"/>
                  <a:gd name="connsiteX8" fmla="*/ 156872 w 285750"/>
                  <a:gd name="connsiteY8" fmla="*/ 9181 h 257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85750" h="257175">
                    <a:moveTo>
                      <a:pt x="156872" y="9181"/>
                    </a:moveTo>
                    <a:lnTo>
                      <a:pt x="31618" y="83857"/>
                    </a:lnTo>
                    <a:cubicBezTo>
                      <a:pt x="852" y="102241"/>
                      <a:pt x="-9149" y="141960"/>
                      <a:pt x="9139" y="172726"/>
                    </a:cubicBezTo>
                    <a:lnTo>
                      <a:pt x="46191" y="234829"/>
                    </a:lnTo>
                    <a:cubicBezTo>
                      <a:pt x="64574" y="265594"/>
                      <a:pt x="104294" y="275691"/>
                      <a:pt x="135059" y="257308"/>
                    </a:cubicBezTo>
                    <a:lnTo>
                      <a:pt x="260313" y="182632"/>
                    </a:lnTo>
                    <a:cubicBezTo>
                      <a:pt x="291079" y="164248"/>
                      <a:pt x="301080" y="124529"/>
                      <a:pt x="282792" y="93763"/>
                    </a:cubicBezTo>
                    <a:lnTo>
                      <a:pt x="245740" y="31660"/>
                    </a:lnTo>
                    <a:cubicBezTo>
                      <a:pt x="227357" y="895"/>
                      <a:pt x="187542" y="-9202"/>
                      <a:pt x="156872" y="9181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5" name="Freeform: Shape 124">
                <a:extLst>
                  <a:ext uri="{FF2B5EF4-FFF2-40B4-BE49-F238E27FC236}">
                    <a16:creationId xmlns:a16="http://schemas.microsoft.com/office/drawing/2014/main" id="{2535B9D8-3D21-4575-8B4A-479972DC3578}"/>
                  </a:ext>
                </a:extLst>
              </p:cNvPr>
              <p:cNvSpPr/>
              <p:nvPr/>
            </p:nvSpPr>
            <p:spPr>
              <a:xfrm>
                <a:off x="13057333" y="2588729"/>
                <a:ext cx="304800" cy="419100"/>
              </a:xfrm>
              <a:custGeom>
                <a:avLst/>
                <a:gdLst>
                  <a:gd name="connsiteX0" fmla="*/ 71533 w 304800"/>
                  <a:gd name="connsiteY0" fmla="*/ 140779 h 419100"/>
                  <a:gd name="connsiteX1" fmla="*/ 0 w 304800"/>
                  <a:gd name="connsiteY1" fmla="*/ 423672 h 419100"/>
                  <a:gd name="connsiteX2" fmla="*/ 35338 w 304800"/>
                  <a:gd name="connsiteY2" fmla="*/ 415766 h 419100"/>
                  <a:gd name="connsiteX3" fmla="*/ 232219 w 304800"/>
                  <a:gd name="connsiteY3" fmla="*/ 298323 h 419100"/>
                  <a:gd name="connsiteX4" fmla="*/ 307658 w 304800"/>
                  <a:gd name="connsiteY4" fmla="*/ 0 h 419100"/>
                  <a:gd name="connsiteX5" fmla="*/ 71533 w 304800"/>
                  <a:gd name="connsiteY5" fmla="*/ 140779 h 419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04800" h="419100">
                    <a:moveTo>
                      <a:pt x="71533" y="140779"/>
                    </a:moveTo>
                    <a:lnTo>
                      <a:pt x="0" y="423672"/>
                    </a:lnTo>
                    <a:cubicBezTo>
                      <a:pt x="12097" y="424148"/>
                      <a:pt x="24194" y="422338"/>
                      <a:pt x="35338" y="415766"/>
                    </a:cubicBezTo>
                    <a:lnTo>
                      <a:pt x="232219" y="298323"/>
                    </a:lnTo>
                    <a:lnTo>
                      <a:pt x="307658" y="0"/>
                    </a:lnTo>
                    <a:lnTo>
                      <a:pt x="71533" y="140779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6" name="Freeform: Shape 125">
                <a:extLst>
                  <a:ext uri="{FF2B5EF4-FFF2-40B4-BE49-F238E27FC236}">
                    <a16:creationId xmlns:a16="http://schemas.microsoft.com/office/drawing/2014/main" id="{827746C0-71E1-458B-A4E9-BB83DC1A634E}"/>
                  </a:ext>
                </a:extLst>
              </p:cNvPr>
              <p:cNvSpPr/>
              <p:nvPr/>
            </p:nvSpPr>
            <p:spPr>
              <a:xfrm>
                <a:off x="13517200" y="2250305"/>
                <a:ext cx="409575" cy="495300"/>
              </a:xfrm>
              <a:custGeom>
                <a:avLst/>
                <a:gdLst>
                  <a:gd name="connsiteX0" fmla="*/ 75343 w 409575"/>
                  <a:gd name="connsiteY0" fmla="*/ 202597 h 495300"/>
                  <a:gd name="connsiteX1" fmla="*/ 0 w 409575"/>
                  <a:gd name="connsiteY1" fmla="*/ 500920 h 495300"/>
                  <a:gd name="connsiteX2" fmla="*/ 339662 w 409575"/>
                  <a:gd name="connsiteY2" fmla="*/ 298323 h 495300"/>
                  <a:gd name="connsiteX3" fmla="*/ 415004 w 409575"/>
                  <a:gd name="connsiteY3" fmla="*/ 0 h 495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09575" h="495300">
                    <a:moveTo>
                      <a:pt x="75343" y="202597"/>
                    </a:moveTo>
                    <a:lnTo>
                      <a:pt x="0" y="500920"/>
                    </a:lnTo>
                    <a:lnTo>
                      <a:pt x="339662" y="298323"/>
                    </a:lnTo>
                    <a:lnTo>
                      <a:pt x="415004" y="0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7" name="Freeform: Shape 126">
                <a:extLst>
                  <a:ext uri="{FF2B5EF4-FFF2-40B4-BE49-F238E27FC236}">
                    <a16:creationId xmlns:a16="http://schemas.microsoft.com/office/drawing/2014/main" id="{D3B9224B-79F1-4EDE-BC6A-619052212E89}"/>
                  </a:ext>
                </a:extLst>
              </p:cNvPr>
              <p:cNvSpPr/>
              <p:nvPr/>
            </p:nvSpPr>
            <p:spPr>
              <a:xfrm>
                <a:off x="16828376" y="5255252"/>
                <a:ext cx="1181100" cy="428625"/>
              </a:xfrm>
              <a:custGeom>
                <a:avLst/>
                <a:gdLst>
                  <a:gd name="connsiteX0" fmla="*/ 17812 w 1181100"/>
                  <a:gd name="connsiteY0" fmla="*/ 18002 h 428625"/>
                  <a:gd name="connsiteX1" fmla="*/ 10096 w 1181100"/>
                  <a:gd name="connsiteY1" fmla="*/ 23336 h 428625"/>
                  <a:gd name="connsiteX2" fmla="*/ 4286 w 1181100"/>
                  <a:gd name="connsiteY2" fmla="*/ 23051 h 428625"/>
                  <a:gd name="connsiteX3" fmla="*/ 476 w 1181100"/>
                  <a:gd name="connsiteY3" fmla="*/ 25241 h 428625"/>
                  <a:gd name="connsiteX4" fmla="*/ 1181290 w 1181100"/>
                  <a:gd name="connsiteY4" fmla="*/ 432054 h 428625"/>
                  <a:gd name="connsiteX5" fmla="*/ 1189006 w 1181100"/>
                  <a:gd name="connsiteY5" fmla="*/ 409670 h 428625"/>
                  <a:gd name="connsiteX6" fmla="*/ 0 w 1181100"/>
                  <a:gd name="connsiteY6" fmla="*/ 0 h 428625"/>
                  <a:gd name="connsiteX7" fmla="*/ 14573 w 1181100"/>
                  <a:gd name="connsiteY7" fmla="*/ 9049 h 428625"/>
                  <a:gd name="connsiteX8" fmla="*/ 17812 w 1181100"/>
                  <a:gd name="connsiteY8" fmla="*/ 18002 h 428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81100" h="428625">
                    <a:moveTo>
                      <a:pt x="17812" y="18002"/>
                    </a:moveTo>
                    <a:cubicBezTo>
                      <a:pt x="16764" y="21336"/>
                      <a:pt x="13621" y="23527"/>
                      <a:pt x="10096" y="23336"/>
                    </a:cubicBezTo>
                    <a:lnTo>
                      <a:pt x="4286" y="23051"/>
                    </a:lnTo>
                    <a:cubicBezTo>
                      <a:pt x="2667" y="22955"/>
                      <a:pt x="1524" y="24099"/>
                      <a:pt x="476" y="25241"/>
                    </a:cubicBezTo>
                    <a:lnTo>
                      <a:pt x="1181290" y="432054"/>
                    </a:lnTo>
                    <a:lnTo>
                      <a:pt x="1189006" y="409670"/>
                    </a:lnTo>
                    <a:lnTo>
                      <a:pt x="0" y="0"/>
                    </a:lnTo>
                    <a:lnTo>
                      <a:pt x="14573" y="9049"/>
                    </a:lnTo>
                    <a:cubicBezTo>
                      <a:pt x="17526" y="11049"/>
                      <a:pt x="18860" y="14669"/>
                      <a:pt x="17812" y="18002"/>
                    </a:cubicBez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6D9D6540-9C47-485D-9549-50A092C17365}"/>
                  </a:ext>
                </a:extLst>
              </p:cNvPr>
              <p:cNvSpPr/>
              <p:nvPr/>
            </p:nvSpPr>
            <p:spPr>
              <a:xfrm>
                <a:off x="16800372" y="5316403"/>
                <a:ext cx="1190625" cy="428625"/>
              </a:xfrm>
              <a:custGeom>
                <a:avLst/>
                <a:gdLst>
                  <a:gd name="connsiteX0" fmla="*/ 14288 w 1190625"/>
                  <a:gd name="connsiteY0" fmla="*/ 0 h 428625"/>
                  <a:gd name="connsiteX1" fmla="*/ 15716 w 1190625"/>
                  <a:gd name="connsiteY1" fmla="*/ 4667 h 428625"/>
                  <a:gd name="connsiteX2" fmla="*/ 25908 w 1190625"/>
                  <a:gd name="connsiteY2" fmla="*/ 13526 h 428625"/>
                  <a:gd name="connsiteX3" fmla="*/ 27242 w 1190625"/>
                  <a:gd name="connsiteY3" fmla="*/ 19431 h 428625"/>
                  <a:gd name="connsiteX4" fmla="*/ 22003 w 1190625"/>
                  <a:gd name="connsiteY4" fmla="*/ 22479 h 428625"/>
                  <a:gd name="connsiteX5" fmla="*/ 0 w 1190625"/>
                  <a:gd name="connsiteY5" fmla="*/ 20193 h 428625"/>
                  <a:gd name="connsiteX6" fmla="*/ 1189006 w 1190625"/>
                  <a:gd name="connsiteY6" fmla="*/ 429863 h 428625"/>
                  <a:gd name="connsiteX7" fmla="*/ 1196721 w 1190625"/>
                  <a:gd name="connsiteY7" fmla="*/ 407480 h 428625"/>
                  <a:gd name="connsiteX8" fmla="*/ 14288 w 1190625"/>
                  <a:gd name="connsiteY8" fmla="*/ 0 h 428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90625" h="428625">
                    <a:moveTo>
                      <a:pt x="14288" y="0"/>
                    </a:moveTo>
                    <a:cubicBezTo>
                      <a:pt x="14097" y="1714"/>
                      <a:pt x="14383" y="3524"/>
                      <a:pt x="15716" y="4667"/>
                    </a:cubicBezTo>
                    <a:lnTo>
                      <a:pt x="25908" y="13526"/>
                    </a:lnTo>
                    <a:cubicBezTo>
                      <a:pt x="27622" y="14954"/>
                      <a:pt x="28099" y="17336"/>
                      <a:pt x="27242" y="19431"/>
                    </a:cubicBezTo>
                    <a:cubicBezTo>
                      <a:pt x="26384" y="21527"/>
                      <a:pt x="24289" y="22765"/>
                      <a:pt x="22003" y="22479"/>
                    </a:cubicBezTo>
                    <a:lnTo>
                      <a:pt x="0" y="20193"/>
                    </a:lnTo>
                    <a:lnTo>
                      <a:pt x="1189006" y="429863"/>
                    </a:lnTo>
                    <a:lnTo>
                      <a:pt x="1196721" y="407480"/>
                    </a:lnTo>
                    <a:lnTo>
                      <a:pt x="14288" y="0"/>
                    </a:ln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2A4824CA-8BDF-4F51-A4A2-A7EAC9A56611}"/>
                  </a:ext>
                </a:extLst>
              </p:cNvPr>
              <p:cNvSpPr/>
              <p:nvPr/>
            </p:nvSpPr>
            <p:spPr>
              <a:xfrm>
                <a:off x="16814374" y="5280494"/>
                <a:ext cx="1190625" cy="438150"/>
              </a:xfrm>
              <a:custGeom>
                <a:avLst/>
                <a:gdLst>
                  <a:gd name="connsiteX0" fmla="*/ 13430 w 1190625"/>
                  <a:gd name="connsiteY0" fmla="*/ 667 h 438150"/>
                  <a:gd name="connsiteX1" fmla="*/ 14192 w 1190625"/>
                  <a:gd name="connsiteY1" fmla="*/ 6287 h 438150"/>
                  <a:gd name="connsiteX2" fmla="*/ 25527 w 1190625"/>
                  <a:gd name="connsiteY2" fmla="*/ 19526 h 438150"/>
                  <a:gd name="connsiteX3" fmla="*/ 26479 w 1190625"/>
                  <a:gd name="connsiteY3" fmla="*/ 24479 h 438150"/>
                  <a:gd name="connsiteX4" fmla="*/ 22574 w 1190625"/>
                  <a:gd name="connsiteY4" fmla="*/ 27813 h 438150"/>
                  <a:gd name="connsiteX5" fmla="*/ 4001 w 1190625"/>
                  <a:gd name="connsiteY5" fmla="*/ 31528 h 438150"/>
                  <a:gd name="connsiteX6" fmla="*/ 0 w 1190625"/>
                  <a:gd name="connsiteY6" fmla="*/ 35242 h 438150"/>
                  <a:gd name="connsiteX7" fmla="*/ 190 w 1190625"/>
                  <a:gd name="connsiteY7" fmla="*/ 35814 h 438150"/>
                  <a:gd name="connsiteX8" fmla="*/ 1182719 w 1190625"/>
                  <a:gd name="connsiteY8" fmla="*/ 443198 h 438150"/>
                  <a:gd name="connsiteX9" fmla="*/ 1195292 w 1190625"/>
                  <a:gd name="connsiteY9" fmla="*/ 406813 h 438150"/>
                  <a:gd name="connsiteX10" fmla="*/ 14478 w 1190625"/>
                  <a:gd name="connsiteY10" fmla="*/ 0 h 438150"/>
                  <a:gd name="connsiteX11" fmla="*/ 13430 w 1190625"/>
                  <a:gd name="connsiteY11" fmla="*/ 667 h 438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190625" h="438150">
                    <a:moveTo>
                      <a:pt x="13430" y="667"/>
                    </a:moveTo>
                    <a:cubicBezTo>
                      <a:pt x="12573" y="2476"/>
                      <a:pt x="12859" y="4667"/>
                      <a:pt x="14192" y="6287"/>
                    </a:cubicBezTo>
                    <a:lnTo>
                      <a:pt x="25527" y="19526"/>
                    </a:lnTo>
                    <a:cubicBezTo>
                      <a:pt x="26765" y="20860"/>
                      <a:pt x="27146" y="22765"/>
                      <a:pt x="26479" y="24479"/>
                    </a:cubicBezTo>
                    <a:cubicBezTo>
                      <a:pt x="25908" y="26194"/>
                      <a:pt x="24384" y="27432"/>
                      <a:pt x="22574" y="27813"/>
                    </a:cubicBezTo>
                    <a:lnTo>
                      <a:pt x="4001" y="31528"/>
                    </a:lnTo>
                    <a:cubicBezTo>
                      <a:pt x="2096" y="31909"/>
                      <a:pt x="571" y="33338"/>
                      <a:pt x="0" y="35242"/>
                    </a:cubicBezTo>
                    <a:cubicBezTo>
                      <a:pt x="0" y="35433"/>
                      <a:pt x="190" y="35623"/>
                      <a:pt x="190" y="35814"/>
                    </a:cubicBezTo>
                    <a:lnTo>
                      <a:pt x="1182719" y="443198"/>
                    </a:lnTo>
                    <a:lnTo>
                      <a:pt x="1195292" y="406813"/>
                    </a:lnTo>
                    <a:lnTo>
                      <a:pt x="14478" y="0"/>
                    </a:lnTo>
                    <a:cubicBezTo>
                      <a:pt x="14192" y="381"/>
                      <a:pt x="13621" y="286"/>
                      <a:pt x="13430" y="667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B23D8024-5F1E-4F31-BE06-EF844E9CA7D9}"/>
                  </a:ext>
                </a:extLst>
              </p:cNvPr>
              <p:cNvSpPr/>
              <p:nvPr/>
            </p:nvSpPr>
            <p:spPr>
              <a:xfrm>
                <a:off x="17987928" y="5656795"/>
                <a:ext cx="47625" cy="95250"/>
              </a:xfrm>
              <a:custGeom>
                <a:avLst/>
                <a:gdLst>
                  <a:gd name="connsiteX0" fmla="*/ 40026 w 47625"/>
                  <a:gd name="connsiteY0" fmla="*/ 412 h 95250"/>
                  <a:gd name="connsiteX1" fmla="*/ 30501 w 47625"/>
                  <a:gd name="connsiteY1" fmla="*/ 4984 h 95250"/>
                  <a:gd name="connsiteX2" fmla="*/ 29453 w 47625"/>
                  <a:gd name="connsiteY2" fmla="*/ 8127 h 95250"/>
                  <a:gd name="connsiteX3" fmla="*/ 21738 w 47625"/>
                  <a:gd name="connsiteY3" fmla="*/ 30511 h 95250"/>
                  <a:gd name="connsiteX4" fmla="*/ 9165 w 47625"/>
                  <a:gd name="connsiteY4" fmla="*/ 66897 h 95250"/>
                  <a:gd name="connsiteX5" fmla="*/ 1449 w 47625"/>
                  <a:gd name="connsiteY5" fmla="*/ 89281 h 95250"/>
                  <a:gd name="connsiteX6" fmla="*/ 402 w 47625"/>
                  <a:gd name="connsiteY6" fmla="*/ 92424 h 95250"/>
                  <a:gd name="connsiteX7" fmla="*/ 5069 w 47625"/>
                  <a:gd name="connsiteY7" fmla="*/ 101853 h 95250"/>
                  <a:gd name="connsiteX8" fmla="*/ 12880 w 47625"/>
                  <a:gd name="connsiteY8" fmla="*/ 104520 h 95250"/>
                  <a:gd name="connsiteX9" fmla="*/ 47836 w 47625"/>
                  <a:gd name="connsiteY9" fmla="*/ 2889 h 95250"/>
                  <a:gd name="connsiteX10" fmla="*/ 40026 w 47625"/>
                  <a:gd name="connsiteY10" fmla="*/ 412 h 95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7625" h="95250">
                    <a:moveTo>
                      <a:pt x="40026" y="412"/>
                    </a:moveTo>
                    <a:cubicBezTo>
                      <a:pt x="36121" y="-921"/>
                      <a:pt x="31834" y="1079"/>
                      <a:pt x="30501" y="4984"/>
                    </a:cubicBezTo>
                    <a:lnTo>
                      <a:pt x="29453" y="8127"/>
                    </a:lnTo>
                    <a:lnTo>
                      <a:pt x="21738" y="30511"/>
                    </a:lnTo>
                    <a:lnTo>
                      <a:pt x="9165" y="66897"/>
                    </a:lnTo>
                    <a:lnTo>
                      <a:pt x="1449" y="89281"/>
                    </a:lnTo>
                    <a:lnTo>
                      <a:pt x="402" y="92424"/>
                    </a:lnTo>
                    <a:cubicBezTo>
                      <a:pt x="-932" y="96329"/>
                      <a:pt x="1164" y="100520"/>
                      <a:pt x="5069" y="101853"/>
                    </a:cubicBezTo>
                    <a:lnTo>
                      <a:pt x="12880" y="104520"/>
                    </a:lnTo>
                    <a:lnTo>
                      <a:pt x="47836" y="2889"/>
                    </a:lnTo>
                    <a:lnTo>
                      <a:pt x="40026" y="412"/>
                    </a:lnTo>
                    <a:close/>
                  </a:path>
                </a:pathLst>
              </a:custGeom>
              <a:solidFill>
                <a:srgbClr val="DFD5D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9B1F89FC-180F-40A4-B3D5-39818AB3CB7D}"/>
                  </a:ext>
                </a:extLst>
              </p:cNvPr>
              <p:cNvSpPr/>
              <p:nvPr/>
            </p:nvSpPr>
            <p:spPr>
              <a:xfrm>
                <a:off x="18059482" y="5680258"/>
                <a:ext cx="47625" cy="95250"/>
              </a:xfrm>
              <a:custGeom>
                <a:avLst/>
                <a:gdLst>
                  <a:gd name="connsiteX0" fmla="*/ 17336 w 47625"/>
                  <a:gd name="connsiteY0" fmla="*/ 99536 h 95250"/>
                  <a:gd name="connsiteX1" fmla="*/ 18384 w 47625"/>
                  <a:gd name="connsiteY1" fmla="*/ 96393 h 95250"/>
                  <a:gd name="connsiteX2" fmla="*/ 46387 w 47625"/>
                  <a:gd name="connsiteY2" fmla="*/ 15240 h 95250"/>
                  <a:gd name="connsiteX3" fmla="*/ 47435 w 47625"/>
                  <a:gd name="connsiteY3" fmla="*/ 12097 h 95250"/>
                  <a:gd name="connsiteX4" fmla="*/ 42768 w 47625"/>
                  <a:gd name="connsiteY4" fmla="*/ 2667 h 95250"/>
                  <a:gd name="connsiteX5" fmla="*/ 34957 w 47625"/>
                  <a:gd name="connsiteY5" fmla="*/ 0 h 95250"/>
                  <a:gd name="connsiteX6" fmla="*/ 0 w 47625"/>
                  <a:gd name="connsiteY6" fmla="*/ 101632 h 95250"/>
                  <a:gd name="connsiteX7" fmla="*/ 7811 w 47625"/>
                  <a:gd name="connsiteY7" fmla="*/ 104299 h 95250"/>
                  <a:gd name="connsiteX8" fmla="*/ 17336 w 47625"/>
                  <a:gd name="connsiteY8" fmla="*/ 99536 h 95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7625" h="95250">
                    <a:moveTo>
                      <a:pt x="17336" y="99536"/>
                    </a:moveTo>
                    <a:lnTo>
                      <a:pt x="18384" y="96393"/>
                    </a:lnTo>
                    <a:lnTo>
                      <a:pt x="46387" y="15240"/>
                    </a:lnTo>
                    <a:lnTo>
                      <a:pt x="47435" y="12097"/>
                    </a:lnTo>
                    <a:cubicBezTo>
                      <a:pt x="48769" y="8191"/>
                      <a:pt x="46673" y="4000"/>
                      <a:pt x="42768" y="2667"/>
                    </a:cubicBezTo>
                    <a:lnTo>
                      <a:pt x="34957" y="0"/>
                    </a:lnTo>
                    <a:lnTo>
                      <a:pt x="0" y="101632"/>
                    </a:lnTo>
                    <a:lnTo>
                      <a:pt x="7811" y="104299"/>
                    </a:lnTo>
                    <a:cubicBezTo>
                      <a:pt x="11811" y="105537"/>
                      <a:pt x="16003" y="103441"/>
                      <a:pt x="17336" y="99536"/>
                    </a:cubicBezTo>
                    <a:close/>
                  </a:path>
                </a:pathLst>
              </a:custGeom>
              <a:solidFill>
                <a:srgbClr val="DFD5D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DF176C3C-DF5F-472C-A596-B679D5E60E15}"/>
                  </a:ext>
                </a:extLst>
              </p:cNvPr>
              <p:cNvSpPr/>
              <p:nvPr/>
            </p:nvSpPr>
            <p:spPr>
              <a:xfrm>
                <a:off x="18077960" y="5695498"/>
                <a:ext cx="76200" cy="95250"/>
              </a:xfrm>
              <a:custGeom>
                <a:avLst/>
                <a:gdLst>
                  <a:gd name="connsiteX0" fmla="*/ 38291 w 76200"/>
                  <a:gd name="connsiteY0" fmla="*/ 94298 h 95250"/>
                  <a:gd name="connsiteX1" fmla="*/ 69152 w 76200"/>
                  <a:gd name="connsiteY1" fmla="*/ 79248 h 95250"/>
                  <a:gd name="connsiteX2" fmla="*/ 81344 w 76200"/>
                  <a:gd name="connsiteY2" fmla="*/ 44006 h 95250"/>
                  <a:gd name="connsiteX3" fmla="*/ 66294 w 76200"/>
                  <a:gd name="connsiteY3" fmla="*/ 13145 h 95250"/>
                  <a:gd name="connsiteX4" fmla="*/ 28004 w 76200"/>
                  <a:gd name="connsiteY4" fmla="*/ 0 h 95250"/>
                  <a:gd name="connsiteX5" fmla="*/ 0 w 76200"/>
                  <a:gd name="connsiteY5" fmla="*/ 81153 h 95250"/>
                  <a:gd name="connsiteX6" fmla="*/ 38291 w 76200"/>
                  <a:gd name="connsiteY6" fmla="*/ 94298 h 95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6200" h="95250">
                    <a:moveTo>
                      <a:pt x="38291" y="94298"/>
                    </a:moveTo>
                    <a:cubicBezTo>
                      <a:pt x="50959" y="98679"/>
                      <a:pt x="64770" y="91916"/>
                      <a:pt x="69152" y="79248"/>
                    </a:cubicBezTo>
                    <a:lnTo>
                      <a:pt x="81344" y="44006"/>
                    </a:lnTo>
                    <a:cubicBezTo>
                      <a:pt x="85725" y="31337"/>
                      <a:pt x="78963" y="17526"/>
                      <a:pt x="66294" y="13145"/>
                    </a:cubicBezTo>
                    <a:lnTo>
                      <a:pt x="28004" y="0"/>
                    </a:lnTo>
                    <a:lnTo>
                      <a:pt x="0" y="81153"/>
                    </a:lnTo>
                    <a:lnTo>
                      <a:pt x="38291" y="94298"/>
                    </a:lnTo>
                    <a:close/>
                  </a:path>
                </a:pathLst>
              </a:custGeom>
              <a:solidFill>
                <a:srgbClr val="E8626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3" name="Freeform: Shape 132">
                <a:extLst>
                  <a:ext uri="{FF2B5EF4-FFF2-40B4-BE49-F238E27FC236}">
                    <a16:creationId xmlns:a16="http://schemas.microsoft.com/office/drawing/2014/main" id="{B25C926E-5CCA-479B-863D-654835DA55FF}"/>
                  </a:ext>
                </a:extLst>
              </p:cNvPr>
              <p:cNvSpPr/>
              <p:nvPr/>
            </p:nvSpPr>
            <p:spPr>
              <a:xfrm>
                <a:off x="18000824" y="5659553"/>
                <a:ext cx="85725" cy="114300"/>
              </a:xfrm>
              <a:custGeom>
                <a:avLst/>
                <a:gdLst>
                  <a:gd name="connsiteX0" fmla="*/ 0 w 85725"/>
                  <a:gd name="connsiteY0" fmla="*/ 101586 h 114300"/>
                  <a:gd name="connsiteX1" fmla="*/ 34994 w 85725"/>
                  <a:gd name="connsiteY1" fmla="*/ 0 h 114300"/>
                  <a:gd name="connsiteX2" fmla="*/ 93712 w 85725"/>
                  <a:gd name="connsiteY2" fmla="*/ 20226 h 114300"/>
                  <a:gd name="connsiteX3" fmla="*/ 58718 w 85725"/>
                  <a:gd name="connsiteY3" fmla="*/ 121813 h 114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5725" h="114300">
                    <a:moveTo>
                      <a:pt x="0" y="101586"/>
                    </a:moveTo>
                    <a:lnTo>
                      <a:pt x="34994" y="0"/>
                    </a:lnTo>
                    <a:lnTo>
                      <a:pt x="93712" y="20226"/>
                    </a:lnTo>
                    <a:lnTo>
                      <a:pt x="58718" y="121813"/>
                    </a:lnTo>
                    <a:close/>
                  </a:path>
                </a:pathLst>
              </a:custGeom>
              <a:solidFill>
                <a:srgbClr val="E9E3E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4" name="Freeform: Shape 133">
                <a:extLst>
                  <a:ext uri="{FF2B5EF4-FFF2-40B4-BE49-F238E27FC236}">
                    <a16:creationId xmlns:a16="http://schemas.microsoft.com/office/drawing/2014/main" id="{3FDD5D64-B3BD-4B4C-9536-C61038FCBF36}"/>
                  </a:ext>
                </a:extLst>
              </p:cNvPr>
              <p:cNvSpPr/>
              <p:nvPr/>
            </p:nvSpPr>
            <p:spPr>
              <a:xfrm>
                <a:off x="16652735" y="5242775"/>
                <a:ext cx="190500" cy="95250"/>
              </a:xfrm>
              <a:custGeom>
                <a:avLst/>
                <a:gdLst>
                  <a:gd name="connsiteX0" fmla="*/ 174879 w 190500"/>
                  <a:gd name="connsiteY0" fmla="*/ 92964 h 95250"/>
                  <a:gd name="connsiteX1" fmla="*/ 173546 w 190500"/>
                  <a:gd name="connsiteY1" fmla="*/ 87059 h 95250"/>
                  <a:gd name="connsiteX2" fmla="*/ 163354 w 190500"/>
                  <a:gd name="connsiteY2" fmla="*/ 78200 h 95250"/>
                  <a:gd name="connsiteX3" fmla="*/ 161925 w 190500"/>
                  <a:gd name="connsiteY3" fmla="*/ 73533 h 95250"/>
                  <a:gd name="connsiteX4" fmla="*/ 161735 w 190500"/>
                  <a:gd name="connsiteY4" fmla="*/ 72962 h 95250"/>
                  <a:gd name="connsiteX5" fmla="*/ 165735 w 190500"/>
                  <a:gd name="connsiteY5" fmla="*/ 69247 h 95250"/>
                  <a:gd name="connsiteX6" fmla="*/ 184309 w 190500"/>
                  <a:gd name="connsiteY6" fmla="*/ 65532 h 95250"/>
                  <a:gd name="connsiteX7" fmla="*/ 188214 w 190500"/>
                  <a:gd name="connsiteY7" fmla="*/ 62198 h 95250"/>
                  <a:gd name="connsiteX8" fmla="*/ 187262 w 190500"/>
                  <a:gd name="connsiteY8" fmla="*/ 57245 h 95250"/>
                  <a:gd name="connsiteX9" fmla="*/ 175927 w 190500"/>
                  <a:gd name="connsiteY9" fmla="*/ 44006 h 95250"/>
                  <a:gd name="connsiteX10" fmla="*/ 175165 w 190500"/>
                  <a:gd name="connsiteY10" fmla="*/ 38386 h 95250"/>
                  <a:gd name="connsiteX11" fmla="*/ 176213 w 190500"/>
                  <a:gd name="connsiteY11" fmla="*/ 37719 h 95250"/>
                  <a:gd name="connsiteX12" fmla="*/ 180022 w 190500"/>
                  <a:gd name="connsiteY12" fmla="*/ 35528 h 95250"/>
                  <a:gd name="connsiteX13" fmla="*/ 185833 w 190500"/>
                  <a:gd name="connsiteY13" fmla="*/ 35814 h 95250"/>
                  <a:gd name="connsiteX14" fmla="*/ 193548 w 190500"/>
                  <a:gd name="connsiteY14" fmla="*/ 30480 h 95250"/>
                  <a:gd name="connsiteX15" fmla="*/ 190310 w 190500"/>
                  <a:gd name="connsiteY15" fmla="*/ 21622 h 95250"/>
                  <a:gd name="connsiteX16" fmla="*/ 175736 w 190500"/>
                  <a:gd name="connsiteY16" fmla="*/ 12573 h 95250"/>
                  <a:gd name="connsiteX17" fmla="*/ 71533 w 190500"/>
                  <a:gd name="connsiteY17" fmla="*/ 0 h 95250"/>
                  <a:gd name="connsiteX18" fmla="*/ 76105 w 190500"/>
                  <a:gd name="connsiteY18" fmla="*/ 3143 h 95250"/>
                  <a:gd name="connsiteX19" fmla="*/ 78486 w 190500"/>
                  <a:gd name="connsiteY19" fmla="*/ 10192 h 95250"/>
                  <a:gd name="connsiteX20" fmla="*/ 72485 w 190500"/>
                  <a:gd name="connsiteY20" fmla="*/ 14573 h 95250"/>
                  <a:gd name="connsiteX21" fmla="*/ 64675 w 190500"/>
                  <a:gd name="connsiteY21" fmla="*/ 14478 h 95250"/>
                  <a:gd name="connsiteX22" fmla="*/ 58769 w 190500"/>
                  <a:gd name="connsiteY22" fmla="*/ 18383 h 95250"/>
                  <a:gd name="connsiteX23" fmla="*/ 60103 w 190500"/>
                  <a:gd name="connsiteY23" fmla="*/ 25241 h 95250"/>
                  <a:gd name="connsiteX24" fmla="*/ 67532 w 190500"/>
                  <a:gd name="connsiteY24" fmla="*/ 32671 h 95250"/>
                  <a:gd name="connsiteX25" fmla="*/ 68199 w 190500"/>
                  <a:gd name="connsiteY25" fmla="*/ 36481 h 95250"/>
                  <a:gd name="connsiteX26" fmla="*/ 64865 w 190500"/>
                  <a:gd name="connsiteY26" fmla="*/ 38386 h 95250"/>
                  <a:gd name="connsiteX27" fmla="*/ 54483 w 190500"/>
                  <a:gd name="connsiteY27" fmla="*/ 37338 h 95250"/>
                  <a:gd name="connsiteX28" fmla="*/ 0 w 190500"/>
                  <a:gd name="connsiteY28" fmla="*/ 4382 h 95250"/>
                  <a:gd name="connsiteX29" fmla="*/ 147733 w 190500"/>
                  <a:gd name="connsiteY29" fmla="*/ 93631 h 95250"/>
                  <a:gd name="connsiteX30" fmla="*/ 169736 w 190500"/>
                  <a:gd name="connsiteY30" fmla="*/ 95917 h 95250"/>
                  <a:gd name="connsiteX31" fmla="*/ 174879 w 190500"/>
                  <a:gd name="connsiteY31" fmla="*/ 92964 h 95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0500" h="95250">
                    <a:moveTo>
                      <a:pt x="174879" y="92964"/>
                    </a:moveTo>
                    <a:cubicBezTo>
                      <a:pt x="175736" y="90869"/>
                      <a:pt x="175260" y="88487"/>
                      <a:pt x="173546" y="87059"/>
                    </a:cubicBezTo>
                    <a:lnTo>
                      <a:pt x="163354" y="78200"/>
                    </a:lnTo>
                    <a:cubicBezTo>
                      <a:pt x="162020" y="77058"/>
                      <a:pt x="161639" y="75248"/>
                      <a:pt x="161925" y="73533"/>
                    </a:cubicBezTo>
                    <a:cubicBezTo>
                      <a:pt x="161925" y="73343"/>
                      <a:pt x="161735" y="73152"/>
                      <a:pt x="161735" y="72962"/>
                    </a:cubicBezTo>
                    <a:cubicBezTo>
                      <a:pt x="162211" y="71057"/>
                      <a:pt x="163830" y="69628"/>
                      <a:pt x="165735" y="69247"/>
                    </a:cubicBezTo>
                    <a:lnTo>
                      <a:pt x="184309" y="65532"/>
                    </a:lnTo>
                    <a:cubicBezTo>
                      <a:pt x="186119" y="65151"/>
                      <a:pt x="187547" y="63913"/>
                      <a:pt x="188214" y="62198"/>
                    </a:cubicBezTo>
                    <a:cubicBezTo>
                      <a:pt x="188786" y="60484"/>
                      <a:pt x="188404" y="58579"/>
                      <a:pt x="187262" y="57245"/>
                    </a:cubicBezTo>
                    <a:lnTo>
                      <a:pt x="175927" y="44006"/>
                    </a:lnTo>
                    <a:cubicBezTo>
                      <a:pt x="174593" y="42386"/>
                      <a:pt x="174307" y="40196"/>
                      <a:pt x="175165" y="38386"/>
                    </a:cubicBezTo>
                    <a:cubicBezTo>
                      <a:pt x="175355" y="38005"/>
                      <a:pt x="175927" y="38100"/>
                      <a:pt x="176213" y="37719"/>
                    </a:cubicBezTo>
                    <a:cubicBezTo>
                      <a:pt x="177260" y="36576"/>
                      <a:pt x="178403" y="35433"/>
                      <a:pt x="180022" y="35528"/>
                    </a:cubicBezTo>
                    <a:lnTo>
                      <a:pt x="185833" y="35814"/>
                    </a:lnTo>
                    <a:cubicBezTo>
                      <a:pt x="189357" y="36004"/>
                      <a:pt x="192500" y="33814"/>
                      <a:pt x="193548" y="30480"/>
                    </a:cubicBezTo>
                    <a:cubicBezTo>
                      <a:pt x="194596" y="27146"/>
                      <a:pt x="193262" y="23527"/>
                      <a:pt x="190310" y="21622"/>
                    </a:cubicBezTo>
                    <a:lnTo>
                      <a:pt x="175736" y="12573"/>
                    </a:lnTo>
                    <a:lnTo>
                      <a:pt x="71533" y="0"/>
                    </a:lnTo>
                    <a:lnTo>
                      <a:pt x="76105" y="3143"/>
                    </a:lnTo>
                    <a:cubicBezTo>
                      <a:pt x="78391" y="4763"/>
                      <a:pt x="79343" y="7620"/>
                      <a:pt x="78486" y="10192"/>
                    </a:cubicBezTo>
                    <a:cubicBezTo>
                      <a:pt x="77629" y="12764"/>
                      <a:pt x="75247" y="14573"/>
                      <a:pt x="72485" y="14573"/>
                    </a:cubicBezTo>
                    <a:lnTo>
                      <a:pt x="64675" y="14478"/>
                    </a:lnTo>
                    <a:cubicBezTo>
                      <a:pt x="62103" y="14478"/>
                      <a:pt x="59817" y="16002"/>
                      <a:pt x="58769" y="18383"/>
                    </a:cubicBezTo>
                    <a:cubicBezTo>
                      <a:pt x="57817" y="20765"/>
                      <a:pt x="58293" y="23432"/>
                      <a:pt x="60103" y="25241"/>
                    </a:cubicBezTo>
                    <a:lnTo>
                      <a:pt x="67532" y="32671"/>
                    </a:lnTo>
                    <a:cubicBezTo>
                      <a:pt x="68580" y="33719"/>
                      <a:pt x="68771" y="35243"/>
                      <a:pt x="68199" y="36481"/>
                    </a:cubicBezTo>
                    <a:cubicBezTo>
                      <a:pt x="67628" y="37719"/>
                      <a:pt x="66294" y="38481"/>
                      <a:pt x="64865" y="38386"/>
                    </a:cubicBezTo>
                    <a:lnTo>
                      <a:pt x="54483" y="37338"/>
                    </a:lnTo>
                    <a:lnTo>
                      <a:pt x="0" y="4382"/>
                    </a:lnTo>
                    <a:lnTo>
                      <a:pt x="147733" y="93631"/>
                    </a:lnTo>
                    <a:lnTo>
                      <a:pt x="169736" y="95917"/>
                    </a:lnTo>
                    <a:cubicBezTo>
                      <a:pt x="171926" y="96203"/>
                      <a:pt x="174022" y="94964"/>
                      <a:pt x="174879" y="92964"/>
                    </a:cubicBezTo>
                    <a:close/>
                  </a:path>
                </a:pathLst>
              </a:custGeom>
              <a:solidFill>
                <a:srgbClr val="E1B88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5" name="Freeform: Shape 134">
                <a:extLst>
                  <a:ext uri="{FF2B5EF4-FFF2-40B4-BE49-F238E27FC236}">
                    <a16:creationId xmlns:a16="http://schemas.microsoft.com/office/drawing/2014/main" id="{08113705-9F7A-4FAC-BC88-DC224125565D}"/>
                  </a:ext>
                </a:extLst>
              </p:cNvPr>
              <p:cNvSpPr/>
              <p:nvPr/>
            </p:nvSpPr>
            <p:spPr>
              <a:xfrm>
                <a:off x="16648679" y="5234603"/>
                <a:ext cx="76200" cy="38100"/>
              </a:xfrm>
              <a:custGeom>
                <a:avLst/>
                <a:gdLst>
                  <a:gd name="connsiteX0" fmla="*/ 68731 w 76200"/>
                  <a:gd name="connsiteY0" fmla="*/ 46557 h 38100"/>
                  <a:gd name="connsiteX1" fmla="*/ 72064 w 76200"/>
                  <a:gd name="connsiteY1" fmla="*/ 44653 h 38100"/>
                  <a:gd name="connsiteX2" fmla="*/ 71398 w 76200"/>
                  <a:gd name="connsiteY2" fmla="*/ 40843 h 38100"/>
                  <a:gd name="connsiteX3" fmla="*/ 63968 w 76200"/>
                  <a:gd name="connsiteY3" fmla="*/ 33413 h 38100"/>
                  <a:gd name="connsiteX4" fmla="*/ 62634 w 76200"/>
                  <a:gd name="connsiteY4" fmla="*/ 26555 h 38100"/>
                  <a:gd name="connsiteX5" fmla="*/ 68540 w 76200"/>
                  <a:gd name="connsiteY5" fmla="*/ 22650 h 38100"/>
                  <a:gd name="connsiteX6" fmla="*/ 76350 w 76200"/>
                  <a:gd name="connsiteY6" fmla="*/ 22745 h 38100"/>
                  <a:gd name="connsiteX7" fmla="*/ 82351 w 76200"/>
                  <a:gd name="connsiteY7" fmla="*/ 18364 h 38100"/>
                  <a:gd name="connsiteX8" fmla="*/ 79970 w 76200"/>
                  <a:gd name="connsiteY8" fmla="*/ 11315 h 38100"/>
                  <a:gd name="connsiteX9" fmla="*/ 75398 w 76200"/>
                  <a:gd name="connsiteY9" fmla="*/ 8172 h 38100"/>
                  <a:gd name="connsiteX10" fmla="*/ 75398 w 76200"/>
                  <a:gd name="connsiteY10" fmla="*/ 8172 h 38100"/>
                  <a:gd name="connsiteX11" fmla="*/ 8151 w 76200"/>
                  <a:gd name="connsiteY11" fmla="*/ 76 h 38100"/>
                  <a:gd name="connsiteX12" fmla="*/ 341 w 76200"/>
                  <a:gd name="connsiteY12" fmla="*/ 4457 h 38100"/>
                  <a:gd name="connsiteX13" fmla="*/ 3770 w 76200"/>
                  <a:gd name="connsiteY13" fmla="*/ 12648 h 38100"/>
                  <a:gd name="connsiteX14" fmla="*/ 58253 w 76200"/>
                  <a:gd name="connsiteY14" fmla="*/ 45605 h 38100"/>
                  <a:gd name="connsiteX15" fmla="*/ 68731 w 76200"/>
                  <a:gd name="connsiteY15" fmla="*/ 46557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76200" h="38100">
                    <a:moveTo>
                      <a:pt x="68731" y="46557"/>
                    </a:moveTo>
                    <a:cubicBezTo>
                      <a:pt x="70159" y="46748"/>
                      <a:pt x="71493" y="45986"/>
                      <a:pt x="72064" y="44653"/>
                    </a:cubicBezTo>
                    <a:cubicBezTo>
                      <a:pt x="72636" y="43414"/>
                      <a:pt x="72445" y="41890"/>
                      <a:pt x="71398" y="40843"/>
                    </a:cubicBezTo>
                    <a:lnTo>
                      <a:pt x="63968" y="33413"/>
                    </a:lnTo>
                    <a:cubicBezTo>
                      <a:pt x="62158" y="31603"/>
                      <a:pt x="61682" y="28841"/>
                      <a:pt x="62634" y="26555"/>
                    </a:cubicBezTo>
                    <a:cubicBezTo>
                      <a:pt x="63682" y="24174"/>
                      <a:pt x="65968" y="22650"/>
                      <a:pt x="68540" y="22650"/>
                    </a:cubicBezTo>
                    <a:lnTo>
                      <a:pt x="76350" y="22745"/>
                    </a:lnTo>
                    <a:cubicBezTo>
                      <a:pt x="79113" y="22745"/>
                      <a:pt x="81494" y="21031"/>
                      <a:pt x="82351" y="18364"/>
                    </a:cubicBezTo>
                    <a:cubicBezTo>
                      <a:pt x="83208" y="15697"/>
                      <a:pt x="82256" y="12839"/>
                      <a:pt x="79970" y="11315"/>
                    </a:cubicBezTo>
                    <a:lnTo>
                      <a:pt x="75398" y="8172"/>
                    </a:lnTo>
                    <a:lnTo>
                      <a:pt x="75398" y="8172"/>
                    </a:lnTo>
                    <a:lnTo>
                      <a:pt x="8151" y="76"/>
                    </a:lnTo>
                    <a:cubicBezTo>
                      <a:pt x="4627" y="-401"/>
                      <a:pt x="1389" y="1409"/>
                      <a:pt x="341" y="4457"/>
                    </a:cubicBezTo>
                    <a:cubicBezTo>
                      <a:pt x="-707" y="7505"/>
                      <a:pt x="722" y="10839"/>
                      <a:pt x="3770" y="12648"/>
                    </a:cubicBezTo>
                    <a:lnTo>
                      <a:pt x="58253" y="45605"/>
                    </a:lnTo>
                    <a:lnTo>
                      <a:pt x="68731" y="46557"/>
                    </a:lnTo>
                    <a:close/>
                  </a:path>
                </a:pathLst>
              </a:custGeom>
              <a:solidFill>
                <a:schemeClr val="accent4">
                  <a:lumMod val="50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6" name="Freeform: Shape 135">
                <a:extLst>
                  <a:ext uri="{FF2B5EF4-FFF2-40B4-BE49-F238E27FC236}">
                    <a16:creationId xmlns:a16="http://schemas.microsoft.com/office/drawing/2014/main" id="{D55599F9-510B-4C8B-9A87-6146599E3C26}"/>
                  </a:ext>
                </a:extLst>
              </p:cNvPr>
              <p:cNvSpPr/>
              <p:nvPr/>
            </p:nvSpPr>
            <p:spPr>
              <a:xfrm>
                <a:off x="14996528" y="4179667"/>
                <a:ext cx="57150" cy="38100"/>
              </a:xfrm>
              <a:custGeom>
                <a:avLst/>
                <a:gdLst>
                  <a:gd name="connsiteX0" fmla="*/ 63437 w 57150"/>
                  <a:gd name="connsiteY0" fmla="*/ 11357 h 38100"/>
                  <a:gd name="connsiteX1" fmla="*/ 65532 w 57150"/>
                  <a:gd name="connsiteY1" fmla="*/ 3451 h 38100"/>
                  <a:gd name="connsiteX2" fmla="*/ 58007 w 57150"/>
                  <a:gd name="connsiteY2" fmla="*/ 213 h 38100"/>
                  <a:gd name="connsiteX3" fmla="*/ 0 w 57150"/>
                  <a:gd name="connsiteY3" fmla="*/ 17644 h 38100"/>
                  <a:gd name="connsiteX4" fmla="*/ 13907 w 57150"/>
                  <a:gd name="connsiteY4" fmla="*/ 46314 h 38100"/>
                  <a:gd name="connsiteX5" fmla="*/ 63437 w 57150"/>
                  <a:gd name="connsiteY5" fmla="*/ 11357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7150" h="38100">
                    <a:moveTo>
                      <a:pt x="63437" y="11357"/>
                    </a:moveTo>
                    <a:cubicBezTo>
                      <a:pt x="65818" y="9547"/>
                      <a:pt x="66770" y="6118"/>
                      <a:pt x="65532" y="3451"/>
                    </a:cubicBezTo>
                    <a:cubicBezTo>
                      <a:pt x="64199" y="784"/>
                      <a:pt x="60960" y="-549"/>
                      <a:pt x="58007" y="213"/>
                    </a:cubicBezTo>
                    <a:lnTo>
                      <a:pt x="0" y="17644"/>
                    </a:lnTo>
                    <a:lnTo>
                      <a:pt x="13907" y="46314"/>
                    </a:lnTo>
                    <a:lnTo>
                      <a:pt x="63437" y="11357"/>
                    </a:ln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7" name="Freeform: Shape 136">
                <a:extLst>
                  <a:ext uri="{FF2B5EF4-FFF2-40B4-BE49-F238E27FC236}">
                    <a16:creationId xmlns:a16="http://schemas.microsoft.com/office/drawing/2014/main" id="{4809D786-1A1A-4822-9910-4234E8693369}"/>
                  </a:ext>
                </a:extLst>
              </p:cNvPr>
              <p:cNvSpPr/>
              <p:nvPr/>
            </p:nvSpPr>
            <p:spPr>
              <a:xfrm>
                <a:off x="14176902" y="4201121"/>
                <a:ext cx="800100" cy="457200"/>
              </a:xfrm>
              <a:custGeom>
                <a:avLst/>
                <a:gdLst>
                  <a:gd name="connsiteX0" fmla="*/ 199930 w 800100"/>
                  <a:gd name="connsiteY0" fmla="*/ 398240 h 457200"/>
                  <a:gd name="connsiteX1" fmla="*/ 317278 w 800100"/>
                  <a:gd name="connsiteY1" fmla="*/ 336899 h 457200"/>
                  <a:gd name="connsiteX2" fmla="*/ 430339 w 800100"/>
                  <a:gd name="connsiteY2" fmla="*/ 276035 h 457200"/>
                  <a:gd name="connsiteX3" fmla="*/ 535400 w 800100"/>
                  <a:gd name="connsiteY3" fmla="*/ 217741 h 457200"/>
                  <a:gd name="connsiteX4" fmla="*/ 628936 w 800100"/>
                  <a:gd name="connsiteY4" fmla="*/ 164021 h 457200"/>
                  <a:gd name="connsiteX5" fmla="*/ 767334 w 800100"/>
                  <a:gd name="connsiteY5" fmla="*/ 81058 h 457200"/>
                  <a:gd name="connsiteX6" fmla="*/ 801052 w 800100"/>
                  <a:gd name="connsiteY6" fmla="*/ 59436 h 457200"/>
                  <a:gd name="connsiteX7" fmla="*/ 772192 w 800100"/>
                  <a:gd name="connsiteY7" fmla="*/ 0 h 457200"/>
                  <a:gd name="connsiteX8" fmla="*/ 734377 w 800100"/>
                  <a:gd name="connsiteY8" fmla="*/ 13145 h 457200"/>
                  <a:gd name="connsiteX9" fmla="*/ 583597 w 800100"/>
                  <a:gd name="connsiteY9" fmla="*/ 70675 h 457200"/>
                  <a:gd name="connsiteX10" fmla="*/ 483584 w 800100"/>
                  <a:gd name="connsiteY10" fmla="*/ 111062 h 457200"/>
                  <a:gd name="connsiteX11" fmla="*/ 372809 w 800100"/>
                  <a:gd name="connsiteY11" fmla="*/ 157639 h 457200"/>
                  <a:gd name="connsiteX12" fmla="*/ 255079 w 800100"/>
                  <a:gd name="connsiteY12" fmla="*/ 208979 h 457200"/>
                  <a:gd name="connsiteX13" fmla="*/ 134302 w 800100"/>
                  <a:gd name="connsiteY13" fmla="*/ 263366 h 457200"/>
                  <a:gd name="connsiteX14" fmla="*/ 0 w 800100"/>
                  <a:gd name="connsiteY14" fmla="*/ 325660 h 457200"/>
                  <a:gd name="connsiteX15" fmla="*/ 67818 w 800100"/>
                  <a:gd name="connsiteY15" fmla="*/ 465201 h 457200"/>
                  <a:gd name="connsiteX16" fmla="*/ 199930 w 800100"/>
                  <a:gd name="connsiteY16" fmla="*/ 398240 h 457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800100" h="457200">
                    <a:moveTo>
                      <a:pt x="199930" y="398240"/>
                    </a:moveTo>
                    <a:cubicBezTo>
                      <a:pt x="239459" y="377762"/>
                      <a:pt x="278606" y="357092"/>
                      <a:pt x="317278" y="336899"/>
                    </a:cubicBezTo>
                    <a:cubicBezTo>
                      <a:pt x="355854" y="316516"/>
                      <a:pt x="394049" y="296418"/>
                      <a:pt x="430339" y="276035"/>
                    </a:cubicBezTo>
                    <a:cubicBezTo>
                      <a:pt x="466725" y="255746"/>
                      <a:pt x="502348" y="236696"/>
                      <a:pt x="535400" y="217741"/>
                    </a:cubicBezTo>
                    <a:cubicBezTo>
                      <a:pt x="568452" y="198691"/>
                      <a:pt x="599980" y="180689"/>
                      <a:pt x="628936" y="164021"/>
                    </a:cubicBezTo>
                    <a:cubicBezTo>
                      <a:pt x="686467" y="130493"/>
                      <a:pt x="734377" y="101727"/>
                      <a:pt x="767334" y="81058"/>
                    </a:cubicBezTo>
                    <a:cubicBezTo>
                      <a:pt x="781431" y="72295"/>
                      <a:pt x="792575" y="64865"/>
                      <a:pt x="801052" y="59436"/>
                    </a:cubicBezTo>
                    <a:lnTo>
                      <a:pt x="772192" y="0"/>
                    </a:lnTo>
                    <a:cubicBezTo>
                      <a:pt x="762667" y="3334"/>
                      <a:pt x="749998" y="7525"/>
                      <a:pt x="734377" y="13145"/>
                    </a:cubicBezTo>
                    <a:cubicBezTo>
                      <a:pt x="697801" y="26289"/>
                      <a:pt x="645509" y="46196"/>
                      <a:pt x="583597" y="70675"/>
                    </a:cubicBezTo>
                    <a:cubicBezTo>
                      <a:pt x="552545" y="83153"/>
                      <a:pt x="518922" y="96869"/>
                      <a:pt x="483584" y="111062"/>
                    </a:cubicBezTo>
                    <a:cubicBezTo>
                      <a:pt x="448246" y="125349"/>
                      <a:pt x="411194" y="141637"/>
                      <a:pt x="372809" y="157639"/>
                    </a:cubicBezTo>
                    <a:cubicBezTo>
                      <a:pt x="334423" y="173641"/>
                      <a:pt x="294989" y="191167"/>
                      <a:pt x="255079" y="208979"/>
                    </a:cubicBezTo>
                    <a:cubicBezTo>
                      <a:pt x="215360" y="226981"/>
                      <a:pt x="174879" y="244983"/>
                      <a:pt x="134302" y="263366"/>
                    </a:cubicBezTo>
                    <a:cubicBezTo>
                      <a:pt x="89249" y="284702"/>
                      <a:pt x="44101" y="305276"/>
                      <a:pt x="0" y="325660"/>
                    </a:cubicBezTo>
                    <a:lnTo>
                      <a:pt x="67818" y="465201"/>
                    </a:lnTo>
                    <a:cubicBezTo>
                      <a:pt x="111252" y="443294"/>
                      <a:pt x="155353" y="420529"/>
                      <a:pt x="199930" y="398240"/>
                    </a:cubicBezTo>
                    <a:close/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8" name="Freeform: Shape 137">
                <a:extLst>
                  <a:ext uri="{FF2B5EF4-FFF2-40B4-BE49-F238E27FC236}">
                    <a16:creationId xmlns:a16="http://schemas.microsoft.com/office/drawing/2014/main" id="{24E97745-AC8B-4C88-9FF7-E3C30CF0D5DE}"/>
                  </a:ext>
                </a:extLst>
              </p:cNvPr>
              <p:cNvSpPr/>
              <p:nvPr/>
            </p:nvSpPr>
            <p:spPr>
              <a:xfrm>
                <a:off x="14124609" y="4526876"/>
                <a:ext cx="114300" cy="161925"/>
              </a:xfrm>
              <a:custGeom>
                <a:avLst/>
                <a:gdLst>
                  <a:gd name="connsiteX0" fmla="*/ 120205 w 114300"/>
                  <a:gd name="connsiteY0" fmla="*/ 139541 h 161925"/>
                  <a:gd name="connsiteX1" fmla="*/ 52388 w 114300"/>
                  <a:gd name="connsiteY1" fmla="*/ 0 h 161925"/>
                  <a:gd name="connsiteX2" fmla="*/ 0 w 114300"/>
                  <a:gd name="connsiteY2" fmla="*/ 24479 h 161925"/>
                  <a:gd name="connsiteX3" fmla="*/ 68580 w 114300"/>
                  <a:gd name="connsiteY3" fmla="*/ 165640 h 161925"/>
                  <a:gd name="connsiteX4" fmla="*/ 120205 w 114300"/>
                  <a:gd name="connsiteY4" fmla="*/ 139541 h 161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4300" h="161925">
                    <a:moveTo>
                      <a:pt x="120205" y="139541"/>
                    </a:moveTo>
                    <a:lnTo>
                      <a:pt x="52388" y="0"/>
                    </a:lnTo>
                    <a:cubicBezTo>
                      <a:pt x="34766" y="8287"/>
                      <a:pt x="17335" y="16383"/>
                      <a:pt x="0" y="24479"/>
                    </a:cubicBezTo>
                    <a:lnTo>
                      <a:pt x="68580" y="165640"/>
                    </a:lnTo>
                    <a:cubicBezTo>
                      <a:pt x="85725" y="156972"/>
                      <a:pt x="102775" y="148304"/>
                      <a:pt x="120205" y="139541"/>
                    </a:cubicBezTo>
                    <a:close/>
                  </a:path>
                </a:pathLst>
              </a:custGeom>
              <a:solidFill>
                <a:srgbClr val="E5803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9" name="Freeform: Shape 138">
                <a:extLst>
                  <a:ext uri="{FF2B5EF4-FFF2-40B4-BE49-F238E27FC236}">
                    <a16:creationId xmlns:a16="http://schemas.microsoft.com/office/drawing/2014/main" id="{7CD1775D-FE2B-4E89-A19A-E41DCED7C485}"/>
                  </a:ext>
                </a:extLst>
              </p:cNvPr>
              <p:cNvSpPr/>
              <p:nvPr/>
            </p:nvSpPr>
            <p:spPr>
              <a:xfrm>
                <a:off x="13669955" y="4796243"/>
                <a:ext cx="66675" cy="76200"/>
              </a:xfrm>
              <a:custGeom>
                <a:avLst/>
                <a:gdLst>
                  <a:gd name="connsiteX0" fmla="*/ 16886 w 66675"/>
                  <a:gd name="connsiteY0" fmla="*/ 7810 h 76200"/>
                  <a:gd name="connsiteX1" fmla="*/ 1360 w 66675"/>
                  <a:gd name="connsiteY1" fmla="*/ 52768 h 76200"/>
                  <a:gd name="connsiteX2" fmla="*/ 54033 w 66675"/>
                  <a:gd name="connsiteY2" fmla="*/ 84201 h 76200"/>
                  <a:gd name="connsiteX3" fmla="*/ 66797 w 66675"/>
                  <a:gd name="connsiteY3" fmla="*/ 80677 h 76200"/>
                  <a:gd name="connsiteX4" fmla="*/ 27649 w 66675"/>
                  <a:gd name="connsiteY4" fmla="*/ 0 h 76200"/>
                  <a:gd name="connsiteX5" fmla="*/ 16886 w 66675"/>
                  <a:gd name="connsiteY5" fmla="*/ 7810 h 76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6675" h="76200">
                    <a:moveTo>
                      <a:pt x="16886" y="7810"/>
                    </a:moveTo>
                    <a:cubicBezTo>
                      <a:pt x="3455" y="17907"/>
                      <a:pt x="-3022" y="35623"/>
                      <a:pt x="1360" y="52768"/>
                    </a:cubicBezTo>
                    <a:cubicBezTo>
                      <a:pt x="7170" y="76200"/>
                      <a:pt x="30792" y="90297"/>
                      <a:pt x="54033" y="84201"/>
                    </a:cubicBezTo>
                    <a:cubicBezTo>
                      <a:pt x="54033" y="84201"/>
                      <a:pt x="58415" y="83058"/>
                      <a:pt x="66797" y="80677"/>
                    </a:cubicBezTo>
                    <a:lnTo>
                      <a:pt x="27649" y="0"/>
                    </a:lnTo>
                    <a:cubicBezTo>
                      <a:pt x="20505" y="5143"/>
                      <a:pt x="16886" y="7810"/>
                      <a:pt x="16886" y="7810"/>
                    </a:cubicBezTo>
                    <a:close/>
                  </a:path>
                </a:pathLst>
              </a:custGeom>
              <a:solidFill>
                <a:srgbClr val="E5803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0" name="Freeform: Shape 139">
                <a:extLst>
                  <a:ext uri="{FF2B5EF4-FFF2-40B4-BE49-F238E27FC236}">
                    <a16:creationId xmlns:a16="http://schemas.microsoft.com/office/drawing/2014/main" id="{53E805DF-27BA-4087-BF83-4EC59A914006}"/>
                  </a:ext>
                </a:extLst>
              </p:cNvPr>
              <p:cNvSpPr/>
              <p:nvPr/>
            </p:nvSpPr>
            <p:spPr>
              <a:xfrm>
                <a:off x="13708669" y="4483871"/>
                <a:ext cx="371475" cy="323850"/>
              </a:xfrm>
              <a:custGeom>
                <a:avLst/>
                <a:gdLst>
                  <a:gd name="connsiteX0" fmla="*/ 345551 w 371475"/>
                  <a:gd name="connsiteY0" fmla="*/ 20430 h 323850"/>
                  <a:gd name="connsiteX1" fmla="*/ 344313 w 371475"/>
                  <a:gd name="connsiteY1" fmla="*/ 43576 h 323850"/>
                  <a:gd name="connsiteX2" fmla="*/ 318881 w 371475"/>
                  <a:gd name="connsiteY2" fmla="*/ 65484 h 323850"/>
                  <a:gd name="connsiteX3" fmla="*/ 46466 w 371475"/>
                  <a:gd name="connsiteY3" fmla="*/ 188356 h 323850"/>
                  <a:gd name="connsiteX4" fmla="*/ 79 w 371475"/>
                  <a:gd name="connsiteY4" fmla="*/ 264366 h 323850"/>
                  <a:gd name="connsiteX5" fmla="*/ 2270 w 371475"/>
                  <a:gd name="connsiteY5" fmla="*/ 302656 h 323850"/>
                  <a:gd name="connsiteX6" fmla="*/ 3032 w 371475"/>
                  <a:gd name="connsiteY6" fmla="*/ 317706 h 323850"/>
                  <a:gd name="connsiteX7" fmla="*/ 17986 w 371475"/>
                  <a:gd name="connsiteY7" fmla="*/ 331041 h 323850"/>
                  <a:gd name="connsiteX8" fmla="*/ 31416 w 371475"/>
                  <a:gd name="connsiteY8" fmla="*/ 315991 h 323850"/>
                  <a:gd name="connsiteX9" fmla="*/ 29511 w 371475"/>
                  <a:gd name="connsiteY9" fmla="*/ 283797 h 323850"/>
                  <a:gd name="connsiteX10" fmla="*/ 28464 w 371475"/>
                  <a:gd name="connsiteY10" fmla="*/ 262651 h 323850"/>
                  <a:gd name="connsiteX11" fmla="*/ 57991 w 371475"/>
                  <a:gd name="connsiteY11" fmla="*/ 214169 h 323850"/>
                  <a:gd name="connsiteX12" fmla="*/ 330501 w 371475"/>
                  <a:gd name="connsiteY12" fmla="*/ 91582 h 323850"/>
                  <a:gd name="connsiteX13" fmla="*/ 368030 w 371475"/>
                  <a:gd name="connsiteY13" fmla="*/ 58911 h 323850"/>
                  <a:gd name="connsiteX14" fmla="*/ 371078 w 371475"/>
                  <a:gd name="connsiteY14" fmla="*/ 7858 h 323850"/>
                  <a:gd name="connsiteX15" fmla="*/ 351837 w 371475"/>
                  <a:gd name="connsiteY15" fmla="*/ 1476 h 323850"/>
                  <a:gd name="connsiteX16" fmla="*/ 345551 w 371475"/>
                  <a:gd name="connsiteY16" fmla="*/ 20430 h 323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71475" h="323850">
                    <a:moveTo>
                      <a:pt x="345551" y="20430"/>
                    </a:moveTo>
                    <a:cubicBezTo>
                      <a:pt x="349170" y="27860"/>
                      <a:pt x="348694" y="36909"/>
                      <a:pt x="344313" y="43576"/>
                    </a:cubicBezTo>
                    <a:cubicBezTo>
                      <a:pt x="338121" y="53101"/>
                      <a:pt x="329454" y="61007"/>
                      <a:pt x="318881" y="65484"/>
                    </a:cubicBezTo>
                    <a:lnTo>
                      <a:pt x="46466" y="188356"/>
                    </a:lnTo>
                    <a:cubicBezTo>
                      <a:pt x="16653" y="201882"/>
                      <a:pt x="-1350" y="231600"/>
                      <a:pt x="79" y="264366"/>
                    </a:cubicBezTo>
                    <a:lnTo>
                      <a:pt x="2270" y="302656"/>
                    </a:lnTo>
                    <a:lnTo>
                      <a:pt x="3032" y="317706"/>
                    </a:lnTo>
                    <a:cubicBezTo>
                      <a:pt x="3603" y="325611"/>
                      <a:pt x="10080" y="331612"/>
                      <a:pt x="17986" y="331041"/>
                    </a:cubicBezTo>
                    <a:cubicBezTo>
                      <a:pt x="25701" y="330564"/>
                      <a:pt x="31893" y="323897"/>
                      <a:pt x="31416" y="315991"/>
                    </a:cubicBezTo>
                    <a:lnTo>
                      <a:pt x="29511" y="283797"/>
                    </a:lnTo>
                    <a:lnTo>
                      <a:pt x="28464" y="262651"/>
                    </a:lnTo>
                    <a:cubicBezTo>
                      <a:pt x="27511" y="241792"/>
                      <a:pt x="38941" y="222742"/>
                      <a:pt x="57991" y="214169"/>
                    </a:cubicBezTo>
                    <a:lnTo>
                      <a:pt x="330501" y="91582"/>
                    </a:lnTo>
                    <a:cubicBezTo>
                      <a:pt x="345741" y="84438"/>
                      <a:pt x="358886" y="73199"/>
                      <a:pt x="368030" y="58911"/>
                    </a:cubicBezTo>
                    <a:cubicBezTo>
                      <a:pt x="377650" y="43671"/>
                      <a:pt x="378984" y="24050"/>
                      <a:pt x="371078" y="7858"/>
                    </a:cubicBezTo>
                    <a:cubicBezTo>
                      <a:pt x="367744" y="1000"/>
                      <a:pt x="359076" y="-2049"/>
                      <a:pt x="351837" y="1476"/>
                    </a:cubicBezTo>
                    <a:cubicBezTo>
                      <a:pt x="345170" y="4905"/>
                      <a:pt x="342217" y="13477"/>
                      <a:pt x="345551" y="20430"/>
                    </a:cubicBezTo>
                    <a:close/>
                  </a:path>
                </a:pathLst>
              </a:custGeom>
              <a:solidFill>
                <a:srgbClr val="E5803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1" name="Freeform: Shape 140">
                <a:extLst>
                  <a:ext uri="{FF2B5EF4-FFF2-40B4-BE49-F238E27FC236}">
                    <a16:creationId xmlns:a16="http://schemas.microsoft.com/office/drawing/2014/main" id="{28F7E538-423F-4B4F-9FB0-F5A5F224F684}"/>
                  </a:ext>
                </a:extLst>
              </p:cNvPr>
              <p:cNvSpPr/>
              <p:nvPr/>
            </p:nvSpPr>
            <p:spPr>
              <a:xfrm>
                <a:off x="13697508" y="4551260"/>
                <a:ext cx="495300" cy="323850"/>
              </a:xfrm>
              <a:custGeom>
                <a:avLst/>
                <a:gdLst>
                  <a:gd name="connsiteX0" fmla="*/ 29242 w 495300"/>
                  <a:gd name="connsiteY0" fmla="*/ 263557 h 323850"/>
                  <a:gd name="connsiteX1" fmla="*/ 14288 w 495300"/>
                  <a:gd name="connsiteY1" fmla="*/ 250222 h 323850"/>
                  <a:gd name="connsiteX2" fmla="*/ 13526 w 495300"/>
                  <a:gd name="connsiteY2" fmla="*/ 235172 h 323850"/>
                  <a:gd name="connsiteX3" fmla="*/ 0 w 495300"/>
                  <a:gd name="connsiteY3" fmla="*/ 244983 h 323850"/>
                  <a:gd name="connsiteX4" fmla="*/ 39148 w 495300"/>
                  <a:gd name="connsiteY4" fmla="*/ 325660 h 323850"/>
                  <a:gd name="connsiteX5" fmla="*/ 85725 w 495300"/>
                  <a:gd name="connsiteY5" fmla="*/ 311563 h 323850"/>
                  <a:gd name="connsiteX6" fmla="*/ 237744 w 495300"/>
                  <a:gd name="connsiteY6" fmla="*/ 256032 h 323850"/>
                  <a:gd name="connsiteX7" fmla="*/ 336899 w 495300"/>
                  <a:gd name="connsiteY7" fmla="*/ 214408 h 323850"/>
                  <a:gd name="connsiteX8" fmla="*/ 446246 w 495300"/>
                  <a:gd name="connsiteY8" fmla="*/ 164878 h 323850"/>
                  <a:gd name="connsiteX9" fmla="*/ 495776 w 495300"/>
                  <a:gd name="connsiteY9" fmla="*/ 141160 h 323850"/>
                  <a:gd name="connsiteX10" fmla="*/ 427196 w 495300"/>
                  <a:gd name="connsiteY10" fmla="*/ 0 h 323850"/>
                  <a:gd name="connsiteX11" fmla="*/ 377952 w 495300"/>
                  <a:gd name="connsiteY11" fmla="*/ 24289 h 323850"/>
                  <a:gd name="connsiteX12" fmla="*/ 271367 w 495300"/>
                  <a:gd name="connsiteY12" fmla="*/ 79629 h 323850"/>
                  <a:gd name="connsiteX13" fmla="*/ 177451 w 495300"/>
                  <a:gd name="connsiteY13" fmla="*/ 131921 h 323850"/>
                  <a:gd name="connsiteX14" fmla="*/ 40767 w 495300"/>
                  <a:gd name="connsiteY14" fmla="*/ 216313 h 323850"/>
                  <a:gd name="connsiteX15" fmla="*/ 42672 w 495300"/>
                  <a:gd name="connsiteY15" fmla="*/ 248507 h 323850"/>
                  <a:gd name="connsiteX16" fmla="*/ 29242 w 495300"/>
                  <a:gd name="connsiteY16" fmla="*/ 263557 h 323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95300" h="323850">
                    <a:moveTo>
                      <a:pt x="29242" y="263557"/>
                    </a:moveTo>
                    <a:cubicBezTo>
                      <a:pt x="21336" y="264128"/>
                      <a:pt x="14764" y="258127"/>
                      <a:pt x="14288" y="250222"/>
                    </a:cubicBezTo>
                    <a:lnTo>
                      <a:pt x="13526" y="235172"/>
                    </a:lnTo>
                    <a:cubicBezTo>
                      <a:pt x="8192" y="239077"/>
                      <a:pt x="3524" y="242316"/>
                      <a:pt x="0" y="244983"/>
                    </a:cubicBezTo>
                    <a:lnTo>
                      <a:pt x="39148" y="325660"/>
                    </a:lnTo>
                    <a:cubicBezTo>
                      <a:pt x="49340" y="322993"/>
                      <a:pt x="65056" y="318325"/>
                      <a:pt x="85725" y="311563"/>
                    </a:cubicBezTo>
                    <a:cubicBezTo>
                      <a:pt x="123158" y="299561"/>
                      <a:pt x="175641" y="280702"/>
                      <a:pt x="237744" y="256032"/>
                    </a:cubicBezTo>
                    <a:cubicBezTo>
                      <a:pt x="268224" y="243173"/>
                      <a:pt x="302228" y="230314"/>
                      <a:pt x="336899" y="214408"/>
                    </a:cubicBezTo>
                    <a:cubicBezTo>
                      <a:pt x="371665" y="198882"/>
                      <a:pt x="408718" y="182785"/>
                      <a:pt x="446246" y="164878"/>
                    </a:cubicBezTo>
                    <a:cubicBezTo>
                      <a:pt x="462534" y="157258"/>
                      <a:pt x="479012" y="149352"/>
                      <a:pt x="495776" y="141160"/>
                    </a:cubicBezTo>
                    <a:lnTo>
                      <a:pt x="427196" y="0"/>
                    </a:lnTo>
                    <a:cubicBezTo>
                      <a:pt x="410528" y="8096"/>
                      <a:pt x="394049" y="16097"/>
                      <a:pt x="377952" y="24289"/>
                    </a:cubicBezTo>
                    <a:cubicBezTo>
                      <a:pt x="340709" y="42672"/>
                      <a:pt x="305086" y="61913"/>
                      <a:pt x="271367" y="79629"/>
                    </a:cubicBezTo>
                    <a:cubicBezTo>
                      <a:pt x="237554" y="97060"/>
                      <a:pt x="206407" y="115824"/>
                      <a:pt x="177451" y="131921"/>
                    </a:cubicBezTo>
                    <a:cubicBezTo>
                      <a:pt x="120206" y="165259"/>
                      <a:pt x="73438" y="194500"/>
                      <a:pt x="40767" y="216313"/>
                    </a:cubicBezTo>
                    <a:lnTo>
                      <a:pt x="42672" y="248507"/>
                    </a:lnTo>
                    <a:cubicBezTo>
                      <a:pt x="43244" y="256508"/>
                      <a:pt x="36957" y="263176"/>
                      <a:pt x="29242" y="263557"/>
                    </a:cubicBezTo>
                    <a:close/>
                  </a:path>
                </a:pathLst>
              </a:custGeom>
              <a:solidFill>
                <a:srgbClr val="FDA44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2" name="Freeform: Shape 141">
                <a:extLst>
                  <a:ext uri="{FF2B5EF4-FFF2-40B4-BE49-F238E27FC236}">
                    <a16:creationId xmlns:a16="http://schemas.microsoft.com/office/drawing/2014/main" id="{C68629DF-9187-48BA-83D7-0156DA4F5AE2}"/>
                  </a:ext>
                </a:extLst>
              </p:cNvPr>
              <p:cNvSpPr/>
              <p:nvPr/>
            </p:nvSpPr>
            <p:spPr>
              <a:xfrm>
                <a:off x="14949284" y="4192179"/>
                <a:ext cx="57150" cy="66675"/>
              </a:xfrm>
              <a:custGeom>
                <a:avLst/>
                <a:gdLst>
                  <a:gd name="connsiteX0" fmla="*/ 61150 w 57150"/>
                  <a:gd name="connsiteY0" fmla="*/ 33707 h 66675"/>
                  <a:gd name="connsiteX1" fmla="*/ 61150 w 57150"/>
                  <a:gd name="connsiteY1" fmla="*/ 33707 h 66675"/>
                  <a:gd name="connsiteX2" fmla="*/ 47244 w 57150"/>
                  <a:gd name="connsiteY2" fmla="*/ 5036 h 66675"/>
                  <a:gd name="connsiteX3" fmla="*/ 47244 w 57150"/>
                  <a:gd name="connsiteY3" fmla="*/ 5036 h 66675"/>
                  <a:gd name="connsiteX4" fmla="*/ 20098 w 57150"/>
                  <a:gd name="connsiteY4" fmla="*/ 1798 h 66675"/>
                  <a:gd name="connsiteX5" fmla="*/ 0 w 57150"/>
                  <a:gd name="connsiteY5" fmla="*/ 8942 h 66675"/>
                  <a:gd name="connsiteX6" fmla="*/ 28861 w 57150"/>
                  <a:gd name="connsiteY6" fmla="*/ 68378 h 66675"/>
                  <a:gd name="connsiteX7" fmla="*/ 46958 w 57150"/>
                  <a:gd name="connsiteY7" fmla="*/ 56948 h 66675"/>
                  <a:gd name="connsiteX8" fmla="*/ 61150 w 57150"/>
                  <a:gd name="connsiteY8" fmla="*/ 33707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7150" h="66675">
                    <a:moveTo>
                      <a:pt x="61150" y="33707"/>
                    </a:moveTo>
                    <a:lnTo>
                      <a:pt x="61150" y="33707"/>
                    </a:lnTo>
                    <a:lnTo>
                      <a:pt x="47244" y="5036"/>
                    </a:lnTo>
                    <a:lnTo>
                      <a:pt x="47244" y="5036"/>
                    </a:lnTo>
                    <a:cubicBezTo>
                      <a:pt x="39529" y="-107"/>
                      <a:pt x="29623" y="-1536"/>
                      <a:pt x="20098" y="1798"/>
                    </a:cubicBezTo>
                    <a:cubicBezTo>
                      <a:pt x="20098" y="1798"/>
                      <a:pt x="13049" y="4179"/>
                      <a:pt x="0" y="8942"/>
                    </a:cubicBezTo>
                    <a:lnTo>
                      <a:pt x="28861" y="68378"/>
                    </a:lnTo>
                    <a:cubicBezTo>
                      <a:pt x="40672" y="61044"/>
                      <a:pt x="46958" y="56948"/>
                      <a:pt x="46958" y="56948"/>
                    </a:cubicBezTo>
                    <a:cubicBezTo>
                      <a:pt x="55245" y="51995"/>
                      <a:pt x="60484" y="43232"/>
                      <a:pt x="61150" y="33707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1795" name="Rectangle 1794">
            <a:extLst>
              <a:ext uri="{FF2B5EF4-FFF2-40B4-BE49-F238E27FC236}">
                <a16:creationId xmlns:a16="http://schemas.microsoft.com/office/drawing/2014/main" id="{C658AADA-CE0A-4508-A526-FD6E85961365}"/>
              </a:ext>
            </a:extLst>
          </p:cNvPr>
          <p:cNvSpPr>
            <a:spLocks/>
          </p:cNvSpPr>
          <p:nvPr/>
        </p:nvSpPr>
        <p:spPr>
          <a:xfrm>
            <a:off x="346892" y="1960553"/>
            <a:ext cx="2850758" cy="95410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r>
              <a:rPr lang="en-US" sz="2800" b="1" spc="-15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Attest to</a:t>
            </a:r>
            <a:br>
              <a:rPr lang="en-US" sz="2800" b="1" spc="-15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</a:br>
            <a:r>
              <a:rPr lang="en-US" sz="2800" b="1" spc="-15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payment</a:t>
            </a:r>
          </a:p>
        </p:txBody>
      </p:sp>
      <p:sp>
        <p:nvSpPr>
          <p:cNvPr id="1796" name="TitleTrackerNum 7">
            <a:extLst>
              <a:ext uri="{FF2B5EF4-FFF2-40B4-BE49-F238E27FC236}">
                <a16:creationId xmlns:a16="http://schemas.microsoft.com/office/drawing/2014/main" id="{F62CA131-1EF5-406A-9219-E69711B23486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46892" y="1484823"/>
            <a:ext cx="340408" cy="340409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4800" b="1" dirty="0">
                <a:solidFill>
                  <a:srgbClr val="A33134"/>
                </a:solidFill>
                <a:latin typeface="+mj-lt"/>
              </a:rPr>
              <a:t>5</a:t>
            </a:r>
          </a:p>
        </p:txBody>
      </p:sp>
      <p:cxnSp>
        <p:nvCxnSpPr>
          <p:cNvPr id="1797" name="Straight Connector 1796">
            <a:extLst>
              <a:ext uri="{FF2B5EF4-FFF2-40B4-BE49-F238E27FC236}">
                <a16:creationId xmlns:a16="http://schemas.microsoft.com/office/drawing/2014/main" id="{1D466C05-AB87-445F-ACAE-C43823DD42F4}"/>
              </a:ext>
            </a:extLst>
          </p:cNvPr>
          <p:cNvCxnSpPr>
            <a:cxnSpLocks/>
          </p:cNvCxnSpPr>
          <p:nvPr/>
        </p:nvCxnSpPr>
        <p:spPr>
          <a:xfrm>
            <a:off x="346892" y="3110489"/>
            <a:ext cx="3676468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99" name="Title 1">
            <a:extLst>
              <a:ext uri="{FF2B5EF4-FFF2-40B4-BE49-F238E27FC236}">
                <a16:creationId xmlns:a16="http://schemas.microsoft.com/office/drawing/2014/main" id="{F5A8FFDB-2DF3-434E-B1E6-0078D918859A}"/>
              </a:ext>
            </a:extLst>
          </p:cNvPr>
          <p:cNvSpPr txBox="1">
            <a:spLocks/>
          </p:cNvSpPr>
          <p:nvPr/>
        </p:nvSpPr>
        <p:spPr bwMode="gray">
          <a:xfrm>
            <a:off x="11094720" y="379920"/>
            <a:ext cx="580788" cy="384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 defTabSz="12180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7135" algn="l"/>
              </a:tabLst>
              <a:defRPr lang="x-none" sz="20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2pPr>
            <a:lvl3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3pPr>
            <a:lvl4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4pPr>
            <a:lvl5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5pPr>
            <a:lvl6pPr marL="62197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6pPr>
            <a:lvl7pPr marL="1243941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7pPr>
            <a:lvl8pPr marL="1865909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8pPr>
            <a:lvl9pPr marL="248788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r">
              <a:lnSpc>
                <a:spcPts val="3000"/>
              </a:lnSpc>
            </a:pPr>
            <a:r>
              <a:rPr lang="en-US" sz="2800" b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5/6</a:t>
            </a:r>
            <a:endParaRPr lang="en-US" sz="2800" b="0" kern="0" spc="-15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43" name="TextBox 142">
            <a:extLst>
              <a:ext uri="{FF2B5EF4-FFF2-40B4-BE49-F238E27FC236}">
                <a16:creationId xmlns:a16="http://schemas.microsoft.com/office/drawing/2014/main" id="{13726271-4440-4F1B-A170-5BB4CA5D8333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4399280" y="6138206"/>
            <a:ext cx="7361798" cy="21544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 marL="0" lvl="1" indent="0">
              <a:spcBef>
                <a:spcPct val="110000"/>
              </a:spcBef>
              <a:buNone/>
            </a:pPr>
            <a:r>
              <a:rPr lang="en-US" sz="1400" b="1" dirty="0">
                <a:solidFill>
                  <a:schemeClr val="tx2"/>
                </a:solidFill>
                <a:cs typeface="Helvetica" panose="020B0604020202020204" pitchFamily="34" charset="0"/>
              </a:rPr>
              <a:t>For more information, please review the </a:t>
            </a:r>
            <a:r>
              <a:rPr lang="en-US" sz="1400" b="1" dirty="0">
                <a:solidFill>
                  <a:srgbClr val="0087E2"/>
                </a:solidFill>
                <a:cs typeface="Helvetica" panose="020B0604020202020204" pitchFamily="34" charset="0"/>
                <a:hlinkClick r:id="rId12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terms and conditions</a:t>
            </a:r>
            <a:r>
              <a:rPr lang="en-US" sz="1400" b="1" dirty="0">
                <a:solidFill>
                  <a:srgbClr val="0087E2"/>
                </a:solidFill>
                <a:cs typeface="Helvetica" panose="020B0604020202020204" pitchFamily="34" charset="0"/>
              </a:rPr>
              <a:t> </a:t>
            </a:r>
            <a:r>
              <a:rPr lang="en-US" sz="1400" b="1" dirty="0">
                <a:solidFill>
                  <a:schemeClr val="tx2"/>
                </a:solidFill>
                <a:cs typeface="Helvetica" panose="020B0604020202020204" pitchFamily="34" charset="0"/>
              </a:rPr>
              <a:t>or attestation </a:t>
            </a:r>
            <a:r>
              <a:rPr lang="en-US" sz="1400" b="1" dirty="0">
                <a:solidFill>
                  <a:schemeClr val="tx2"/>
                </a:solidFill>
                <a:cs typeface="Helvetica" panose="020B0604020202020204" pitchFamily="34" charset="0"/>
                <a:hlinkClick r:id="rId13"/>
              </a:rPr>
              <a:t>FAQs</a:t>
            </a:r>
            <a:r>
              <a:rPr lang="en-US" sz="1400" b="1" dirty="0">
                <a:solidFill>
                  <a:schemeClr val="tx2"/>
                </a:solidFill>
                <a:cs typeface="Helvetica" panose="020B0604020202020204" pitchFamily="34" charset="0"/>
              </a:rPr>
              <a:t> </a:t>
            </a:r>
          </a:p>
        </p:txBody>
      </p:sp>
      <p:sp>
        <p:nvSpPr>
          <p:cNvPr id="144" name="5. Source">
            <a:extLst>
              <a:ext uri="{FF2B5EF4-FFF2-40B4-BE49-F238E27FC236}">
                <a16:creationId xmlns:a16="http://schemas.microsoft.com/office/drawing/2014/main" id="{92AE60A1-48DF-4E2C-A3DE-9075011C2FD7}"/>
              </a:ext>
            </a:extLst>
          </p:cNvPr>
          <p:cNvSpPr>
            <a:spLocks noChangeArrowheads="1"/>
          </p:cNvSpPr>
          <p:nvPr/>
        </p:nvSpPr>
        <p:spPr bwMode="gray">
          <a:xfrm>
            <a:off x="346893" y="6642955"/>
            <a:ext cx="9531411" cy="123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519113" indent="-519113" defTabSz="1218026">
              <a:tabLst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  <a:hlinkClick r:id="rId14"/>
              </a:rPr>
              <a:t>Provider Relief Fund website</a:t>
            </a:r>
            <a:endParaRPr lang="en-US" sz="8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45" name="TextBox 144">
            <a:extLst>
              <a:ext uri="{FF2B5EF4-FFF2-40B4-BE49-F238E27FC236}">
                <a16:creationId xmlns:a16="http://schemas.microsoft.com/office/drawing/2014/main" id="{0AE431D3-F51C-4084-8F9C-0AAC8FAD517E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4399280" y="1544190"/>
            <a:ext cx="7361798" cy="454124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218026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2024" lvl="1" indent="-192024" defTabSz="1218026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latin typeface="+mn-lt"/>
              </a:defRPr>
            </a:lvl2pPr>
            <a:lvl3pPr marL="457200" lvl="2" indent="-265176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latin typeface="+mn-lt"/>
              </a:defRPr>
            </a:lvl3pPr>
            <a:lvl4pPr marL="612648" lvl="3" indent="-155448" defTabSz="1218026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latin typeface="+mn-lt"/>
              </a:defRPr>
            </a:lvl4pPr>
            <a:lvl5pPr marL="749808" lvl="4" indent="-128016" defTabSz="12180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5pPr>
            <a:lvl6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6pPr>
            <a:lvl7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7pPr>
            <a:lvl8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8pPr>
            <a:lvl9pPr marL="1020030" indent="-177089" defTabSz="12180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76" baseline="0">
                <a:latin typeface="+mn-lt"/>
              </a:defRPr>
            </a:lvl9pPr>
          </a:lstStyle>
          <a:p>
            <a:pPr lvl="1">
              <a:spcBef>
                <a:spcPct val="110000"/>
              </a:spcBef>
            </a:pP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  <a:cs typeface="Helvetica" panose="020B0604020202020204" pitchFamily="34" charset="0"/>
              </a:rPr>
              <a:t>Providers that receive PRF distributions must choose to accept or reject funds through the </a:t>
            </a:r>
            <a:r>
              <a:rPr lang="en-US" sz="1300" u="sng" dirty="0">
                <a:solidFill>
                  <a:srgbClr val="0B8CE3"/>
                </a:solidFill>
                <a:hlinkClick r:id="rId15"/>
              </a:rPr>
              <a:t>Provider Relief Fund Application and Attestation Portal</a:t>
            </a:r>
            <a:r>
              <a:rPr lang="en-US" sz="1300" u="sng" dirty="0">
                <a:solidFill>
                  <a:srgbClr val="0B8CE3"/>
                </a:solidFill>
              </a:rPr>
              <a:t> </a:t>
            </a:r>
            <a:r>
              <a:rPr lang="en-US" sz="1300" b="1" dirty="0">
                <a:solidFill>
                  <a:schemeClr val="tx1">
                    <a:lumMod val="75000"/>
                    <a:lumOff val="25000"/>
                  </a:schemeClr>
                </a:solidFill>
                <a:cs typeface="Helvetica" panose="020B0604020202020204" pitchFamily="34" charset="0"/>
              </a:rPr>
              <a:t>within 90 days of receipt of payment </a:t>
            </a:r>
          </a:p>
          <a:p>
            <a:pPr lvl="1">
              <a:spcBef>
                <a:spcPct val="110000"/>
              </a:spcBef>
            </a:pP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  <a:cs typeface="Helvetica" panose="020B0604020202020204" pitchFamily="34" charset="0"/>
              </a:rPr>
              <a:t>Providers must </a:t>
            </a:r>
            <a:r>
              <a:rPr lang="en-US" sz="1300" b="1" dirty="0">
                <a:solidFill>
                  <a:schemeClr val="tx1">
                    <a:lumMod val="75000"/>
                    <a:lumOff val="25000"/>
                  </a:schemeClr>
                </a:solidFill>
                <a:cs typeface="Helvetica" panose="020B0604020202020204" pitchFamily="34" charset="0"/>
              </a:rPr>
              <a:t>attest to meeting the terms and conditions of payment</a:t>
            </a: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  <a:cs typeface="Helvetica" panose="020B0604020202020204" pitchFamily="34" charset="0"/>
              </a:rPr>
              <a:t>; if they do not attest within 90 days, they are assumed to have accepted payment and terms and conditions </a:t>
            </a:r>
          </a:p>
          <a:p>
            <a:pPr lvl="1">
              <a:spcBef>
                <a:spcPct val="110000"/>
              </a:spcBef>
            </a:pPr>
            <a:r>
              <a:rPr lang="en-US" sz="1300" b="1" dirty="0">
                <a:solidFill>
                  <a:schemeClr val="tx1">
                    <a:lumMod val="75000"/>
                    <a:lumOff val="25000"/>
                  </a:schemeClr>
                </a:solidFill>
                <a:cs typeface="Helvetica" panose="020B0604020202020204" pitchFamily="34" charset="0"/>
              </a:rPr>
              <a:t>If provider rejects payment, they must return funds </a:t>
            </a: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  <a:cs typeface="Helvetica" panose="020B0604020202020204" pitchFamily="34" charset="0"/>
              </a:rPr>
              <a:t>to HHS within 15 calendar days and may still be considered for future distributions </a:t>
            </a:r>
          </a:p>
          <a:p>
            <a:pPr lvl="1">
              <a:spcBef>
                <a:spcPct val="110000"/>
              </a:spcBef>
            </a:pP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  <a:cs typeface="Helvetica" panose="020B0604020202020204" pitchFamily="34" charset="0"/>
              </a:rPr>
              <a:t>Requirements from the PRF terms and conditions include (not exhaustive):</a:t>
            </a:r>
          </a:p>
          <a:p>
            <a:pPr lvl="2">
              <a:spcBef>
                <a:spcPct val="110000"/>
              </a:spcBef>
            </a:pP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  <a:cs typeface="Helvetica" panose="020B0604020202020204" pitchFamily="34" charset="0"/>
              </a:rPr>
              <a:t>To be eligible, must have provided diagnosis, testing, or care for </a:t>
            </a:r>
            <a:r>
              <a:rPr lang="en-US" sz="1300" b="1" dirty="0">
                <a:solidFill>
                  <a:schemeClr val="tx1">
                    <a:lumMod val="75000"/>
                    <a:lumOff val="25000"/>
                  </a:schemeClr>
                </a:solidFill>
                <a:cs typeface="Helvetica" panose="020B0604020202020204" pitchFamily="34" charset="0"/>
              </a:rPr>
              <a:t>actual or possible COVID-19 patients </a:t>
            </a: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  <a:cs typeface="Helvetica" panose="020B0604020202020204" pitchFamily="34" charset="0"/>
              </a:rPr>
              <a:t>on or after Jan.31, 2020 (Note: HHS broadly views every patient as a possible case of COVID-19 for purposes of eligibility)</a:t>
            </a:r>
          </a:p>
          <a:p>
            <a:pPr lvl="2">
              <a:spcBef>
                <a:spcPct val="110000"/>
              </a:spcBef>
            </a:pP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  <a:cs typeface="Helvetica" panose="020B0604020202020204" pitchFamily="34" charset="0"/>
              </a:rPr>
              <a:t>Payment will be </a:t>
            </a:r>
            <a:r>
              <a:rPr lang="en-US" sz="1300" b="1" dirty="0">
                <a:solidFill>
                  <a:schemeClr val="tx1">
                    <a:lumMod val="75000"/>
                    <a:lumOff val="25000"/>
                  </a:schemeClr>
                </a:solidFill>
                <a:cs typeface="Helvetica" panose="020B0604020202020204" pitchFamily="34" charset="0"/>
              </a:rPr>
              <a:t>used to prevent, prepare for, and respond to coronavirus</a:t>
            </a: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  <a:cs typeface="Helvetica" panose="020B0604020202020204" pitchFamily="34" charset="0"/>
              </a:rPr>
              <a:t>, and reimburse health care related expenses or lost revenues attributable to coronavirus </a:t>
            </a:r>
          </a:p>
          <a:p>
            <a:pPr lvl="2">
              <a:spcBef>
                <a:spcPct val="110000"/>
              </a:spcBef>
            </a:pP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  <a:cs typeface="Helvetica" panose="020B0604020202020204" pitchFamily="34" charset="0"/>
              </a:rPr>
              <a:t>Payment will not be used for expenses or losses that have been or will be </a:t>
            </a:r>
            <a:r>
              <a:rPr lang="en-US" sz="1300" b="1" dirty="0">
                <a:solidFill>
                  <a:schemeClr val="tx1">
                    <a:lumMod val="75000"/>
                    <a:lumOff val="25000"/>
                  </a:schemeClr>
                </a:solidFill>
                <a:cs typeface="Helvetica" panose="020B0604020202020204" pitchFamily="34" charset="0"/>
              </a:rPr>
              <a:t>reimbursed from other sources</a:t>
            </a:r>
          </a:p>
          <a:p>
            <a:pPr lvl="2">
              <a:spcBef>
                <a:spcPct val="110000"/>
              </a:spcBef>
            </a:pP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  <a:cs typeface="Helvetica" panose="020B0604020202020204" pitchFamily="34" charset="0"/>
              </a:rPr>
              <a:t>Recipient </a:t>
            </a:r>
            <a:r>
              <a:rPr lang="en-US" sz="1300" b="1" dirty="0">
                <a:solidFill>
                  <a:schemeClr val="tx1">
                    <a:lumMod val="75000"/>
                    <a:lumOff val="25000"/>
                  </a:schemeClr>
                </a:solidFill>
                <a:cs typeface="Helvetica" panose="020B0604020202020204" pitchFamily="34" charset="0"/>
              </a:rPr>
              <a:t>consents to public disclosure</a:t>
            </a: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  <a:cs typeface="Helvetica" panose="020B0604020202020204" pitchFamily="34" charset="0"/>
              </a:rPr>
              <a:t> of payment </a:t>
            </a:r>
          </a:p>
        </p:txBody>
      </p:sp>
      <p:sp>
        <p:nvSpPr>
          <p:cNvPr id="146" name="Title 1">
            <a:extLst>
              <a:ext uri="{FF2B5EF4-FFF2-40B4-BE49-F238E27FC236}">
                <a16:creationId xmlns:a16="http://schemas.microsoft.com/office/drawing/2014/main" id="{CBC614D2-F563-449F-A1CE-A363E8E09644}"/>
              </a:ext>
            </a:extLst>
          </p:cNvPr>
          <p:cNvSpPr txBox="1">
            <a:spLocks/>
          </p:cNvSpPr>
          <p:nvPr/>
        </p:nvSpPr>
        <p:spPr bwMode="gray">
          <a:xfrm>
            <a:off x="346891" y="278741"/>
            <a:ext cx="9741325" cy="8617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algn="l" defTabSz="12180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7135" algn="l"/>
              </a:tabLst>
              <a:defRPr lang="x-none" sz="20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2pPr>
            <a:lvl3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3pPr>
            <a:lvl4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4pPr>
            <a:lvl5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5pPr>
            <a:lvl6pPr marL="62197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6pPr>
            <a:lvl7pPr marL="1243941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7pPr>
            <a:lvl8pPr marL="1865909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8pPr>
            <a:lvl9pPr marL="248788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ts val="3000"/>
              </a:lnSpc>
            </a:pPr>
            <a:r>
              <a:rPr lang="en-US" sz="2800" spc="-150" dirty="0">
                <a:solidFill>
                  <a:srgbClr val="A33134"/>
                </a:solidFill>
              </a:rPr>
              <a:t>Actions for providers</a:t>
            </a:r>
            <a:r>
              <a:rPr lang="en-US" sz="2800" kern="0" spc="-150" dirty="0"/>
              <a:t/>
            </a:r>
            <a:br>
              <a:rPr lang="en-US" sz="2800" kern="0" spc="-150" dirty="0"/>
            </a:br>
            <a:r>
              <a:rPr lang="en-US" sz="2800" kern="0" spc="-150" dirty="0"/>
              <a:t>Phase 2 General </a:t>
            </a:r>
            <a:r>
              <a:rPr lang="en-US" sz="2800" spc="-150" dirty="0"/>
              <a:t>Distribution</a:t>
            </a:r>
            <a:endParaRPr lang="en-US" sz="2800" strike="sngStrike" spc="-150" dirty="0"/>
          </a:p>
        </p:txBody>
      </p:sp>
    </p:spTree>
    <p:extLst>
      <p:ext uri="{BB962C8B-B14F-4D97-AF65-F5344CB8AC3E}">
        <p14:creationId xmlns:p14="http://schemas.microsoft.com/office/powerpoint/2010/main" val="4186925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PVERSION" val="5"/>
  <p:tag name="TPFULLVERSION" val="5.3.2.24"/>
  <p:tag name="PPTVERSION" val="14"/>
  <p:tag name="TPOS" val="2"/>
  <p:tag name="APLORISREVISION" val="14"/>
  <p:tag name="ACCENT" val="4"/>
  <p:tag name="LINE" val="2"/>
  <p:tag name="ISNEWSLIDENUMBER" val="False"/>
  <p:tag name="PREVIOUSNAME" val="C:\Users\Hrishika Vuppala\AppData\Local\Microsoft\Windows\INetCache\Content.Outlook\K25MUWEM\CMS_Template.potx"/>
  <p:tag name="THINKCELLPRESENTATIONDONOTDELETE" val="&lt;?xml version=&quot;1.0&quot; encoding=&quot;UTF-16&quot; standalone=&quot;yes&quot;?&gt;&lt;root reqver=&quot;25060&quot;&gt;&lt;version val=&quot;2824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4&quot;&gt;&lt;elem m_fUsage=&quot;2.30048999999999992383E+00&quot;&gt;&lt;m_msothmcolidx val=&quot;0&quot;/&gt;&lt;m_rgb r=&quot;66&quot; g=&quot;66&quot; b=&quot;66&quot;/&gt;&lt;m_nBrightness endver=&quot;26206&quot; val=&quot;0&quot;/&gt;&lt;/elem&gt;&lt;elem m_fUsage=&quot;1.00000000000000000000E+00&quot;&gt;&lt;m_msothmcolidx val=&quot;0&quot;/&gt;&lt;m_rgb r=&quot;F2&quot; g=&quot;7F&quot; b=&quot;00&quot;/&gt;&lt;m_nBrightness endver=&quot;26206&quot; val=&quot;0&quot;/&gt;&lt;/elem&gt;&lt;elem m_fUsage=&quot;7.29000000000000092371E-01&quot;&gt;&lt;m_msothmcolidx val=&quot;0&quot;/&gt;&lt;m_rgb r=&quot;CD&quot; g=&quot;20&quot; b=&quot;2C&quot;/&gt;&lt;m_nBrightness endver=&quot;26206&quot; val=&quot;0&quot;/&gt;&lt;/elem&gt;&lt;elem m_fUsage=&quot;6.56100000000000127542E-01&quot;&gt;&lt;m_msothmcolidx val=&quot;0&quot;/&gt;&lt;m_rgb r=&quot;A3&quot; g=&quot;B3&quot; b=&quot;00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  <p:tag name="MTBTACCENT" val="Text2ColorBoldText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3a6T04wRNKgGojXJ7Ldi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aZkq3XbkPl6RRffbCVK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JSbhg1SGCx_T9CZBIr3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.5"/>
  <p:tag name="2LEVEL" val="0.75"/>
  <p:tag name="3LEVEL" val="0.38"/>
  <p:tag name="4LEVEL" val="0.19"/>
  <p:tag name="5LEVEL" val="0.09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6"/>
  <p:tag name="2LEVEL" val="0.3"/>
  <p:tag name="3LEVEL" val="0.15"/>
  <p:tag name="4LEVEL" val="0.08"/>
  <p:tag name="5LEVEL" val="0.0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8"/>
  <p:tag name="2LEVEL" val="0.4"/>
  <p:tag name="3LEVEL" val="0.2"/>
  <p:tag name="4LEVEL" val="0.1"/>
  <p:tag name="5LEVEL" val="0.05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8"/>
  <p:tag name="2LEVEL" val="0.4"/>
  <p:tag name="3LEVEL" val="0.2"/>
  <p:tag name="4LEVEL" val="0.1"/>
  <p:tag name="5LEVEL" val="0.0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8"/>
  <p:tag name="2LEVEL" val="0.4"/>
  <p:tag name="3LEVEL" val="0.2"/>
  <p:tag name="4LEVEL" val="0.1"/>
  <p:tag name="5LEVEL" val="0.0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iB4DAqFYSM1cSo6Jt0P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Num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Num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Num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Num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Num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Num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IB28vUXrAC.4FyTP1jjl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3.3"/>
  <p:tag name="2LEVEL" val="1.65"/>
  <p:tag name="3LEVEL" val="0.82"/>
  <p:tag name="4LEVEL" val="0.41"/>
  <p:tag name="5LEVEL" val="0.2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Num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2.2"/>
  <p:tag name="2LEVEL" val="1.1"/>
  <p:tag name="3LEVEL" val="0.55"/>
  <p:tag name="4LEVEL" val="0.27"/>
  <p:tag name="5LEVEL" val="0.1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3.3"/>
  <p:tag name="2LEVEL" val="1.65"/>
  <p:tag name="3LEVEL" val="0.82"/>
  <p:tag name="4LEVEL" val="0.41"/>
  <p:tag name="5LEVEL" val="0.2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IB28vUXrAC.4FyTP1jjl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3.3"/>
  <p:tag name="2LEVEL" val="1.65"/>
  <p:tag name="3LEVEL" val="0.82"/>
  <p:tag name="4LEVEL" val="0.41"/>
  <p:tag name="5LEVEL" val="0.2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Num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2.2"/>
  <p:tag name="2LEVEL" val="1.1"/>
  <p:tag name="3LEVEL" val="0.55"/>
  <p:tag name="4LEVEL" val="0.27"/>
  <p:tag name="5LEVEL" val="0.1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3.3"/>
  <p:tag name="2LEVEL" val="1.65"/>
  <p:tag name="3LEVEL" val="0.82"/>
  <p:tag name="4LEVEL" val="0.41"/>
  <p:tag name="5LEVEL" val="0.2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IB28vUXrAC.4FyTP1jjl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Num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Num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Num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Num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2.2"/>
  <p:tag name="2LEVEL" val="1.1"/>
  <p:tag name="3LEVEL" val="0.55"/>
  <p:tag name="4LEVEL" val="0.27"/>
  <p:tag name="5LEVEL" val="0.1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Num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IB28vUXrAC.4FyTP1jjl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3"/>
  <p:tag name="2LEVEL" val="1.5"/>
  <p:tag name="3LEVEL" val="0.75"/>
  <p:tag name="4LEVEL" val="0.38"/>
  <p:tag name="5LEVEL" val="0.19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2.2"/>
  <p:tag name="2LEVEL" val="1.1"/>
  <p:tag name="3LEVEL" val="0.55"/>
  <p:tag name="4LEVEL" val="0.27"/>
  <p:tag name="5LEVEL" val="0.1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Num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IB28vUXrAC.4FyTP1jjl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Num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2.2"/>
  <p:tag name="2LEVEL" val="1.1"/>
  <p:tag name="3LEVEL" val="0.55"/>
  <p:tag name="4LEVEL" val="0.27"/>
  <p:tag name="5LEVEL" val="0.1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2.1"/>
  <p:tag name="2LEVEL" val="1.05"/>
  <p:tag name="3LEVEL" val="0.52"/>
  <p:tag name="4LEVEL" val="0.26"/>
  <p:tag name="5LEVEL" val="0.13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2.1"/>
  <p:tag name="2LEVEL" val="1.05"/>
  <p:tag name="3LEVEL" val="0.52"/>
  <p:tag name="4LEVEL" val="0.26"/>
  <p:tag name="5LEVEL" val="0.13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2.1"/>
  <p:tag name="2LEVEL" val="1.05"/>
  <p:tag name="3LEVEL" val="0.52"/>
  <p:tag name="4LEVEL" val="0.26"/>
  <p:tag name="5LEVEL" val="0.13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2.1"/>
  <p:tag name="2LEVEL" val="1.05"/>
  <p:tag name="3LEVEL" val="0.52"/>
  <p:tag name="4LEVEL" val="0.26"/>
  <p:tag name="5LEVEL" val="0.13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IB28vUXrAC.4FyTP1jjl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Num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2.2"/>
  <p:tag name="2LEVEL" val="1.1"/>
  <p:tag name="3LEVEL" val="0.55"/>
  <p:tag name="4LEVEL" val="0.27"/>
  <p:tag name="5LEVEL" val="0.1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2.2"/>
  <p:tag name="2LEVEL" val="1.1"/>
  <p:tag name="3LEVEL" val="0.55"/>
  <p:tag name="4LEVEL" val="0.28"/>
  <p:tag name="5LEVEL" val="0.1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IB28vUXrAC.4FyTP1jjl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2.2"/>
  <p:tag name="2LEVEL" val="1.1"/>
  <p:tag name="3LEVEL" val="0.55"/>
  <p:tag name="4LEVEL" val="0.28"/>
  <p:tag name="5LEVEL" val="0.1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Num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2.2"/>
  <p:tag name="2LEVEL" val="1.1"/>
  <p:tag name="3LEVEL" val="0.55"/>
  <p:tag name="4LEVEL" val="0.27"/>
  <p:tag name="5LEVEL" val="0.1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6eKpjcLPdS3uafBD8Vv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2.2"/>
  <p:tag name="2LEVEL" val="1.1"/>
  <p:tag name="3LEVEL" val="0.55"/>
  <p:tag name="4LEVEL" val="0.27"/>
  <p:tag name="5LEVEL" val="0.1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heme/theme1.xml><?xml version="1.0" encoding="utf-8"?>
<a:theme xmlns:a="http://schemas.openxmlformats.org/drawingml/2006/main" name="CMS_Template">
  <a:themeElements>
    <a:clrScheme name="Current">
      <a:dk1>
        <a:srgbClr val="000000"/>
      </a:dk1>
      <a:lt1>
        <a:srgbClr val="FFFFFF"/>
      </a:lt1>
      <a:dk2>
        <a:srgbClr val="005F9E"/>
      </a:dk2>
      <a:lt2>
        <a:srgbClr val="FFFFFF"/>
      </a:lt2>
      <a:accent1>
        <a:srgbClr val="ABDDFF"/>
      </a:accent1>
      <a:accent2>
        <a:srgbClr val="4BB6FF"/>
      </a:accent2>
      <a:accent3>
        <a:srgbClr val="0087E2"/>
      </a:accent3>
      <a:accent4>
        <a:srgbClr val="005F9E"/>
      </a:accent4>
      <a:accent5>
        <a:srgbClr val="DBA900"/>
      </a:accent5>
      <a:accent6>
        <a:srgbClr val="808080"/>
      </a:accent6>
      <a:hlink>
        <a:srgbClr val="0087E2"/>
      </a:hlink>
      <a:folHlink>
        <a:srgbClr val="005F9E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sz="16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5F9E"/>
        </a:dk2>
        <a:lt2>
          <a:srgbClr val="FFFFFF"/>
        </a:lt2>
        <a:accent1>
          <a:srgbClr val="ABDDFF"/>
        </a:accent1>
        <a:accent2>
          <a:srgbClr val="4BB6FF"/>
        </a:accent2>
        <a:accent3>
          <a:srgbClr val="0087E2"/>
        </a:accent3>
        <a:accent4>
          <a:srgbClr val="005F9E"/>
        </a:accent4>
        <a:accent5>
          <a:srgbClr val="DBA900"/>
        </a:accent5>
        <a:accent6>
          <a:srgbClr val="808080"/>
        </a:accent6>
        <a:hlink>
          <a:srgbClr val="0087E2"/>
        </a:hlink>
        <a:folHlink>
          <a:srgbClr val="005F9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CMS_Template.potx [Read-Only]" id="{F1F85C99-DB0C-47E8-827F-495A245CD2CA}" vid="{310A9572-6DD6-49D5-96B6-002074FD473E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58EE8D6350ACE4FB6EF244742F6E296" ma:contentTypeVersion="41" ma:contentTypeDescription="Create a new document." ma:contentTypeScope="" ma:versionID="5011484bbcb7b55bb227a4e8eb1ca3f1">
  <xsd:schema xmlns:xsd="http://www.w3.org/2001/XMLSchema" xmlns:xs="http://www.w3.org/2001/XMLSchema" xmlns:p="http://schemas.microsoft.com/office/2006/metadata/properties" xmlns:ns1="http://schemas.microsoft.com/sharepoint/v3" xmlns:ns2="7fc648c7-6db9-4c0c-a494-d45f480da955" xmlns:ns3="9af401d9-7132-4006-ad0f-b06cf2a638fb" xmlns:ns4="http://schemas.microsoft.com/sharepoint/v4" targetNamespace="http://schemas.microsoft.com/office/2006/metadata/properties" ma:root="true" ma:fieldsID="45e2a6dc23dd1178090383a37ba67783" ns1:_="" ns2:_="" ns3:_="" ns4:_="">
    <xsd:import namespace="http://schemas.microsoft.com/sharepoint/v3"/>
    <xsd:import namespace="7fc648c7-6db9-4c0c-a494-d45f480da955"/>
    <xsd:import namespace="9af401d9-7132-4006-ad0f-b06cf2a638fb"/>
    <xsd:import namespace="http://schemas.microsoft.com/sharepoint/v4"/>
    <xsd:element name="properties">
      <xsd:complexType>
        <xsd:sequence>
          <xsd:element name="documentManagement">
            <xsd:complexType>
              <xsd:all>
                <xsd:element ref="ns2:Work_x0020_Streams" minOccurs="0"/>
                <xsd:element ref="ns2:Work_x0020_Streams0" minOccurs="0"/>
                <xsd:element ref="ns2:PrfPhase" minOccurs="0"/>
                <xsd:element ref="ns2:Topic" minOccurs="0"/>
                <xsd:element ref="ns1:PublishingStartDate" minOccurs="0"/>
                <xsd:element ref="ns1:PublishingExpirationDate" minOccurs="0"/>
                <xsd:element ref="ns3:_dlc_DocId" minOccurs="0"/>
                <xsd:element ref="ns3:_dlc_DocIdUrl" minOccurs="0"/>
                <xsd:element ref="ns3:_dlc_DocIdPersistId" minOccurs="0"/>
                <xsd:element ref="ns1:EmailSender" minOccurs="0"/>
                <xsd:element ref="ns1:EmailTo" minOccurs="0"/>
                <xsd:element ref="ns1:EmailCc" minOccurs="0"/>
                <xsd:element ref="ns1:EmailFrom" minOccurs="0"/>
                <xsd:element ref="ns1:EmailSubject" minOccurs="0"/>
                <xsd:element ref="ns4:EmailHead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Scheduling Start Date is a site column created by the Publishing feature. It is used to specify the date and time on which this page will first appear to site visitors.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Scheduling End Date is a site column created by the Publishing feature. It is used to specify the date and time on which this page will no longer appear to site visitors." ma:hidden="true" ma:internalName="PublishingExpirationDate">
      <xsd:simpleType>
        <xsd:restriction base="dms:Unknown"/>
      </xsd:simpleType>
    </xsd:element>
    <xsd:element name="EmailSender" ma:index="17" nillable="true" ma:displayName="E-Mail Sender" ma:hidden="true" ma:internalName="EmailSender">
      <xsd:simpleType>
        <xsd:restriction base="dms:Note">
          <xsd:maxLength value="255"/>
        </xsd:restriction>
      </xsd:simpleType>
    </xsd:element>
    <xsd:element name="EmailTo" ma:index="18" nillable="true" ma:displayName="E-Mail To" ma:hidden="true" ma:internalName="EmailTo">
      <xsd:simpleType>
        <xsd:restriction base="dms:Note">
          <xsd:maxLength value="255"/>
        </xsd:restriction>
      </xsd:simpleType>
    </xsd:element>
    <xsd:element name="EmailCc" ma:index="19" nillable="true" ma:displayName="E-Mail Cc" ma:hidden="true" ma:internalName="EmailCc">
      <xsd:simpleType>
        <xsd:restriction base="dms:Note">
          <xsd:maxLength value="255"/>
        </xsd:restriction>
      </xsd:simpleType>
    </xsd:element>
    <xsd:element name="EmailFrom" ma:index="20" nillable="true" ma:displayName="E-Mail From" ma:hidden="true" ma:internalName="EmailFrom">
      <xsd:simpleType>
        <xsd:restriction base="dms:Text"/>
      </xsd:simpleType>
    </xsd:element>
    <xsd:element name="EmailSubject" ma:index="21" nillable="true" ma:displayName="E-Mail Subject" ma:hidden="true" ma:internalName="EmailSubject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fc648c7-6db9-4c0c-a494-d45f480da955" elementFormDefault="qualified">
    <xsd:import namespace="http://schemas.microsoft.com/office/2006/documentManagement/types"/>
    <xsd:import namespace="http://schemas.microsoft.com/office/infopath/2007/PartnerControls"/>
    <xsd:element name="Work_x0020_Streams" ma:index="2" nillable="true" ma:displayName="Author" ma:list="{dc2dbd8a-7289-4e7d-9650-b71b197f02a3}" ma:internalName="Work_x0020_Streams" ma:readOnly="false" ma:showField="Titl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Work_x0020_Streams0" ma:index="3" nillable="true" ma:displayName="Work Streams" ma:list="{d6afa158-90b1-4846-a6cb-8caf61c1a349}" ma:internalName="Work_x0020_Streams0" ma:showField="Titl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PrfPhase" ma:index="4" nillable="true" ma:displayName="PRF Phases" ma:list="1170e2d5-b93c-4090-a0e1-ab85e3e8bc9b" ma:internalName="PrfPhase" ma:readOnly="false" ma:showField="Titl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opic" ma:index="5" nillable="true" ma:displayName="Topics" ma:list="4b723e0e-596e-4202-97f3-217e774a0e5e" ma:internalName="Topic" ma:readOnly="false" ma:showField="Titl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af401d9-7132-4006-ad0f-b06cf2a638fb" elementFormDefault="qualified">
    <xsd:import namespace="http://schemas.microsoft.com/office/2006/documentManagement/types"/>
    <xsd:import namespace="http://schemas.microsoft.com/office/infopath/2007/PartnerControls"/>
    <xsd:element name="_dlc_DocId" ma:index="10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11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2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4" elementFormDefault="qualified">
    <xsd:import namespace="http://schemas.microsoft.com/office/2006/documentManagement/types"/>
    <xsd:import namespace="http://schemas.microsoft.com/office/infopath/2007/PartnerControls"/>
    <xsd:element name="EmailHeaders" ma:index="22" nillable="true" ma:displayName="E-Mail Headers" ma:hidden="true" ma:internalName="EmailHeaders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3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rfPhase xmlns="7fc648c7-6db9-4c0c-a494-d45f480da955"/>
    <EmailTo xmlns="http://schemas.microsoft.com/sharepoint/v3" xsi:nil="true"/>
    <EmailHeaders xmlns="http://schemas.microsoft.com/sharepoint/v4" xsi:nil="true"/>
    <Work_x0020_Streams xmlns="7fc648c7-6db9-4c0c-a494-d45f480da955"/>
    <EmailSender xmlns="http://schemas.microsoft.com/sharepoint/v3" xsi:nil="true"/>
    <EmailFrom xmlns="http://schemas.microsoft.com/sharepoint/v3" xsi:nil="true"/>
    <Topic xmlns="7fc648c7-6db9-4c0c-a494-d45f480da955"/>
    <EmailSubject xmlns="http://schemas.microsoft.com/sharepoint/v3" xsi:nil="true"/>
    <PublishingExpirationDate xmlns="http://schemas.microsoft.com/sharepoint/v3" xsi:nil="true"/>
    <Work_x0020_Streams0 xmlns="7fc648c7-6db9-4c0c-a494-d45f480da955"/>
    <PublishingStartDate xmlns="http://schemas.microsoft.com/sharepoint/v3" xsi:nil="true"/>
    <EmailCc xmlns="http://schemas.microsoft.com/sharepoint/v3" xsi:nil="true"/>
    <_dlc_DocId xmlns="9af401d9-7132-4006-ad0f-b06cf2a638fb">PRPF-1866193660-4975</_dlc_DocId>
    <_dlc_DocIdUrl xmlns="9af401d9-7132-4006-ad0f-b06cf2a638fb">
      <Url>https://sharepoint.hrsa.gov/groups/prpf/_layouts/15/DocIdRedir.aspx?ID=PRPF-1866193660-4975</Url>
      <Description>PRPF-1866193660-4975</Description>
    </_dlc_DocIdUrl>
  </documentManagement>
</p:properties>
</file>

<file path=customXml/itemProps1.xml><?xml version="1.0" encoding="utf-8"?>
<ds:datastoreItem xmlns:ds="http://schemas.openxmlformats.org/officeDocument/2006/customXml" ds:itemID="{C51E578F-818D-428D-A400-0A971074B43F}"/>
</file>

<file path=customXml/itemProps2.xml><?xml version="1.0" encoding="utf-8"?>
<ds:datastoreItem xmlns:ds="http://schemas.openxmlformats.org/officeDocument/2006/customXml" ds:itemID="{2C731E2C-3F75-4005-90A1-6AE273BE2A79}"/>
</file>

<file path=customXml/itemProps3.xml><?xml version="1.0" encoding="utf-8"?>
<ds:datastoreItem xmlns:ds="http://schemas.openxmlformats.org/officeDocument/2006/customXml" ds:itemID="{A345A0B1-6AC4-46CA-8CF2-8F098B6A4E81}"/>
</file>

<file path=customXml/itemProps4.xml><?xml version="1.0" encoding="utf-8"?>
<ds:datastoreItem xmlns:ds="http://schemas.openxmlformats.org/officeDocument/2006/customXml" ds:itemID="{A31784D8-6F6B-4052-918E-583AB0D329DF}"/>
</file>

<file path=docProps/app.xml><?xml version="1.0" encoding="utf-8"?>
<Properties xmlns="http://schemas.openxmlformats.org/officeDocument/2006/extended-properties" xmlns:vt="http://schemas.openxmlformats.org/officeDocument/2006/docPropsVTypes">
  <Template>CMS_Template</Template>
  <TotalTime>0</TotalTime>
  <Words>1560</Words>
  <Application>Microsoft Office PowerPoint</Application>
  <PresentationFormat>Widescreen</PresentationFormat>
  <Paragraphs>160</Paragraphs>
  <Slides>1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5" baseType="lpstr">
      <vt:lpstr>Arial</vt:lpstr>
      <vt:lpstr>Helvetica</vt:lpstr>
      <vt:lpstr>CMS_Template</vt:lpstr>
      <vt:lpstr>think-cell Slide</vt:lpstr>
      <vt:lpstr>Learn about the Provider Relief Fund</vt:lpstr>
      <vt:lpstr>Provider Relief Fund: Key facts for provider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cp:lastPrinted>2015-09-09T11:04:28Z</cp:lastPrinted>
  <dcterms:created xsi:type="dcterms:W3CDTF">2020-03-31T23:21:03Z</dcterms:created>
  <dcterms:modified xsi:type="dcterms:W3CDTF">2020-08-11T20:04:32Z</dcterms:modified>
  <cp:category/>
  <cp:contentStatus/>
  <dc:language/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205e5817-eb54-4d3c-a869-7efe45e55606_Enabled">
    <vt:lpwstr>True</vt:lpwstr>
  </property>
  <property fmtid="{D5CDD505-2E9C-101B-9397-08002B2CF9AE}" pid="3" name="MSIP_Label_205e5817-eb54-4d3c-a869-7efe45e55606_SiteId">
    <vt:lpwstr>cc8936bc-9382-4fff-87cb-6f55999549e7</vt:lpwstr>
  </property>
  <property fmtid="{D5CDD505-2E9C-101B-9397-08002B2CF9AE}" pid="4" name="MSIP_Label_205e5817-eb54-4d3c-a869-7efe45e55606_Owner">
    <vt:lpwstr>Preston_White@mckinsey.com</vt:lpwstr>
  </property>
  <property fmtid="{D5CDD505-2E9C-101B-9397-08002B2CF9AE}" pid="5" name="MSIP_Label_205e5817-eb54-4d3c-a869-7efe45e55606_SetDate">
    <vt:lpwstr>2020-05-04T15:49:06.1421275Z</vt:lpwstr>
  </property>
  <property fmtid="{D5CDD505-2E9C-101B-9397-08002B2CF9AE}" pid="6" name="MSIP_Label_205e5817-eb54-4d3c-a869-7efe45e55606_Name">
    <vt:lpwstr>Internal</vt:lpwstr>
  </property>
  <property fmtid="{D5CDD505-2E9C-101B-9397-08002B2CF9AE}" pid="7" name="MSIP_Label_205e5817-eb54-4d3c-a869-7efe45e55606_Application">
    <vt:lpwstr>Microsoft Azure Information Protection</vt:lpwstr>
  </property>
  <property fmtid="{D5CDD505-2E9C-101B-9397-08002B2CF9AE}" pid="8" name="MSIP_Label_205e5817-eb54-4d3c-a869-7efe45e55606_ActionId">
    <vt:lpwstr>bc20e8a8-d864-452e-b577-ba5d1f708989</vt:lpwstr>
  </property>
  <property fmtid="{D5CDD505-2E9C-101B-9397-08002B2CF9AE}" pid="9" name="MSIP_Label_205e5817-eb54-4d3c-a869-7efe45e55606_Extended_MSFT_Method">
    <vt:lpwstr>Automatic</vt:lpwstr>
  </property>
  <property fmtid="{D5CDD505-2E9C-101B-9397-08002B2CF9AE}" pid="10" name="Sensitivity">
    <vt:lpwstr>Internal</vt:lpwstr>
  </property>
  <property fmtid="{D5CDD505-2E9C-101B-9397-08002B2CF9AE}" pid="11" name="ContentTypeId">
    <vt:lpwstr>0x010100058EE8D6350ACE4FB6EF244742F6E296</vt:lpwstr>
  </property>
  <property fmtid="{D5CDD505-2E9C-101B-9397-08002B2CF9AE}" pid="12" name="_dlc_DocIdItemGuid">
    <vt:lpwstr>342a1911-762d-4a39-b812-50ca6adfd2a6</vt:lpwstr>
  </property>
</Properties>
</file>